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Override1.xml" ContentType="application/vnd.openxmlformats-officedocument.themeOverr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4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5.xml" ContentType="application/vnd.openxmlformats-officedocument.presentationml.notesSlide+xml"/>
  <Override PartName="/ppt/tags/tag18.xml" ContentType="application/vnd.openxmlformats-officedocument.presentationml.tags+xml"/>
  <Override PartName="/ppt/notesSlides/notesSlide6.xml" ContentType="application/vnd.openxmlformats-officedocument.presentationml.notesSlide+xml"/>
  <Override PartName="/ppt/tags/tag19.xml" ContentType="application/vnd.openxmlformats-officedocument.presentationml.tags+xml"/>
  <Override PartName="/ppt/notesSlides/notesSlide7.xml" ContentType="application/vnd.openxmlformats-officedocument.presentationml.notesSlide+xml"/>
  <Override PartName="/ppt/tags/tag20.xml" ContentType="application/vnd.openxmlformats-officedocument.presentationml.tags+xml"/>
  <Override PartName="/ppt/notesSlides/notesSlide8.xml" ContentType="application/vnd.openxmlformats-officedocument.presentationml.notesSlide+xml"/>
  <Override PartName="/ppt/tags/tag21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tags/tag31.xml" ContentType="application/vnd.openxmlformats-officedocument.presentationml.tags+xml"/>
  <Override PartName="/ppt/notesSlides/notesSlide5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microsoft.com/office/2006/relationships/ui/userCustomization" Target="NULL"/><Relationship Id="rId1" Type="http://schemas.openxmlformats.org/officeDocument/2006/relationships/officeDocument" Target="ppt/presentation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</p:sldMasterIdLst>
  <p:notesMasterIdLst>
    <p:notesMasterId r:id="rId60"/>
  </p:notesMasterIdLst>
  <p:handoutMasterIdLst>
    <p:handoutMasterId r:id="rId61"/>
  </p:handoutMasterIdLst>
  <p:sldIdLst>
    <p:sldId id="5473" r:id="rId6"/>
    <p:sldId id="5474" r:id="rId7"/>
    <p:sldId id="5383" r:id="rId8"/>
    <p:sldId id="5483" r:id="rId9"/>
    <p:sldId id="310" r:id="rId10"/>
    <p:sldId id="311" r:id="rId11"/>
    <p:sldId id="5477" r:id="rId12"/>
    <p:sldId id="256" r:id="rId13"/>
    <p:sldId id="5471" r:id="rId14"/>
    <p:sldId id="5472" r:id="rId15"/>
    <p:sldId id="5479" r:id="rId16"/>
    <p:sldId id="5485" r:id="rId17"/>
    <p:sldId id="5444" r:id="rId18"/>
    <p:sldId id="5486" r:id="rId19"/>
    <p:sldId id="5480" r:id="rId20"/>
    <p:sldId id="5443" r:id="rId21"/>
    <p:sldId id="295" r:id="rId22"/>
    <p:sldId id="5397" r:id="rId23"/>
    <p:sldId id="5403" r:id="rId24"/>
    <p:sldId id="5404" r:id="rId25"/>
    <p:sldId id="5391" r:id="rId26"/>
    <p:sldId id="5394" r:id="rId27"/>
    <p:sldId id="302" r:id="rId28"/>
    <p:sldId id="301" r:id="rId29"/>
    <p:sldId id="5406" r:id="rId30"/>
    <p:sldId id="5458" r:id="rId31"/>
    <p:sldId id="5408" r:id="rId32"/>
    <p:sldId id="5482" r:id="rId33"/>
    <p:sldId id="5411" r:id="rId34"/>
    <p:sldId id="5461" r:id="rId35"/>
    <p:sldId id="5409" r:id="rId36"/>
    <p:sldId id="5453" r:id="rId37"/>
    <p:sldId id="5413" r:id="rId38"/>
    <p:sldId id="5455" r:id="rId39"/>
    <p:sldId id="5420" r:id="rId40"/>
    <p:sldId id="5481" r:id="rId41"/>
    <p:sldId id="5422" r:id="rId42"/>
    <p:sldId id="5424" r:id="rId43"/>
    <p:sldId id="5419" r:id="rId44"/>
    <p:sldId id="5425" r:id="rId45"/>
    <p:sldId id="5428" r:id="rId46"/>
    <p:sldId id="5415" r:id="rId47"/>
    <p:sldId id="5430" r:id="rId48"/>
    <p:sldId id="5432" r:id="rId49"/>
    <p:sldId id="5437" r:id="rId50"/>
    <p:sldId id="5464" r:id="rId51"/>
    <p:sldId id="5466" r:id="rId52"/>
    <p:sldId id="5435" r:id="rId53"/>
    <p:sldId id="5434" r:id="rId54"/>
    <p:sldId id="5468" r:id="rId55"/>
    <p:sldId id="5440" r:id="rId56"/>
    <p:sldId id="5451" r:id="rId57"/>
    <p:sldId id="5487" r:id="rId58"/>
    <p:sldId id="5375" r:id="rId59"/>
  </p:sldIdLst>
  <p:sldSz cx="12192000" cy="6858000"/>
  <p:notesSz cx="6858000" cy="9144000"/>
  <p:custDataLst>
    <p:tags r:id="rId62"/>
  </p:custDataLst>
  <p:defaultTextStyle>
    <a:defPPr>
      <a:defRPr lang="en-US"/>
    </a:defPPr>
    <a:lvl1pPr marL="0" indent="0" algn="l" defTabSz="374400" rtl="0" eaLnBrk="1" latinLnBrk="0" hangingPunct="1">
      <a:lnSpc>
        <a:spcPct val="100000"/>
      </a:lnSpc>
      <a:spcBef>
        <a:spcPts val="0"/>
      </a:spcBef>
      <a:spcAft>
        <a:spcPts val="600"/>
      </a:spcAft>
      <a:buFontTx/>
      <a:buNone/>
      <a:defRPr sz="1600" kern="1200" baseline="0">
        <a:solidFill>
          <a:schemeClr val="tx1"/>
        </a:solidFill>
        <a:latin typeface="+mn-lt"/>
        <a:ea typeface="+mn-ea"/>
        <a:cs typeface="+mn-cs"/>
      </a:defRPr>
    </a:lvl1pPr>
    <a:lvl2pPr marL="285750" indent="-285750" algn="l" defTabSz="374400" rtl="0" eaLnBrk="1" latinLnBrk="0" hangingPunct="1">
      <a:lnSpc>
        <a:spcPct val="100000"/>
      </a:lnSpc>
      <a:spcBef>
        <a:spcPts val="0"/>
      </a:spcBef>
      <a:spcAft>
        <a:spcPts val="600"/>
      </a:spcAft>
      <a:buFont typeface="Arial" panose="020B0604020202020204" pitchFamily="34" charset="0"/>
      <a:buChar char="•"/>
      <a:defRPr sz="1400" b="0" kern="1200" baseline="0">
        <a:solidFill>
          <a:schemeClr val="tx1"/>
        </a:solidFill>
        <a:latin typeface="+mn-lt"/>
        <a:ea typeface="+mn-ea"/>
        <a:cs typeface="+mn-cs"/>
      </a:defRPr>
    </a:lvl2pPr>
    <a:lvl3pPr marL="568800" indent="-284400" algn="l" defTabSz="374400" rtl="0" eaLnBrk="1" latinLnBrk="0" hangingPunct="1">
      <a:lnSpc>
        <a:spcPct val="100000"/>
      </a:lnSpc>
      <a:spcBef>
        <a:spcPts val="0"/>
      </a:spcBef>
      <a:spcAft>
        <a:spcPts val="600"/>
      </a:spcAft>
      <a:buSzPct val="110000"/>
      <a:buFont typeface="Arial" panose="020B0604020202020204" pitchFamily="34" charset="0"/>
      <a:buChar char="•"/>
      <a:defRPr sz="1200" kern="1200" baseline="0">
        <a:solidFill>
          <a:schemeClr val="tx1"/>
        </a:solidFill>
        <a:latin typeface="+mn-lt"/>
        <a:ea typeface="+mn-ea"/>
        <a:cs typeface="+mn-cs"/>
      </a:defRPr>
    </a:lvl3pPr>
    <a:lvl4pPr marL="853200" indent="-284400" algn="l" defTabSz="374400" rtl="0" eaLnBrk="1" latinLnBrk="0" hangingPunct="1">
      <a:lnSpc>
        <a:spcPct val="100000"/>
      </a:lnSpc>
      <a:spcBef>
        <a:spcPts val="0"/>
      </a:spcBef>
      <a:spcAft>
        <a:spcPts val="300"/>
      </a:spcAft>
      <a:buSzPct val="100000"/>
      <a:buFont typeface="Arial" panose="020B0604020202020204" pitchFamily="34" charset="0"/>
      <a:buChar char="•"/>
      <a:defRPr sz="1100" kern="1200" baseline="0">
        <a:solidFill>
          <a:schemeClr val="tx1"/>
        </a:solidFill>
        <a:latin typeface="+mn-lt"/>
        <a:ea typeface="+mn-ea"/>
        <a:cs typeface="+mn-cs"/>
      </a:defRPr>
    </a:lvl4pPr>
    <a:lvl5pPr marL="1137600" indent="-284400" algn="l" defTabSz="374400" rtl="0" eaLnBrk="1" latinLnBrk="0" hangingPunct="1">
      <a:lnSpc>
        <a:spcPct val="100000"/>
      </a:lnSpc>
      <a:spcBef>
        <a:spcPts val="0"/>
      </a:spcBef>
      <a:spcAft>
        <a:spcPts val="100"/>
      </a:spcAft>
      <a:buSzPct val="90000"/>
      <a:buFont typeface="Arial" panose="020B0604020202020204" pitchFamily="34" charset="0"/>
      <a:buChar char="•"/>
      <a:defRPr sz="1000" kern="1200" baseline="0">
        <a:solidFill>
          <a:schemeClr val="tx1"/>
        </a:solidFill>
        <a:latin typeface="+mn-lt"/>
        <a:ea typeface="+mn-ea"/>
        <a:cs typeface="+mn-cs"/>
      </a:defRPr>
    </a:lvl5pPr>
    <a:lvl6pPr marL="1422000" indent="-284400" algn="l" defTabSz="374400" rtl="0" eaLnBrk="1" latinLnBrk="0" hangingPunct="1">
      <a:lnSpc>
        <a:spcPct val="100000"/>
      </a:lnSpc>
      <a:spcBef>
        <a:spcPts val="0"/>
      </a:spcBef>
      <a:spcAft>
        <a:spcPts val="100"/>
      </a:spcAft>
      <a:buFont typeface="Arial" panose="020B0604020202020204" pitchFamily="34" charset="0"/>
      <a:buChar char="•"/>
      <a:defRPr sz="900" kern="1200" baseline="0">
        <a:solidFill>
          <a:schemeClr val="tx1"/>
        </a:solidFill>
        <a:latin typeface="+mn-lt"/>
        <a:ea typeface="+mn-ea"/>
        <a:cs typeface="+mn-cs"/>
      </a:defRPr>
    </a:lvl6pPr>
    <a:lvl7pPr marL="1706400" indent="-284400" algn="l" defTabSz="374400" rtl="0" eaLnBrk="1" latinLnBrk="0" hangingPunct="1">
      <a:lnSpc>
        <a:spcPct val="100000"/>
      </a:lnSpc>
      <a:spcBef>
        <a:spcPts val="0"/>
      </a:spcBef>
      <a:spcAft>
        <a:spcPts val="100"/>
      </a:spcAft>
      <a:buFont typeface="Arial" panose="020B0604020202020204" pitchFamily="34" charset="0"/>
      <a:buChar char="•"/>
      <a:defRPr sz="800" kern="1200" baseline="0">
        <a:solidFill>
          <a:schemeClr val="tx1"/>
        </a:solidFill>
        <a:latin typeface="+mn-lt"/>
        <a:ea typeface="+mn-ea"/>
        <a:cs typeface="+mn-cs"/>
      </a:defRPr>
    </a:lvl7pPr>
    <a:lvl8pPr marL="1990800" indent="-284400" algn="l" defTabSz="374400" rtl="0" eaLnBrk="1" latinLnBrk="0" hangingPunct="1">
      <a:lnSpc>
        <a:spcPct val="100000"/>
      </a:lnSpc>
      <a:spcBef>
        <a:spcPts val="0"/>
      </a:spcBef>
      <a:spcAft>
        <a:spcPts val="100"/>
      </a:spcAft>
      <a:buFont typeface="Arial" panose="020B0604020202020204" pitchFamily="34" charset="0"/>
      <a:buChar char="•"/>
      <a:defRPr sz="700" kern="1200" baseline="0">
        <a:solidFill>
          <a:schemeClr val="tx1"/>
        </a:solidFill>
        <a:latin typeface="+mn-lt"/>
        <a:ea typeface="+mn-ea"/>
        <a:cs typeface="+mn-cs"/>
      </a:defRPr>
    </a:lvl8pPr>
    <a:lvl9pPr marL="0" indent="0" algn="l" defTabSz="374400" rtl="0" eaLnBrk="1" latinLnBrk="0" hangingPunct="1">
      <a:lnSpc>
        <a:spcPct val="100000"/>
      </a:lnSpc>
      <a:spcBef>
        <a:spcPts val="0"/>
      </a:spcBef>
      <a:spcAft>
        <a:spcPts val="600"/>
      </a:spcAft>
      <a:buFontTx/>
      <a:buNone/>
      <a:defRPr sz="1600" b="1" kern="1200" baseline="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8C10710-F86E-4B59-973D-99E08E7D3C0F}">
          <p14:sldIdLst>
            <p14:sldId id="5473"/>
            <p14:sldId id="5474"/>
            <p14:sldId id="5383"/>
            <p14:sldId id="5483"/>
            <p14:sldId id="310"/>
            <p14:sldId id="311"/>
            <p14:sldId id="5477"/>
            <p14:sldId id="256"/>
            <p14:sldId id="5471"/>
            <p14:sldId id="5472"/>
            <p14:sldId id="5479"/>
            <p14:sldId id="5485"/>
            <p14:sldId id="5444"/>
            <p14:sldId id="5486"/>
            <p14:sldId id="5480"/>
            <p14:sldId id="5443"/>
            <p14:sldId id="295"/>
            <p14:sldId id="5397"/>
            <p14:sldId id="5403"/>
            <p14:sldId id="5404"/>
            <p14:sldId id="5391"/>
            <p14:sldId id="5394"/>
            <p14:sldId id="302"/>
            <p14:sldId id="301"/>
            <p14:sldId id="5406"/>
            <p14:sldId id="5458"/>
            <p14:sldId id="5408"/>
            <p14:sldId id="5482"/>
            <p14:sldId id="5411"/>
            <p14:sldId id="5461"/>
            <p14:sldId id="5409"/>
            <p14:sldId id="5453"/>
            <p14:sldId id="5413"/>
            <p14:sldId id="5455"/>
            <p14:sldId id="5420"/>
            <p14:sldId id="5481"/>
            <p14:sldId id="5422"/>
            <p14:sldId id="5424"/>
            <p14:sldId id="5419"/>
            <p14:sldId id="5425"/>
            <p14:sldId id="5428"/>
            <p14:sldId id="5415"/>
            <p14:sldId id="5430"/>
            <p14:sldId id="5432"/>
            <p14:sldId id="5437"/>
            <p14:sldId id="5464"/>
            <p14:sldId id="5466"/>
            <p14:sldId id="5435"/>
            <p14:sldId id="5434"/>
            <p14:sldId id="5468"/>
            <p14:sldId id="5440"/>
            <p14:sldId id="5451"/>
            <p14:sldId id="5487"/>
            <p14:sldId id="5375"/>
          </p14:sldIdLst>
        </p14:section>
        <p14:section name="Backup" id="{444213C1-E716-42C9-9204-014761F80D39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im Alexander Türger" initials="TAT" lastIdx="1" clrIdx="0">
    <p:extLst>
      <p:ext uri="{19B8F6BF-5375-455C-9EA6-DF929625EA0E}">
        <p15:presenceInfo xmlns:p15="http://schemas.microsoft.com/office/powerpoint/2012/main" userId="Tim Alexander Türg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A108CF2-572F-45F0-8870-D39F0C477427}" v="220" dt="2024-05-28T22:58:07.704"/>
  </p1510:revLst>
</p1510:revInfo>
</file>

<file path=ppt/tableStyles.xml><?xml version="1.0" encoding="utf-8"?>
<a:tblStyleLst xmlns:a="http://schemas.openxmlformats.org/drawingml/2006/main" def="{0E3FDE45-AF77-4B5C-9715-49D594BDF05E}">
  <a:tblStyle styleId="{0E3FDE45-AF77-4B5C-9715-49D594BDF05E}" styleName="Light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2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dk2"/>
          </a:solidFill>
        </a:fill>
      </a:tcStyle>
    </a:lastCol>
    <a:firstCol>
      <a:tcTxStyle/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</a:tcBdr>
        <a:fill>
          <a:solidFill>
            <a:schemeClr val="lt2"/>
          </a:solidFill>
        </a:fill>
      </a:tcStyle>
    </a:firstCol>
    <a:lastRow>
      <a:tcTxStyle b="on">
        <a:fontRef idx="minor"/>
        <a:schemeClr val="lt1"/>
      </a:tcTxStyle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/>
          </a:solidFill>
        </a:fill>
      </a:tcStyle>
    </a:lastRow>
    <a:seCell>
      <a:tcTxStyle b="on">
        <a:fontRef idx="minor"/>
        <a:schemeClr val="lt1"/>
      </a:tcTxStyle>
      <a:tcStyle>
        <a:tcBdr>
          <a:top>
            <a:lnRef idx="1">
              <a:srgbClr val="0089B7"/>
            </a:lnRef>
          </a:top>
          <a:bottom>
            <a:lnRef idx="1">
              <a:srgbClr val="0089B7"/>
            </a:lnRef>
          </a:bottom>
        </a:tcBdr>
        <a:fill>
          <a:solidFill>
            <a:srgbClr val="0089B7"/>
          </a:solidFill>
        </a:fill>
      </a:tcStyle>
    </a:seCell>
    <a:firstRow>
      <a:tcTxStyle b="on">
        <a:fontRef idx="minor"/>
        <a:schemeClr val="dk2"/>
      </a:tcTxStyle>
      <a:tcStyle>
        <a:tcBdr>
          <a:top>
            <a:lnRef idx="2">
              <a:schemeClr val="dk2"/>
            </a:lnRef>
          </a:top>
          <a:bottom>
            <a:lnRef idx="1">
              <a:schemeClr val="accent2"/>
            </a:lnRef>
          </a:bottom>
        </a:tcBdr>
        <a:fill>
          <a:solidFill>
            <a:schemeClr val="lt1"/>
          </a:solidFill>
        </a:fill>
      </a:tcStyle>
    </a:firstRow>
    <a:neCell>
      <a:tcTxStyle b="on">
        <a:fontRef idx="minor"/>
        <a:schemeClr val="lt1"/>
      </a:tcTxStyle>
      <a:tcStyle>
        <a:tcBdr>
          <a:top>
            <a:lnRef idx="2">
              <a:schemeClr val="dk2"/>
            </a:lnRef>
          </a:top>
          <a:bottom>
            <a:lnRef idx="1">
              <a:schemeClr val="accent2"/>
            </a:lnRef>
          </a:bottom>
        </a:tcBdr>
        <a:fill>
          <a:solidFill>
            <a:schemeClr val="dk2"/>
          </a:solidFill>
        </a:fill>
      </a:tcStyle>
    </a:neCell>
    <a:nwCell>
      <a:tcTxStyle b="on">
        <a:fontRef idx="minor"/>
        <a:schemeClr val="dk2"/>
      </a:tcTxStyle>
      <a:tcStyle>
        <a:tcBdr>
          <a:top>
            <a:lnRef idx="2">
              <a:schemeClr val="dk2"/>
            </a:lnRef>
          </a:top>
          <a:bottom>
            <a:lnRef idx="1">
              <a:schemeClr val="accent2"/>
            </a:lnRef>
          </a:bottom>
        </a:tcBdr>
        <a:fill>
          <a:solidFill>
            <a:schemeClr val="lt2"/>
          </a:solidFill>
        </a:fill>
      </a:tcStyle>
    </a:nwCell>
  </a:tblStyle>
  <a:tblStyle styleId="{5C22544A-7EE6-4342-B048-85BDC9FD1C3A}" styleName="Medium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2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rgbClr val="AEB0B3"/>
          </a:solidFill>
        </a:fill>
      </a:tcStyle>
    </a:band1H>
    <a:band2H>
      <a:tcTxStyle/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lt2"/>
          </a:solidFill>
        </a:fill>
      </a:tcStyle>
    </a:band2H>
    <a:band1V>
      <a:tcTxStyle/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rgbClr val="AEB0B3"/>
          </a:solidFill>
        </a:fill>
      </a:tcStyle>
    </a:band1V>
    <a:band2V>
      <a:tcTxStyle/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lt2"/>
          </a:solidFill>
        </a:fill>
      </a:tcStyle>
    </a:band2V>
    <a:lastCol>
      <a:tcTxStyle b="on">
        <a:fontRef idx="minor">
          <a:prstClr val="black"/>
        </a:fontRef>
        <a:schemeClr val="lt1"/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dk1"/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l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2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428" autoAdjust="0"/>
    <p:restoredTop sz="70640" autoAdjust="0"/>
  </p:normalViewPr>
  <p:slideViewPr>
    <p:cSldViewPr snapToGrid="0">
      <p:cViewPr varScale="1">
        <p:scale>
          <a:sx n="69" d="100"/>
          <a:sy n="69" d="100"/>
        </p:scale>
        <p:origin x="984" y="8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63" Type="http://schemas.openxmlformats.org/officeDocument/2006/relationships/commentAuthors" Target="commentAuthors.xml"/><Relationship Id="rId68" Type="http://schemas.microsoft.com/office/2016/11/relationships/changesInfo" Target="changesInfos/changesInfo1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66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61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notesMaster" Target="notesMasters/notesMaster1.xml"/><Relationship Id="rId65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slide" Target="slides/slide51.xml"/><Relationship Id="rId64" Type="http://schemas.openxmlformats.org/officeDocument/2006/relationships/presProps" Target="presProps.xml"/><Relationship Id="rId69" Type="http://schemas.microsoft.com/office/2015/10/relationships/revisionInfo" Target="revisionInfo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67" Type="http://schemas.openxmlformats.org/officeDocument/2006/relationships/tableStyles" Target="tableStyles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aurentiu Marinescu" userId="b0dd0703-37df-4a8b-9e5a-fe66a92f9c33" providerId="ADAL" clId="{7A108CF2-572F-45F0-8870-D39F0C477427}"/>
    <pc:docChg chg="undo custSel addSld delSld modSld sldOrd addSection modSection">
      <pc:chgData name="Laurentiu Marinescu" userId="b0dd0703-37df-4a8b-9e5a-fe66a92f9c33" providerId="ADAL" clId="{7A108CF2-572F-45F0-8870-D39F0C477427}" dt="2024-05-28T23:28:02.048" v="20510" actId="20577"/>
      <pc:docMkLst>
        <pc:docMk/>
      </pc:docMkLst>
      <pc:sldChg chg="addSp delSp modSp mod modNotesTx">
        <pc:chgData name="Laurentiu Marinescu" userId="b0dd0703-37df-4a8b-9e5a-fe66a92f9c33" providerId="ADAL" clId="{7A108CF2-572F-45F0-8870-D39F0C477427}" dt="2024-05-28T20:47:21.660" v="19252" actId="20577"/>
        <pc:sldMkLst>
          <pc:docMk/>
          <pc:sldMk cId="2051194066" sldId="256"/>
        </pc:sldMkLst>
        <pc:spChg chg="add del mod">
          <ac:chgData name="Laurentiu Marinescu" userId="b0dd0703-37df-4a8b-9e5a-fe66a92f9c33" providerId="ADAL" clId="{7A108CF2-572F-45F0-8870-D39F0C477427}" dt="2024-05-24T19:09:40.967" v="14592" actId="478"/>
          <ac:spMkLst>
            <pc:docMk/>
            <pc:sldMk cId="2051194066" sldId="256"/>
            <ac:spMk id="2" creationId="{5AEE8B30-2EFF-18A6-B837-1B5EB366CDF5}"/>
          </ac:spMkLst>
        </pc:spChg>
        <pc:spChg chg="add mod">
          <ac:chgData name="Laurentiu Marinescu" userId="b0dd0703-37df-4a8b-9e5a-fe66a92f9c33" providerId="ADAL" clId="{7A108CF2-572F-45F0-8870-D39F0C477427}" dt="2024-05-24T19:09:44.507" v="14594" actId="207"/>
          <ac:spMkLst>
            <pc:docMk/>
            <pc:sldMk cId="2051194066" sldId="256"/>
            <ac:spMk id="3" creationId="{562CEE61-B73F-066E-34F3-4B2F7AF388E6}"/>
          </ac:spMkLst>
        </pc:spChg>
      </pc:sldChg>
      <pc:sldChg chg="addSp delSp modSp mod modNotesTx">
        <pc:chgData name="Laurentiu Marinescu" userId="b0dd0703-37df-4a8b-9e5a-fe66a92f9c33" providerId="ADAL" clId="{7A108CF2-572F-45F0-8870-D39F0C477427}" dt="2024-05-28T21:03:32.442" v="19602" actId="313"/>
        <pc:sldMkLst>
          <pc:docMk/>
          <pc:sldMk cId="1614653670" sldId="295"/>
        </pc:sldMkLst>
        <pc:spChg chg="add del mod">
          <ac:chgData name="Laurentiu Marinescu" userId="b0dd0703-37df-4a8b-9e5a-fe66a92f9c33" providerId="ADAL" clId="{7A108CF2-572F-45F0-8870-D39F0C477427}" dt="2024-05-24T19:12:50.025" v="14620" actId="478"/>
          <ac:spMkLst>
            <pc:docMk/>
            <pc:sldMk cId="1614653670" sldId="295"/>
            <ac:spMk id="3" creationId="{76389E21-197B-E2C5-6440-CB4A834CC731}"/>
          </ac:spMkLst>
        </pc:spChg>
        <pc:spChg chg="add del mod">
          <ac:chgData name="Laurentiu Marinescu" userId="b0dd0703-37df-4a8b-9e5a-fe66a92f9c33" providerId="ADAL" clId="{7A108CF2-572F-45F0-8870-D39F0C477427}" dt="2024-05-24T19:12:35.182" v="14616" actId="478"/>
          <ac:spMkLst>
            <pc:docMk/>
            <pc:sldMk cId="1614653670" sldId="295"/>
            <ac:spMk id="5" creationId="{956668C9-D305-F683-9533-76973509C81F}"/>
          </ac:spMkLst>
        </pc:spChg>
        <pc:spChg chg="add mod">
          <ac:chgData name="Laurentiu Marinescu" userId="b0dd0703-37df-4a8b-9e5a-fe66a92f9c33" providerId="ADAL" clId="{7A108CF2-572F-45F0-8870-D39F0C477427}" dt="2024-05-24T19:12:54.393" v="14622" actId="207"/>
          <ac:spMkLst>
            <pc:docMk/>
            <pc:sldMk cId="1614653670" sldId="295"/>
            <ac:spMk id="7" creationId="{615E7692-9359-11B2-B951-72A160C07A95}"/>
          </ac:spMkLst>
        </pc:spChg>
        <pc:picChg chg="add del mod">
          <ac:chgData name="Laurentiu Marinescu" userId="b0dd0703-37df-4a8b-9e5a-fe66a92f9c33" providerId="ADAL" clId="{7A108CF2-572F-45F0-8870-D39F0C477427}" dt="2024-05-24T19:12:37.917" v="14618" actId="1076"/>
          <ac:picMkLst>
            <pc:docMk/>
            <pc:sldMk cId="1614653670" sldId="295"/>
            <ac:picMk id="9" creationId="{86A59FD9-F2BC-1329-B0C6-62FE55F5CD98}"/>
          </ac:picMkLst>
        </pc:picChg>
      </pc:sldChg>
      <pc:sldChg chg="addSp delSp modSp mod modNotesTx">
        <pc:chgData name="Laurentiu Marinescu" userId="b0dd0703-37df-4a8b-9e5a-fe66a92f9c33" providerId="ADAL" clId="{7A108CF2-572F-45F0-8870-D39F0C477427}" dt="2024-05-28T23:00:22.414" v="20195" actId="20577"/>
        <pc:sldMkLst>
          <pc:docMk/>
          <pc:sldMk cId="4236914922" sldId="301"/>
        </pc:sldMkLst>
        <pc:spChg chg="mod">
          <ac:chgData name="Laurentiu Marinescu" userId="b0dd0703-37df-4a8b-9e5a-fe66a92f9c33" providerId="ADAL" clId="{7A108CF2-572F-45F0-8870-D39F0C477427}" dt="2024-05-24T10:14:00.877" v="2670" actId="1076"/>
          <ac:spMkLst>
            <pc:docMk/>
            <pc:sldMk cId="4236914922" sldId="301"/>
            <ac:spMk id="2" creationId="{FE141E0E-16C6-E816-64E9-1FDB0586EFA9}"/>
          </ac:spMkLst>
        </pc:spChg>
        <pc:spChg chg="add mod">
          <ac:chgData name="Laurentiu Marinescu" userId="b0dd0703-37df-4a8b-9e5a-fe66a92f9c33" providerId="ADAL" clId="{7A108CF2-572F-45F0-8870-D39F0C477427}" dt="2024-05-24T10:14:04.931" v="2671" actId="1076"/>
          <ac:spMkLst>
            <pc:docMk/>
            <pc:sldMk cId="4236914922" sldId="301"/>
            <ac:spMk id="3" creationId="{72981EAE-A4EF-B04A-684C-713FF4F30D44}"/>
          </ac:spMkLst>
        </pc:spChg>
        <pc:spChg chg="add del mod">
          <ac:chgData name="Laurentiu Marinescu" userId="b0dd0703-37df-4a8b-9e5a-fe66a92f9c33" providerId="ADAL" clId="{7A108CF2-572F-45F0-8870-D39F0C477427}" dt="2024-05-24T19:14:02.067" v="14641" actId="478"/>
          <ac:spMkLst>
            <pc:docMk/>
            <pc:sldMk cId="4236914922" sldId="301"/>
            <ac:spMk id="7" creationId="{245E5722-7914-4674-12A5-DDE13582E6B6}"/>
          </ac:spMkLst>
        </pc:spChg>
        <pc:spChg chg="add del mod">
          <ac:chgData name="Laurentiu Marinescu" userId="b0dd0703-37df-4a8b-9e5a-fe66a92f9c33" providerId="ADAL" clId="{7A108CF2-572F-45F0-8870-D39F0C477427}" dt="2024-05-28T19:24:01.737" v="17598" actId="478"/>
          <ac:spMkLst>
            <pc:docMk/>
            <pc:sldMk cId="4236914922" sldId="301"/>
            <ac:spMk id="7" creationId="{CCF477DF-805D-94BB-3619-DA903EFE7FC5}"/>
          </ac:spMkLst>
        </pc:spChg>
        <pc:spChg chg="add mod">
          <ac:chgData name="Laurentiu Marinescu" userId="b0dd0703-37df-4a8b-9e5a-fe66a92f9c33" providerId="ADAL" clId="{7A108CF2-572F-45F0-8870-D39F0C477427}" dt="2024-05-28T19:48:21.805" v="17846" actId="207"/>
          <ac:spMkLst>
            <pc:docMk/>
            <pc:sldMk cId="4236914922" sldId="301"/>
            <ac:spMk id="8" creationId="{BB3BCB21-2E9C-8BFF-ED1A-88BACBC8E0DB}"/>
          </ac:spMkLst>
        </pc:spChg>
        <pc:picChg chg="del mod">
          <ac:chgData name="Laurentiu Marinescu" userId="b0dd0703-37df-4a8b-9e5a-fe66a92f9c33" providerId="ADAL" clId="{7A108CF2-572F-45F0-8870-D39F0C477427}" dt="2024-05-14T15:00:36.144" v="20" actId="478"/>
          <ac:picMkLst>
            <pc:docMk/>
            <pc:sldMk cId="4236914922" sldId="301"/>
            <ac:picMk id="5" creationId="{497A19F6-1653-C028-2209-290132EBE231}"/>
          </ac:picMkLst>
        </pc:picChg>
        <pc:picChg chg="add del mod">
          <ac:chgData name="Laurentiu Marinescu" userId="b0dd0703-37df-4a8b-9e5a-fe66a92f9c33" providerId="ADAL" clId="{7A108CF2-572F-45F0-8870-D39F0C477427}" dt="2024-05-28T19:23:59.182" v="17596" actId="478"/>
          <ac:picMkLst>
            <pc:docMk/>
            <pc:sldMk cId="4236914922" sldId="301"/>
            <ac:picMk id="5" creationId="{9556129A-522E-0F13-ADA6-8B823C857366}"/>
          </ac:picMkLst>
        </pc:picChg>
        <pc:picChg chg="add mod ord">
          <ac:chgData name="Laurentiu Marinescu" userId="b0dd0703-37df-4a8b-9e5a-fe66a92f9c33" providerId="ADAL" clId="{7A108CF2-572F-45F0-8870-D39F0C477427}" dt="2024-05-28T19:24:19.759" v="17601" actId="1076"/>
          <ac:picMkLst>
            <pc:docMk/>
            <pc:sldMk cId="4236914922" sldId="301"/>
            <ac:picMk id="9" creationId="{497760B7-9C11-79B2-5BD0-FB0192456542}"/>
          </ac:picMkLst>
        </pc:picChg>
      </pc:sldChg>
      <pc:sldChg chg="addSp delSp modSp mod modNotesTx">
        <pc:chgData name="Laurentiu Marinescu" userId="b0dd0703-37df-4a8b-9e5a-fe66a92f9c33" providerId="ADAL" clId="{7A108CF2-572F-45F0-8870-D39F0C477427}" dt="2024-05-28T22:03:42.958" v="20151" actId="20577"/>
        <pc:sldMkLst>
          <pc:docMk/>
          <pc:sldMk cId="915216931" sldId="302"/>
        </pc:sldMkLst>
        <pc:spChg chg="mod">
          <ac:chgData name="Laurentiu Marinescu" userId="b0dd0703-37df-4a8b-9e5a-fe66a92f9c33" providerId="ADAL" clId="{7A108CF2-572F-45F0-8870-D39F0C477427}" dt="2024-05-24T10:13:42.054" v="2667" actId="1076"/>
          <ac:spMkLst>
            <pc:docMk/>
            <pc:sldMk cId="915216931" sldId="302"/>
            <ac:spMk id="2" creationId="{FE141E0E-16C6-E816-64E9-1FDB0586EFA9}"/>
          </ac:spMkLst>
        </pc:spChg>
        <pc:spChg chg="add del mod">
          <ac:chgData name="Laurentiu Marinescu" userId="b0dd0703-37df-4a8b-9e5a-fe66a92f9c33" providerId="ADAL" clId="{7A108CF2-572F-45F0-8870-D39F0C477427}" dt="2024-05-24T19:13:53.472" v="14638" actId="478"/>
          <ac:spMkLst>
            <pc:docMk/>
            <pc:sldMk cId="915216931" sldId="302"/>
            <ac:spMk id="3" creationId="{4A7E9834-0A83-CD07-D6DD-93A8D4E8404F}"/>
          </ac:spMkLst>
        </pc:spChg>
        <pc:spChg chg="add mod">
          <ac:chgData name="Laurentiu Marinescu" userId="b0dd0703-37df-4a8b-9e5a-fe66a92f9c33" providerId="ADAL" clId="{7A108CF2-572F-45F0-8870-D39F0C477427}" dt="2024-05-28T19:48:16.942" v="17845" actId="207"/>
          <ac:spMkLst>
            <pc:docMk/>
            <pc:sldMk cId="915216931" sldId="302"/>
            <ac:spMk id="4" creationId="{1DDDB9AC-78F2-03FE-C18D-C900EE81B392}"/>
          </ac:spMkLst>
        </pc:spChg>
        <pc:spChg chg="del mod">
          <ac:chgData name="Laurentiu Marinescu" userId="b0dd0703-37df-4a8b-9e5a-fe66a92f9c33" providerId="ADAL" clId="{7A108CF2-572F-45F0-8870-D39F0C477427}" dt="2024-05-24T10:10:39.207" v="2619" actId="478"/>
          <ac:spMkLst>
            <pc:docMk/>
            <pc:sldMk cId="915216931" sldId="302"/>
            <ac:spMk id="4" creationId="{7609AF40-A510-231A-F449-77C8AE4EE7CC}"/>
          </ac:spMkLst>
        </pc:spChg>
        <pc:spChg chg="add mod">
          <ac:chgData name="Laurentiu Marinescu" userId="b0dd0703-37df-4a8b-9e5a-fe66a92f9c33" providerId="ADAL" clId="{7A108CF2-572F-45F0-8870-D39F0C477427}" dt="2024-05-28T19:23:20.366" v="17582" actId="20577"/>
          <ac:spMkLst>
            <pc:docMk/>
            <pc:sldMk cId="915216931" sldId="302"/>
            <ac:spMk id="7" creationId="{CDFCCF6D-4466-8ACA-EF3A-89F88CDD2388}"/>
          </ac:spMkLst>
        </pc:spChg>
        <pc:spChg chg="mod">
          <ac:chgData name="Laurentiu Marinescu" userId="b0dd0703-37df-4a8b-9e5a-fe66a92f9c33" providerId="ADAL" clId="{7A108CF2-572F-45F0-8870-D39F0C477427}" dt="2024-05-24T10:12:22.514" v="2646" actId="14100"/>
          <ac:spMkLst>
            <pc:docMk/>
            <pc:sldMk cId="915216931" sldId="302"/>
            <ac:spMk id="8" creationId="{87AFF6D4-8393-FE25-16F5-FFC3A3997158}"/>
          </ac:spMkLst>
        </pc:spChg>
        <pc:spChg chg="mod">
          <ac:chgData name="Laurentiu Marinescu" userId="b0dd0703-37df-4a8b-9e5a-fe66a92f9c33" providerId="ADAL" clId="{7A108CF2-572F-45F0-8870-D39F0C477427}" dt="2024-05-24T10:12:46.940" v="2653" actId="1076"/>
          <ac:spMkLst>
            <pc:docMk/>
            <pc:sldMk cId="915216931" sldId="302"/>
            <ac:spMk id="9" creationId="{B3FF3794-7708-B181-7B68-ABD207E20998}"/>
          </ac:spMkLst>
        </pc:spChg>
        <pc:spChg chg="del mod">
          <ac:chgData name="Laurentiu Marinescu" userId="b0dd0703-37df-4a8b-9e5a-fe66a92f9c33" providerId="ADAL" clId="{7A108CF2-572F-45F0-8870-D39F0C477427}" dt="2024-05-28T19:23:26.677" v="17585" actId="478"/>
          <ac:spMkLst>
            <pc:docMk/>
            <pc:sldMk cId="915216931" sldId="302"/>
            <ac:spMk id="10" creationId="{9E30DF51-3C78-8388-6D0B-879BE3CDDD48}"/>
          </ac:spMkLst>
        </pc:spChg>
        <pc:spChg chg="del mod">
          <ac:chgData name="Laurentiu Marinescu" userId="b0dd0703-37df-4a8b-9e5a-fe66a92f9c33" providerId="ADAL" clId="{7A108CF2-572F-45F0-8870-D39F0C477427}" dt="2024-05-28T19:23:11.567" v="17579" actId="478"/>
          <ac:spMkLst>
            <pc:docMk/>
            <pc:sldMk cId="915216931" sldId="302"/>
            <ac:spMk id="11" creationId="{8B174B54-B726-6F7F-F8FA-436B03FDD102}"/>
          </ac:spMkLst>
        </pc:spChg>
        <pc:spChg chg="mod">
          <ac:chgData name="Laurentiu Marinescu" userId="b0dd0703-37df-4a8b-9e5a-fe66a92f9c33" providerId="ADAL" clId="{7A108CF2-572F-45F0-8870-D39F0C477427}" dt="2024-05-24T10:12:43.547" v="2652" actId="1076"/>
          <ac:spMkLst>
            <pc:docMk/>
            <pc:sldMk cId="915216931" sldId="302"/>
            <ac:spMk id="13" creationId="{72F5C0D5-D741-B329-DE07-248ACD73A23F}"/>
          </ac:spMkLst>
        </pc:spChg>
        <pc:spChg chg="del mod">
          <ac:chgData name="Laurentiu Marinescu" userId="b0dd0703-37df-4a8b-9e5a-fe66a92f9c33" providerId="ADAL" clId="{7A108CF2-572F-45F0-8870-D39F0C477427}" dt="2024-05-28T19:23:46.017" v="17592" actId="478"/>
          <ac:spMkLst>
            <pc:docMk/>
            <pc:sldMk cId="915216931" sldId="302"/>
            <ac:spMk id="14" creationId="{B81B7EA6-6F9A-F6EF-B9E9-5CBB3ECDF693}"/>
          </ac:spMkLst>
        </pc:spChg>
        <pc:spChg chg="mod">
          <ac:chgData name="Laurentiu Marinescu" userId="b0dd0703-37df-4a8b-9e5a-fe66a92f9c33" providerId="ADAL" clId="{7A108CF2-572F-45F0-8870-D39F0C477427}" dt="2024-05-24T10:12:55.569" v="2655" actId="1076"/>
          <ac:spMkLst>
            <pc:docMk/>
            <pc:sldMk cId="915216931" sldId="302"/>
            <ac:spMk id="17" creationId="{02532913-418E-6AB4-42DD-2140FCE5A81F}"/>
          </ac:spMkLst>
        </pc:spChg>
        <pc:spChg chg="mod">
          <ac:chgData name="Laurentiu Marinescu" userId="b0dd0703-37df-4a8b-9e5a-fe66a92f9c33" providerId="ADAL" clId="{7A108CF2-572F-45F0-8870-D39F0C477427}" dt="2024-05-24T10:13:01.295" v="2657" actId="1076"/>
          <ac:spMkLst>
            <pc:docMk/>
            <pc:sldMk cId="915216931" sldId="302"/>
            <ac:spMk id="18" creationId="{3D2D5F83-66ED-1FDC-9785-8292C45CE0CB}"/>
          </ac:spMkLst>
        </pc:spChg>
        <pc:spChg chg="mod">
          <ac:chgData name="Laurentiu Marinescu" userId="b0dd0703-37df-4a8b-9e5a-fe66a92f9c33" providerId="ADAL" clId="{7A108CF2-572F-45F0-8870-D39F0C477427}" dt="2024-05-24T10:12:34.116" v="2649" actId="1076"/>
          <ac:spMkLst>
            <pc:docMk/>
            <pc:sldMk cId="915216931" sldId="302"/>
            <ac:spMk id="20" creationId="{9ACCE333-BAC1-813E-8A3B-565FD867B5AF}"/>
          </ac:spMkLst>
        </pc:spChg>
        <pc:spChg chg="add mod">
          <ac:chgData name="Laurentiu Marinescu" userId="b0dd0703-37df-4a8b-9e5a-fe66a92f9c33" providerId="ADAL" clId="{7A108CF2-572F-45F0-8870-D39F0C477427}" dt="2024-05-28T19:23:32.432" v="17588" actId="20577"/>
          <ac:spMkLst>
            <pc:docMk/>
            <pc:sldMk cId="915216931" sldId="302"/>
            <ac:spMk id="21" creationId="{0D2C1290-4E65-CF37-8D5E-3E66BB30A23C}"/>
          </ac:spMkLst>
        </pc:spChg>
        <pc:spChg chg="add del mod">
          <ac:chgData name="Laurentiu Marinescu" userId="b0dd0703-37df-4a8b-9e5a-fe66a92f9c33" providerId="ADAL" clId="{7A108CF2-572F-45F0-8870-D39F0C477427}" dt="2024-05-24T10:11:09.937" v="2626" actId="478"/>
          <ac:spMkLst>
            <pc:docMk/>
            <pc:sldMk cId="915216931" sldId="302"/>
            <ac:spMk id="21" creationId="{2A786526-2D20-C35E-295F-DB32CDA8E6D8}"/>
          </ac:spMkLst>
        </pc:spChg>
        <pc:spChg chg="add mod">
          <ac:chgData name="Laurentiu Marinescu" userId="b0dd0703-37df-4a8b-9e5a-fe66a92f9c33" providerId="ADAL" clId="{7A108CF2-572F-45F0-8870-D39F0C477427}" dt="2024-05-28T19:23:50.402" v="17595" actId="20577"/>
          <ac:spMkLst>
            <pc:docMk/>
            <pc:sldMk cId="915216931" sldId="302"/>
            <ac:spMk id="22" creationId="{E90113ED-C2A2-5759-5BF1-5B107028EE58}"/>
          </ac:spMkLst>
        </pc:spChg>
        <pc:picChg chg="add mod ord">
          <ac:chgData name="Laurentiu Marinescu" userId="b0dd0703-37df-4a8b-9e5a-fe66a92f9c33" providerId="ADAL" clId="{7A108CF2-572F-45F0-8870-D39F0C477427}" dt="2024-05-28T19:22:16.822" v="17574" actId="167"/>
          <ac:picMkLst>
            <pc:docMk/>
            <pc:sldMk cId="915216931" sldId="302"/>
            <ac:picMk id="3" creationId="{50A51222-A4E9-A5FD-4B1D-493D9F592549}"/>
          </ac:picMkLst>
        </pc:picChg>
        <pc:picChg chg="add del mod">
          <ac:chgData name="Laurentiu Marinescu" userId="b0dd0703-37df-4a8b-9e5a-fe66a92f9c33" providerId="ADAL" clId="{7A108CF2-572F-45F0-8870-D39F0C477427}" dt="2024-05-28T19:22:10.383" v="17571" actId="478"/>
          <ac:picMkLst>
            <pc:docMk/>
            <pc:sldMk cId="915216931" sldId="302"/>
            <ac:picMk id="5" creationId="{30443825-3883-A8B9-57E4-0630A691B2E3}"/>
          </ac:picMkLst>
        </pc:picChg>
        <pc:picChg chg="mod">
          <ac:chgData name="Laurentiu Marinescu" userId="b0dd0703-37df-4a8b-9e5a-fe66a92f9c33" providerId="ADAL" clId="{7A108CF2-572F-45F0-8870-D39F0C477427}" dt="2024-05-24T10:12:40.305" v="2651" actId="1076"/>
          <ac:picMkLst>
            <pc:docMk/>
            <pc:sldMk cId="915216931" sldId="302"/>
            <ac:picMk id="12" creationId="{FC5F5E22-357B-DE4F-4D45-0A44CE5BE307}"/>
          </ac:picMkLst>
        </pc:picChg>
        <pc:picChg chg="mod">
          <ac:chgData name="Laurentiu Marinescu" userId="b0dd0703-37df-4a8b-9e5a-fe66a92f9c33" providerId="ADAL" clId="{7A108CF2-572F-45F0-8870-D39F0C477427}" dt="2024-05-24T10:12:58.009" v="2656" actId="1076"/>
          <ac:picMkLst>
            <pc:docMk/>
            <pc:sldMk cId="915216931" sldId="302"/>
            <ac:picMk id="15" creationId="{6F8CD391-5A57-C8B1-258C-46647E6602EC}"/>
          </ac:picMkLst>
        </pc:picChg>
        <pc:picChg chg="mod">
          <ac:chgData name="Laurentiu Marinescu" userId="b0dd0703-37df-4a8b-9e5a-fe66a92f9c33" providerId="ADAL" clId="{7A108CF2-572F-45F0-8870-D39F0C477427}" dt="2024-05-24T10:12:50.296" v="2654" actId="1076"/>
          <ac:picMkLst>
            <pc:docMk/>
            <pc:sldMk cId="915216931" sldId="302"/>
            <ac:picMk id="16" creationId="{18DE2B1C-CE7F-0D4B-EAB6-4A7D821C11D0}"/>
          </ac:picMkLst>
        </pc:picChg>
        <pc:picChg chg="mod">
          <ac:chgData name="Laurentiu Marinescu" userId="b0dd0703-37df-4a8b-9e5a-fe66a92f9c33" providerId="ADAL" clId="{7A108CF2-572F-45F0-8870-D39F0C477427}" dt="2024-05-24T10:12:37.839" v="2650" actId="1076"/>
          <ac:picMkLst>
            <pc:docMk/>
            <pc:sldMk cId="915216931" sldId="302"/>
            <ac:picMk id="19" creationId="{69A02D5D-5F90-24EA-C853-3CD9C209FEB2}"/>
          </ac:picMkLst>
        </pc:picChg>
      </pc:sldChg>
      <pc:sldChg chg="addSp modSp del mod modNotesTx">
        <pc:chgData name="Laurentiu Marinescu" userId="b0dd0703-37df-4a8b-9e5a-fe66a92f9c33" providerId="ADAL" clId="{7A108CF2-572F-45F0-8870-D39F0C477427}" dt="2024-05-24T14:11:20.745" v="12481" actId="47"/>
        <pc:sldMkLst>
          <pc:docMk/>
          <pc:sldMk cId="518092277" sldId="306"/>
        </pc:sldMkLst>
        <pc:spChg chg="add mod">
          <ac:chgData name="Laurentiu Marinescu" userId="b0dd0703-37df-4a8b-9e5a-fe66a92f9c33" providerId="ADAL" clId="{7A108CF2-572F-45F0-8870-D39F0C477427}" dt="2024-05-15T12:09:40.989" v="684" actId="1076"/>
          <ac:spMkLst>
            <pc:docMk/>
            <pc:sldMk cId="518092277" sldId="306"/>
            <ac:spMk id="2" creationId="{1159769A-4E35-BC1D-0DD4-B2A9F070F758}"/>
          </ac:spMkLst>
        </pc:spChg>
      </pc:sldChg>
      <pc:sldChg chg="addSp delSp modSp mod modNotesTx">
        <pc:chgData name="Laurentiu Marinescu" userId="b0dd0703-37df-4a8b-9e5a-fe66a92f9c33" providerId="ADAL" clId="{7A108CF2-572F-45F0-8870-D39F0C477427}" dt="2024-05-28T20:17:07.962" v="18301" actId="20577"/>
        <pc:sldMkLst>
          <pc:docMk/>
          <pc:sldMk cId="3875090794" sldId="310"/>
        </pc:sldMkLst>
        <pc:spChg chg="add del mod">
          <ac:chgData name="Laurentiu Marinescu" userId="b0dd0703-37df-4a8b-9e5a-fe66a92f9c33" providerId="ADAL" clId="{7A108CF2-572F-45F0-8870-D39F0C477427}" dt="2024-05-24T19:07:52.860" v="14575" actId="478"/>
          <ac:spMkLst>
            <pc:docMk/>
            <pc:sldMk cId="3875090794" sldId="310"/>
            <ac:spMk id="2" creationId="{D4B066F8-E03C-8171-38A1-677DE1C60597}"/>
          </ac:spMkLst>
        </pc:spChg>
        <pc:spChg chg="add mod">
          <ac:chgData name="Laurentiu Marinescu" userId="b0dd0703-37df-4a8b-9e5a-fe66a92f9c33" providerId="ADAL" clId="{7A108CF2-572F-45F0-8870-D39F0C477427}" dt="2024-05-24T19:07:53.225" v="14576"/>
          <ac:spMkLst>
            <pc:docMk/>
            <pc:sldMk cId="3875090794" sldId="310"/>
            <ac:spMk id="3" creationId="{06543D5D-1085-6632-C85F-91C1C0602AF2}"/>
          </ac:spMkLst>
        </pc:spChg>
        <pc:spChg chg="mod">
          <ac:chgData name="Laurentiu Marinescu" userId="b0dd0703-37df-4a8b-9e5a-fe66a92f9c33" providerId="ADAL" clId="{7A108CF2-572F-45F0-8870-D39F0C477427}" dt="2024-05-27T09:56:30.251" v="14774" actId="20577"/>
          <ac:spMkLst>
            <pc:docMk/>
            <pc:sldMk cId="3875090794" sldId="310"/>
            <ac:spMk id="5" creationId="{0C80378E-ECCB-47F3-B640-149D8628CEC1}"/>
          </ac:spMkLst>
        </pc:spChg>
        <pc:spChg chg="del">
          <ac:chgData name="Laurentiu Marinescu" userId="b0dd0703-37df-4a8b-9e5a-fe66a92f9c33" providerId="ADAL" clId="{7A108CF2-572F-45F0-8870-D39F0C477427}" dt="2024-05-24T11:51:11.941" v="6007" actId="478"/>
          <ac:spMkLst>
            <pc:docMk/>
            <pc:sldMk cId="3875090794" sldId="310"/>
            <ac:spMk id="7" creationId="{FF085637-84CB-4CEC-8C31-EA791183E429}"/>
          </ac:spMkLst>
        </pc:spChg>
        <pc:spChg chg="mod">
          <ac:chgData name="Laurentiu Marinescu" userId="b0dd0703-37df-4a8b-9e5a-fe66a92f9c33" providerId="ADAL" clId="{7A108CF2-572F-45F0-8870-D39F0C477427}" dt="2024-05-15T11:58:06.672" v="510" actId="1076"/>
          <ac:spMkLst>
            <pc:docMk/>
            <pc:sldMk cId="3875090794" sldId="310"/>
            <ac:spMk id="17" creationId="{B624523B-8D1B-4F5B-A3C1-0EE082158C99}"/>
          </ac:spMkLst>
        </pc:spChg>
      </pc:sldChg>
      <pc:sldChg chg="addSp delSp modSp mod modNotesTx">
        <pc:chgData name="Laurentiu Marinescu" userId="b0dd0703-37df-4a8b-9e5a-fe66a92f9c33" providerId="ADAL" clId="{7A108CF2-572F-45F0-8870-D39F0C477427}" dt="2024-05-28T20:18:53.758" v="18345" actId="20577"/>
        <pc:sldMkLst>
          <pc:docMk/>
          <pc:sldMk cId="1141480278" sldId="311"/>
        </pc:sldMkLst>
        <pc:spChg chg="add del mod">
          <ac:chgData name="Laurentiu Marinescu" userId="b0dd0703-37df-4a8b-9e5a-fe66a92f9c33" providerId="ADAL" clId="{7A108CF2-572F-45F0-8870-D39F0C477427}" dt="2024-05-15T11:58:13.703" v="512"/>
          <ac:spMkLst>
            <pc:docMk/>
            <pc:sldMk cId="1141480278" sldId="311"/>
            <ac:spMk id="2" creationId="{299F6047-2D89-886B-E68D-640CD2463050}"/>
          </ac:spMkLst>
        </pc:spChg>
        <pc:spChg chg="add mod">
          <ac:chgData name="Laurentiu Marinescu" userId="b0dd0703-37df-4a8b-9e5a-fe66a92f9c33" providerId="ADAL" clId="{7A108CF2-572F-45F0-8870-D39F0C477427}" dt="2024-05-24T19:08:16.668" v="14578"/>
          <ac:spMkLst>
            <pc:docMk/>
            <pc:sldMk cId="1141480278" sldId="311"/>
            <ac:spMk id="2" creationId="{C97BB6C6-240A-885B-0047-9815028608B8}"/>
          </ac:spMkLst>
        </pc:spChg>
        <pc:spChg chg="add del mod">
          <ac:chgData name="Laurentiu Marinescu" userId="b0dd0703-37df-4a8b-9e5a-fe66a92f9c33" providerId="ADAL" clId="{7A108CF2-572F-45F0-8870-D39F0C477427}" dt="2024-05-24T19:08:15.774" v="14577" actId="478"/>
          <ac:spMkLst>
            <pc:docMk/>
            <pc:sldMk cId="1141480278" sldId="311"/>
            <ac:spMk id="3" creationId="{EFC8CC8D-4AF8-07AB-3776-05E1AD7A0AFB}"/>
          </ac:spMkLst>
        </pc:spChg>
        <pc:picChg chg="add del mod">
          <ac:chgData name="Laurentiu Marinescu" userId="b0dd0703-37df-4a8b-9e5a-fe66a92f9c33" providerId="ADAL" clId="{7A108CF2-572F-45F0-8870-D39F0C477427}" dt="2024-05-28T20:18:50.235" v="18342"/>
          <ac:picMkLst>
            <pc:docMk/>
            <pc:sldMk cId="1141480278" sldId="311"/>
            <ac:picMk id="3" creationId="{AE1FD63E-1E4A-F3D4-D3C3-12B4672B2665}"/>
          </ac:picMkLst>
        </pc:picChg>
      </pc:sldChg>
      <pc:sldChg chg="addSp delSp modSp mod ord modNotesTx">
        <pc:chgData name="Laurentiu Marinescu" userId="b0dd0703-37df-4a8b-9e5a-fe66a92f9c33" providerId="ADAL" clId="{7A108CF2-572F-45F0-8870-D39F0C477427}" dt="2024-05-28T21:22:55.428" v="20056"/>
        <pc:sldMkLst>
          <pc:docMk/>
          <pc:sldMk cId="65516019" sldId="313"/>
        </pc:sldMkLst>
        <pc:spChg chg="add del mod">
          <ac:chgData name="Laurentiu Marinescu" userId="b0dd0703-37df-4a8b-9e5a-fe66a92f9c33" providerId="ADAL" clId="{7A108CF2-572F-45F0-8870-D39F0C477427}" dt="2024-05-24T19:08:24.447" v="14579" actId="478"/>
          <ac:spMkLst>
            <pc:docMk/>
            <pc:sldMk cId="65516019" sldId="313"/>
            <ac:spMk id="2" creationId="{0799815C-C1D2-9594-EC23-E5BE1B9AE852}"/>
          </ac:spMkLst>
        </pc:spChg>
        <pc:spChg chg="add mod">
          <ac:chgData name="Laurentiu Marinescu" userId="b0dd0703-37df-4a8b-9e5a-fe66a92f9c33" providerId="ADAL" clId="{7A108CF2-572F-45F0-8870-D39F0C477427}" dt="2024-05-24T19:08:24.861" v="14580"/>
          <ac:spMkLst>
            <pc:docMk/>
            <pc:sldMk cId="65516019" sldId="313"/>
            <ac:spMk id="3" creationId="{139C7154-997D-57E3-C101-0E5C6E481390}"/>
          </ac:spMkLst>
        </pc:spChg>
        <pc:picChg chg="mod">
          <ac:chgData name="Laurentiu Marinescu" userId="b0dd0703-37df-4a8b-9e5a-fe66a92f9c33" providerId="ADAL" clId="{7A108CF2-572F-45F0-8870-D39F0C477427}" dt="2024-05-28T20:21:51.903" v="18346" actId="1036"/>
          <ac:picMkLst>
            <pc:docMk/>
            <pc:sldMk cId="65516019" sldId="313"/>
            <ac:picMk id="8" creationId="{DD302734-F892-47E9-92E8-B2D13E3BE4C8}"/>
          </ac:picMkLst>
        </pc:picChg>
      </pc:sldChg>
      <pc:sldChg chg="del">
        <pc:chgData name="Laurentiu Marinescu" userId="b0dd0703-37df-4a8b-9e5a-fe66a92f9c33" providerId="ADAL" clId="{7A108CF2-572F-45F0-8870-D39F0C477427}" dt="2024-05-23T09:53:30.371" v="1523" actId="47"/>
        <pc:sldMkLst>
          <pc:docMk/>
          <pc:sldMk cId="334115404" sldId="314"/>
        </pc:sldMkLst>
      </pc:sldChg>
      <pc:sldChg chg="addSp modSp del mod">
        <pc:chgData name="Laurentiu Marinescu" userId="b0dd0703-37df-4a8b-9e5a-fe66a92f9c33" providerId="ADAL" clId="{7A108CF2-572F-45F0-8870-D39F0C477427}" dt="2024-05-24T08:47:17.619" v="1821" actId="47"/>
        <pc:sldMkLst>
          <pc:docMk/>
          <pc:sldMk cId="3565457064" sldId="355"/>
        </pc:sldMkLst>
        <pc:spChg chg="add mod">
          <ac:chgData name="Laurentiu Marinescu" userId="b0dd0703-37df-4a8b-9e5a-fe66a92f9c33" providerId="ADAL" clId="{7A108CF2-572F-45F0-8870-D39F0C477427}" dt="2024-05-15T12:09:48.409" v="685" actId="947"/>
          <ac:spMkLst>
            <pc:docMk/>
            <pc:sldMk cId="3565457064" sldId="355"/>
            <ac:spMk id="2" creationId="{BA2204E1-847D-A088-56DA-D37FF3BFA5A0}"/>
          </ac:spMkLst>
        </pc:spChg>
      </pc:sldChg>
      <pc:sldChg chg="addSp delSp modSp del mod modNotesTx">
        <pc:chgData name="Laurentiu Marinescu" userId="b0dd0703-37df-4a8b-9e5a-fe66a92f9c33" providerId="ADAL" clId="{7A108CF2-572F-45F0-8870-D39F0C477427}" dt="2024-05-23T11:32:19.774" v="1646" actId="47"/>
        <pc:sldMkLst>
          <pc:docMk/>
          <pc:sldMk cId="3114214788" sldId="552"/>
        </pc:sldMkLst>
        <pc:spChg chg="add del mod">
          <ac:chgData name="Laurentiu Marinescu" userId="b0dd0703-37df-4a8b-9e5a-fe66a92f9c33" providerId="ADAL" clId="{7A108CF2-572F-45F0-8870-D39F0C477427}" dt="2024-05-15T12:21:53.400" v="769" actId="478"/>
          <ac:spMkLst>
            <pc:docMk/>
            <pc:sldMk cId="3114214788" sldId="552"/>
            <ac:spMk id="7" creationId="{15C22CF7-04A1-8ACE-4C3B-971461E43FA1}"/>
          </ac:spMkLst>
        </pc:spChg>
        <pc:spChg chg="add del mod">
          <ac:chgData name="Laurentiu Marinescu" userId="b0dd0703-37df-4a8b-9e5a-fe66a92f9c33" providerId="ADAL" clId="{7A108CF2-572F-45F0-8870-D39F0C477427}" dt="2024-05-15T12:22:19.953" v="775"/>
          <ac:spMkLst>
            <pc:docMk/>
            <pc:sldMk cId="3114214788" sldId="552"/>
            <ac:spMk id="8" creationId="{482F2D7D-D34C-43B0-FC92-D962FA0081DD}"/>
          </ac:spMkLst>
        </pc:spChg>
        <pc:spChg chg="add mod">
          <ac:chgData name="Laurentiu Marinescu" userId="b0dd0703-37df-4a8b-9e5a-fe66a92f9c33" providerId="ADAL" clId="{7A108CF2-572F-45F0-8870-D39F0C477427}" dt="2024-05-15T12:22:29.151" v="776"/>
          <ac:spMkLst>
            <pc:docMk/>
            <pc:sldMk cId="3114214788" sldId="552"/>
            <ac:spMk id="9" creationId="{BA0728E0-6832-1DA2-8DEC-3ADBC0B06CC5}"/>
          </ac:spMkLst>
        </pc:spChg>
      </pc:sldChg>
      <pc:sldChg chg="addSp delSp modSp mod ord modNotesTx">
        <pc:chgData name="Laurentiu Marinescu" userId="b0dd0703-37df-4a8b-9e5a-fe66a92f9c33" providerId="ADAL" clId="{7A108CF2-572F-45F0-8870-D39F0C477427}" dt="2024-05-28T20:00:25.017" v="17899" actId="947"/>
        <pc:sldMkLst>
          <pc:docMk/>
          <pc:sldMk cId="2731724802" sldId="5375"/>
        </pc:sldMkLst>
        <pc:spChg chg="del">
          <ac:chgData name="Laurentiu Marinescu" userId="b0dd0703-37df-4a8b-9e5a-fe66a92f9c33" providerId="ADAL" clId="{7A108CF2-572F-45F0-8870-D39F0C477427}" dt="2024-05-28T09:04:19.214" v="16416" actId="478"/>
          <ac:spMkLst>
            <pc:docMk/>
            <pc:sldMk cId="2731724802" sldId="5375"/>
            <ac:spMk id="4" creationId="{0A3ADDA9-1D38-4DF5-90B1-C87A7115D679}"/>
          </ac:spMkLst>
        </pc:spChg>
        <pc:spChg chg="add mod">
          <ac:chgData name="Laurentiu Marinescu" userId="b0dd0703-37df-4a8b-9e5a-fe66a92f9c33" providerId="ADAL" clId="{7A108CF2-572F-45F0-8870-D39F0C477427}" dt="2024-05-28T20:00:25.017" v="17899" actId="947"/>
          <ac:spMkLst>
            <pc:docMk/>
            <pc:sldMk cId="2731724802" sldId="5375"/>
            <ac:spMk id="10" creationId="{8DCA466D-D515-88D6-DED9-E7D0D3F1E261}"/>
          </ac:spMkLst>
        </pc:spChg>
        <pc:spChg chg="mod">
          <ac:chgData name="Laurentiu Marinescu" userId="b0dd0703-37df-4a8b-9e5a-fe66a92f9c33" providerId="ADAL" clId="{7A108CF2-572F-45F0-8870-D39F0C477427}" dt="2024-05-24T13:59:35.464" v="12451" actId="313"/>
          <ac:spMkLst>
            <pc:docMk/>
            <pc:sldMk cId="2731724802" sldId="5375"/>
            <ac:spMk id="13" creationId="{81C7298E-D884-4AFD-AABA-9FAE002BEFE1}"/>
          </ac:spMkLst>
        </pc:spChg>
        <pc:picChg chg="add mod">
          <ac:chgData name="Laurentiu Marinescu" userId="b0dd0703-37df-4a8b-9e5a-fe66a92f9c33" providerId="ADAL" clId="{7A108CF2-572F-45F0-8870-D39F0C477427}" dt="2024-05-28T09:06:28.901" v="16512" actId="14100"/>
          <ac:picMkLst>
            <pc:docMk/>
            <pc:sldMk cId="2731724802" sldId="5375"/>
            <ac:picMk id="15" creationId="{AEB3A09E-EDF5-EB9D-D75B-369ED0B78376}"/>
          </ac:picMkLst>
        </pc:picChg>
      </pc:sldChg>
      <pc:sldChg chg="addSp modSp del mod ord modNotesTx">
        <pc:chgData name="Laurentiu Marinescu" userId="b0dd0703-37df-4a8b-9e5a-fe66a92f9c33" providerId="ADAL" clId="{7A108CF2-572F-45F0-8870-D39F0C477427}" dt="2024-05-24T08:47:02.334" v="1819" actId="47"/>
        <pc:sldMkLst>
          <pc:docMk/>
          <pc:sldMk cId="4093417517" sldId="5379"/>
        </pc:sldMkLst>
        <pc:spChg chg="add mod">
          <ac:chgData name="Laurentiu Marinescu" userId="b0dd0703-37df-4a8b-9e5a-fe66a92f9c33" providerId="ADAL" clId="{7A108CF2-572F-45F0-8870-D39F0C477427}" dt="2024-05-15T12:20:32.777" v="756" actId="1076"/>
          <ac:spMkLst>
            <pc:docMk/>
            <pc:sldMk cId="4093417517" sldId="5379"/>
            <ac:spMk id="2" creationId="{5114A821-D1F2-4FBF-8676-CD40E5EA2946}"/>
          </ac:spMkLst>
        </pc:spChg>
        <pc:spChg chg="mod">
          <ac:chgData name="Laurentiu Marinescu" userId="b0dd0703-37df-4a8b-9e5a-fe66a92f9c33" providerId="ADAL" clId="{7A108CF2-572F-45F0-8870-D39F0C477427}" dt="2024-05-15T10:37:29.660" v="396" actId="1076"/>
          <ac:spMkLst>
            <pc:docMk/>
            <pc:sldMk cId="4093417517" sldId="5379"/>
            <ac:spMk id="14" creationId="{54A44363-CC8A-9998-49F2-74E969835670}"/>
          </ac:spMkLst>
        </pc:spChg>
      </pc:sldChg>
      <pc:sldChg chg="addSp delSp modSp del mod modNotesTx">
        <pc:chgData name="Laurentiu Marinescu" userId="b0dd0703-37df-4a8b-9e5a-fe66a92f9c33" providerId="ADAL" clId="{7A108CF2-572F-45F0-8870-D39F0C477427}" dt="2024-05-24T16:56:43.682" v="13938" actId="2696"/>
        <pc:sldMkLst>
          <pc:docMk/>
          <pc:sldMk cId="1081450122" sldId="5381"/>
        </pc:sldMkLst>
        <pc:spChg chg="mod">
          <ac:chgData name="Laurentiu Marinescu" userId="b0dd0703-37df-4a8b-9e5a-fe66a92f9c33" providerId="ADAL" clId="{7A108CF2-572F-45F0-8870-D39F0C477427}" dt="2024-05-23T12:58:51.853" v="1673" actId="20577"/>
          <ac:spMkLst>
            <pc:docMk/>
            <pc:sldMk cId="1081450122" sldId="5381"/>
            <ac:spMk id="2" creationId="{5C3D654C-49EE-940D-2790-72ED50ADCD93}"/>
          </ac:spMkLst>
        </pc:spChg>
        <pc:spChg chg="add mod">
          <ac:chgData name="Laurentiu Marinescu" userId="b0dd0703-37df-4a8b-9e5a-fe66a92f9c33" providerId="ADAL" clId="{7A108CF2-572F-45F0-8870-D39F0C477427}" dt="2024-05-15T12:10:12.438" v="688" actId="1076"/>
          <ac:spMkLst>
            <pc:docMk/>
            <pc:sldMk cId="1081450122" sldId="5381"/>
            <ac:spMk id="3" creationId="{3C9B912A-99A5-CC7B-0F70-6A7BA0D1AB53}"/>
          </ac:spMkLst>
        </pc:spChg>
        <pc:spChg chg="mod">
          <ac:chgData name="Laurentiu Marinescu" userId="b0dd0703-37df-4a8b-9e5a-fe66a92f9c33" providerId="ADAL" clId="{7A108CF2-572F-45F0-8870-D39F0C477427}" dt="2024-05-24T16:56:43.348" v="13936" actId="12"/>
          <ac:spMkLst>
            <pc:docMk/>
            <pc:sldMk cId="1081450122" sldId="5381"/>
            <ac:spMk id="4" creationId="{EB2A1D15-730E-44E3-5E18-C9038526860D}"/>
          </ac:spMkLst>
        </pc:spChg>
        <pc:picChg chg="add del mod">
          <ac:chgData name="Laurentiu Marinescu" userId="b0dd0703-37df-4a8b-9e5a-fe66a92f9c33" providerId="ADAL" clId="{7A108CF2-572F-45F0-8870-D39F0C477427}" dt="2024-05-23T12:58:22.180" v="1663" actId="478"/>
          <ac:picMkLst>
            <pc:docMk/>
            <pc:sldMk cId="1081450122" sldId="5381"/>
            <ac:picMk id="5" creationId="{23588360-1AF8-83FE-6437-6A728CE31D96}"/>
          </ac:picMkLst>
        </pc:picChg>
        <pc:picChg chg="add del">
          <ac:chgData name="Laurentiu Marinescu" userId="b0dd0703-37df-4a8b-9e5a-fe66a92f9c33" providerId="ADAL" clId="{7A108CF2-572F-45F0-8870-D39F0C477427}" dt="2024-05-24T16:52:13.534" v="13880" actId="478"/>
          <ac:picMkLst>
            <pc:docMk/>
            <pc:sldMk cId="1081450122" sldId="5381"/>
            <ac:picMk id="7" creationId="{A4529106-A1CD-3F0E-1FBE-81B8BD2680B2}"/>
          </ac:picMkLst>
        </pc:picChg>
        <pc:picChg chg="add del mod">
          <ac:chgData name="Laurentiu Marinescu" userId="b0dd0703-37df-4a8b-9e5a-fe66a92f9c33" providerId="ADAL" clId="{7A108CF2-572F-45F0-8870-D39F0C477427}" dt="2024-05-23T09:57:09.267" v="1611" actId="478"/>
          <ac:picMkLst>
            <pc:docMk/>
            <pc:sldMk cId="1081450122" sldId="5381"/>
            <ac:picMk id="8" creationId="{CA090EB5-64AE-EA4E-DF86-0A1D7E8E3811}"/>
          </ac:picMkLst>
        </pc:picChg>
        <pc:picChg chg="add del mod">
          <ac:chgData name="Laurentiu Marinescu" userId="b0dd0703-37df-4a8b-9e5a-fe66a92f9c33" providerId="ADAL" clId="{7A108CF2-572F-45F0-8870-D39F0C477427}" dt="2024-05-23T12:58:42.340" v="1668" actId="478"/>
          <ac:picMkLst>
            <pc:docMk/>
            <pc:sldMk cId="1081450122" sldId="5381"/>
            <ac:picMk id="10" creationId="{3E2975ED-6509-943B-C18B-74D465177DBF}"/>
          </ac:picMkLst>
        </pc:picChg>
        <pc:picChg chg="add del mod">
          <ac:chgData name="Laurentiu Marinescu" userId="b0dd0703-37df-4a8b-9e5a-fe66a92f9c33" providerId="ADAL" clId="{7A108CF2-572F-45F0-8870-D39F0C477427}" dt="2024-05-24T16:52:28.769" v="13888"/>
          <ac:picMkLst>
            <pc:docMk/>
            <pc:sldMk cId="1081450122" sldId="5381"/>
            <ac:picMk id="25602" creationId="{10B69EBB-BDD0-29AC-35B0-D4F20A539E60}"/>
          </ac:picMkLst>
        </pc:picChg>
      </pc:sldChg>
      <pc:sldChg chg="addSp delSp modSp mod ord modNotesTx">
        <pc:chgData name="Laurentiu Marinescu" userId="b0dd0703-37df-4a8b-9e5a-fe66a92f9c33" providerId="ADAL" clId="{7A108CF2-572F-45F0-8870-D39F0C477427}" dt="2024-05-28T09:18:09.473" v="17418" actId="1076"/>
        <pc:sldMkLst>
          <pc:docMk/>
          <pc:sldMk cId="202252584" sldId="5383"/>
        </pc:sldMkLst>
        <pc:spChg chg="add del mod">
          <ac:chgData name="Laurentiu Marinescu" userId="b0dd0703-37df-4a8b-9e5a-fe66a92f9c33" providerId="ADAL" clId="{7A108CF2-572F-45F0-8870-D39F0C477427}" dt="2024-05-24T19:07:38.287" v="14571" actId="478"/>
          <ac:spMkLst>
            <pc:docMk/>
            <pc:sldMk cId="202252584" sldId="5383"/>
            <ac:spMk id="3" creationId="{ACEAC8FA-4326-2D1C-7EC9-DF7B5DAC1FC0}"/>
          </ac:spMkLst>
        </pc:spChg>
        <pc:spChg chg="mod">
          <ac:chgData name="Laurentiu Marinescu" userId="b0dd0703-37df-4a8b-9e5a-fe66a92f9c33" providerId="ADAL" clId="{7A108CF2-572F-45F0-8870-D39F0C477427}" dt="2024-05-23T09:57:39.280" v="1638" actId="20577"/>
          <ac:spMkLst>
            <pc:docMk/>
            <pc:sldMk cId="202252584" sldId="5383"/>
            <ac:spMk id="4" creationId="{54F1AA63-2C4E-A94E-E308-925B89A68EB5}"/>
          </ac:spMkLst>
        </pc:spChg>
        <pc:spChg chg="add mod">
          <ac:chgData name="Laurentiu Marinescu" userId="b0dd0703-37df-4a8b-9e5a-fe66a92f9c33" providerId="ADAL" clId="{7A108CF2-572F-45F0-8870-D39F0C477427}" dt="2024-05-24T19:07:39.441" v="14572"/>
          <ac:spMkLst>
            <pc:docMk/>
            <pc:sldMk cId="202252584" sldId="5383"/>
            <ac:spMk id="7" creationId="{9ADB9D43-D02B-EC0A-A2D8-8E0986190CFD}"/>
          </ac:spMkLst>
        </pc:spChg>
        <pc:spChg chg="mod">
          <ac:chgData name="Laurentiu Marinescu" userId="b0dd0703-37df-4a8b-9e5a-fe66a92f9c33" providerId="ADAL" clId="{7A108CF2-572F-45F0-8870-D39F0C477427}" dt="2024-05-23T09:57:42.840" v="1639" actId="1076"/>
          <ac:spMkLst>
            <pc:docMk/>
            <pc:sldMk cId="202252584" sldId="5383"/>
            <ac:spMk id="8" creationId="{CBCFB90F-0DFC-13B0-E038-D1A0A2089015}"/>
          </ac:spMkLst>
        </pc:spChg>
        <pc:picChg chg="add mod">
          <ac:chgData name="Laurentiu Marinescu" userId="b0dd0703-37df-4a8b-9e5a-fe66a92f9c33" providerId="ADAL" clId="{7A108CF2-572F-45F0-8870-D39F0C477427}" dt="2024-05-28T09:18:09.473" v="17418" actId="1076"/>
          <ac:picMkLst>
            <pc:docMk/>
            <pc:sldMk cId="202252584" sldId="5383"/>
            <ac:picMk id="10" creationId="{483FA42E-93EA-0ACB-3F10-59D9762BFD9D}"/>
          </ac:picMkLst>
        </pc:picChg>
      </pc:sldChg>
      <pc:sldChg chg="addSp delSp modSp del mod">
        <pc:chgData name="Laurentiu Marinescu" userId="b0dd0703-37df-4a8b-9e5a-fe66a92f9c33" providerId="ADAL" clId="{7A108CF2-572F-45F0-8870-D39F0C477427}" dt="2024-05-24T09:04:12.457" v="1984" actId="47"/>
        <pc:sldMkLst>
          <pc:docMk/>
          <pc:sldMk cId="3119734960" sldId="5384"/>
        </pc:sldMkLst>
        <pc:spChg chg="add mod">
          <ac:chgData name="Laurentiu Marinescu" userId="b0dd0703-37df-4a8b-9e5a-fe66a92f9c33" providerId="ADAL" clId="{7A108CF2-572F-45F0-8870-D39F0C477427}" dt="2024-05-15T12:10:46.438" v="693" actId="1076"/>
          <ac:spMkLst>
            <pc:docMk/>
            <pc:sldMk cId="3119734960" sldId="5384"/>
            <ac:spMk id="2" creationId="{52966CF7-2D97-1771-FC5B-3BD829877936}"/>
          </ac:spMkLst>
        </pc:spChg>
        <pc:picChg chg="add del mod">
          <ac:chgData name="Laurentiu Marinescu" userId="b0dd0703-37df-4a8b-9e5a-fe66a92f9c33" providerId="ADAL" clId="{7A108CF2-572F-45F0-8870-D39F0C477427}" dt="2024-05-23T13:06:14.512" v="1728"/>
          <ac:picMkLst>
            <pc:docMk/>
            <pc:sldMk cId="3119734960" sldId="5384"/>
            <ac:picMk id="3" creationId="{F1C26F19-1A21-1AE5-5DE9-C91252C47A03}"/>
          </ac:picMkLst>
        </pc:picChg>
        <pc:picChg chg="mod">
          <ac:chgData name="Laurentiu Marinescu" userId="b0dd0703-37df-4a8b-9e5a-fe66a92f9c33" providerId="ADAL" clId="{7A108CF2-572F-45F0-8870-D39F0C477427}" dt="2024-05-23T13:05:19.263" v="1723" actId="14826"/>
          <ac:picMkLst>
            <pc:docMk/>
            <pc:sldMk cId="3119734960" sldId="5384"/>
            <ac:picMk id="36" creationId="{C2A3B178-D873-AF4D-83C1-C064973184B6}"/>
          </ac:picMkLst>
        </pc:picChg>
        <pc:picChg chg="mod">
          <ac:chgData name="Laurentiu Marinescu" userId="b0dd0703-37df-4a8b-9e5a-fe66a92f9c33" providerId="ADAL" clId="{7A108CF2-572F-45F0-8870-D39F0C477427}" dt="2024-05-23T13:06:06.942" v="1724" actId="14826"/>
          <ac:picMkLst>
            <pc:docMk/>
            <pc:sldMk cId="3119734960" sldId="5384"/>
            <ac:picMk id="37" creationId="{C306453A-F493-3542-91B9-8E440DB9881B}"/>
          </ac:picMkLst>
        </pc:picChg>
        <pc:picChg chg="mod">
          <ac:chgData name="Laurentiu Marinescu" userId="b0dd0703-37df-4a8b-9e5a-fe66a92f9c33" providerId="ADAL" clId="{7A108CF2-572F-45F0-8870-D39F0C477427}" dt="2024-05-23T13:06:24.628" v="1729" actId="14826"/>
          <ac:picMkLst>
            <pc:docMk/>
            <pc:sldMk cId="3119734960" sldId="5384"/>
            <ac:picMk id="38" creationId="{4ED6BE7B-27C3-A247-992B-E963399E93DD}"/>
          </ac:picMkLst>
        </pc:picChg>
        <pc:picChg chg="mod">
          <ac:chgData name="Laurentiu Marinescu" userId="b0dd0703-37df-4a8b-9e5a-fe66a92f9c33" providerId="ADAL" clId="{7A108CF2-572F-45F0-8870-D39F0C477427}" dt="2024-05-23T13:06:43.184" v="1730" actId="14826"/>
          <ac:picMkLst>
            <pc:docMk/>
            <pc:sldMk cId="3119734960" sldId="5384"/>
            <ac:picMk id="39" creationId="{7373283E-1F38-BE4B-BAA7-5AAB28634337}"/>
          </ac:picMkLst>
        </pc:picChg>
      </pc:sldChg>
      <pc:sldChg chg="addSp delSp modSp mod ord">
        <pc:chgData name="Laurentiu Marinescu" userId="b0dd0703-37df-4a8b-9e5a-fe66a92f9c33" providerId="ADAL" clId="{7A108CF2-572F-45F0-8870-D39F0C477427}" dt="2024-05-28T21:25:33.952" v="20071"/>
        <pc:sldMkLst>
          <pc:docMk/>
          <pc:sldMk cId="2802707387" sldId="5386"/>
        </pc:sldMkLst>
        <pc:spChg chg="mod">
          <ac:chgData name="Laurentiu Marinescu" userId="b0dd0703-37df-4a8b-9e5a-fe66a92f9c33" providerId="ADAL" clId="{7A108CF2-572F-45F0-8870-D39F0C477427}" dt="2024-05-23T13:28:52.851" v="1741" actId="20577"/>
          <ac:spMkLst>
            <pc:docMk/>
            <pc:sldMk cId="2802707387" sldId="5386"/>
            <ac:spMk id="4" creationId="{0A3ADDA9-1D38-4DF5-90B1-C87A7115D679}"/>
          </ac:spMkLst>
        </pc:spChg>
        <pc:spChg chg="add del mod">
          <ac:chgData name="Laurentiu Marinescu" userId="b0dd0703-37df-4a8b-9e5a-fe66a92f9c33" providerId="ADAL" clId="{7A108CF2-572F-45F0-8870-D39F0C477427}" dt="2024-05-15T12:06:45.448" v="661" actId="478"/>
          <ac:spMkLst>
            <pc:docMk/>
            <pc:sldMk cId="2802707387" sldId="5386"/>
            <ac:spMk id="9" creationId="{B34E7CEE-DC53-681B-1A67-72FBA0BA02AC}"/>
          </ac:spMkLst>
        </pc:spChg>
        <pc:spChg chg="mod">
          <ac:chgData name="Laurentiu Marinescu" userId="b0dd0703-37df-4a8b-9e5a-fe66a92f9c33" providerId="ADAL" clId="{7A108CF2-572F-45F0-8870-D39F0C477427}" dt="2024-05-27T12:47:41.883" v="14779" actId="20577"/>
          <ac:spMkLst>
            <pc:docMk/>
            <pc:sldMk cId="2802707387" sldId="5386"/>
            <ac:spMk id="13" creationId="{81C7298E-D884-4AFD-AABA-9FAE002BEFE1}"/>
          </ac:spMkLst>
        </pc:spChg>
      </pc:sldChg>
      <pc:sldChg chg="addSp delSp modSp del mod">
        <pc:chgData name="Laurentiu Marinescu" userId="b0dd0703-37df-4a8b-9e5a-fe66a92f9c33" providerId="ADAL" clId="{7A108CF2-572F-45F0-8870-D39F0C477427}" dt="2024-05-23T13:04:17.911" v="1722" actId="47"/>
        <pc:sldMkLst>
          <pc:docMk/>
          <pc:sldMk cId="253191910" sldId="5387"/>
        </pc:sldMkLst>
        <pc:spChg chg="add mod">
          <ac:chgData name="Laurentiu Marinescu" userId="b0dd0703-37df-4a8b-9e5a-fe66a92f9c33" providerId="ADAL" clId="{7A108CF2-572F-45F0-8870-D39F0C477427}" dt="2024-05-15T12:08:25.950" v="672" actId="1076"/>
          <ac:spMkLst>
            <pc:docMk/>
            <pc:sldMk cId="253191910" sldId="5387"/>
            <ac:spMk id="5" creationId="{39AEB495-5AB6-B1DF-A3A1-4557E407C490}"/>
          </ac:spMkLst>
        </pc:spChg>
        <pc:spChg chg="del">
          <ac:chgData name="Laurentiu Marinescu" userId="b0dd0703-37df-4a8b-9e5a-fe66a92f9c33" providerId="ADAL" clId="{7A108CF2-572F-45F0-8870-D39F0C477427}" dt="2024-05-14T09:48:06.687" v="0" actId="478"/>
          <ac:spMkLst>
            <pc:docMk/>
            <pc:sldMk cId="253191910" sldId="5387"/>
            <ac:spMk id="5" creationId="{C39D6834-0D52-A8F0-C23D-EAEE2522DC48}"/>
          </ac:spMkLst>
        </pc:spChg>
        <pc:spChg chg="del">
          <ac:chgData name="Laurentiu Marinescu" userId="b0dd0703-37df-4a8b-9e5a-fe66a92f9c33" providerId="ADAL" clId="{7A108CF2-572F-45F0-8870-D39F0C477427}" dt="2024-05-14T09:48:09.548" v="1" actId="478"/>
          <ac:spMkLst>
            <pc:docMk/>
            <pc:sldMk cId="253191910" sldId="5387"/>
            <ac:spMk id="7" creationId="{024CFB65-75AD-5C70-81CA-1DBB7133DBBE}"/>
          </ac:spMkLst>
        </pc:spChg>
      </pc:sldChg>
      <pc:sldChg chg="addSp modSp del mod ord modNotesTx">
        <pc:chgData name="Laurentiu Marinescu" userId="b0dd0703-37df-4a8b-9e5a-fe66a92f9c33" providerId="ADAL" clId="{7A108CF2-572F-45F0-8870-D39F0C477427}" dt="2024-05-24T08:43:49.818" v="1754" actId="47"/>
        <pc:sldMkLst>
          <pc:docMk/>
          <pc:sldMk cId="972463652" sldId="5388"/>
        </pc:sldMkLst>
        <pc:spChg chg="add mod">
          <ac:chgData name="Laurentiu Marinescu" userId="b0dd0703-37df-4a8b-9e5a-fe66a92f9c33" providerId="ADAL" clId="{7A108CF2-572F-45F0-8870-D39F0C477427}" dt="2024-05-15T12:07:57.467" v="670" actId="1076"/>
          <ac:spMkLst>
            <pc:docMk/>
            <pc:sldMk cId="972463652" sldId="5388"/>
            <ac:spMk id="2" creationId="{F7C3036D-2FDA-6159-7BF7-421F88FB7187}"/>
          </ac:spMkLst>
        </pc:spChg>
        <pc:graphicFrameChg chg="mod">
          <ac:chgData name="Laurentiu Marinescu" userId="b0dd0703-37df-4a8b-9e5a-fe66a92f9c33" providerId="ADAL" clId="{7A108CF2-572F-45F0-8870-D39F0C477427}" dt="2024-05-23T09:36:59.029" v="1516" actId="20577"/>
          <ac:graphicFrameMkLst>
            <pc:docMk/>
            <pc:sldMk cId="972463652" sldId="5388"/>
            <ac:graphicFrameMk id="21" creationId="{852893DB-6056-0D9D-0505-265A706F3F97}"/>
          </ac:graphicFrameMkLst>
        </pc:graphicFrameChg>
      </pc:sldChg>
      <pc:sldChg chg="addSp delSp modSp mod modNotes">
        <pc:chgData name="Laurentiu Marinescu" userId="b0dd0703-37df-4a8b-9e5a-fe66a92f9c33" providerId="ADAL" clId="{7A108CF2-572F-45F0-8870-D39F0C477427}" dt="2024-05-24T19:13:37.235" v="14633" actId="207"/>
        <pc:sldMkLst>
          <pc:docMk/>
          <pc:sldMk cId="2011301931" sldId="5391"/>
        </pc:sldMkLst>
        <pc:spChg chg="mod">
          <ac:chgData name="Laurentiu Marinescu" userId="b0dd0703-37df-4a8b-9e5a-fe66a92f9c33" providerId="ADAL" clId="{7A108CF2-572F-45F0-8870-D39F0C477427}" dt="2024-05-24T09:06:17.502" v="2009" actId="1076"/>
          <ac:spMkLst>
            <pc:docMk/>
            <pc:sldMk cId="2011301931" sldId="5391"/>
            <ac:spMk id="2" creationId="{FE141E0E-16C6-E816-64E9-1FDB0586EFA9}"/>
          </ac:spMkLst>
        </pc:spChg>
        <pc:spChg chg="add mod">
          <ac:chgData name="Laurentiu Marinescu" userId="b0dd0703-37df-4a8b-9e5a-fe66a92f9c33" providerId="ADAL" clId="{7A108CF2-572F-45F0-8870-D39F0C477427}" dt="2024-05-24T19:13:37.235" v="14633" actId="207"/>
          <ac:spMkLst>
            <pc:docMk/>
            <pc:sldMk cId="2011301931" sldId="5391"/>
            <ac:spMk id="3" creationId="{69240EC1-A970-CFBA-8A35-BE4A2E0477E2}"/>
          </ac:spMkLst>
        </pc:spChg>
        <pc:spChg chg="add del mod">
          <ac:chgData name="Laurentiu Marinescu" userId="b0dd0703-37df-4a8b-9e5a-fe66a92f9c33" providerId="ADAL" clId="{7A108CF2-572F-45F0-8870-D39F0C477427}" dt="2024-05-24T19:13:34.382" v="14631" actId="478"/>
          <ac:spMkLst>
            <pc:docMk/>
            <pc:sldMk cId="2011301931" sldId="5391"/>
            <ac:spMk id="7" creationId="{347987F1-978E-3C76-1090-AB53444D719C}"/>
          </ac:spMkLst>
        </pc:spChg>
        <pc:spChg chg="mod">
          <ac:chgData name="Laurentiu Marinescu" userId="b0dd0703-37df-4a8b-9e5a-fe66a92f9c33" providerId="ADAL" clId="{7A108CF2-572F-45F0-8870-D39F0C477427}" dt="2024-05-24T14:23:00.733" v="12487" actId="20577"/>
          <ac:spMkLst>
            <pc:docMk/>
            <pc:sldMk cId="2011301931" sldId="5391"/>
            <ac:spMk id="27" creationId="{8A9B57AD-1EE2-7819-A732-17A9CA5070BB}"/>
          </ac:spMkLst>
        </pc:spChg>
        <pc:picChg chg="add mod ord">
          <ac:chgData name="Laurentiu Marinescu" userId="b0dd0703-37df-4a8b-9e5a-fe66a92f9c33" providerId="ADAL" clId="{7A108CF2-572F-45F0-8870-D39F0C477427}" dt="2024-05-24T09:06:19.912" v="2011" actId="1076"/>
          <ac:picMkLst>
            <pc:docMk/>
            <pc:sldMk cId="2011301931" sldId="5391"/>
            <ac:picMk id="4" creationId="{2ECC20B2-728D-B7ED-1DE9-967446F0E525}"/>
          </ac:picMkLst>
        </pc:picChg>
        <pc:picChg chg="del">
          <ac:chgData name="Laurentiu Marinescu" userId="b0dd0703-37df-4a8b-9e5a-fe66a92f9c33" providerId="ADAL" clId="{7A108CF2-572F-45F0-8870-D39F0C477427}" dt="2024-05-15T07:53:59.958" v="255" actId="478"/>
          <ac:picMkLst>
            <pc:docMk/>
            <pc:sldMk cId="2011301931" sldId="5391"/>
            <ac:picMk id="8" creationId="{625DD9A9-6B77-36C6-9508-28CBCC22E562}"/>
          </ac:picMkLst>
        </pc:picChg>
      </pc:sldChg>
      <pc:sldChg chg="addSp delSp modSp mod modNotesTx">
        <pc:chgData name="Laurentiu Marinescu" userId="b0dd0703-37df-4a8b-9e5a-fe66a92f9c33" providerId="ADAL" clId="{7A108CF2-572F-45F0-8870-D39F0C477427}" dt="2024-05-28T21:08:55.686" v="19678" actId="20577"/>
        <pc:sldMkLst>
          <pc:docMk/>
          <pc:sldMk cId="271665959" sldId="5394"/>
        </pc:sldMkLst>
        <pc:spChg chg="mod">
          <ac:chgData name="Laurentiu Marinescu" userId="b0dd0703-37df-4a8b-9e5a-fe66a92f9c33" providerId="ADAL" clId="{7A108CF2-572F-45F0-8870-D39F0C477427}" dt="2024-05-24T10:09:52.577" v="2608" actId="1076"/>
          <ac:spMkLst>
            <pc:docMk/>
            <pc:sldMk cId="271665959" sldId="5394"/>
            <ac:spMk id="2" creationId="{FE141E0E-16C6-E816-64E9-1FDB0586EFA9}"/>
          </ac:spMkLst>
        </pc:spChg>
        <pc:spChg chg="add del mod">
          <ac:chgData name="Laurentiu Marinescu" userId="b0dd0703-37df-4a8b-9e5a-fe66a92f9c33" providerId="ADAL" clId="{7A108CF2-572F-45F0-8870-D39F0C477427}" dt="2024-05-24T19:13:45.665" v="14635" actId="478"/>
          <ac:spMkLst>
            <pc:docMk/>
            <pc:sldMk cId="271665959" sldId="5394"/>
            <ac:spMk id="3" creationId="{4934011D-AD8D-FF43-326F-FDBD4AC4E231}"/>
          </ac:spMkLst>
        </pc:spChg>
        <pc:spChg chg="add mod">
          <ac:chgData name="Laurentiu Marinescu" userId="b0dd0703-37df-4a8b-9e5a-fe66a92f9c33" providerId="ADAL" clId="{7A108CF2-572F-45F0-8870-D39F0C477427}" dt="2024-05-28T19:48:11.297" v="17844" actId="207"/>
          <ac:spMkLst>
            <pc:docMk/>
            <pc:sldMk cId="271665959" sldId="5394"/>
            <ac:spMk id="5" creationId="{8F7915FE-FBFF-C908-BE50-6685DFA76576}"/>
          </ac:spMkLst>
        </pc:spChg>
        <pc:spChg chg="mod">
          <ac:chgData name="Laurentiu Marinescu" userId="b0dd0703-37df-4a8b-9e5a-fe66a92f9c33" providerId="ADAL" clId="{7A108CF2-572F-45F0-8870-D39F0C477427}" dt="2024-05-24T10:09:45.952" v="2606" actId="1076"/>
          <ac:spMkLst>
            <pc:docMk/>
            <pc:sldMk cId="271665959" sldId="5394"/>
            <ac:spMk id="8" creationId="{5F42A524-EBCB-FD87-E704-E55F0C31FD7E}"/>
          </ac:spMkLst>
        </pc:spChg>
        <pc:spChg chg="mod">
          <ac:chgData name="Laurentiu Marinescu" userId="b0dd0703-37df-4a8b-9e5a-fe66a92f9c33" providerId="ADAL" clId="{7A108CF2-572F-45F0-8870-D39F0C477427}" dt="2024-05-24T10:10:05.169" v="2610" actId="1076"/>
          <ac:spMkLst>
            <pc:docMk/>
            <pc:sldMk cId="271665959" sldId="5394"/>
            <ac:spMk id="9" creationId="{00567A99-AEB1-801C-63C7-460869B8FDCF}"/>
          </ac:spMkLst>
        </pc:spChg>
        <pc:spChg chg="mod">
          <ac:chgData name="Laurentiu Marinescu" userId="b0dd0703-37df-4a8b-9e5a-fe66a92f9c33" providerId="ADAL" clId="{7A108CF2-572F-45F0-8870-D39F0C477427}" dt="2024-05-24T10:10:01.048" v="2609" actId="1076"/>
          <ac:spMkLst>
            <pc:docMk/>
            <pc:sldMk cId="271665959" sldId="5394"/>
            <ac:spMk id="10" creationId="{B36EBD02-44D5-8F7C-F1CB-7F5F409FB585}"/>
          </ac:spMkLst>
        </pc:spChg>
        <pc:picChg chg="add mod ord">
          <ac:chgData name="Laurentiu Marinescu" userId="b0dd0703-37df-4a8b-9e5a-fe66a92f9c33" providerId="ADAL" clId="{7A108CF2-572F-45F0-8870-D39F0C477427}" dt="2024-05-28T19:22:03.251" v="17570" actId="1076"/>
          <ac:picMkLst>
            <pc:docMk/>
            <pc:sldMk cId="271665959" sldId="5394"/>
            <ac:picMk id="7" creationId="{79F2E032-65A1-6228-C0F6-2634C26B5D83}"/>
          </ac:picMkLst>
        </pc:picChg>
        <pc:picChg chg="add del mod">
          <ac:chgData name="Laurentiu Marinescu" userId="b0dd0703-37df-4a8b-9e5a-fe66a92f9c33" providerId="ADAL" clId="{7A108CF2-572F-45F0-8870-D39F0C477427}" dt="2024-05-24T10:05:49.253" v="2594"/>
          <ac:picMkLst>
            <pc:docMk/>
            <pc:sldMk cId="271665959" sldId="5394"/>
            <ac:picMk id="7170" creationId="{38D1D878-2DAD-F620-8AE3-E34EDA40D9D3}"/>
          </ac:picMkLst>
        </pc:picChg>
        <pc:picChg chg="add del">
          <ac:chgData name="Laurentiu Marinescu" userId="b0dd0703-37df-4a8b-9e5a-fe66a92f9c33" providerId="ADAL" clId="{7A108CF2-572F-45F0-8870-D39F0C477427}" dt="2024-05-24T10:09:14.249" v="2596" actId="478"/>
          <ac:picMkLst>
            <pc:docMk/>
            <pc:sldMk cId="271665959" sldId="5394"/>
            <ac:picMk id="7172" creationId="{A6F506C5-D005-24E5-3E20-32B1BDD61956}"/>
          </ac:picMkLst>
        </pc:picChg>
        <pc:picChg chg="add del mod">
          <ac:chgData name="Laurentiu Marinescu" userId="b0dd0703-37df-4a8b-9e5a-fe66a92f9c33" providerId="ADAL" clId="{7A108CF2-572F-45F0-8870-D39F0C477427}" dt="2024-05-28T19:21:52.497" v="17568" actId="478"/>
          <ac:picMkLst>
            <pc:docMk/>
            <pc:sldMk cId="271665959" sldId="5394"/>
            <ac:picMk id="7174" creationId="{578ADCEB-E763-D9E6-0614-EC4C0BAAA2D6}"/>
          </ac:picMkLst>
        </pc:picChg>
      </pc:sldChg>
      <pc:sldChg chg="addSp delSp modSp mod">
        <pc:chgData name="Laurentiu Marinescu" userId="b0dd0703-37df-4a8b-9e5a-fe66a92f9c33" providerId="ADAL" clId="{7A108CF2-572F-45F0-8870-D39F0C477427}" dt="2024-05-24T19:13:15.618" v="14626"/>
        <pc:sldMkLst>
          <pc:docMk/>
          <pc:sldMk cId="22694836" sldId="5397"/>
        </pc:sldMkLst>
        <pc:spChg chg="add del mod">
          <ac:chgData name="Laurentiu Marinescu" userId="b0dd0703-37df-4a8b-9e5a-fe66a92f9c33" providerId="ADAL" clId="{7A108CF2-572F-45F0-8870-D39F0C477427}" dt="2024-05-24T19:12:59.771" v="14623" actId="478"/>
          <ac:spMkLst>
            <pc:docMk/>
            <pc:sldMk cId="22694836" sldId="5397"/>
            <ac:spMk id="3" creationId="{868FF325-7242-DB42-138B-E9FC6C335845}"/>
          </ac:spMkLst>
        </pc:spChg>
        <pc:spChg chg="mod">
          <ac:chgData name="Laurentiu Marinescu" userId="b0dd0703-37df-4a8b-9e5a-fe66a92f9c33" providerId="ADAL" clId="{7A108CF2-572F-45F0-8870-D39F0C477427}" dt="2024-05-15T13:42:13.981" v="813" actId="20577"/>
          <ac:spMkLst>
            <pc:docMk/>
            <pc:sldMk cId="22694836" sldId="5397"/>
            <ac:spMk id="4" creationId="{7609AF40-A510-231A-F449-77C8AE4EE7CC}"/>
          </ac:spMkLst>
        </pc:spChg>
        <pc:spChg chg="add del mod">
          <ac:chgData name="Laurentiu Marinescu" userId="b0dd0703-37df-4a8b-9e5a-fe66a92f9c33" providerId="ADAL" clId="{7A108CF2-572F-45F0-8870-D39F0C477427}" dt="2024-05-24T19:13:04.096" v="14625"/>
          <ac:spMkLst>
            <pc:docMk/>
            <pc:sldMk cId="22694836" sldId="5397"/>
            <ac:spMk id="5" creationId="{B119C442-BDEF-D47B-199C-D87BDFB65FCC}"/>
          </ac:spMkLst>
        </pc:spChg>
        <pc:spChg chg="add mod">
          <ac:chgData name="Laurentiu Marinescu" userId="b0dd0703-37df-4a8b-9e5a-fe66a92f9c33" providerId="ADAL" clId="{7A108CF2-572F-45F0-8870-D39F0C477427}" dt="2024-05-24T19:13:15.618" v="14626"/>
          <ac:spMkLst>
            <pc:docMk/>
            <pc:sldMk cId="22694836" sldId="5397"/>
            <ac:spMk id="7" creationId="{EF30962D-F982-A2F5-8F16-67C5054F6F7B}"/>
          </ac:spMkLst>
        </pc:spChg>
      </pc:sldChg>
      <pc:sldChg chg="addSp delSp modSp mod">
        <pc:chgData name="Laurentiu Marinescu" userId="b0dd0703-37df-4a8b-9e5a-fe66a92f9c33" providerId="ADAL" clId="{7A108CF2-572F-45F0-8870-D39F0C477427}" dt="2024-05-28T08:21:11.712" v="15501" actId="113"/>
        <pc:sldMkLst>
          <pc:docMk/>
          <pc:sldMk cId="290841288" sldId="5403"/>
        </pc:sldMkLst>
        <pc:spChg chg="mod">
          <ac:chgData name="Laurentiu Marinescu" userId="b0dd0703-37df-4a8b-9e5a-fe66a92f9c33" providerId="ADAL" clId="{7A108CF2-572F-45F0-8870-D39F0C477427}" dt="2024-05-14T09:48:38.976" v="5" actId="20577"/>
          <ac:spMkLst>
            <pc:docMk/>
            <pc:sldMk cId="290841288" sldId="5403"/>
            <ac:spMk id="2" creationId="{FE141E0E-16C6-E816-64E9-1FDB0586EFA9}"/>
          </ac:spMkLst>
        </pc:spChg>
        <pc:spChg chg="add del mod">
          <ac:chgData name="Laurentiu Marinescu" userId="b0dd0703-37df-4a8b-9e5a-fe66a92f9c33" providerId="ADAL" clId="{7A108CF2-572F-45F0-8870-D39F0C477427}" dt="2024-05-24T19:13:22.648" v="14627" actId="478"/>
          <ac:spMkLst>
            <pc:docMk/>
            <pc:sldMk cId="290841288" sldId="5403"/>
            <ac:spMk id="3" creationId="{D76E4E2B-1EF7-5424-8641-9A2B6FFAE018}"/>
          </ac:spMkLst>
        </pc:spChg>
        <pc:spChg chg="add mod">
          <ac:chgData name="Laurentiu Marinescu" userId="b0dd0703-37df-4a8b-9e5a-fe66a92f9c33" providerId="ADAL" clId="{7A108CF2-572F-45F0-8870-D39F0C477427}" dt="2024-05-24T19:13:23.053" v="14628"/>
          <ac:spMkLst>
            <pc:docMk/>
            <pc:sldMk cId="290841288" sldId="5403"/>
            <ac:spMk id="4" creationId="{77A03C53-B6C8-ECE3-B245-05A3C022DEDD}"/>
          </ac:spMkLst>
        </pc:spChg>
        <pc:spChg chg="mod">
          <ac:chgData name="Laurentiu Marinescu" userId="b0dd0703-37df-4a8b-9e5a-fe66a92f9c33" providerId="ADAL" clId="{7A108CF2-572F-45F0-8870-D39F0C477427}" dt="2024-05-28T08:21:11.712" v="15501" actId="113"/>
          <ac:spMkLst>
            <pc:docMk/>
            <pc:sldMk cId="290841288" sldId="5403"/>
            <ac:spMk id="20" creationId="{F56CD8FA-2288-5D1A-E94C-06C4E260680D}"/>
          </ac:spMkLst>
        </pc:spChg>
      </pc:sldChg>
      <pc:sldChg chg="addSp delSp modSp mod modNotes modNotesTx">
        <pc:chgData name="Laurentiu Marinescu" userId="b0dd0703-37df-4a8b-9e5a-fe66a92f9c33" providerId="ADAL" clId="{7A108CF2-572F-45F0-8870-D39F0C477427}" dt="2024-05-28T21:05:46.830" v="19649" actId="20577"/>
        <pc:sldMkLst>
          <pc:docMk/>
          <pc:sldMk cId="1618711855" sldId="5404"/>
        </pc:sldMkLst>
        <pc:spChg chg="mod">
          <ac:chgData name="Laurentiu Marinescu" userId="b0dd0703-37df-4a8b-9e5a-fe66a92f9c33" providerId="ADAL" clId="{7A108CF2-572F-45F0-8870-D39F0C477427}" dt="2024-05-14T09:49:03.267" v="8" actId="20577"/>
          <ac:spMkLst>
            <pc:docMk/>
            <pc:sldMk cId="1618711855" sldId="5404"/>
            <ac:spMk id="2" creationId="{FE141E0E-16C6-E816-64E9-1FDB0586EFA9}"/>
          </ac:spMkLst>
        </pc:spChg>
        <pc:spChg chg="add del mod">
          <ac:chgData name="Laurentiu Marinescu" userId="b0dd0703-37df-4a8b-9e5a-fe66a92f9c33" providerId="ADAL" clId="{7A108CF2-572F-45F0-8870-D39F0C477427}" dt="2024-05-24T19:13:28.027" v="14629" actId="478"/>
          <ac:spMkLst>
            <pc:docMk/>
            <pc:sldMk cId="1618711855" sldId="5404"/>
            <ac:spMk id="3" creationId="{6B49696C-BF8B-7E9A-A94E-13A42D136E5F}"/>
          </ac:spMkLst>
        </pc:spChg>
        <pc:spChg chg="add mod">
          <ac:chgData name="Laurentiu Marinescu" userId="b0dd0703-37df-4a8b-9e5a-fe66a92f9c33" providerId="ADAL" clId="{7A108CF2-572F-45F0-8870-D39F0C477427}" dt="2024-05-24T19:13:28.340" v="14630"/>
          <ac:spMkLst>
            <pc:docMk/>
            <pc:sldMk cId="1618711855" sldId="5404"/>
            <ac:spMk id="4" creationId="{95A8C373-9E12-CB2B-24AF-629083750485}"/>
          </ac:spMkLst>
        </pc:spChg>
        <pc:spChg chg="mod">
          <ac:chgData name="Laurentiu Marinescu" userId="b0dd0703-37df-4a8b-9e5a-fe66a92f9c33" providerId="ADAL" clId="{7A108CF2-572F-45F0-8870-D39F0C477427}" dt="2024-05-28T21:05:38.128" v="19607" actId="20577"/>
          <ac:spMkLst>
            <pc:docMk/>
            <pc:sldMk cId="1618711855" sldId="5404"/>
            <ac:spMk id="20" creationId="{F56CD8FA-2288-5D1A-E94C-06C4E260680D}"/>
          </ac:spMkLst>
        </pc:spChg>
      </pc:sldChg>
      <pc:sldChg chg="addSp delSp modSp mod">
        <pc:chgData name="Laurentiu Marinescu" userId="b0dd0703-37df-4a8b-9e5a-fe66a92f9c33" providerId="ADAL" clId="{7A108CF2-572F-45F0-8870-D39F0C477427}" dt="2024-05-28T19:48:41.062" v="17856" actId="207"/>
        <pc:sldMkLst>
          <pc:docMk/>
          <pc:sldMk cId="3694348092" sldId="5406"/>
        </pc:sldMkLst>
        <pc:spChg chg="mod">
          <ac:chgData name="Laurentiu Marinescu" userId="b0dd0703-37df-4a8b-9e5a-fe66a92f9c33" providerId="ADAL" clId="{7A108CF2-572F-45F0-8870-D39F0C477427}" dt="2024-05-24T10:14:18.494" v="2674" actId="1076"/>
          <ac:spMkLst>
            <pc:docMk/>
            <pc:sldMk cId="3694348092" sldId="5406"/>
            <ac:spMk id="2" creationId="{FE141E0E-16C6-E816-64E9-1FDB0586EFA9}"/>
          </ac:spMkLst>
        </pc:spChg>
        <pc:spChg chg="add del mod">
          <ac:chgData name="Laurentiu Marinescu" userId="b0dd0703-37df-4a8b-9e5a-fe66a92f9c33" providerId="ADAL" clId="{7A108CF2-572F-45F0-8870-D39F0C477427}" dt="2024-05-24T19:14:11.319" v="14644" actId="478"/>
          <ac:spMkLst>
            <pc:docMk/>
            <pc:sldMk cId="3694348092" sldId="5406"/>
            <ac:spMk id="3" creationId="{309DF59A-DF69-2556-9531-0CA6486E5489}"/>
          </ac:spMkLst>
        </pc:spChg>
        <pc:spChg chg="mod">
          <ac:chgData name="Laurentiu Marinescu" userId="b0dd0703-37df-4a8b-9e5a-fe66a92f9c33" providerId="ADAL" clId="{7A108CF2-572F-45F0-8870-D39F0C477427}" dt="2024-05-28T19:24:31.719" v="17604" actId="1076"/>
          <ac:spMkLst>
            <pc:docMk/>
            <pc:sldMk cId="3694348092" sldId="5406"/>
            <ac:spMk id="4" creationId="{7609AF40-A510-231A-F449-77C8AE4EE7CC}"/>
          </ac:spMkLst>
        </pc:spChg>
        <pc:spChg chg="add mod">
          <ac:chgData name="Laurentiu Marinescu" userId="b0dd0703-37df-4a8b-9e5a-fe66a92f9c33" providerId="ADAL" clId="{7A108CF2-572F-45F0-8870-D39F0C477427}" dt="2024-05-28T19:48:41.062" v="17856" actId="207"/>
          <ac:spMkLst>
            <pc:docMk/>
            <pc:sldMk cId="3694348092" sldId="5406"/>
            <ac:spMk id="7" creationId="{4270BD10-A6F1-9F68-FC4D-B1FDD14F06DD}"/>
          </ac:spMkLst>
        </pc:spChg>
        <pc:picChg chg="add mod ord">
          <ac:chgData name="Laurentiu Marinescu" userId="b0dd0703-37df-4a8b-9e5a-fe66a92f9c33" providerId="ADAL" clId="{7A108CF2-572F-45F0-8870-D39F0C477427}" dt="2024-05-28T19:24:33.982" v="17605" actId="167"/>
          <ac:picMkLst>
            <pc:docMk/>
            <pc:sldMk cId="3694348092" sldId="5406"/>
            <ac:picMk id="3" creationId="{83AEC5AE-151B-8F7E-B7B7-F4716BD342CD}"/>
          </ac:picMkLst>
        </pc:picChg>
        <pc:picChg chg="add del mod">
          <ac:chgData name="Laurentiu Marinescu" userId="b0dd0703-37df-4a8b-9e5a-fe66a92f9c33" providerId="ADAL" clId="{7A108CF2-572F-45F0-8870-D39F0C477427}" dt="2024-05-28T19:24:29.056" v="17602" actId="478"/>
          <ac:picMkLst>
            <pc:docMk/>
            <pc:sldMk cId="3694348092" sldId="5406"/>
            <ac:picMk id="5" creationId="{EA575732-23AC-7FD1-91F1-A44DFD6507EE}"/>
          </ac:picMkLst>
        </pc:picChg>
        <pc:picChg chg="mod">
          <ac:chgData name="Laurentiu Marinescu" userId="b0dd0703-37df-4a8b-9e5a-fe66a92f9c33" providerId="ADAL" clId="{7A108CF2-572F-45F0-8870-D39F0C477427}" dt="2024-05-24T10:14:31.782" v="2679" actId="1076"/>
          <ac:picMkLst>
            <pc:docMk/>
            <pc:sldMk cId="3694348092" sldId="5406"/>
            <ac:picMk id="9" creationId="{106AC37E-33D0-A718-4C04-6339B835A119}"/>
          </ac:picMkLst>
        </pc:picChg>
      </pc:sldChg>
      <pc:sldChg chg="addSp delSp modSp mod modNotesTx">
        <pc:chgData name="Laurentiu Marinescu" userId="b0dd0703-37df-4a8b-9e5a-fe66a92f9c33" providerId="ADAL" clId="{7A108CF2-572F-45F0-8870-D39F0C477427}" dt="2024-05-28T21:16:51.716" v="19906" actId="5793"/>
        <pc:sldMkLst>
          <pc:docMk/>
          <pc:sldMk cId="2747879737" sldId="5408"/>
        </pc:sldMkLst>
        <pc:spChg chg="mod">
          <ac:chgData name="Laurentiu Marinescu" userId="b0dd0703-37df-4a8b-9e5a-fe66a92f9c33" providerId="ADAL" clId="{7A108CF2-572F-45F0-8870-D39F0C477427}" dt="2024-05-24T10:15:11.034" v="2686" actId="1076"/>
          <ac:spMkLst>
            <pc:docMk/>
            <pc:sldMk cId="2747879737" sldId="5408"/>
            <ac:spMk id="2" creationId="{FE141E0E-16C6-E816-64E9-1FDB0586EFA9}"/>
          </ac:spMkLst>
        </pc:spChg>
        <pc:spChg chg="add del mod">
          <ac:chgData name="Laurentiu Marinescu" userId="b0dd0703-37df-4a8b-9e5a-fe66a92f9c33" providerId="ADAL" clId="{7A108CF2-572F-45F0-8870-D39F0C477427}" dt="2024-05-24T19:14:33.388" v="14650" actId="478"/>
          <ac:spMkLst>
            <pc:docMk/>
            <pc:sldMk cId="2747879737" sldId="5408"/>
            <ac:spMk id="3" creationId="{FE590AB1-DF67-3826-E844-1F29E15ED1D9}"/>
          </ac:spMkLst>
        </pc:spChg>
        <pc:spChg chg="add mod">
          <ac:chgData name="Laurentiu Marinescu" userId="b0dd0703-37df-4a8b-9e5a-fe66a92f9c33" providerId="ADAL" clId="{7A108CF2-572F-45F0-8870-D39F0C477427}" dt="2024-05-28T19:49:02.252" v="17858" actId="207"/>
          <ac:spMkLst>
            <pc:docMk/>
            <pc:sldMk cId="2747879737" sldId="5408"/>
            <ac:spMk id="7" creationId="{F019AA40-2EE1-F2A3-F87F-DB79475BDA09}"/>
          </ac:spMkLst>
        </pc:spChg>
        <pc:spChg chg="mod">
          <ac:chgData name="Laurentiu Marinescu" userId="b0dd0703-37df-4a8b-9e5a-fe66a92f9c33" providerId="ADAL" clId="{7A108CF2-572F-45F0-8870-D39F0C477427}" dt="2024-05-28T21:16:51.716" v="19906" actId="5793"/>
          <ac:spMkLst>
            <pc:docMk/>
            <pc:sldMk cId="2747879737" sldId="5408"/>
            <ac:spMk id="8" creationId="{D521885F-E98D-E2F2-E5C3-306C52D62072}"/>
          </ac:spMkLst>
        </pc:spChg>
        <pc:picChg chg="add mod ord">
          <ac:chgData name="Laurentiu Marinescu" userId="b0dd0703-37df-4a8b-9e5a-fe66a92f9c33" providerId="ADAL" clId="{7A108CF2-572F-45F0-8870-D39F0C477427}" dt="2024-05-28T19:24:52.096" v="17611" actId="167"/>
          <ac:picMkLst>
            <pc:docMk/>
            <pc:sldMk cId="2747879737" sldId="5408"/>
            <ac:picMk id="3" creationId="{8E244F94-1EE1-CE4A-5F55-1B082020BECA}"/>
          </ac:picMkLst>
        </pc:picChg>
        <pc:picChg chg="add del mod">
          <ac:chgData name="Laurentiu Marinescu" userId="b0dd0703-37df-4a8b-9e5a-fe66a92f9c33" providerId="ADAL" clId="{7A108CF2-572F-45F0-8870-D39F0C477427}" dt="2024-05-28T19:24:49.610" v="17609" actId="478"/>
          <ac:picMkLst>
            <pc:docMk/>
            <pc:sldMk cId="2747879737" sldId="5408"/>
            <ac:picMk id="5" creationId="{924C0192-63E5-E338-BE13-E85D0A162542}"/>
          </ac:picMkLst>
        </pc:picChg>
      </pc:sldChg>
      <pc:sldChg chg="addSp delSp modSp mod">
        <pc:chgData name="Laurentiu Marinescu" userId="b0dd0703-37df-4a8b-9e5a-fe66a92f9c33" providerId="ADAL" clId="{7A108CF2-572F-45F0-8870-D39F0C477427}" dt="2024-05-28T19:49:40.953" v="17863" actId="207"/>
        <pc:sldMkLst>
          <pc:docMk/>
          <pc:sldMk cId="1232260193" sldId="5409"/>
        </pc:sldMkLst>
        <pc:spChg chg="mod">
          <ac:chgData name="Laurentiu Marinescu" userId="b0dd0703-37df-4a8b-9e5a-fe66a92f9c33" providerId="ADAL" clId="{7A108CF2-572F-45F0-8870-D39F0C477427}" dt="2024-05-24T10:17:36.745" v="2722" actId="1076"/>
          <ac:spMkLst>
            <pc:docMk/>
            <pc:sldMk cId="1232260193" sldId="5409"/>
            <ac:spMk id="2" creationId="{FE141E0E-16C6-E816-64E9-1FDB0586EFA9}"/>
          </ac:spMkLst>
        </pc:spChg>
        <pc:spChg chg="add mod">
          <ac:chgData name="Laurentiu Marinescu" userId="b0dd0703-37df-4a8b-9e5a-fe66a92f9c33" providerId="ADAL" clId="{7A108CF2-572F-45F0-8870-D39F0C477427}" dt="2024-05-28T19:49:40.953" v="17863" actId="207"/>
          <ac:spMkLst>
            <pc:docMk/>
            <pc:sldMk cId="1232260193" sldId="5409"/>
            <ac:spMk id="5" creationId="{98CA7A6A-FDDA-BEBB-8E1E-79DA2A4ECE7A}"/>
          </ac:spMkLst>
        </pc:spChg>
        <pc:spChg chg="add del">
          <ac:chgData name="Laurentiu Marinescu" userId="b0dd0703-37df-4a8b-9e5a-fe66a92f9c33" providerId="ADAL" clId="{7A108CF2-572F-45F0-8870-D39F0C477427}" dt="2024-05-14T15:01:53.681" v="28" actId="22"/>
          <ac:spMkLst>
            <pc:docMk/>
            <pc:sldMk cId="1232260193" sldId="5409"/>
            <ac:spMk id="7" creationId="{F0CFB20A-644A-4BC0-E479-2FB289177C41}"/>
          </ac:spMkLst>
        </pc:spChg>
        <pc:spChg chg="add mod">
          <ac:chgData name="Laurentiu Marinescu" userId="b0dd0703-37df-4a8b-9e5a-fe66a92f9c33" providerId="ADAL" clId="{7A108CF2-572F-45F0-8870-D39F0C477427}" dt="2024-05-24T10:17:40.580" v="2723" actId="1076"/>
          <ac:spMkLst>
            <pc:docMk/>
            <pc:sldMk cId="1232260193" sldId="5409"/>
            <ac:spMk id="9" creationId="{4C914354-DBCC-90C9-E8BF-E2B1A7CADB1C}"/>
          </ac:spMkLst>
        </pc:spChg>
        <pc:spChg chg="add del mod">
          <ac:chgData name="Laurentiu Marinescu" userId="b0dd0703-37df-4a8b-9e5a-fe66a92f9c33" providerId="ADAL" clId="{7A108CF2-572F-45F0-8870-D39F0C477427}" dt="2024-05-24T19:15:21.021" v="14667" actId="478"/>
          <ac:spMkLst>
            <pc:docMk/>
            <pc:sldMk cId="1232260193" sldId="5409"/>
            <ac:spMk id="10" creationId="{B30282FF-8331-DA7F-91A9-6A1A3B523BAD}"/>
          </ac:spMkLst>
        </pc:spChg>
        <pc:picChg chg="add del mod">
          <ac:chgData name="Laurentiu Marinescu" userId="b0dd0703-37df-4a8b-9e5a-fe66a92f9c33" providerId="ADAL" clId="{7A108CF2-572F-45F0-8870-D39F0C477427}" dt="2024-05-28T19:25:34.991" v="17624" actId="478"/>
          <ac:picMkLst>
            <pc:docMk/>
            <pc:sldMk cId="1232260193" sldId="5409"/>
            <ac:picMk id="3" creationId="{B7C0952B-472D-D3BD-AF3E-42CA243BDE27}"/>
          </ac:picMkLst>
        </pc:picChg>
        <pc:picChg chg="del">
          <ac:chgData name="Laurentiu Marinescu" userId="b0dd0703-37df-4a8b-9e5a-fe66a92f9c33" providerId="ADAL" clId="{7A108CF2-572F-45F0-8870-D39F0C477427}" dt="2024-05-14T15:02:07.148" v="32" actId="478"/>
          <ac:picMkLst>
            <pc:docMk/>
            <pc:sldMk cId="1232260193" sldId="5409"/>
            <ac:picMk id="5" creationId="{DCD23520-7B0B-4BA5-4506-F5597A8810AD}"/>
          </ac:picMkLst>
        </pc:picChg>
        <pc:picChg chg="add mod ord">
          <ac:chgData name="Laurentiu Marinescu" userId="b0dd0703-37df-4a8b-9e5a-fe66a92f9c33" providerId="ADAL" clId="{7A108CF2-572F-45F0-8870-D39F0C477427}" dt="2024-05-28T19:25:37.840" v="17626" actId="167"/>
          <ac:picMkLst>
            <pc:docMk/>
            <pc:sldMk cId="1232260193" sldId="5409"/>
            <ac:picMk id="7" creationId="{0CAD2A8A-6153-FDE1-1A6D-E81B246B6FFB}"/>
          </ac:picMkLst>
        </pc:picChg>
      </pc:sldChg>
      <pc:sldChg chg="addSp delSp modSp mod modNotesTx">
        <pc:chgData name="Laurentiu Marinescu" userId="b0dd0703-37df-4a8b-9e5a-fe66a92f9c33" providerId="ADAL" clId="{7A108CF2-572F-45F0-8870-D39F0C477427}" dt="2024-05-28T21:18:41.249" v="20041" actId="6549"/>
        <pc:sldMkLst>
          <pc:docMk/>
          <pc:sldMk cId="120359620" sldId="5411"/>
        </pc:sldMkLst>
        <pc:spChg chg="mod">
          <ac:chgData name="Laurentiu Marinescu" userId="b0dd0703-37df-4a8b-9e5a-fe66a92f9c33" providerId="ADAL" clId="{7A108CF2-572F-45F0-8870-D39F0C477427}" dt="2024-05-24T10:16:21.031" v="2702" actId="1076"/>
          <ac:spMkLst>
            <pc:docMk/>
            <pc:sldMk cId="120359620" sldId="5411"/>
            <ac:spMk id="2" creationId="{FE141E0E-16C6-E816-64E9-1FDB0586EFA9}"/>
          </ac:spMkLst>
        </pc:spChg>
        <pc:spChg chg="add del mod">
          <ac:chgData name="Laurentiu Marinescu" userId="b0dd0703-37df-4a8b-9e5a-fe66a92f9c33" providerId="ADAL" clId="{7A108CF2-572F-45F0-8870-D39F0C477427}" dt="2024-05-24T19:14:52.161" v="14656" actId="478"/>
          <ac:spMkLst>
            <pc:docMk/>
            <pc:sldMk cId="120359620" sldId="5411"/>
            <ac:spMk id="3" creationId="{615AE476-89A3-3DFA-4ADE-B501DA849F12}"/>
          </ac:spMkLst>
        </pc:spChg>
        <pc:spChg chg="add mod">
          <ac:chgData name="Laurentiu Marinescu" userId="b0dd0703-37df-4a8b-9e5a-fe66a92f9c33" providerId="ADAL" clId="{7A108CF2-572F-45F0-8870-D39F0C477427}" dt="2024-05-28T19:49:19.022" v="17860" actId="207"/>
          <ac:spMkLst>
            <pc:docMk/>
            <pc:sldMk cId="120359620" sldId="5411"/>
            <ac:spMk id="7" creationId="{C4DF581D-6B5C-56A2-AF1B-A40AA43DA6A8}"/>
          </ac:spMkLst>
        </pc:spChg>
        <pc:spChg chg="mod">
          <ac:chgData name="Laurentiu Marinescu" userId="b0dd0703-37df-4a8b-9e5a-fe66a92f9c33" providerId="ADAL" clId="{7A108CF2-572F-45F0-8870-D39F0C477427}" dt="2024-05-24T10:16:25.670" v="2703" actId="1076"/>
          <ac:spMkLst>
            <pc:docMk/>
            <pc:sldMk cId="120359620" sldId="5411"/>
            <ac:spMk id="8" creationId="{D521885F-E98D-E2F2-E5C3-306C52D62072}"/>
          </ac:spMkLst>
        </pc:spChg>
        <pc:picChg chg="add mod ord">
          <ac:chgData name="Laurentiu Marinescu" userId="b0dd0703-37df-4a8b-9e5a-fe66a92f9c33" providerId="ADAL" clId="{7A108CF2-572F-45F0-8870-D39F0C477427}" dt="2024-05-28T19:25:09.310" v="17617" actId="167"/>
          <ac:picMkLst>
            <pc:docMk/>
            <pc:sldMk cId="120359620" sldId="5411"/>
            <ac:picMk id="3" creationId="{1F03A438-62B6-9DDD-7C1A-4C17E9D5FDBB}"/>
          </ac:picMkLst>
        </pc:picChg>
        <pc:picChg chg="del">
          <ac:chgData name="Laurentiu Marinescu" userId="b0dd0703-37df-4a8b-9e5a-fe66a92f9c33" providerId="ADAL" clId="{7A108CF2-572F-45F0-8870-D39F0C477427}" dt="2024-05-14T15:01:04.729" v="21" actId="478"/>
          <ac:picMkLst>
            <pc:docMk/>
            <pc:sldMk cId="120359620" sldId="5411"/>
            <ac:picMk id="5" creationId="{15D21834-9519-49B5-09D6-99518D84D3FA}"/>
          </ac:picMkLst>
        </pc:picChg>
        <pc:picChg chg="add del mod">
          <ac:chgData name="Laurentiu Marinescu" userId="b0dd0703-37df-4a8b-9e5a-fe66a92f9c33" providerId="ADAL" clId="{7A108CF2-572F-45F0-8870-D39F0C477427}" dt="2024-05-28T19:25:06.888" v="17615" actId="478"/>
          <ac:picMkLst>
            <pc:docMk/>
            <pc:sldMk cId="120359620" sldId="5411"/>
            <ac:picMk id="5" creationId="{7AC5558F-C24E-F8D2-DAC6-B06B56B5C8B0}"/>
          </ac:picMkLst>
        </pc:picChg>
      </pc:sldChg>
      <pc:sldChg chg="addSp delSp modSp mod">
        <pc:chgData name="Laurentiu Marinescu" userId="b0dd0703-37df-4a8b-9e5a-fe66a92f9c33" providerId="ADAL" clId="{7A108CF2-572F-45F0-8870-D39F0C477427}" dt="2024-05-28T19:49:50.094" v="17865" actId="207"/>
        <pc:sldMkLst>
          <pc:docMk/>
          <pc:sldMk cId="2615459036" sldId="5413"/>
        </pc:sldMkLst>
        <pc:spChg chg="mod">
          <ac:chgData name="Laurentiu Marinescu" userId="b0dd0703-37df-4a8b-9e5a-fe66a92f9c33" providerId="ADAL" clId="{7A108CF2-572F-45F0-8870-D39F0C477427}" dt="2024-05-24T10:18:18.566" v="2733" actId="1076"/>
          <ac:spMkLst>
            <pc:docMk/>
            <pc:sldMk cId="2615459036" sldId="5413"/>
            <ac:spMk id="2" creationId="{FE141E0E-16C6-E816-64E9-1FDB0586EFA9}"/>
          </ac:spMkLst>
        </pc:spChg>
        <pc:spChg chg="add del mod">
          <ac:chgData name="Laurentiu Marinescu" userId="b0dd0703-37df-4a8b-9e5a-fe66a92f9c33" providerId="ADAL" clId="{7A108CF2-572F-45F0-8870-D39F0C477427}" dt="2024-05-24T19:15:37.827" v="14673" actId="478"/>
          <ac:spMkLst>
            <pc:docMk/>
            <pc:sldMk cId="2615459036" sldId="5413"/>
            <ac:spMk id="3" creationId="{31226BC7-3E71-4123-375C-55F42787E2C7}"/>
          </ac:spMkLst>
        </pc:spChg>
        <pc:spChg chg="mod">
          <ac:chgData name="Laurentiu Marinescu" userId="b0dd0703-37df-4a8b-9e5a-fe66a92f9c33" providerId="ADAL" clId="{7A108CF2-572F-45F0-8870-D39F0C477427}" dt="2024-05-15T13:43:15.020" v="820" actId="20577"/>
          <ac:spMkLst>
            <pc:docMk/>
            <pc:sldMk cId="2615459036" sldId="5413"/>
            <ac:spMk id="4" creationId="{7609AF40-A510-231A-F449-77C8AE4EE7CC}"/>
          </ac:spMkLst>
        </pc:spChg>
        <pc:spChg chg="add mod">
          <ac:chgData name="Laurentiu Marinescu" userId="b0dd0703-37df-4a8b-9e5a-fe66a92f9c33" providerId="ADAL" clId="{7A108CF2-572F-45F0-8870-D39F0C477427}" dt="2024-05-28T19:49:50.094" v="17865" actId="207"/>
          <ac:spMkLst>
            <pc:docMk/>
            <pc:sldMk cId="2615459036" sldId="5413"/>
            <ac:spMk id="7" creationId="{5989F09F-7624-6DC0-4C3B-B2F3B6FCD274}"/>
          </ac:spMkLst>
        </pc:spChg>
        <pc:spChg chg="mod">
          <ac:chgData name="Laurentiu Marinescu" userId="b0dd0703-37df-4a8b-9e5a-fe66a92f9c33" providerId="ADAL" clId="{7A108CF2-572F-45F0-8870-D39F0C477427}" dt="2024-05-24T10:18:44.810" v="2743" actId="20577"/>
          <ac:spMkLst>
            <pc:docMk/>
            <pc:sldMk cId="2615459036" sldId="5413"/>
            <ac:spMk id="8" creationId="{D521885F-E98D-E2F2-E5C3-306C52D62072}"/>
          </ac:spMkLst>
        </pc:spChg>
        <pc:picChg chg="add mod ord">
          <ac:chgData name="Laurentiu Marinescu" userId="b0dd0703-37df-4a8b-9e5a-fe66a92f9c33" providerId="ADAL" clId="{7A108CF2-572F-45F0-8870-D39F0C477427}" dt="2024-05-28T19:25:51.434" v="17632" actId="167"/>
          <ac:picMkLst>
            <pc:docMk/>
            <pc:sldMk cId="2615459036" sldId="5413"/>
            <ac:picMk id="3" creationId="{1BE5D26C-98C9-88C4-BDAF-CF92D9CC09B8}"/>
          </ac:picMkLst>
        </pc:picChg>
        <pc:picChg chg="add del mod">
          <ac:chgData name="Laurentiu Marinescu" userId="b0dd0703-37df-4a8b-9e5a-fe66a92f9c33" providerId="ADAL" clId="{7A108CF2-572F-45F0-8870-D39F0C477427}" dt="2024-05-28T19:25:49.009" v="17630" actId="478"/>
          <ac:picMkLst>
            <pc:docMk/>
            <pc:sldMk cId="2615459036" sldId="5413"/>
            <ac:picMk id="5" creationId="{E2EB476D-CFB1-6629-56A2-E18F8A52A380}"/>
          </ac:picMkLst>
        </pc:picChg>
        <pc:picChg chg="del">
          <ac:chgData name="Laurentiu Marinescu" userId="b0dd0703-37df-4a8b-9e5a-fe66a92f9c33" providerId="ADAL" clId="{7A108CF2-572F-45F0-8870-D39F0C477427}" dt="2024-05-14T15:03:03.169" v="36" actId="478"/>
          <ac:picMkLst>
            <pc:docMk/>
            <pc:sldMk cId="2615459036" sldId="5413"/>
            <ac:picMk id="5" creationId="{F34086AB-3DA3-39D3-B364-C0AE87C9B199}"/>
          </ac:picMkLst>
        </pc:picChg>
      </pc:sldChg>
      <pc:sldChg chg="addSp delSp modSp mod modNotesTx">
        <pc:chgData name="Laurentiu Marinescu" userId="b0dd0703-37df-4a8b-9e5a-fe66a92f9c33" providerId="ADAL" clId="{7A108CF2-572F-45F0-8870-D39F0C477427}" dt="2024-05-28T21:24:52.861" v="20069" actId="20577"/>
        <pc:sldMkLst>
          <pc:docMk/>
          <pc:sldMk cId="765464586" sldId="5415"/>
        </pc:sldMkLst>
        <pc:spChg chg="add del mod">
          <ac:chgData name="Laurentiu Marinescu" userId="b0dd0703-37df-4a8b-9e5a-fe66a92f9c33" providerId="ADAL" clId="{7A108CF2-572F-45F0-8870-D39F0C477427}" dt="2024-05-24T19:17:20.436" v="14708" actId="478"/>
          <ac:spMkLst>
            <pc:docMk/>
            <pc:sldMk cId="765464586" sldId="5415"/>
            <ac:spMk id="3" creationId="{1A970B5B-B633-BCD0-4D50-B4A761F33F60}"/>
          </ac:spMkLst>
        </pc:spChg>
        <pc:spChg chg="mod">
          <ac:chgData name="Laurentiu Marinescu" userId="b0dd0703-37df-4a8b-9e5a-fe66a92f9c33" providerId="ADAL" clId="{7A108CF2-572F-45F0-8870-D39F0C477427}" dt="2024-05-28T08:35:58.588" v="16219" actId="6549"/>
          <ac:spMkLst>
            <pc:docMk/>
            <pc:sldMk cId="765464586" sldId="5415"/>
            <ac:spMk id="4" creationId="{7609AF40-A510-231A-F449-77C8AE4EE7CC}"/>
          </ac:spMkLst>
        </pc:spChg>
        <pc:spChg chg="add mod">
          <ac:chgData name="Laurentiu Marinescu" userId="b0dd0703-37df-4a8b-9e5a-fe66a92f9c33" providerId="ADAL" clId="{7A108CF2-572F-45F0-8870-D39F0C477427}" dt="2024-05-24T19:17:20.942" v="14709"/>
          <ac:spMkLst>
            <pc:docMk/>
            <pc:sldMk cId="765464586" sldId="5415"/>
            <ac:spMk id="7" creationId="{914671ED-F381-C2CE-A42E-64ADE945CB61}"/>
          </ac:spMkLst>
        </pc:spChg>
      </pc:sldChg>
      <pc:sldChg chg="addSp delSp modSp mod">
        <pc:chgData name="Laurentiu Marinescu" userId="b0dd0703-37df-4a8b-9e5a-fe66a92f9c33" providerId="ADAL" clId="{7A108CF2-572F-45F0-8870-D39F0C477427}" dt="2024-05-28T19:59:03.452" v="17896" actId="1076"/>
        <pc:sldMkLst>
          <pc:docMk/>
          <pc:sldMk cId="1886947785" sldId="5419"/>
        </pc:sldMkLst>
        <pc:spChg chg="mod">
          <ac:chgData name="Laurentiu Marinescu" userId="b0dd0703-37df-4a8b-9e5a-fe66a92f9c33" providerId="ADAL" clId="{7A108CF2-572F-45F0-8870-D39F0C477427}" dt="2024-05-28T19:37:59.194" v="17721" actId="1076"/>
          <ac:spMkLst>
            <pc:docMk/>
            <pc:sldMk cId="1886947785" sldId="5419"/>
            <ac:spMk id="2" creationId="{FE141E0E-16C6-E816-64E9-1FDB0586EFA9}"/>
          </ac:spMkLst>
        </pc:spChg>
        <pc:spChg chg="add del mod">
          <ac:chgData name="Laurentiu Marinescu" userId="b0dd0703-37df-4a8b-9e5a-fe66a92f9c33" providerId="ADAL" clId="{7A108CF2-572F-45F0-8870-D39F0C477427}" dt="2024-05-24T19:16:58.510" v="14699" actId="478"/>
          <ac:spMkLst>
            <pc:docMk/>
            <pc:sldMk cId="1886947785" sldId="5419"/>
            <ac:spMk id="3" creationId="{539739F8-28D4-787D-403C-655984785040}"/>
          </ac:spMkLst>
        </pc:spChg>
        <pc:spChg chg="mod">
          <ac:chgData name="Laurentiu Marinescu" userId="b0dd0703-37df-4a8b-9e5a-fe66a92f9c33" providerId="ADAL" clId="{7A108CF2-572F-45F0-8870-D39F0C477427}" dt="2024-05-28T19:38:46.001" v="17737" actId="207"/>
          <ac:spMkLst>
            <pc:docMk/>
            <pc:sldMk cId="1886947785" sldId="5419"/>
            <ac:spMk id="4" creationId="{7609AF40-A510-231A-F449-77C8AE4EE7CC}"/>
          </ac:spMkLst>
        </pc:spChg>
        <pc:spChg chg="add mod">
          <ac:chgData name="Laurentiu Marinescu" userId="b0dd0703-37df-4a8b-9e5a-fe66a92f9c33" providerId="ADAL" clId="{7A108CF2-572F-45F0-8870-D39F0C477427}" dt="2024-05-24T19:17:00.968" v="14701" actId="207"/>
          <ac:spMkLst>
            <pc:docMk/>
            <pc:sldMk cId="1886947785" sldId="5419"/>
            <ac:spMk id="7" creationId="{F6155CE5-50FA-5EA1-1396-5392414095A9}"/>
          </ac:spMkLst>
        </pc:spChg>
        <pc:picChg chg="add del mod ord">
          <ac:chgData name="Laurentiu Marinescu" userId="b0dd0703-37df-4a8b-9e5a-fe66a92f9c33" providerId="ADAL" clId="{7A108CF2-572F-45F0-8870-D39F0C477427}" dt="2024-05-28T19:56:46.148" v="17876" actId="478"/>
          <ac:picMkLst>
            <pc:docMk/>
            <pc:sldMk cId="1886947785" sldId="5419"/>
            <ac:picMk id="3" creationId="{E5C2B12E-759A-C35C-7373-53E2E87C98D4}"/>
          </ac:picMkLst>
        </pc:picChg>
        <pc:picChg chg="del">
          <ac:chgData name="Laurentiu Marinescu" userId="b0dd0703-37df-4a8b-9e5a-fe66a92f9c33" providerId="ADAL" clId="{7A108CF2-572F-45F0-8870-D39F0C477427}" dt="2024-05-14T15:09:43.728" v="68" actId="478"/>
          <ac:picMkLst>
            <pc:docMk/>
            <pc:sldMk cId="1886947785" sldId="5419"/>
            <ac:picMk id="5" creationId="{9F69E8EF-C94E-6FDB-9E8B-DB2D33BE4FE6}"/>
          </ac:picMkLst>
        </pc:picChg>
        <pc:picChg chg="add del mod ord">
          <ac:chgData name="Laurentiu Marinescu" userId="b0dd0703-37df-4a8b-9e5a-fe66a92f9c33" providerId="ADAL" clId="{7A108CF2-572F-45F0-8870-D39F0C477427}" dt="2024-05-28T19:37:51.272" v="17719" actId="478"/>
          <ac:picMkLst>
            <pc:docMk/>
            <pc:sldMk cId="1886947785" sldId="5419"/>
            <ac:picMk id="5" creationId="{AD0010AA-D196-6BB6-C9E0-D0804ACC4D95}"/>
          </ac:picMkLst>
        </pc:picChg>
        <pc:picChg chg="add del mod">
          <ac:chgData name="Laurentiu Marinescu" userId="b0dd0703-37df-4a8b-9e5a-fe66a92f9c33" providerId="ADAL" clId="{7A108CF2-572F-45F0-8870-D39F0C477427}" dt="2024-05-28T19:58:46.622" v="17893" actId="478"/>
          <ac:picMkLst>
            <pc:docMk/>
            <pc:sldMk cId="1886947785" sldId="5419"/>
            <ac:picMk id="8" creationId="{E31CE173-9445-65F9-B99A-A1366F67850B}"/>
          </ac:picMkLst>
        </pc:picChg>
        <pc:picChg chg="add mod">
          <ac:chgData name="Laurentiu Marinescu" userId="b0dd0703-37df-4a8b-9e5a-fe66a92f9c33" providerId="ADAL" clId="{7A108CF2-572F-45F0-8870-D39F0C477427}" dt="2024-05-28T19:59:03.452" v="17896" actId="1076"/>
          <ac:picMkLst>
            <pc:docMk/>
            <pc:sldMk cId="1886947785" sldId="5419"/>
            <ac:picMk id="9" creationId="{F4C8202F-A72C-CE2F-713E-1CA79BBC3054}"/>
          </ac:picMkLst>
        </pc:picChg>
      </pc:sldChg>
      <pc:sldChg chg="addSp delSp modSp mod modNotes">
        <pc:chgData name="Laurentiu Marinescu" userId="b0dd0703-37df-4a8b-9e5a-fe66a92f9c33" providerId="ADAL" clId="{7A108CF2-572F-45F0-8870-D39F0C477427}" dt="2024-05-24T19:15:55.192" v="14680"/>
        <pc:sldMkLst>
          <pc:docMk/>
          <pc:sldMk cId="593244725" sldId="5420"/>
        </pc:sldMkLst>
        <pc:spChg chg="add del mod">
          <ac:chgData name="Laurentiu Marinescu" userId="b0dd0703-37df-4a8b-9e5a-fe66a92f9c33" providerId="ADAL" clId="{7A108CF2-572F-45F0-8870-D39F0C477427}" dt="2024-05-24T19:15:54.880" v="14679" actId="478"/>
          <ac:spMkLst>
            <pc:docMk/>
            <pc:sldMk cId="593244725" sldId="5420"/>
            <ac:spMk id="3" creationId="{852552ED-EAB4-C248-41D3-BE8621027811}"/>
          </ac:spMkLst>
        </pc:spChg>
        <pc:spChg chg="add mod">
          <ac:chgData name="Laurentiu Marinescu" userId="b0dd0703-37df-4a8b-9e5a-fe66a92f9c33" providerId="ADAL" clId="{7A108CF2-572F-45F0-8870-D39F0C477427}" dt="2024-05-24T19:15:55.192" v="14680"/>
          <ac:spMkLst>
            <pc:docMk/>
            <pc:sldMk cId="593244725" sldId="5420"/>
            <ac:spMk id="5" creationId="{A41AC58B-088D-11CB-47A4-27D6EE49CE23}"/>
          </ac:spMkLst>
        </pc:spChg>
      </pc:sldChg>
      <pc:sldChg chg="addSp delSp modSp mod">
        <pc:chgData name="Laurentiu Marinescu" userId="b0dd0703-37df-4a8b-9e5a-fe66a92f9c33" providerId="ADAL" clId="{7A108CF2-572F-45F0-8870-D39F0C477427}" dt="2024-05-28T19:56:13.436" v="17872" actId="14100"/>
        <pc:sldMkLst>
          <pc:docMk/>
          <pc:sldMk cId="3686939205" sldId="5422"/>
        </pc:sldMkLst>
        <pc:spChg chg="mod">
          <ac:chgData name="Laurentiu Marinescu" userId="b0dd0703-37df-4a8b-9e5a-fe66a92f9c33" providerId="ADAL" clId="{7A108CF2-572F-45F0-8870-D39F0C477427}" dt="2024-05-28T19:34:33.644" v="17673" actId="1076"/>
          <ac:spMkLst>
            <pc:docMk/>
            <pc:sldMk cId="3686939205" sldId="5422"/>
            <ac:spMk id="2" creationId="{FE141E0E-16C6-E816-64E9-1FDB0586EFA9}"/>
          </ac:spMkLst>
        </pc:spChg>
        <pc:spChg chg="add del mod">
          <ac:chgData name="Laurentiu Marinescu" userId="b0dd0703-37df-4a8b-9e5a-fe66a92f9c33" providerId="ADAL" clId="{7A108CF2-572F-45F0-8870-D39F0C477427}" dt="2024-05-24T19:16:42.361" v="14693" actId="478"/>
          <ac:spMkLst>
            <pc:docMk/>
            <pc:sldMk cId="3686939205" sldId="5422"/>
            <ac:spMk id="3" creationId="{1B200FD2-8CE6-603D-7212-351C402E66B9}"/>
          </ac:spMkLst>
        </pc:spChg>
        <pc:spChg chg="mod">
          <ac:chgData name="Laurentiu Marinescu" userId="b0dd0703-37df-4a8b-9e5a-fe66a92f9c33" providerId="ADAL" clId="{7A108CF2-572F-45F0-8870-D39F0C477427}" dt="2024-05-28T19:34:37.140" v="17674" actId="1076"/>
          <ac:spMkLst>
            <pc:docMk/>
            <pc:sldMk cId="3686939205" sldId="5422"/>
            <ac:spMk id="4" creationId="{7609AF40-A510-231A-F449-77C8AE4EE7CC}"/>
          </ac:spMkLst>
        </pc:spChg>
        <pc:spChg chg="add del mod">
          <ac:chgData name="Laurentiu Marinescu" userId="b0dd0703-37df-4a8b-9e5a-fe66a92f9c33" providerId="ADAL" clId="{7A108CF2-572F-45F0-8870-D39F0C477427}" dt="2024-05-15T12:03:29.279" v="607"/>
          <ac:spMkLst>
            <pc:docMk/>
            <pc:sldMk cId="3686939205" sldId="5422"/>
            <ac:spMk id="5" creationId="{3B7643B5-96C8-FFA7-E26D-DF671492708B}"/>
          </ac:spMkLst>
        </pc:spChg>
        <pc:spChg chg="add mod">
          <ac:chgData name="Laurentiu Marinescu" userId="b0dd0703-37df-4a8b-9e5a-fe66a92f9c33" providerId="ADAL" clId="{7A108CF2-572F-45F0-8870-D39F0C477427}" dt="2024-05-24T19:16:45.502" v="14695" actId="207"/>
          <ac:spMkLst>
            <pc:docMk/>
            <pc:sldMk cId="3686939205" sldId="5422"/>
            <ac:spMk id="7" creationId="{6B0D54DC-3DFA-C89E-72E0-B1E097614FC7}"/>
          </ac:spMkLst>
        </pc:spChg>
        <pc:picChg chg="add del mod ord">
          <ac:chgData name="Laurentiu Marinescu" userId="b0dd0703-37df-4a8b-9e5a-fe66a92f9c33" providerId="ADAL" clId="{7A108CF2-572F-45F0-8870-D39F0C477427}" dt="2024-05-28T19:27:59.893" v="17651" actId="478"/>
          <ac:picMkLst>
            <pc:docMk/>
            <pc:sldMk cId="3686939205" sldId="5422"/>
            <ac:picMk id="5" creationId="{E1730DA4-6D3D-BC22-C488-981078FAFEE7}"/>
          </ac:picMkLst>
        </pc:picChg>
        <pc:picChg chg="add del mod ord">
          <ac:chgData name="Laurentiu Marinescu" userId="b0dd0703-37df-4a8b-9e5a-fe66a92f9c33" providerId="ADAL" clId="{7A108CF2-572F-45F0-8870-D39F0C477427}" dt="2024-05-28T19:34:12.174" v="17668" actId="478"/>
          <ac:picMkLst>
            <pc:docMk/>
            <pc:sldMk cId="3686939205" sldId="5422"/>
            <ac:picMk id="8" creationId="{70015D4E-0CC5-9623-067F-FA7D3F71CFAA}"/>
          </ac:picMkLst>
        </pc:picChg>
        <pc:picChg chg="add del mod">
          <ac:chgData name="Laurentiu Marinescu" userId="b0dd0703-37df-4a8b-9e5a-fe66a92f9c33" providerId="ADAL" clId="{7A108CF2-572F-45F0-8870-D39F0C477427}" dt="2024-05-28T19:29:07.839" v="17657" actId="931"/>
          <ac:picMkLst>
            <pc:docMk/>
            <pc:sldMk cId="3686939205" sldId="5422"/>
            <ac:picMk id="10" creationId="{203B2A99-2882-EB60-4D54-2BFA7A85B499}"/>
          </ac:picMkLst>
        </pc:picChg>
        <pc:picChg chg="add del mod">
          <ac:chgData name="Laurentiu Marinescu" userId="b0dd0703-37df-4a8b-9e5a-fe66a92f9c33" providerId="ADAL" clId="{7A108CF2-572F-45F0-8870-D39F0C477427}" dt="2024-05-28T19:30:53.751" v="17659" actId="478"/>
          <ac:picMkLst>
            <pc:docMk/>
            <pc:sldMk cId="3686939205" sldId="5422"/>
            <ac:picMk id="12" creationId="{2EC3DF47-DF17-0524-3A91-C295DA108B8F}"/>
          </ac:picMkLst>
        </pc:picChg>
        <pc:picChg chg="add del mod">
          <ac:chgData name="Laurentiu Marinescu" userId="b0dd0703-37df-4a8b-9e5a-fe66a92f9c33" providerId="ADAL" clId="{7A108CF2-572F-45F0-8870-D39F0C477427}" dt="2024-05-28T19:31:54.215" v="17661" actId="478"/>
          <ac:picMkLst>
            <pc:docMk/>
            <pc:sldMk cId="3686939205" sldId="5422"/>
            <ac:picMk id="14" creationId="{AAFE0202-0EBA-B3AD-EF8C-C58E41A611C4}"/>
          </ac:picMkLst>
        </pc:picChg>
        <pc:picChg chg="add del mod">
          <ac:chgData name="Laurentiu Marinescu" userId="b0dd0703-37df-4a8b-9e5a-fe66a92f9c33" providerId="ADAL" clId="{7A108CF2-572F-45F0-8870-D39F0C477427}" dt="2024-05-28T19:33:43.363" v="17664" actId="478"/>
          <ac:picMkLst>
            <pc:docMk/>
            <pc:sldMk cId="3686939205" sldId="5422"/>
            <ac:picMk id="16" creationId="{7EAB1DF5-BAB2-A4BF-0571-C77D7C879160}"/>
          </ac:picMkLst>
        </pc:picChg>
        <pc:picChg chg="add del mod">
          <ac:chgData name="Laurentiu Marinescu" userId="b0dd0703-37df-4a8b-9e5a-fe66a92f9c33" providerId="ADAL" clId="{7A108CF2-572F-45F0-8870-D39F0C477427}" dt="2024-05-28T19:33:43.363" v="17664" actId="478"/>
          <ac:picMkLst>
            <pc:docMk/>
            <pc:sldMk cId="3686939205" sldId="5422"/>
            <ac:picMk id="18" creationId="{AC2D96C9-22B3-A638-F716-8C28927B78DE}"/>
          </ac:picMkLst>
        </pc:picChg>
        <pc:picChg chg="add del mod ord">
          <ac:chgData name="Laurentiu Marinescu" userId="b0dd0703-37df-4a8b-9e5a-fe66a92f9c33" providerId="ADAL" clId="{7A108CF2-572F-45F0-8870-D39F0C477427}" dt="2024-05-28T19:55:54.207" v="17869" actId="478"/>
          <ac:picMkLst>
            <pc:docMk/>
            <pc:sldMk cId="3686939205" sldId="5422"/>
            <ac:picMk id="20" creationId="{E1887A35-2492-2FDC-D46F-BC3B7EFB5741}"/>
          </ac:picMkLst>
        </pc:picChg>
        <pc:picChg chg="add mod ord">
          <ac:chgData name="Laurentiu Marinescu" userId="b0dd0703-37df-4a8b-9e5a-fe66a92f9c33" providerId="ADAL" clId="{7A108CF2-572F-45F0-8870-D39F0C477427}" dt="2024-05-28T19:56:13.436" v="17872" actId="14100"/>
          <ac:picMkLst>
            <pc:docMk/>
            <pc:sldMk cId="3686939205" sldId="5422"/>
            <ac:picMk id="22" creationId="{72C68B40-D1BB-BBDB-A4FB-704A811A79BD}"/>
          </ac:picMkLst>
        </pc:picChg>
        <pc:picChg chg="add del mod">
          <ac:chgData name="Laurentiu Marinescu" userId="b0dd0703-37df-4a8b-9e5a-fe66a92f9c33" providerId="ADAL" clId="{7A108CF2-572F-45F0-8870-D39F0C477427}" dt="2024-05-24T09:15:18.667" v="2063" actId="478"/>
          <ac:picMkLst>
            <pc:docMk/>
            <pc:sldMk cId="3686939205" sldId="5422"/>
            <ac:picMk id="1026" creationId="{E386ACBB-342B-131A-FCE3-78679E62DA3A}"/>
          </ac:picMkLst>
        </pc:picChg>
        <pc:picChg chg="add del mod">
          <ac:chgData name="Laurentiu Marinescu" userId="b0dd0703-37df-4a8b-9e5a-fe66a92f9c33" providerId="ADAL" clId="{7A108CF2-572F-45F0-8870-D39F0C477427}" dt="2024-05-24T09:17:55.757" v="2110" actId="478"/>
          <ac:picMkLst>
            <pc:docMk/>
            <pc:sldMk cId="3686939205" sldId="5422"/>
            <ac:picMk id="1028" creationId="{CD1437B0-D138-0800-A290-F242F64D5C39}"/>
          </ac:picMkLst>
        </pc:picChg>
      </pc:sldChg>
      <pc:sldChg chg="addSp delSp modSp mod modNotes">
        <pc:chgData name="Laurentiu Marinescu" userId="b0dd0703-37df-4a8b-9e5a-fe66a92f9c33" providerId="ADAL" clId="{7A108CF2-572F-45F0-8870-D39F0C477427}" dt="2024-05-28T19:56:33.646" v="17875" actId="14100"/>
        <pc:sldMkLst>
          <pc:docMk/>
          <pc:sldMk cId="2222452884" sldId="5424"/>
        </pc:sldMkLst>
        <pc:spChg chg="mod">
          <ac:chgData name="Laurentiu Marinescu" userId="b0dd0703-37df-4a8b-9e5a-fe66a92f9c33" providerId="ADAL" clId="{7A108CF2-572F-45F0-8870-D39F0C477427}" dt="2024-05-28T19:39:37.650" v="17743" actId="1076"/>
          <ac:spMkLst>
            <pc:docMk/>
            <pc:sldMk cId="2222452884" sldId="5424"/>
            <ac:spMk id="2" creationId="{FE141E0E-16C6-E816-64E9-1FDB0586EFA9}"/>
          </ac:spMkLst>
        </pc:spChg>
        <pc:spChg chg="add del mod">
          <ac:chgData name="Laurentiu Marinescu" userId="b0dd0703-37df-4a8b-9e5a-fe66a92f9c33" providerId="ADAL" clId="{7A108CF2-572F-45F0-8870-D39F0C477427}" dt="2024-05-24T19:16:51.644" v="14696" actId="478"/>
          <ac:spMkLst>
            <pc:docMk/>
            <pc:sldMk cId="2222452884" sldId="5424"/>
            <ac:spMk id="3" creationId="{0BE2734E-269F-3670-8317-861D26532635}"/>
          </ac:spMkLst>
        </pc:spChg>
        <pc:spChg chg="mod">
          <ac:chgData name="Laurentiu Marinescu" userId="b0dd0703-37df-4a8b-9e5a-fe66a92f9c33" providerId="ADAL" clId="{7A108CF2-572F-45F0-8870-D39F0C477427}" dt="2024-05-28T19:36:58.596" v="17708" actId="1076"/>
          <ac:spMkLst>
            <pc:docMk/>
            <pc:sldMk cId="2222452884" sldId="5424"/>
            <ac:spMk id="4" creationId="{7609AF40-A510-231A-F449-77C8AE4EE7CC}"/>
          </ac:spMkLst>
        </pc:spChg>
        <pc:spChg chg="add mod">
          <ac:chgData name="Laurentiu Marinescu" userId="b0dd0703-37df-4a8b-9e5a-fe66a92f9c33" providerId="ADAL" clId="{7A108CF2-572F-45F0-8870-D39F0C477427}" dt="2024-05-24T19:16:54.398" v="14698" actId="207"/>
          <ac:spMkLst>
            <pc:docMk/>
            <pc:sldMk cId="2222452884" sldId="5424"/>
            <ac:spMk id="5" creationId="{7726EA6D-1931-8C92-28E8-6700BE30CF82}"/>
          </ac:spMkLst>
        </pc:spChg>
        <pc:picChg chg="add del mod ord">
          <ac:chgData name="Laurentiu Marinescu" userId="b0dd0703-37df-4a8b-9e5a-fe66a92f9c33" providerId="ADAL" clId="{7A108CF2-572F-45F0-8870-D39F0C477427}" dt="2024-05-28T19:56:27.411" v="17873" actId="478"/>
          <ac:picMkLst>
            <pc:docMk/>
            <pc:sldMk cId="2222452884" sldId="5424"/>
            <ac:picMk id="3" creationId="{4A9EFCD3-29E9-94EC-92C3-0BCD7FDDE14F}"/>
          </ac:picMkLst>
        </pc:picChg>
        <pc:picChg chg="add del mod">
          <ac:chgData name="Laurentiu Marinescu" userId="b0dd0703-37df-4a8b-9e5a-fe66a92f9c33" providerId="ADAL" clId="{7A108CF2-572F-45F0-8870-D39F0C477427}" dt="2024-05-24T09:18:51.558" v="2194"/>
          <ac:picMkLst>
            <pc:docMk/>
            <pc:sldMk cId="2222452884" sldId="5424"/>
            <ac:picMk id="5" creationId="{1A595BFC-5743-6AF8-E259-123C3B99BA5A}"/>
          </ac:picMkLst>
        </pc:picChg>
        <pc:picChg chg="add del">
          <ac:chgData name="Laurentiu Marinescu" userId="b0dd0703-37df-4a8b-9e5a-fe66a92f9c33" providerId="ADAL" clId="{7A108CF2-572F-45F0-8870-D39F0C477427}" dt="2024-05-14T15:04:17.340" v="58" actId="478"/>
          <ac:picMkLst>
            <pc:docMk/>
            <pc:sldMk cId="2222452884" sldId="5424"/>
            <ac:picMk id="5" creationId="{D9A2DCB9-F421-022A-8924-3CA1CE964CC3}"/>
          </ac:picMkLst>
        </pc:picChg>
        <pc:picChg chg="add del mod ord">
          <ac:chgData name="Laurentiu Marinescu" userId="b0dd0703-37df-4a8b-9e5a-fe66a92f9c33" providerId="ADAL" clId="{7A108CF2-572F-45F0-8870-D39F0C477427}" dt="2024-05-28T19:35:59.219" v="17694" actId="478"/>
          <ac:picMkLst>
            <pc:docMk/>
            <pc:sldMk cId="2222452884" sldId="5424"/>
            <ac:picMk id="7" creationId="{F55B4B71-7A7B-908B-073E-F47F32833205}"/>
          </ac:picMkLst>
        </pc:picChg>
        <pc:picChg chg="add mod">
          <ac:chgData name="Laurentiu Marinescu" userId="b0dd0703-37df-4a8b-9e5a-fe66a92f9c33" providerId="ADAL" clId="{7A108CF2-572F-45F0-8870-D39F0C477427}" dt="2024-05-28T19:56:33.646" v="17875" actId="14100"/>
          <ac:picMkLst>
            <pc:docMk/>
            <pc:sldMk cId="2222452884" sldId="5424"/>
            <ac:picMk id="8" creationId="{D26A9FB8-B052-933F-250E-E1387375BEAB}"/>
          </ac:picMkLst>
        </pc:picChg>
        <pc:picChg chg="add del mod">
          <ac:chgData name="Laurentiu Marinescu" userId="b0dd0703-37df-4a8b-9e5a-fe66a92f9c33" providerId="ADAL" clId="{7A108CF2-572F-45F0-8870-D39F0C477427}" dt="2024-05-24T09:19:01.521" v="2203" actId="478"/>
          <ac:picMkLst>
            <pc:docMk/>
            <pc:sldMk cId="2222452884" sldId="5424"/>
            <ac:picMk id="2050" creationId="{B3DC7841-52F4-DCB1-0FA0-88F722F28BBC}"/>
          </ac:picMkLst>
        </pc:picChg>
        <pc:picChg chg="add del">
          <ac:chgData name="Laurentiu Marinescu" userId="b0dd0703-37df-4a8b-9e5a-fe66a92f9c33" providerId="ADAL" clId="{7A108CF2-572F-45F0-8870-D39F0C477427}" dt="2024-05-24T09:14:43.738" v="2056"/>
          <ac:picMkLst>
            <pc:docMk/>
            <pc:sldMk cId="2222452884" sldId="5424"/>
            <ac:picMk id="2052" creationId="{02F9C357-3610-D199-39AD-E3E887003769}"/>
          </ac:picMkLst>
        </pc:picChg>
      </pc:sldChg>
      <pc:sldChg chg="addSp delSp modSp mod modNotesTx">
        <pc:chgData name="Laurentiu Marinescu" userId="b0dd0703-37df-4a8b-9e5a-fe66a92f9c33" providerId="ADAL" clId="{7A108CF2-572F-45F0-8870-D39F0C477427}" dt="2024-05-28T21:58:11.661" v="20072" actId="1076"/>
        <pc:sldMkLst>
          <pc:docMk/>
          <pc:sldMk cId="2375162576" sldId="5425"/>
        </pc:sldMkLst>
        <pc:spChg chg="mod">
          <ac:chgData name="Laurentiu Marinescu" userId="b0dd0703-37df-4a8b-9e5a-fe66a92f9c33" providerId="ADAL" clId="{7A108CF2-572F-45F0-8870-D39F0C477427}" dt="2024-05-28T21:58:11.661" v="20072" actId="1076"/>
          <ac:spMkLst>
            <pc:docMk/>
            <pc:sldMk cId="2375162576" sldId="5425"/>
            <ac:spMk id="2" creationId="{FE141E0E-16C6-E816-64E9-1FDB0586EFA9}"/>
          </ac:spMkLst>
        </pc:spChg>
        <pc:spChg chg="add del mod">
          <ac:chgData name="Laurentiu Marinescu" userId="b0dd0703-37df-4a8b-9e5a-fe66a92f9c33" providerId="ADAL" clId="{7A108CF2-572F-45F0-8870-D39F0C477427}" dt="2024-05-24T19:17:07.456" v="14702" actId="478"/>
          <ac:spMkLst>
            <pc:docMk/>
            <pc:sldMk cId="2375162576" sldId="5425"/>
            <ac:spMk id="3" creationId="{2DF85B0A-34C6-1B17-5929-E14D28313825}"/>
          </ac:spMkLst>
        </pc:spChg>
        <pc:spChg chg="mod">
          <ac:chgData name="Laurentiu Marinescu" userId="b0dd0703-37df-4a8b-9e5a-fe66a92f9c33" providerId="ADAL" clId="{7A108CF2-572F-45F0-8870-D39F0C477427}" dt="2024-05-28T21:24:17.781" v="20059" actId="207"/>
          <ac:spMkLst>
            <pc:docMk/>
            <pc:sldMk cId="2375162576" sldId="5425"/>
            <ac:spMk id="4" creationId="{7609AF40-A510-231A-F449-77C8AE4EE7CC}"/>
          </ac:spMkLst>
        </pc:spChg>
        <pc:spChg chg="add mod">
          <ac:chgData name="Laurentiu Marinescu" userId="b0dd0703-37df-4a8b-9e5a-fe66a92f9c33" providerId="ADAL" clId="{7A108CF2-572F-45F0-8870-D39F0C477427}" dt="2024-05-24T19:17:09.777" v="14704" actId="207"/>
          <ac:spMkLst>
            <pc:docMk/>
            <pc:sldMk cId="2375162576" sldId="5425"/>
            <ac:spMk id="7" creationId="{DBE7D784-9E69-8B18-618D-A40B3B4DE082}"/>
          </ac:spMkLst>
        </pc:spChg>
        <pc:picChg chg="add del mod ord">
          <ac:chgData name="Laurentiu Marinescu" userId="b0dd0703-37df-4a8b-9e5a-fe66a92f9c33" providerId="ADAL" clId="{7A108CF2-572F-45F0-8870-D39F0C477427}" dt="2024-05-28T19:57:51.821" v="17882" actId="478"/>
          <ac:picMkLst>
            <pc:docMk/>
            <pc:sldMk cId="2375162576" sldId="5425"/>
            <ac:picMk id="3" creationId="{92CD0EC6-823F-12A8-BCD2-4BA1A9DAE686}"/>
          </ac:picMkLst>
        </pc:picChg>
        <pc:picChg chg="del">
          <ac:chgData name="Laurentiu Marinescu" userId="b0dd0703-37df-4a8b-9e5a-fe66a92f9c33" providerId="ADAL" clId="{7A108CF2-572F-45F0-8870-D39F0C477427}" dt="2024-05-14T15:10:34.786" v="76" actId="478"/>
          <ac:picMkLst>
            <pc:docMk/>
            <pc:sldMk cId="2375162576" sldId="5425"/>
            <ac:picMk id="5" creationId="{442515B2-8AC3-78A1-D885-D763B7C45497}"/>
          </ac:picMkLst>
        </pc:picChg>
        <pc:picChg chg="add del mod ord">
          <ac:chgData name="Laurentiu Marinescu" userId="b0dd0703-37df-4a8b-9e5a-fe66a92f9c33" providerId="ADAL" clId="{7A108CF2-572F-45F0-8870-D39F0C477427}" dt="2024-05-28T19:39:06.675" v="17740" actId="478"/>
          <ac:picMkLst>
            <pc:docMk/>
            <pc:sldMk cId="2375162576" sldId="5425"/>
            <ac:picMk id="5" creationId="{BA6D3924-E0DE-0B31-6A7A-37CB5792C36B}"/>
          </ac:picMkLst>
        </pc:picChg>
        <pc:picChg chg="add mod">
          <ac:chgData name="Laurentiu Marinescu" userId="b0dd0703-37df-4a8b-9e5a-fe66a92f9c33" providerId="ADAL" clId="{7A108CF2-572F-45F0-8870-D39F0C477427}" dt="2024-05-28T19:57:59.977" v="17884" actId="1076"/>
          <ac:picMkLst>
            <pc:docMk/>
            <pc:sldMk cId="2375162576" sldId="5425"/>
            <ac:picMk id="8" creationId="{2FA6A330-5E49-71FD-B75D-3E75C4A8112E}"/>
          </ac:picMkLst>
        </pc:picChg>
      </pc:sldChg>
      <pc:sldChg chg="addSp delSp modSp del mod">
        <pc:chgData name="Laurentiu Marinescu" userId="b0dd0703-37df-4a8b-9e5a-fe66a92f9c33" providerId="ADAL" clId="{7A108CF2-572F-45F0-8870-D39F0C477427}" dt="2024-05-24T09:24:55.506" v="2523" actId="47"/>
        <pc:sldMkLst>
          <pc:docMk/>
          <pc:sldMk cId="2639284176" sldId="5427"/>
        </pc:sldMkLst>
        <pc:spChg chg="add mod">
          <ac:chgData name="Laurentiu Marinescu" userId="b0dd0703-37df-4a8b-9e5a-fe66a92f9c33" providerId="ADAL" clId="{7A108CF2-572F-45F0-8870-D39F0C477427}" dt="2024-05-15T12:17:46.245" v="737" actId="1076"/>
          <ac:spMkLst>
            <pc:docMk/>
            <pc:sldMk cId="2639284176" sldId="5427"/>
            <ac:spMk id="16" creationId="{5AF0A580-1D4A-B135-114D-395890837060}"/>
          </ac:spMkLst>
        </pc:spChg>
        <pc:spChg chg="mod">
          <ac:chgData name="Laurentiu Marinescu" userId="b0dd0703-37df-4a8b-9e5a-fe66a92f9c33" providerId="ADAL" clId="{7A108CF2-572F-45F0-8870-D39F0C477427}" dt="2024-05-24T09:24:25.800" v="2521" actId="20577"/>
          <ac:spMkLst>
            <pc:docMk/>
            <pc:sldMk cId="2639284176" sldId="5427"/>
            <ac:spMk id="27" creationId="{8A9B57AD-1EE2-7819-A732-17A9CA5070BB}"/>
          </ac:spMkLst>
        </pc:spChg>
        <pc:picChg chg="add del mod">
          <ac:chgData name="Laurentiu Marinescu" userId="b0dd0703-37df-4a8b-9e5a-fe66a92f9c33" providerId="ADAL" clId="{7A108CF2-572F-45F0-8870-D39F0C477427}" dt="2024-05-15T08:02:17.006" v="264" actId="22"/>
          <ac:picMkLst>
            <pc:docMk/>
            <pc:sldMk cId="2639284176" sldId="5427"/>
            <ac:picMk id="4" creationId="{AB26AABC-E491-9242-2280-05C80F3BA35A}"/>
          </ac:picMkLst>
        </pc:picChg>
        <pc:picChg chg="add del mod">
          <ac:chgData name="Laurentiu Marinescu" userId="b0dd0703-37df-4a8b-9e5a-fe66a92f9c33" providerId="ADAL" clId="{7A108CF2-572F-45F0-8870-D39F0C477427}" dt="2024-05-15T08:05:05.020" v="274" actId="22"/>
          <ac:picMkLst>
            <pc:docMk/>
            <pc:sldMk cId="2639284176" sldId="5427"/>
            <ac:picMk id="8" creationId="{13360FC2-CE7A-DDCF-D301-4F5938B8C10D}"/>
          </ac:picMkLst>
        </pc:picChg>
        <pc:picChg chg="add del">
          <ac:chgData name="Laurentiu Marinescu" userId="b0dd0703-37df-4a8b-9e5a-fe66a92f9c33" providerId="ADAL" clId="{7A108CF2-572F-45F0-8870-D39F0C477427}" dt="2024-05-15T08:05:43.016" v="276" actId="478"/>
          <ac:picMkLst>
            <pc:docMk/>
            <pc:sldMk cId="2639284176" sldId="5427"/>
            <ac:picMk id="9" creationId="{ACF70D0F-F31D-F178-660C-36A04C8CE9D6}"/>
          </ac:picMkLst>
        </pc:picChg>
        <pc:picChg chg="add del mod">
          <ac:chgData name="Laurentiu Marinescu" userId="b0dd0703-37df-4a8b-9e5a-fe66a92f9c33" providerId="ADAL" clId="{7A108CF2-572F-45F0-8870-D39F0C477427}" dt="2024-05-15T08:16:57.262" v="287" actId="478"/>
          <ac:picMkLst>
            <pc:docMk/>
            <pc:sldMk cId="2639284176" sldId="5427"/>
            <ac:picMk id="11" creationId="{70604959-01E4-5297-A69C-FE58B6FE8C9B}"/>
          </ac:picMkLst>
        </pc:picChg>
        <pc:picChg chg="add del mod">
          <ac:chgData name="Laurentiu Marinescu" userId="b0dd0703-37df-4a8b-9e5a-fe66a92f9c33" providerId="ADAL" clId="{7A108CF2-572F-45F0-8870-D39F0C477427}" dt="2024-05-15T08:17:31.446" v="291" actId="478"/>
          <ac:picMkLst>
            <pc:docMk/>
            <pc:sldMk cId="2639284176" sldId="5427"/>
            <ac:picMk id="13" creationId="{1EE7A991-CB13-EE10-D81D-F2B5D3444067}"/>
          </ac:picMkLst>
        </pc:picChg>
        <pc:picChg chg="add mod">
          <ac:chgData name="Laurentiu Marinescu" userId="b0dd0703-37df-4a8b-9e5a-fe66a92f9c33" providerId="ADAL" clId="{7A108CF2-572F-45F0-8870-D39F0C477427}" dt="2024-05-15T08:17:49.359" v="296" actId="14100"/>
          <ac:picMkLst>
            <pc:docMk/>
            <pc:sldMk cId="2639284176" sldId="5427"/>
            <ac:picMk id="15" creationId="{B94DCA34-D255-6037-AB4F-48BA412D3F2C}"/>
          </ac:picMkLst>
        </pc:picChg>
      </pc:sldChg>
      <pc:sldChg chg="addSp delSp modSp mod">
        <pc:chgData name="Laurentiu Marinescu" userId="b0dd0703-37df-4a8b-9e5a-fe66a92f9c33" providerId="ADAL" clId="{7A108CF2-572F-45F0-8870-D39F0C477427}" dt="2024-05-28T21:58:23.949" v="20074" actId="1076"/>
        <pc:sldMkLst>
          <pc:docMk/>
          <pc:sldMk cId="4093608824" sldId="5428"/>
        </pc:sldMkLst>
        <pc:spChg chg="mod">
          <ac:chgData name="Laurentiu Marinescu" userId="b0dd0703-37df-4a8b-9e5a-fe66a92f9c33" providerId="ADAL" clId="{7A108CF2-572F-45F0-8870-D39F0C477427}" dt="2024-05-28T21:58:20.840" v="20073" actId="1076"/>
          <ac:spMkLst>
            <pc:docMk/>
            <pc:sldMk cId="4093608824" sldId="5428"/>
            <ac:spMk id="2" creationId="{FE141E0E-16C6-E816-64E9-1FDB0586EFA9}"/>
          </ac:spMkLst>
        </pc:spChg>
        <pc:spChg chg="add del mod">
          <ac:chgData name="Laurentiu Marinescu" userId="b0dd0703-37df-4a8b-9e5a-fe66a92f9c33" providerId="ADAL" clId="{7A108CF2-572F-45F0-8870-D39F0C477427}" dt="2024-05-24T19:17:14.353" v="14705" actId="478"/>
          <ac:spMkLst>
            <pc:docMk/>
            <pc:sldMk cId="4093608824" sldId="5428"/>
            <ac:spMk id="3" creationId="{928D47CC-2D7A-650C-2E2D-1E549B54F1CC}"/>
          </ac:spMkLst>
        </pc:spChg>
        <pc:spChg chg="mod">
          <ac:chgData name="Laurentiu Marinescu" userId="b0dd0703-37df-4a8b-9e5a-fe66a92f9c33" providerId="ADAL" clId="{7A108CF2-572F-45F0-8870-D39F0C477427}" dt="2024-05-28T21:58:23.949" v="20074" actId="1076"/>
          <ac:spMkLst>
            <pc:docMk/>
            <pc:sldMk cId="4093608824" sldId="5428"/>
            <ac:spMk id="4" creationId="{7609AF40-A510-231A-F449-77C8AE4EE7CC}"/>
          </ac:spMkLst>
        </pc:spChg>
        <pc:spChg chg="add mod">
          <ac:chgData name="Laurentiu Marinescu" userId="b0dd0703-37df-4a8b-9e5a-fe66a92f9c33" providerId="ADAL" clId="{7A108CF2-572F-45F0-8870-D39F0C477427}" dt="2024-05-24T19:17:16.999" v="14707" actId="207"/>
          <ac:spMkLst>
            <pc:docMk/>
            <pc:sldMk cId="4093608824" sldId="5428"/>
            <ac:spMk id="5" creationId="{C78608E3-B6D1-34A2-7A73-DBC99343BC8B}"/>
          </ac:spMkLst>
        </pc:spChg>
        <pc:picChg chg="add del mod ord">
          <ac:chgData name="Laurentiu Marinescu" userId="b0dd0703-37df-4a8b-9e5a-fe66a92f9c33" providerId="ADAL" clId="{7A108CF2-572F-45F0-8870-D39F0C477427}" dt="2024-05-28T19:58:03.674" v="17885" actId="478"/>
          <ac:picMkLst>
            <pc:docMk/>
            <pc:sldMk cId="4093608824" sldId="5428"/>
            <ac:picMk id="3" creationId="{549810F6-36EB-6567-F378-F795244DF526}"/>
          </ac:picMkLst>
        </pc:picChg>
        <pc:picChg chg="del mod">
          <ac:chgData name="Laurentiu Marinescu" userId="b0dd0703-37df-4a8b-9e5a-fe66a92f9c33" providerId="ADAL" clId="{7A108CF2-572F-45F0-8870-D39F0C477427}" dt="2024-05-24T09:26:23.274" v="2524" actId="478"/>
          <ac:picMkLst>
            <pc:docMk/>
            <pc:sldMk cId="4093608824" sldId="5428"/>
            <ac:picMk id="5" creationId="{EFA56CC7-DA2A-F043-CAD5-12AD7515260D}"/>
          </ac:picMkLst>
        </pc:picChg>
        <pc:picChg chg="add del mod ord">
          <ac:chgData name="Laurentiu Marinescu" userId="b0dd0703-37df-4a8b-9e5a-fe66a92f9c33" providerId="ADAL" clId="{7A108CF2-572F-45F0-8870-D39F0C477427}" dt="2024-05-28T19:45:09.228" v="17821" actId="478"/>
          <ac:picMkLst>
            <pc:docMk/>
            <pc:sldMk cId="4093608824" sldId="5428"/>
            <ac:picMk id="7" creationId="{5ED5EF1F-417C-63B7-2187-67C8F9B1E0D2}"/>
          </ac:picMkLst>
        </pc:picChg>
        <pc:picChg chg="add mod">
          <ac:chgData name="Laurentiu Marinescu" userId="b0dd0703-37df-4a8b-9e5a-fe66a92f9c33" providerId="ADAL" clId="{7A108CF2-572F-45F0-8870-D39F0C477427}" dt="2024-05-28T19:58:29.885" v="17892" actId="1076"/>
          <ac:picMkLst>
            <pc:docMk/>
            <pc:sldMk cId="4093608824" sldId="5428"/>
            <ac:picMk id="8" creationId="{84FA8405-455D-7528-D57D-8E9EBD8121FB}"/>
          </ac:picMkLst>
        </pc:picChg>
      </pc:sldChg>
      <pc:sldChg chg="addSp delSp modSp mod">
        <pc:chgData name="Laurentiu Marinescu" userId="b0dd0703-37df-4a8b-9e5a-fe66a92f9c33" providerId="ADAL" clId="{7A108CF2-572F-45F0-8870-D39F0C477427}" dt="2024-05-24T19:17:26.724" v="14711"/>
        <pc:sldMkLst>
          <pc:docMk/>
          <pc:sldMk cId="3210061790" sldId="5430"/>
        </pc:sldMkLst>
        <pc:spChg chg="add del mod">
          <ac:chgData name="Laurentiu Marinescu" userId="b0dd0703-37df-4a8b-9e5a-fe66a92f9c33" providerId="ADAL" clId="{7A108CF2-572F-45F0-8870-D39F0C477427}" dt="2024-05-24T19:17:26.502" v="14710" actId="478"/>
          <ac:spMkLst>
            <pc:docMk/>
            <pc:sldMk cId="3210061790" sldId="5430"/>
            <ac:spMk id="3" creationId="{B2E75247-F372-B6B7-7303-EDAD62BD0E84}"/>
          </ac:spMkLst>
        </pc:spChg>
        <pc:spChg chg="mod">
          <ac:chgData name="Laurentiu Marinescu" userId="b0dd0703-37df-4a8b-9e5a-fe66a92f9c33" providerId="ADAL" clId="{7A108CF2-572F-45F0-8870-D39F0C477427}" dt="2024-05-15T13:44:00.730" v="828" actId="20577"/>
          <ac:spMkLst>
            <pc:docMk/>
            <pc:sldMk cId="3210061790" sldId="5430"/>
            <ac:spMk id="4" creationId="{7609AF40-A510-231A-F449-77C8AE4EE7CC}"/>
          </ac:spMkLst>
        </pc:spChg>
        <pc:spChg chg="add mod">
          <ac:chgData name="Laurentiu Marinescu" userId="b0dd0703-37df-4a8b-9e5a-fe66a92f9c33" providerId="ADAL" clId="{7A108CF2-572F-45F0-8870-D39F0C477427}" dt="2024-05-24T19:17:26.724" v="14711"/>
          <ac:spMkLst>
            <pc:docMk/>
            <pc:sldMk cId="3210061790" sldId="5430"/>
            <ac:spMk id="5" creationId="{1FC56799-5B2B-74B0-FA06-033948C78EDC}"/>
          </ac:spMkLst>
        </pc:spChg>
      </pc:sldChg>
      <pc:sldChg chg="addSp delSp modSp mod">
        <pc:chgData name="Laurentiu Marinescu" userId="b0dd0703-37df-4a8b-9e5a-fe66a92f9c33" providerId="ADAL" clId="{7A108CF2-572F-45F0-8870-D39F0C477427}" dt="2024-05-24T19:17:36.620" v="14714" actId="207"/>
        <pc:sldMkLst>
          <pc:docMk/>
          <pc:sldMk cId="3400865735" sldId="5432"/>
        </pc:sldMkLst>
        <pc:spChg chg="mod">
          <ac:chgData name="Laurentiu Marinescu" userId="b0dd0703-37df-4a8b-9e5a-fe66a92f9c33" providerId="ADAL" clId="{7A108CF2-572F-45F0-8870-D39F0C477427}" dt="2024-05-24T09:44:04.775" v="2580" actId="947"/>
          <ac:spMkLst>
            <pc:docMk/>
            <pc:sldMk cId="3400865735" sldId="5432"/>
            <ac:spMk id="2" creationId="{FE141E0E-16C6-E816-64E9-1FDB0586EFA9}"/>
          </ac:spMkLst>
        </pc:spChg>
        <pc:spChg chg="add mod">
          <ac:chgData name="Laurentiu Marinescu" userId="b0dd0703-37df-4a8b-9e5a-fe66a92f9c33" providerId="ADAL" clId="{7A108CF2-572F-45F0-8870-D39F0C477427}" dt="2024-05-24T19:17:36.620" v="14714" actId="207"/>
          <ac:spMkLst>
            <pc:docMk/>
            <pc:sldMk cId="3400865735" sldId="5432"/>
            <ac:spMk id="3" creationId="{B7C040E8-344F-0406-3F57-1CD5FC1D34CC}"/>
          </ac:spMkLst>
        </pc:spChg>
        <pc:spChg chg="add del mod">
          <ac:chgData name="Laurentiu Marinescu" userId="b0dd0703-37df-4a8b-9e5a-fe66a92f9c33" providerId="ADAL" clId="{7A108CF2-572F-45F0-8870-D39F0C477427}" dt="2024-05-24T19:17:34.343" v="14712" actId="478"/>
          <ac:spMkLst>
            <pc:docMk/>
            <pc:sldMk cId="3400865735" sldId="5432"/>
            <ac:spMk id="11" creationId="{33CBAAA6-E0A2-6A4B-AFDE-56A639DE7A5C}"/>
          </ac:spMkLst>
        </pc:spChg>
        <pc:spChg chg="mod">
          <ac:chgData name="Laurentiu Marinescu" userId="b0dd0703-37df-4a8b-9e5a-fe66a92f9c33" providerId="ADAL" clId="{7A108CF2-572F-45F0-8870-D39F0C477427}" dt="2024-05-24T09:45:05.137" v="2585" actId="947"/>
          <ac:spMkLst>
            <pc:docMk/>
            <pc:sldMk cId="3400865735" sldId="5432"/>
            <ac:spMk id="27" creationId="{8A9B57AD-1EE2-7819-A732-17A9CA5070BB}"/>
          </ac:spMkLst>
        </pc:spChg>
        <pc:picChg chg="add del mod">
          <ac:chgData name="Laurentiu Marinescu" userId="b0dd0703-37df-4a8b-9e5a-fe66a92f9c33" providerId="ADAL" clId="{7A108CF2-572F-45F0-8870-D39F0C477427}" dt="2024-05-15T08:19:54.913" v="297" actId="478"/>
          <ac:picMkLst>
            <pc:docMk/>
            <pc:sldMk cId="3400865735" sldId="5432"/>
            <ac:picMk id="3" creationId="{87520483-256D-1282-BCD5-3F4E78EFC414}"/>
          </ac:picMkLst>
        </pc:picChg>
        <pc:picChg chg="add del mod">
          <ac:chgData name="Laurentiu Marinescu" userId="b0dd0703-37df-4a8b-9e5a-fe66a92f9c33" providerId="ADAL" clId="{7A108CF2-572F-45F0-8870-D39F0C477427}" dt="2024-05-15T08:23:56.584" v="303" actId="478"/>
          <ac:picMkLst>
            <pc:docMk/>
            <pc:sldMk cId="3400865735" sldId="5432"/>
            <ac:picMk id="7" creationId="{C8D434D1-3D82-878C-44FA-7CB1D89A29AE}"/>
          </ac:picMkLst>
        </pc:picChg>
        <pc:picChg chg="del">
          <ac:chgData name="Laurentiu Marinescu" userId="b0dd0703-37df-4a8b-9e5a-fe66a92f9c33" providerId="ADAL" clId="{7A108CF2-572F-45F0-8870-D39F0C477427}" dt="2024-05-15T08:06:09.988" v="284" actId="478"/>
          <ac:picMkLst>
            <pc:docMk/>
            <pc:sldMk cId="3400865735" sldId="5432"/>
            <ac:picMk id="8" creationId="{8E57715B-A5FA-F878-FF04-C27B69F81FE5}"/>
          </ac:picMkLst>
        </pc:picChg>
        <pc:picChg chg="add mod ord">
          <ac:chgData name="Laurentiu Marinescu" userId="b0dd0703-37df-4a8b-9e5a-fe66a92f9c33" providerId="ADAL" clId="{7A108CF2-572F-45F0-8870-D39F0C477427}" dt="2024-05-24T09:43:52.670" v="2578" actId="167"/>
          <ac:picMkLst>
            <pc:docMk/>
            <pc:sldMk cId="3400865735" sldId="5432"/>
            <ac:picMk id="10" creationId="{A8443444-03C5-1366-C793-E0817D7E8D9B}"/>
          </ac:picMkLst>
        </pc:picChg>
      </pc:sldChg>
      <pc:sldChg chg="addSp modSp del mod">
        <pc:chgData name="Laurentiu Marinescu" userId="b0dd0703-37df-4a8b-9e5a-fe66a92f9c33" providerId="ADAL" clId="{7A108CF2-572F-45F0-8870-D39F0C477427}" dt="2024-05-23T09:28:56.359" v="1342" actId="47"/>
        <pc:sldMkLst>
          <pc:docMk/>
          <pc:sldMk cId="1954718487" sldId="5433"/>
        </pc:sldMkLst>
        <pc:spChg chg="add mod">
          <ac:chgData name="Laurentiu Marinescu" userId="b0dd0703-37df-4a8b-9e5a-fe66a92f9c33" providerId="ADAL" clId="{7A108CF2-572F-45F0-8870-D39F0C477427}" dt="2024-05-15T12:26:59.309" v="795" actId="1076"/>
          <ac:spMkLst>
            <pc:docMk/>
            <pc:sldMk cId="1954718487" sldId="5433"/>
            <ac:spMk id="3" creationId="{24C37E2F-F910-F74E-9787-1E6A6E278836}"/>
          </ac:spMkLst>
        </pc:spChg>
      </pc:sldChg>
      <pc:sldChg chg="addSp delSp modSp mod modNotesTx">
        <pc:chgData name="Laurentiu Marinescu" userId="b0dd0703-37df-4a8b-9e5a-fe66a92f9c33" providerId="ADAL" clId="{7A108CF2-572F-45F0-8870-D39F0C477427}" dt="2024-05-24T19:18:35.031" v="14732"/>
        <pc:sldMkLst>
          <pc:docMk/>
          <pc:sldMk cId="3244595688" sldId="5434"/>
        </pc:sldMkLst>
        <pc:spChg chg="add del mod">
          <ac:chgData name="Laurentiu Marinescu" userId="b0dd0703-37df-4a8b-9e5a-fe66a92f9c33" providerId="ADAL" clId="{7A108CF2-572F-45F0-8870-D39F0C477427}" dt="2024-05-24T19:18:34.719" v="14731" actId="478"/>
          <ac:spMkLst>
            <pc:docMk/>
            <pc:sldMk cId="3244595688" sldId="5434"/>
            <ac:spMk id="3" creationId="{D48688BC-F682-3FCC-EFB5-177BA3CCF375}"/>
          </ac:spMkLst>
        </pc:spChg>
        <pc:spChg chg="mod">
          <ac:chgData name="Laurentiu Marinescu" userId="b0dd0703-37df-4a8b-9e5a-fe66a92f9c33" providerId="ADAL" clId="{7A108CF2-572F-45F0-8870-D39F0C477427}" dt="2024-05-14T15:12:51.524" v="109" actId="313"/>
          <ac:spMkLst>
            <pc:docMk/>
            <pc:sldMk cId="3244595688" sldId="5434"/>
            <ac:spMk id="4" creationId="{7609AF40-A510-231A-F449-77C8AE4EE7CC}"/>
          </ac:spMkLst>
        </pc:spChg>
        <pc:spChg chg="add mod">
          <ac:chgData name="Laurentiu Marinescu" userId="b0dd0703-37df-4a8b-9e5a-fe66a92f9c33" providerId="ADAL" clId="{7A108CF2-572F-45F0-8870-D39F0C477427}" dt="2024-05-24T19:18:35.031" v="14732"/>
          <ac:spMkLst>
            <pc:docMk/>
            <pc:sldMk cId="3244595688" sldId="5434"/>
            <ac:spMk id="5" creationId="{03F966EC-F498-0C24-108C-01547EC57753}"/>
          </ac:spMkLst>
        </pc:spChg>
        <pc:picChg chg="del">
          <ac:chgData name="Laurentiu Marinescu" userId="b0dd0703-37df-4a8b-9e5a-fe66a92f9c33" providerId="ADAL" clId="{7A108CF2-572F-45F0-8870-D39F0C477427}" dt="2024-05-14T15:12:08.664" v="98" actId="478"/>
          <ac:picMkLst>
            <pc:docMk/>
            <pc:sldMk cId="3244595688" sldId="5434"/>
            <ac:picMk id="11" creationId="{DF31CD46-F2AD-EE62-3F15-3CFECAD6BE06}"/>
          </ac:picMkLst>
        </pc:picChg>
        <pc:picChg chg="del">
          <ac:chgData name="Laurentiu Marinescu" userId="b0dd0703-37df-4a8b-9e5a-fe66a92f9c33" providerId="ADAL" clId="{7A108CF2-572F-45F0-8870-D39F0C477427}" dt="2024-05-14T15:12:10.167" v="99" actId="478"/>
          <ac:picMkLst>
            <pc:docMk/>
            <pc:sldMk cId="3244595688" sldId="5434"/>
            <ac:picMk id="13" creationId="{C3934AC9-C9ED-20CA-F623-A00E3CF8702B}"/>
          </ac:picMkLst>
        </pc:picChg>
      </pc:sldChg>
      <pc:sldChg chg="addSp delSp modSp mod modNotes">
        <pc:chgData name="Laurentiu Marinescu" userId="b0dd0703-37df-4a8b-9e5a-fe66a92f9c33" providerId="ADAL" clId="{7A108CF2-572F-45F0-8870-D39F0C477427}" dt="2024-05-24T19:18:25.126" v="14730" actId="14100"/>
        <pc:sldMkLst>
          <pc:docMk/>
          <pc:sldMk cId="1844247752" sldId="5435"/>
        </pc:sldMkLst>
        <pc:spChg chg="mod">
          <ac:chgData name="Laurentiu Marinescu" userId="b0dd0703-37df-4a8b-9e5a-fe66a92f9c33" providerId="ADAL" clId="{7A108CF2-572F-45F0-8870-D39F0C477427}" dt="2024-05-24T09:43:14.207" v="2572" actId="947"/>
          <ac:spMkLst>
            <pc:docMk/>
            <pc:sldMk cId="1844247752" sldId="5435"/>
            <ac:spMk id="2" creationId="{FE141E0E-16C6-E816-64E9-1FDB0586EFA9}"/>
          </ac:spMkLst>
        </pc:spChg>
        <pc:spChg chg="add mod">
          <ac:chgData name="Laurentiu Marinescu" userId="b0dd0703-37df-4a8b-9e5a-fe66a92f9c33" providerId="ADAL" clId="{7A108CF2-572F-45F0-8870-D39F0C477427}" dt="2024-05-24T19:18:05.380" v="14725" actId="207"/>
          <ac:spMkLst>
            <pc:docMk/>
            <pc:sldMk cId="1844247752" sldId="5435"/>
            <ac:spMk id="3" creationId="{C18D8940-655B-55CB-2D73-48E389261C9A}"/>
          </ac:spMkLst>
        </pc:spChg>
        <pc:spChg chg="add del mod">
          <ac:chgData name="Laurentiu Marinescu" userId="b0dd0703-37df-4a8b-9e5a-fe66a92f9c33" providerId="ADAL" clId="{7A108CF2-572F-45F0-8870-D39F0C477427}" dt="2024-05-24T19:18:01.516" v="14723" actId="478"/>
          <ac:spMkLst>
            <pc:docMk/>
            <pc:sldMk cId="1844247752" sldId="5435"/>
            <ac:spMk id="4" creationId="{2457C738-CA75-D4E8-B7CF-18337EF8EDDD}"/>
          </ac:spMkLst>
        </pc:spChg>
        <pc:spChg chg="add del">
          <ac:chgData name="Laurentiu Marinescu" userId="b0dd0703-37df-4a8b-9e5a-fe66a92f9c33" providerId="ADAL" clId="{7A108CF2-572F-45F0-8870-D39F0C477427}" dt="2024-05-24T09:42:39.632" v="2565" actId="22"/>
          <ac:spMkLst>
            <pc:docMk/>
            <pc:sldMk cId="1844247752" sldId="5435"/>
            <ac:spMk id="7" creationId="{1F34E3E6-4104-AFCF-AE04-1E1CF254535C}"/>
          </ac:spMkLst>
        </pc:spChg>
        <pc:spChg chg="mod">
          <ac:chgData name="Laurentiu Marinescu" userId="b0dd0703-37df-4a8b-9e5a-fe66a92f9c33" providerId="ADAL" clId="{7A108CF2-572F-45F0-8870-D39F0C477427}" dt="2024-05-24T09:43:25.869" v="2575" actId="1076"/>
          <ac:spMkLst>
            <pc:docMk/>
            <pc:sldMk cId="1844247752" sldId="5435"/>
            <ac:spMk id="27" creationId="{8A9B57AD-1EE2-7819-A732-17A9CA5070BB}"/>
          </ac:spMkLst>
        </pc:spChg>
        <pc:picChg chg="add del mod">
          <ac:chgData name="Laurentiu Marinescu" userId="b0dd0703-37df-4a8b-9e5a-fe66a92f9c33" providerId="ADAL" clId="{7A108CF2-572F-45F0-8870-D39F0C477427}" dt="2024-05-24T09:42:38.123" v="2563" actId="478"/>
          <ac:picMkLst>
            <pc:docMk/>
            <pc:sldMk cId="1844247752" sldId="5435"/>
            <ac:picMk id="3" creationId="{5DFA126D-1EB6-DE2B-8C9D-4D9AAFAA33A8}"/>
          </ac:picMkLst>
        </pc:picChg>
        <pc:picChg chg="del">
          <ac:chgData name="Laurentiu Marinescu" userId="b0dd0703-37df-4a8b-9e5a-fe66a92f9c33" providerId="ADAL" clId="{7A108CF2-572F-45F0-8870-D39F0C477427}" dt="2024-05-15T08:22:47.086" v="300" actId="478"/>
          <ac:picMkLst>
            <pc:docMk/>
            <pc:sldMk cId="1844247752" sldId="5435"/>
            <ac:picMk id="9" creationId="{F1EA8D4A-FFBC-F6A0-7111-4F625BE2EA6C}"/>
          </ac:picMkLst>
        </pc:picChg>
        <pc:picChg chg="add mod">
          <ac:chgData name="Laurentiu Marinescu" userId="b0dd0703-37df-4a8b-9e5a-fe66a92f9c33" providerId="ADAL" clId="{7A108CF2-572F-45F0-8870-D39F0C477427}" dt="2024-05-24T19:18:25.126" v="14730" actId="14100"/>
          <ac:picMkLst>
            <pc:docMk/>
            <pc:sldMk cId="1844247752" sldId="5435"/>
            <ac:picMk id="3074" creationId="{2B69BB41-3943-47D9-7FB8-BC1F292F2896}"/>
          </ac:picMkLst>
        </pc:picChg>
      </pc:sldChg>
      <pc:sldChg chg="addSp delSp modSp add del mod modNotesTx">
        <pc:chgData name="Laurentiu Marinescu" userId="b0dd0703-37df-4a8b-9e5a-fe66a92f9c33" providerId="ADAL" clId="{7A108CF2-572F-45F0-8870-D39F0C477427}" dt="2024-05-28T08:33:04.581" v="15871" actId="20577"/>
        <pc:sldMkLst>
          <pc:docMk/>
          <pc:sldMk cId="3756542677" sldId="5437"/>
        </pc:sldMkLst>
        <pc:spChg chg="add del mod">
          <ac:chgData name="Laurentiu Marinescu" userId="b0dd0703-37df-4a8b-9e5a-fe66a92f9c33" providerId="ADAL" clId="{7A108CF2-572F-45F0-8870-D39F0C477427}" dt="2024-05-24T19:17:40.569" v="14715" actId="478"/>
          <ac:spMkLst>
            <pc:docMk/>
            <pc:sldMk cId="3756542677" sldId="5437"/>
            <ac:spMk id="3" creationId="{DECA4380-ED46-3CF4-73A9-8718378F3AD5}"/>
          </ac:spMkLst>
        </pc:spChg>
        <pc:spChg chg="mod">
          <ac:chgData name="Laurentiu Marinescu" userId="b0dd0703-37df-4a8b-9e5a-fe66a92f9c33" providerId="ADAL" clId="{7A108CF2-572F-45F0-8870-D39F0C477427}" dt="2024-05-28T08:05:46.742" v="15063" actId="14100"/>
          <ac:spMkLst>
            <pc:docMk/>
            <pc:sldMk cId="3756542677" sldId="5437"/>
            <ac:spMk id="4" creationId="{7609AF40-A510-231A-F449-77C8AE4EE7CC}"/>
          </ac:spMkLst>
        </pc:spChg>
        <pc:spChg chg="add mod">
          <ac:chgData name="Laurentiu Marinescu" userId="b0dd0703-37df-4a8b-9e5a-fe66a92f9c33" providerId="ADAL" clId="{7A108CF2-572F-45F0-8870-D39F0C477427}" dt="2024-05-24T19:17:45.111" v="14718" actId="207"/>
          <ac:spMkLst>
            <pc:docMk/>
            <pc:sldMk cId="3756542677" sldId="5437"/>
            <ac:spMk id="7" creationId="{3EAC73F3-C5DD-C853-AF08-DA70A4C3080C}"/>
          </ac:spMkLst>
        </pc:spChg>
      </pc:sldChg>
      <pc:sldChg chg="addSp delSp modSp mod modNotesTx">
        <pc:chgData name="Laurentiu Marinescu" userId="b0dd0703-37df-4a8b-9e5a-fe66a92f9c33" providerId="ADAL" clId="{7A108CF2-572F-45F0-8870-D39F0C477427}" dt="2024-05-28T09:10:22.896" v="16850"/>
        <pc:sldMkLst>
          <pc:docMk/>
          <pc:sldMk cId="2888917747" sldId="5440"/>
        </pc:sldMkLst>
        <pc:spChg chg="add del mod">
          <ac:chgData name="Laurentiu Marinescu" userId="b0dd0703-37df-4a8b-9e5a-fe66a92f9c33" providerId="ADAL" clId="{7A108CF2-572F-45F0-8870-D39F0C477427}" dt="2024-05-24T19:18:45.217" v="14735" actId="478"/>
          <ac:spMkLst>
            <pc:docMk/>
            <pc:sldMk cId="2888917747" sldId="5440"/>
            <ac:spMk id="3" creationId="{DC00E39C-A240-369C-78AE-9DFA801AFBE1}"/>
          </ac:spMkLst>
        </pc:spChg>
        <pc:spChg chg="mod">
          <ac:chgData name="Laurentiu Marinescu" userId="b0dd0703-37df-4a8b-9e5a-fe66a92f9c33" providerId="ADAL" clId="{7A108CF2-572F-45F0-8870-D39F0C477427}" dt="2024-05-24T11:29:24.170" v="3975" actId="20577"/>
          <ac:spMkLst>
            <pc:docMk/>
            <pc:sldMk cId="2888917747" sldId="5440"/>
            <ac:spMk id="4" creationId="{7609AF40-A510-231A-F449-77C8AE4EE7CC}"/>
          </ac:spMkLst>
        </pc:spChg>
        <pc:spChg chg="add mod">
          <ac:chgData name="Laurentiu Marinescu" userId="b0dd0703-37df-4a8b-9e5a-fe66a92f9c33" providerId="ADAL" clId="{7A108CF2-572F-45F0-8870-D39F0C477427}" dt="2024-05-24T19:18:45.456" v="14736"/>
          <ac:spMkLst>
            <pc:docMk/>
            <pc:sldMk cId="2888917747" sldId="5440"/>
            <ac:spMk id="5" creationId="{386E8F23-8EF2-A90C-94D2-0938C3073AEB}"/>
          </ac:spMkLst>
        </pc:spChg>
      </pc:sldChg>
      <pc:sldChg chg="add del">
        <pc:chgData name="Laurentiu Marinescu" userId="b0dd0703-37df-4a8b-9e5a-fe66a92f9c33" providerId="ADAL" clId="{7A108CF2-572F-45F0-8870-D39F0C477427}" dt="2024-05-23T10:00:36.157" v="1642" actId="47"/>
        <pc:sldMkLst>
          <pc:docMk/>
          <pc:sldMk cId="1323931142" sldId="5441"/>
        </pc:sldMkLst>
      </pc:sldChg>
      <pc:sldChg chg="addSp delSp modSp del mod">
        <pc:chgData name="Laurentiu Marinescu" userId="b0dd0703-37df-4a8b-9e5a-fe66a92f9c33" providerId="ADAL" clId="{7A108CF2-572F-45F0-8870-D39F0C477427}" dt="2024-05-24T08:43:30.086" v="1747" actId="47"/>
        <pc:sldMkLst>
          <pc:docMk/>
          <pc:sldMk cId="896881096" sldId="5442"/>
        </pc:sldMkLst>
        <pc:spChg chg="add del mod">
          <ac:chgData name="Laurentiu Marinescu" userId="b0dd0703-37df-4a8b-9e5a-fe66a92f9c33" providerId="ADAL" clId="{7A108CF2-572F-45F0-8870-D39F0C477427}" dt="2024-05-23T10:01:01.916" v="1644" actId="478"/>
          <ac:spMkLst>
            <pc:docMk/>
            <pc:sldMk cId="896881096" sldId="5442"/>
            <ac:spMk id="3" creationId="{1BB792EF-67A5-D36D-AC39-7E4F4DA00624}"/>
          </ac:spMkLst>
        </pc:spChg>
      </pc:sldChg>
      <pc:sldChg chg="addSp delSp modSp mod modNotesTx">
        <pc:chgData name="Laurentiu Marinescu" userId="b0dd0703-37df-4a8b-9e5a-fe66a92f9c33" providerId="ADAL" clId="{7A108CF2-572F-45F0-8870-D39F0C477427}" dt="2024-05-28T08:43:23.343" v="16415" actId="20577"/>
        <pc:sldMkLst>
          <pc:docMk/>
          <pc:sldMk cId="1513175775" sldId="5443"/>
        </pc:sldMkLst>
        <pc:spChg chg="add del mod">
          <ac:chgData name="Laurentiu Marinescu" userId="b0dd0703-37df-4a8b-9e5a-fe66a92f9c33" providerId="ADAL" clId="{7A108CF2-572F-45F0-8870-D39F0C477427}" dt="2024-05-24T19:12:21.749" v="14612" actId="478"/>
          <ac:spMkLst>
            <pc:docMk/>
            <pc:sldMk cId="1513175775" sldId="5443"/>
            <ac:spMk id="2" creationId="{EA55785D-9D55-7757-AE50-2BC357391EBC}"/>
          </ac:spMkLst>
        </pc:spChg>
        <pc:spChg chg="add mod">
          <ac:chgData name="Laurentiu Marinescu" userId="b0dd0703-37df-4a8b-9e5a-fe66a92f9c33" providerId="ADAL" clId="{7A108CF2-572F-45F0-8870-D39F0C477427}" dt="2024-05-24T19:12:25.677" v="14614" actId="207"/>
          <ac:spMkLst>
            <pc:docMk/>
            <pc:sldMk cId="1513175775" sldId="5443"/>
            <ac:spMk id="3" creationId="{FA8DD448-AC1F-35EC-6682-2E6E0CC66E51}"/>
          </ac:spMkLst>
        </pc:spChg>
      </pc:sldChg>
      <pc:sldChg chg="addSp delSp modSp mod modNotesTx">
        <pc:chgData name="Laurentiu Marinescu" userId="b0dd0703-37df-4a8b-9e5a-fe66a92f9c33" providerId="ADAL" clId="{7A108CF2-572F-45F0-8870-D39F0C477427}" dt="2024-05-28T23:28:02.048" v="20510" actId="20577"/>
        <pc:sldMkLst>
          <pc:docMk/>
          <pc:sldMk cId="2723690343" sldId="5444"/>
        </pc:sldMkLst>
        <pc:spChg chg="mod">
          <ac:chgData name="Laurentiu Marinescu" userId="b0dd0703-37df-4a8b-9e5a-fe66a92f9c33" providerId="ADAL" clId="{7A108CF2-572F-45F0-8870-D39F0C477427}" dt="2024-05-24T17:26:40.646" v="14215"/>
          <ac:spMkLst>
            <pc:docMk/>
            <pc:sldMk cId="2723690343" sldId="5444"/>
            <ac:spMk id="2" creationId="{76B47FF1-870D-267A-C923-D72EB345F42F}"/>
          </ac:spMkLst>
        </pc:spChg>
        <pc:spChg chg="add del mod">
          <ac:chgData name="Laurentiu Marinescu" userId="b0dd0703-37df-4a8b-9e5a-fe66a92f9c33" providerId="ADAL" clId="{7A108CF2-572F-45F0-8870-D39F0C477427}" dt="2024-05-24T19:11:41.752" v="14608" actId="478"/>
          <ac:spMkLst>
            <pc:docMk/>
            <pc:sldMk cId="2723690343" sldId="5444"/>
            <ac:spMk id="3" creationId="{747E6824-3700-82A2-F761-504A6C039E95}"/>
          </ac:spMkLst>
        </pc:spChg>
        <pc:spChg chg="del">
          <ac:chgData name="Laurentiu Marinescu" userId="b0dd0703-37df-4a8b-9e5a-fe66a92f9c33" providerId="ADAL" clId="{7A108CF2-572F-45F0-8870-D39F0C477427}" dt="2024-05-23T12:59:41.735" v="1674" actId="478"/>
          <ac:spMkLst>
            <pc:docMk/>
            <pc:sldMk cId="2723690343" sldId="5444"/>
            <ac:spMk id="4" creationId="{461AD47B-5EA8-FE03-7669-D3BC158ACCA3}"/>
          </ac:spMkLst>
        </pc:spChg>
        <pc:spChg chg="add mod">
          <ac:chgData name="Laurentiu Marinescu" userId="b0dd0703-37df-4a8b-9e5a-fe66a92f9c33" providerId="ADAL" clId="{7A108CF2-572F-45F0-8870-D39F0C477427}" dt="2024-05-24T19:11:42.496" v="14609"/>
          <ac:spMkLst>
            <pc:docMk/>
            <pc:sldMk cId="2723690343" sldId="5444"/>
            <ac:spMk id="4" creationId="{54D53BD4-0FA4-8851-877D-F046CB5187EF}"/>
          </ac:spMkLst>
        </pc:spChg>
        <pc:spChg chg="del">
          <ac:chgData name="Laurentiu Marinescu" userId="b0dd0703-37df-4a8b-9e5a-fe66a92f9c33" providerId="ADAL" clId="{7A108CF2-572F-45F0-8870-D39F0C477427}" dt="2024-05-14T09:48:26.015" v="3" actId="478"/>
          <ac:spMkLst>
            <pc:docMk/>
            <pc:sldMk cId="2723690343" sldId="5444"/>
            <ac:spMk id="5" creationId="{DE902BDA-5254-8AEA-3E92-015C4E8D7170}"/>
          </ac:spMkLst>
        </pc:spChg>
        <pc:spChg chg="add del">
          <ac:chgData name="Laurentiu Marinescu" userId="b0dd0703-37df-4a8b-9e5a-fe66a92f9c33" providerId="ADAL" clId="{7A108CF2-572F-45F0-8870-D39F0C477427}" dt="2024-05-24T16:11:50.631" v="12501" actId="478"/>
          <ac:spMkLst>
            <pc:docMk/>
            <pc:sldMk cId="2723690343" sldId="5444"/>
            <ac:spMk id="5" creationId="{E7159544-7B32-CA65-2503-80A83BEFE6F0}"/>
          </ac:spMkLst>
        </pc:spChg>
        <pc:spChg chg="add del mod">
          <ac:chgData name="Laurentiu Marinescu" userId="b0dd0703-37df-4a8b-9e5a-fe66a92f9c33" providerId="ADAL" clId="{7A108CF2-572F-45F0-8870-D39F0C477427}" dt="2024-05-24T16:18:15.724" v="12556"/>
          <ac:spMkLst>
            <pc:docMk/>
            <pc:sldMk cId="2723690343" sldId="5444"/>
            <ac:spMk id="7" creationId="{0F43BA92-645F-CDFE-F394-2198DEF67E4A}"/>
          </ac:spMkLst>
        </pc:spChg>
        <pc:spChg chg="del">
          <ac:chgData name="Laurentiu Marinescu" userId="b0dd0703-37df-4a8b-9e5a-fe66a92f9c33" providerId="ADAL" clId="{7A108CF2-572F-45F0-8870-D39F0C477427}" dt="2024-05-14T09:48:23.454" v="2" actId="478"/>
          <ac:spMkLst>
            <pc:docMk/>
            <pc:sldMk cId="2723690343" sldId="5444"/>
            <ac:spMk id="7" creationId="{8AE26401-DCB9-16C6-061B-8B909289F873}"/>
          </ac:spMkLst>
        </pc:spChg>
        <pc:spChg chg="add del">
          <ac:chgData name="Laurentiu Marinescu" userId="b0dd0703-37df-4a8b-9e5a-fe66a92f9c33" providerId="ADAL" clId="{7A108CF2-572F-45F0-8870-D39F0C477427}" dt="2024-05-24T17:02:26.292" v="13982"/>
          <ac:spMkLst>
            <pc:docMk/>
            <pc:sldMk cId="2723690343" sldId="5444"/>
            <ac:spMk id="9" creationId="{0AC814CC-1AA5-7855-F61B-B99892DF509E}"/>
          </ac:spMkLst>
        </pc:spChg>
        <pc:spChg chg="add del">
          <ac:chgData name="Laurentiu Marinescu" userId="b0dd0703-37df-4a8b-9e5a-fe66a92f9c33" providerId="ADAL" clId="{7A108CF2-572F-45F0-8870-D39F0C477427}" dt="2024-05-24T17:04:42.595" v="14012" actId="478"/>
          <ac:spMkLst>
            <pc:docMk/>
            <pc:sldMk cId="2723690343" sldId="5444"/>
            <ac:spMk id="13" creationId="{73B19B87-41A9-B007-06FA-30C389989DC7}"/>
          </ac:spMkLst>
        </pc:spChg>
        <pc:spChg chg="add del">
          <ac:chgData name="Laurentiu Marinescu" userId="b0dd0703-37df-4a8b-9e5a-fe66a92f9c33" providerId="ADAL" clId="{7A108CF2-572F-45F0-8870-D39F0C477427}" dt="2024-05-24T17:05:46.095" v="14026" actId="478"/>
          <ac:spMkLst>
            <pc:docMk/>
            <pc:sldMk cId="2723690343" sldId="5444"/>
            <ac:spMk id="14" creationId="{F8E7A0A5-5F85-B0E9-831D-2D7339CA3DDE}"/>
          </ac:spMkLst>
        </pc:spChg>
        <pc:spChg chg="add del">
          <ac:chgData name="Laurentiu Marinescu" userId="b0dd0703-37df-4a8b-9e5a-fe66a92f9c33" providerId="ADAL" clId="{7A108CF2-572F-45F0-8870-D39F0C477427}" dt="2024-05-24T17:06:38.973" v="14037" actId="478"/>
          <ac:spMkLst>
            <pc:docMk/>
            <pc:sldMk cId="2723690343" sldId="5444"/>
            <ac:spMk id="18" creationId="{6636947F-8F3B-3D57-062A-FE8B3E56CCDE}"/>
          </ac:spMkLst>
        </pc:spChg>
        <pc:spChg chg="add del">
          <ac:chgData name="Laurentiu Marinescu" userId="b0dd0703-37df-4a8b-9e5a-fe66a92f9c33" providerId="ADAL" clId="{7A108CF2-572F-45F0-8870-D39F0C477427}" dt="2024-05-24T17:10:25.186" v="14083"/>
          <ac:spMkLst>
            <pc:docMk/>
            <pc:sldMk cId="2723690343" sldId="5444"/>
            <ac:spMk id="21" creationId="{9294E509-6902-C02D-A4E1-E40BE90A3886}"/>
          </ac:spMkLst>
        </pc:spChg>
        <pc:spChg chg="add del">
          <ac:chgData name="Laurentiu Marinescu" userId="b0dd0703-37df-4a8b-9e5a-fe66a92f9c33" providerId="ADAL" clId="{7A108CF2-572F-45F0-8870-D39F0C477427}" dt="2024-05-24T17:37:40.859" v="14260" actId="478"/>
          <ac:spMkLst>
            <pc:docMk/>
            <pc:sldMk cId="2723690343" sldId="5444"/>
            <ac:spMk id="31" creationId="{D7BAA110-CFD4-6107-9A59-15DE50572C42}"/>
          </ac:spMkLst>
        </pc:spChg>
        <pc:picChg chg="add mod">
          <ac:chgData name="Laurentiu Marinescu" userId="b0dd0703-37df-4a8b-9e5a-fe66a92f9c33" providerId="ADAL" clId="{7A108CF2-572F-45F0-8870-D39F0C477427}" dt="2024-05-28T08:03:14.264" v="14961" actId="1076"/>
          <ac:picMkLst>
            <pc:docMk/>
            <pc:sldMk cId="2723690343" sldId="5444"/>
            <ac:picMk id="8" creationId="{8BDC0A5D-D02E-7DE6-BF07-4F5967E792D3}"/>
          </ac:picMkLst>
        </pc:picChg>
        <pc:picChg chg="add mod">
          <ac:chgData name="Laurentiu Marinescu" userId="b0dd0703-37df-4a8b-9e5a-fe66a92f9c33" providerId="ADAL" clId="{7A108CF2-572F-45F0-8870-D39F0C477427}" dt="2024-05-24T18:09:41.275" v="14557" actId="1076"/>
          <ac:picMkLst>
            <pc:docMk/>
            <pc:sldMk cId="2723690343" sldId="5444"/>
            <ac:picMk id="10" creationId="{557D7356-BE84-EF47-F43E-F0C23D9EDD8A}"/>
          </ac:picMkLst>
        </pc:picChg>
        <pc:picChg chg="add mod">
          <ac:chgData name="Laurentiu Marinescu" userId="b0dd0703-37df-4a8b-9e5a-fe66a92f9c33" providerId="ADAL" clId="{7A108CF2-572F-45F0-8870-D39F0C477427}" dt="2024-05-24T18:09:41.275" v="14557" actId="1076"/>
          <ac:picMkLst>
            <pc:docMk/>
            <pc:sldMk cId="2723690343" sldId="5444"/>
            <ac:picMk id="11" creationId="{2EBF34BC-6062-DE4C-4D2A-EDD245AE6527}"/>
          </ac:picMkLst>
        </pc:picChg>
        <pc:picChg chg="add mod">
          <ac:chgData name="Laurentiu Marinescu" userId="b0dd0703-37df-4a8b-9e5a-fe66a92f9c33" providerId="ADAL" clId="{7A108CF2-572F-45F0-8870-D39F0C477427}" dt="2024-05-24T18:09:41.275" v="14557" actId="1076"/>
          <ac:picMkLst>
            <pc:docMk/>
            <pc:sldMk cId="2723690343" sldId="5444"/>
            <ac:picMk id="15" creationId="{C1D603F4-E97E-9B3B-7821-EEA0C1EAAC9C}"/>
          </ac:picMkLst>
        </pc:picChg>
        <pc:picChg chg="add mod">
          <ac:chgData name="Laurentiu Marinescu" userId="b0dd0703-37df-4a8b-9e5a-fe66a92f9c33" providerId="ADAL" clId="{7A108CF2-572F-45F0-8870-D39F0C477427}" dt="2024-05-24T18:09:41.275" v="14557" actId="1076"/>
          <ac:picMkLst>
            <pc:docMk/>
            <pc:sldMk cId="2723690343" sldId="5444"/>
            <ac:picMk id="16" creationId="{B2BB87D7-EE6E-7185-672B-2ACEC0548B74}"/>
          </ac:picMkLst>
        </pc:picChg>
        <pc:picChg chg="add mod">
          <ac:chgData name="Laurentiu Marinescu" userId="b0dd0703-37df-4a8b-9e5a-fe66a92f9c33" providerId="ADAL" clId="{7A108CF2-572F-45F0-8870-D39F0C477427}" dt="2024-05-24T18:09:41.275" v="14557" actId="1076"/>
          <ac:picMkLst>
            <pc:docMk/>
            <pc:sldMk cId="2723690343" sldId="5444"/>
            <ac:picMk id="19" creationId="{F2ADDE00-0D31-780A-8D04-72283B589300}"/>
          </ac:picMkLst>
        </pc:picChg>
        <pc:picChg chg="add mod">
          <ac:chgData name="Laurentiu Marinescu" userId="b0dd0703-37df-4a8b-9e5a-fe66a92f9c33" providerId="ADAL" clId="{7A108CF2-572F-45F0-8870-D39F0C477427}" dt="2024-05-24T18:09:41.275" v="14557" actId="1076"/>
          <ac:picMkLst>
            <pc:docMk/>
            <pc:sldMk cId="2723690343" sldId="5444"/>
            <ac:picMk id="20" creationId="{3045BE5C-2BE2-5E29-8EED-C421FDFB9D6E}"/>
          </ac:picMkLst>
        </pc:picChg>
        <pc:picChg chg="add del mod">
          <ac:chgData name="Laurentiu Marinescu" userId="b0dd0703-37df-4a8b-9e5a-fe66a92f9c33" providerId="ADAL" clId="{7A108CF2-572F-45F0-8870-D39F0C477427}" dt="2024-05-28T08:00:35.312" v="14937" actId="478"/>
          <ac:picMkLst>
            <pc:docMk/>
            <pc:sldMk cId="2723690343" sldId="5444"/>
            <ac:picMk id="22" creationId="{7AFA408B-73C8-EF73-C638-6ADEF0F9B569}"/>
          </ac:picMkLst>
        </pc:picChg>
        <pc:picChg chg="add mod">
          <ac:chgData name="Laurentiu Marinescu" userId="b0dd0703-37df-4a8b-9e5a-fe66a92f9c33" providerId="ADAL" clId="{7A108CF2-572F-45F0-8870-D39F0C477427}" dt="2024-05-28T08:03:00.945" v="14958" actId="1076"/>
          <ac:picMkLst>
            <pc:docMk/>
            <pc:sldMk cId="2723690343" sldId="5444"/>
            <ac:picMk id="23" creationId="{F8F33A5C-C5F0-466A-96F1-E5A222B5C0AB}"/>
          </ac:picMkLst>
        </pc:picChg>
        <pc:picChg chg="add mod">
          <ac:chgData name="Laurentiu Marinescu" userId="b0dd0703-37df-4a8b-9e5a-fe66a92f9c33" providerId="ADAL" clId="{7A108CF2-572F-45F0-8870-D39F0C477427}" dt="2024-05-24T17:17:34.143" v="14149" actId="14100"/>
          <ac:picMkLst>
            <pc:docMk/>
            <pc:sldMk cId="2723690343" sldId="5444"/>
            <ac:picMk id="24" creationId="{1C4CF581-99F1-DEDB-E416-9B10D065427D}"/>
          </ac:picMkLst>
        </pc:picChg>
        <pc:picChg chg="add mod">
          <ac:chgData name="Laurentiu Marinescu" userId="b0dd0703-37df-4a8b-9e5a-fe66a92f9c33" providerId="ADAL" clId="{7A108CF2-572F-45F0-8870-D39F0C477427}" dt="2024-05-24T18:09:41.275" v="14557" actId="1076"/>
          <ac:picMkLst>
            <pc:docMk/>
            <pc:sldMk cId="2723690343" sldId="5444"/>
            <ac:picMk id="25" creationId="{E0B96D1A-E6BB-8F9A-CC24-FC12E9EAB75F}"/>
          </ac:picMkLst>
        </pc:picChg>
        <pc:picChg chg="add mod">
          <ac:chgData name="Laurentiu Marinescu" userId="b0dd0703-37df-4a8b-9e5a-fe66a92f9c33" providerId="ADAL" clId="{7A108CF2-572F-45F0-8870-D39F0C477427}" dt="2024-05-24T18:09:41.275" v="14557" actId="1076"/>
          <ac:picMkLst>
            <pc:docMk/>
            <pc:sldMk cId="2723690343" sldId="5444"/>
            <ac:picMk id="26" creationId="{D5EFB5D5-A4ED-5BD2-DF0E-27C15351938D}"/>
          </ac:picMkLst>
        </pc:picChg>
        <pc:picChg chg="add del">
          <ac:chgData name="Laurentiu Marinescu" userId="b0dd0703-37df-4a8b-9e5a-fe66a92f9c33" providerId="ADAL" clId="{7A108CF2-572F-45F0-8870-D39F0C477427}" dt="2024-05-24T17:25:57.146" v="14212" actId="478"/>
          <ac:picMkLst>
            <pc:docMk/>
            <pc:sldMk cId="2723690343" sldId="5444"/>
            <ac:picMk id="27" creationId="{9DAB984E-0151-6C80-5620-A2BF0D4B943C}"/>
          </ac:picMkLst>
        </pc:picChg>
        <pc:picChg chg="add mod">
          <ac:chgData name="Laurentiu Marinescu" userId="b0dd0703-37df-4a8b-9e5a-fe66a92f9c33" providerId="ADAL" clId="{7A108CF2-572F-45F0-8870-D39F0C477427}" dt="2024-05-24T18:09:41.275" v="14557" actId="1076"/>
          <ac:picMkLst>
            <pc:docMk/>
            <pc:sldMk cId="2723690343" sldId="5444"/>
            <ac:picMk id="28" creationId="{94F3FE46-08AA-5B00-66FF-988AB8AB33D4}"/>
          </ac:picMkLst>
        </pc:picChg>
        <pc:picChg chg="add mod">
          <ac:chgData name="Laurentiu Marinescu" userId="b0dd0703-37df-4a8b-9e5a-fe66a92f9c33" providerId="ADAL" clId="{7A108CF2-572F-45F0-8870-D39F0C477427}" dt="2024-05-24T18:09:41.275" v="14557" actId="1076"/>
          <ac:picMkLst>
            <pc:docMk/>
            <pc:sldMk cId="2723690343" sldId="5444"/>
            <ac:picMk id="29" creationId="{4528A2C3-6D5B-8ADF-C016-25B146C6F18E}"/>
          </ac:picMkLst>
        </pc:picChg>
        <pc:picChg chg="add mod">
          <ac:chgData name="Laurentiu Marinescu" userId="b0dd0703-37df-4a8b-9e5a-fe66a92f9c33" providerId="ADAL" clId="{7A108CF2-572F-45F0-8870-D39F0C477427}" dt="2024-05-28T08:02:26.412" v="14951" actId="14100"/>
          <ac:picMkLst>
            <pc:docMk/>
            <pc:sldMk cId="2723690343" sldId="5444"/>
            <ac:picMk id="1026" creationId="{2E06D275-EB3E-4CDB-3182-1D7C4ADC1CF8}"/>
          </ac:picMkLst>
        </pc:picChg>
        <pc:picChg chg="add mod">
          <ac:chgData name="Laurentiu Marinescu" userId="b0dd0703-37df-4a8b-9e5a-fe66a92f9c33" providerId="ADAL" clId="{7A108CF2-572F-45F0-8870-D39F0C477427}" dt="2024-05-28T08:03:19.869" v="14964" actId="1076"/>
          <ac:picMkLst>
            <pc:docMk/>
            <pc:sldMk cId="2723690343" sldId="5444"/>
            <ac:picMk id="1028" creationId="{1C5E5388-731F-106D-874E-9F42AA5C461A}"/>
          </ac:picMkLst>
        </pc:picChg>
        <pc:picChg chg="add del mod">
          <ac:chgData name="Laurentiu Marinescu" userId="b0dd0703-37df-4a8b-9e5a-fe66a92f9c33" providerId="ADAL" clId="{7A108CF2-572F-45F0-8870-D39F0C477427}" dt="2024-05-23T12:59:56.122" v="1682" actId="478"/>
          <ac:picMkLst>
            <pc:docMk/>
            <pc:sldMk cId="2723690343" sldId="5444"/>
            <ac:picMk id="3074" creationId="{5888AC38-2E2B-1E37-7095-645F70C3BE59}"/>
          </ac:picMkLst>
        </pc:picChg>
        <pc:picChg chg="add del mod">
          <ac:chgData name="Laurentiu Marinescu" userId="b0dd0703-37df-4a8b-9e5a-fe66a92f9c33" providerId="ADAL" clId="{7A108CF2-572F-45F0-8870-D39F0C477427}" dt="2024-05-23T13:01:28.888" v="1715" actId="478"/>
          <ac:picMkLst>
            <pc:docMk/>
            <pc:sldMk cId="2723690343" sldId="5444"/>
            <ac:picMk id="3076" creationId="{5B80E824-39DB-6E6A-AE60-2721B219880A}"/>
          </ac:picMkLst>
        </pc:picChg>
        <pc:picChg chg="add del mod">
          <ac:chgData name="Laurentiu Marinescu" userId="b0dd0703-37df-4a8b-9e5a-fe66a92f9c33" providerId="ADAL" clId="{7A108CF2-572F-45F0-8870-D39F0C477427}" dt="2024-05-23T13:01:29.648" v="1716" actId="478"/>
          <ac:picMkLst>
            <pc:docMk/>
            <pc:sldMk cId="2723690343" sldId="5444"/>
            <ac:picMk id="3078" creationId="{D0E7EBF5-F2A4-37C5-8AB6-70F0A9CB67CE}"/>
          </ac:picMkLst>
        </pc:picChg>
        <pc:picChg chg="add del mod">
          <ac:chgData name="Laurentiu Marinescu" userId="b0dd0703-37df-4a8b-9e5a-fe66a92f9c33" providerId="ADAL" clId="{7A108CF2-572F-45F0-8870-D39F0C477427}" dt="2024-05-23T13:01:30.092" v="1717" actId="478"/>
          <ac:picMkLst>
            <pc:docMk/>
            <pc:sldMk cId="2723690343" sldId="5444"/>
            <ac:picMk id="3080" creationId="{8EC8560F-7AF9-38AD-F584-092A61556826}"/>
          </ac:picMkLst>
        </pc:picChg>
        <pc:picChg chg="add del mod">
          <ac:chgData name="Laurentiu Marinescu" userId="b0dd0703-37df-4a8b-9e5a-fe66a92f9c33" providerId="ADAL" clId="{7A108CF2-572F-45F0-8870-D39F0C477427}" dt="2024-05-23T13:01:32.059" v="1721" actId="478"/>
          <ac:picMkLst>
            <pc:docMk/>
            <pc:sldMk cId="2723690343" sldId="5444"/>
            <ac:picMk id="3082" creationId="{9EC3FBB2-20F9-0F57-C869-75F673498FF0}"/>
          </ac:picMkLst>
        </pc:picChg>
        <pc:picChg chg="add del mod">
          <ac:chgData name="Laurentiu Marinescu" userId="b0dd0703-37df-4a8b-9e5a-fe66a92f9c33" providerId="ADAL" clId="{7A108CF2-572F-45F0-8870-D39F0C477427}" dt="2024-05-23T13:01:31.594" v="1720" actId="478"/>
          <ac:picMkLst>
            <pc:docMk/>
            <pc:sldMk cId="2723690343" sldId="5444"/>
            <ac:picMk id="3084" creationId="{0E48D5ED-345F-5BC1-236F-624AC9FEAD27}"/>
          </ac:picMkLst>
        </pc:picChg>
        <pc:picChg chg="add del mod">
          <ac:chgData name="Laurentiu Marinescu" userId="b0dd0703-37df-4a8b-9e5a-fe66a92f9c33" providerId="ADAL" clId="{7A108CF2-572F-45F0-8870-D39F0C477427}" dt="2024-05-23T13:01:31.088" v="1719" actId="478"/>
          <ac:picMkLst>
            <pc:docMk/>
            <pc:sldMk cId="2723690343" sldId="5444"/>
            <ac:picMk id="3086" creationId="{D7016EFC-3E06-0F8D-3C76-DF7BDAAABB2E}"/>
          </ac:picMkLst>
        </pc:picChg>
        <pc:picChg chg="add del mod">
          <ac:chgData name="Laurentiu Marinescu" userId="b0dd0703-37df-4a8b-9e5a-fe66a92f9c33" providerId="ADAL" clId="{7A108CF2-572F-45F0-8870-D39F0C477427}" dt="2024-05-23T13:01:30.564" v="1718" actId="478"/>
          <ac:picMkLst>
            <pc:docMk/>
            <pc:sldMk cId="2723690343" sldId="5444"/>
            <ac:picMk id="3088" creationId="{5D48796A-2A1F-1954-3BE1-3B13213490FE}"/>
          </ac:picMkLst>
        </pc:picChg>
        <pc:picChg chg="add mod">
          <ac:chgData name="Laurentiu Marinescu" userId="b0dd0703-37df-4a8b-9e5a-fe66a92f9c33" providerId="ADAL" clId="{7A108CF2-572F-45F0-8870-D39F0C477427}" dt="2024-05-24T18:09:41.275" v="14557" actId="1076"/>
          <ac:picMkLst>
            <pc:docMk/>
            <pc:sldMk cId="2723690343" sldId="5444"/>
            <ac:picMk id="23552" creationId="{D15BE823-2B32-56F2-93E5-A425CC3FDAEE}"/>
          </ac:picMkLst>
        </pc:picChg>
        <pc:picChg chg="add mod">
          <ac:chgData name="Laurentiu Marinescu" userId="b0dd0703-37df-4a8b-9e5a-fe66a92f9c33" providerId="ADAL" clId="{7A108CF2-572F-45F0-8870-D39F0C477427}" dt="2024-05-24T18:09:41.275" v="14557" actId="1076"/>
          <ac:picMkLst>
            <pc:docMk/>
            <pc:sldMk cId="2723690343" sldId="5444"/>
            <ac:picMk id="23553" creationId="{4797BEEE-ECD7-5298-57EE-C5D59CCAC5B4}"/>
          </ac:picMkLst>
        </pc:picChg>
        <pc:picChg chg="add mod">
          <ac:chgData name="Laurentiu Marinescu" userId="b0dd0703-37df-4a8b-9e5a-fe66a92f9c33" providerId="ADAL" clId="{7A108CF2-572F-45F0-8870-D39F0C477427}" dt="2024-05-24T18:09:41.275" v="14557" actId="1076"/>
          <ac:picMkLst>
            <pc:docMk/>
            <pc:sldMk cId="2723690343" sldId="5444"/>
            <ac:picMk id="23554" creationId="{8F2D9F01-1668-0DE0-84D0-F76D32C4C8A6}"/>
          </ac:picMkLst>
        </pc:picChg>
        <pc:picChg chg="add del mod">
          <ac:chgData name="Laurentiu Marinescu" userId="b0dd0703-37df-4a8b-9e5a-fe66a92f9c33" providerId="ADAL" clId="{7A108CF2-572F-45F0-8870-D39F0C477427}" dt="2024-05-28T08:00:38.426" v="14938" actId="478"/>
          <ac:picMkLst>
            <pc:docMk/>
            <pc:sldMk cId="2723690343" sldId="5444"/>
            <ac:picMk id="23555" creationId="{7FC083E0-211C-AFA7-CFFA-2FBE9E53BEA4}"/>
          </ac:picMkLst>
        </pc:picChg>
        <pc:picChg chg="add mod">
          <ac:chgData name="Laurentiu Marinescu" userId="b0dd0703-37df-4a8b-9e5a-fe66a92f9c33" providerId="ADAL" clId="{7A108CF2-572F-45F0-8870-D39F0C477427}" dt="2024-05-24T18:09:41.275" v="14557" actId="1076"/>
          <ac:picMkLst>
            <pc:docMk/>
            <pc:sldMk cId="2723690343" sldId="5444"/>
            <ac:picMk id="23556" creationId="{035A6274-2719-0BA3-FC64-5F7831D67DEA}"/>
          </ac:picMkLst>
        </pc:picChg>
        <pc:picChg chg="add mod">
          <ac:chgData name="Laurentiu Marinescu" userId="b0dd0703-37df-4a8b-9e5a-fe66a92f9c33" providerId="ADAL" clId="{7A108CF2-572F-45F0-8870-D39F0C477427}" dt="2024-05-24T18:09:41.275" v="14557" actId="1076"/>
          <ac:picMkLst>
            <pc:docMk/>
            <pc:sldMk cId="2723690343" sldId="5444"/>
            <ac:picMk id="23557" creationId="{6E4CA21A-6447-3506-2C8A-186368E325DA}"/>
          </ac:picMkLst>
        </pc:picChg>
        <pc:picChg chg="add mod">
          <ac:chgData name="Laurentiu Marinescu" userId="b0dd0703-37df-4a8b-9e5a-fe66a92f9c33" providerId="ADAL" clId="{7A108CF2-572F-45F0-8870-D39F0C477427}" dt="2024-05-24T18:09:41.275" v="14557" actId="1076"/>
          <ac:picMkLst>
            <pc:docMk/>
            <pc:sldMk cId="2723690343" sldId="5444"/>
            <ac:picMk id="23558" creationId="{9E067FB7-957F-0CD5-CA59-C3067649B5A6}"/>
          </ac:picMkLst>
        </pc:picChg>
        <pc:picChg chg="add mod">
          <ac:chgData name="Laurentiu Marinescu" userId="b0dd0703-37df-4a8b-9e5a-fe66a92f9c33" providerId="ADAL" clId="{7A108CF2-572F-45F0-8870-D39F0C477427}" dt="2024-05-24T18:09:41.275" v="14557" actId="1076"/>
          <ac:picMkLst>
            <pc:docMk/>
            <pc:sldMk cId="2723690343" sldId="5444"/>
            <ac:picMk id="23560" creationId="{1FAC3BB6-F8C2-1C43-398F-8AD5BC4C48F4}"/>
          </ac:picMkLst>
        </pc:picChg>
        <pc:picChg chg="add mod">
          <ac:chgData name="Laurentiu Marinescu" userId="b0dd0703-37df-4a8b-9e5a-fe66a92f9c33" providerId="ADAL" clId="{7A108CF2-572F-45F0-8870-D39F0C477427}" dt="2024-05-24T18:09:41.275" v="14557" actId="1076"/>
          <ac:picMkLst>
            <pc:docMk/>
            <pc:sldMk cId="2723690343" sldId="5444"/>
            <ac:picMk id="23562" creationId="{D88204CD-487B-1D64-F043-BFC48C7D4933}"/>
          </ac:picMkLst>
        </pc:picChg>
        <pc:picChg chg="add del mod">
          <ac:chgData name="Laurentiu Marinescu" userId="b0dd0703-37df-4a8b-9e5a-fe66a92f9c33" providerId="ADAL" clId="{7A108CF2-572F-45F0-8870-D39F0C477427}" dt="2024-05-24T17:11:26.999" v="14088" actId="478"/>
          <ac:picMkLst>
            <pc:docMk/>
            <pc:sldMk cId="2723690343" sldId="5444"/>
            <ac:picMk id="23564" creationId="{8D3C7786-4E82-5341-7D4F-786AA4043630}"/>
          </ac:picMkLst>
        </pc:picChg>
        <pc:picChg chg="add mod">
          <ac:chgData name="Laurentiu Marinescu" userId="b0dd0703-37df-4a8b-9e5a-fe66a92f9c33" providerId="ADAL" clId="{7A108CF2-572F-45F0-8870-D39F0C477427}" dt="2024-05-24T18:09:41.275" v="14557" actId="1076"/>
          <ac:picMkLst>
            <pc:docMk/>
            <pc:sldMk cId="2723690343" sldId="5444"/>
            <ac:picMk id="23566" creationId="{6A1E3E19-1E8A-280C-A7FC-F986FFCF7707}"/>
          </ac:picMkLst>
        </pc:picChg>
        <pc:picChg chg="add mod">
          <ac:chgData name="Laurentiu Marinescu" userId="b0dd0703-37df-4a8b-9e5a-fe66a92f9c33" providerId="ADAL" clId="{7A108CF2-572F-45F0-8870-D39F0C477427}" dt="2024-05-24T18:09:51.295" v="14559" actId="1076"/>
          <ac:picMkLst>
            <pc:docMk/>
            <pc:sldMk cId="2723690343" sldId="5444"/>
            <ac:picMk id="23568" creationId="{7E663179-D953-E34A-8E27-C9021CC1D104}"/>
          </ac:picMkLst>
        </pc:picChg>
        <pc:picChg chg="add mod">
          <ac:chgData name="Laurentiu Marinescu" userId="b0dd0703-37df-4a8b-9e5a-fe66a92f9c33" providerId="ADAL" clId="{7A108CF2-572F-45F0-8870-D39F0C477427}" dt="2024-05-28T08:03:07.180" v="14960" actId="1076"/>
          <ac:picMkLst>
            <pc:docMk/>
            <pc:sldMk cId="2723690343" sldId="5444"/>
            <ac:picMk id="23570" creationId="{CDA16248-056B-4FBF-CB01-CA3DAE7329E9}"/>
          </ac:picMkLst>
        </pc:picChg>
        <pc:picChg chg="add mod">
          <ac:chgData name="Laurentiu Marinescu" userId="b0dd0703-37df-4a8b-9e5a-fe66a92f9c33" providerId="ADAL" clId="{7A108CF2-572F-45F0-8870-D39F0C477427}" dt="2024-05-24T18:09:44.292" v="14558" actId="1076"/>
          <ac:picMkLst>
            <pc:docMk/>
            <pc:sldMk cId="2723690343" sldId="5444"/>
            <ac:picMk id="23574" creationId="{7E0F8A72-D5D5-6CC4-F14C-1A3ED13E37E8}"/>
          </ac:picMkLst>
        </pc:picChg>
        <pc:picChg chg="add mod">
          <ac:chgData name="Laurentiu Marinescu" userId="b0dd0703-37df-4a8b-9e5a-fe66a92f9c33" providerId="ADAL" clId="{7A108CF2-572F-45F0-8870-D39F0C477427}" dt="2024-05-24T18:10:02.147" v="14562" actId="1076"/>
          <ac:picMkLst>
            <pc:docMk/>
            <pc:sldMk cId="2723690343" sldId="5444"/>
            <ac:picMk id="23576" creationId="{25C76278-9644-4A14-1BF0-879065558564}"/>
          </ac:picMkLst>
        </pc:picChg>
        <pc:picChg chg="add del">
          <ac:chgData name="Laurentiu Marinescu" userId="b0dd0703-37df-4a8b-9e5a-fe66a92f9c33" providerId="ADAL" clId="{7A108CF2-572F-45F0-8870-D39F0C477427}" dt="2024-05-24T17:02:18.156" v="13980"/>
          <ac:picMkLst>
            <pc:docMk/>
            <pc:sldMk cId="2723690343" sldId="5444"/>
            <ac:picMk id="23578" creationId="{7651BF13-687E-9318-E351-F3E53DAC5724}"/>
          </ac:picMkLst>
        </pc:picChg>
        <pc:picChg chg="add mod">
          <ac:chgData name="Laurentiu Marinescu" userId="b0dd0703-37df-4a8b-9e5a-fe66a92f9c33" providerId="ADAL" clId="{7A108CF2-572F-45F0-8870-D39F0C477427}" dt="2024-05-24T18:09:41.275" v="14557" actId="1076"/>
          <ac:picMkLst>
            <pc:docMk/>
            <pc:sldMk cId="2723690343" sldId="5444"/>
            <ac:picMk id="23582" creationId="{FC75AC89-7974-FCBB-6067-364FF77B0ACC}"/>
          </ac:picMkLst>
        </pc:picChg>
        <pc:picChg chg="add mod">
          <ac:chgData name="Laurentiu Marinescu" userId="b0dd0703-37df-4a8b-9e5a-fe66a92f9c33" providerId="ADAL" clId="{7A108CF2-572F-45F0-8870-D39F0C477427}" dt="2024-05-28T08:03:03.335" v="14959" actId="1076"/>
          <ac:picMkLst>
            <pc:docMk/>
            <pc:sldMk cId="2723690343" sldId="5444"/>
            <ac:picMk id="23584" creationId="{C1E76B78-8D0E-4110-1BD8-9301F1B0E7F2}"/>
          </ac:picMkLst>
        </pc:picChg>
        <pc:picChg chg="add mod">
          <ac:chgData name="Laurentiu Marinescu" userId="b0dd0703-37df-4a8b-9e5a-fe66a92f9c33" providerId="ADAL" clId="{7A108CF2-572F-45F0-8870-D39F0C477427}" dt="2024-05-24T18:09:41.275" v="14557" actId="1076"/>
          <ac:picMkLst>
            <pc:docMk/>
            <pc:sldMk cId="2723690343" sldId="5444"/>
            <ac:picMk id="23586" creationId="{183A03B2-9FF7-0469-02EA-CED92263BD51}"/>
          </ac:picMkLst>
        </pc:picChg>
        <pc:picChg chg="add del mod">
          <ac:chgData name="Laurentiu Marinescu" userId="b0dd0703-37df-4a8b-9e5a-fe66a92f9c33" providerId="ADAL" clId="{7A108CF2-572F-45F0-8870-D39F0C477427}" dt="2024-05-24T17:05:46.095" v="14026" actId="478"/>
          <ac:picMkLst>
            <pc:docMk/>
            <pc:sldMk cId="2723690343" sldId="5444"/>
            <ac:picMk id="23588" creationId="{615660B6-3272-B438-BF93-8D6AE1475E6C}"/>
          </ac:picMkLst>
        </pc:picChg>
        <pc:picChg chg="add del mod">
          <ac:chgData name="Laurentiu Marinescu" userId="b0dd0703-37df-4a8b-9e5a-fe66a92f9c33" providerId="ADAL" clId="{7A108CF2-572F-45F0-8870-D39F0C477427}" dt="2024-05-24T17:13:14.310" v="14092" actId="478"/>
          <ac:picMkLst>
            <pc:docMk/>
            <pc:sldMk cId="2723690343" sldId="5444"/>
            <ac:picMk id="23592" creationId="{51450D3B-4928-A7A4-5875-ACC478A83B06}"/>
          </ac:picMkLst>
        </pc:picChg>
        <pc:picChg chg="add mod">
          <ac:chgData name="Laurentiu Marinescu" userId="b0dd0703-37df-4a8b-9e5a-fe66a92f9c33" providerId="ADAL" clId="{7A108CF2-572F-45F0-8870-D39F0C477427}" dt="2024-05-24T18:09:41.275" v="14557" actId="1076"/>
          <ac:picMkLst>
            <pc:docMk/>
            <pc:sldMk cId="2723690343" sldId="5444"/>
            <ac:picMk id="23594" creationId="{CEB5F3CD-796E-E897-39BA-180334270DA4}"/>
          </ac:picMkLst>
        </pc:picChg>
        <pc:picChg chg="add mod">
          <ac:chgData name="Laurentiu Marinescu" userId="b0dd0703-37df-4a8b-9e5a-fe66a92f9c33" providerId="ADAL" clId="{7A108CF2-572F-45F0-8870-D39F0C477427}" dt="2024-05-24T18:09:41.275" v="14557" actId="1076"/>
          <ac:picMkLst>
            <pc:docMk/>
            <pc:sldMk cId="2723690343" sldId="5444"/>
            <ac:picMk id="23598" creationId="{281ED80B-DD6E-ACA8-D0B6-4B8EC866C5F0}"/>
          </ac:picMkLst>
        </pc:picChg>
        <pc:picChg chg="add mod">
          <ac:chgData name="Laurentiu Marinescu" userId="b0dd0703-37df-4a8b-9e5a-fe66a92f9c33" providerId="ADAL" clId="{7A108CF2-572F-45F0-8870-D39F0C477427}" dt="2024-05-24T18:09:41.275" v="14557" actId="1076"/>
          <ac:picMkLst>
            <pc:docMk/>
            <pc:sldMk cId="2723690343" sldId="5444"/>
            <ac:picMk id="23600" creationId="{44A2F614-1B54-0FBD-DDCA-134B4F04804A}"/>
          </ac:picMkLst>
        </pc:picChg>
        <pc:picChg chg="add del mod">
          <ac:chgData name="Laurentiu Marinescu" userId="b0dd0703-37df-4a8b-9e5a-fe66a92f9c33" providerId="ADAL" clId="{7A108CF2-572F-45F0-8870-D39F0C477427}" dt="2024-05-24T17:28:48.066" v="14216" actId="478"/>
          <ac:picMkLst>
            <pc:docMk/>
            <pc:sldMk cId="2723690343" sldId="5444"/>
            <ac:picMk id="23602" creationId="{974EBCA4-CDB7-A610-9CA9-39D2CBA7A78C}"/>
          </ac:picMkLst>
        </pc:picChg>
        <pc:picChg chg="add mod">
          <ac:chgData name="Laurentiu Marinescu" userId="b0dd0703-37df-4a8b-9e5a-fe66a92f9c33" providerId="ADAL" clId="{7A108CF2-572F-45F0-8870-D39F0C477427}" dt="2024-05-24T18:09:41.275" v="14557" actId="1076"/>
          <ac:picMkLst>
            <pc:docMk/>
            <pc:sldMk cId="2723690343" sldId="5444"/>
            <ac:picMk id="23604" creationId="{3BFE7DA1-55BB-462E-0E58-156ADA516E05}"/>
          </ac:picMkLst>
        </pc:picChg>
        <pc:picChg chg="add mod">
          <ac:chgData name="Laurentiu Marinescu" userId="b0dd0703-37df-4a8b-9e5a-fe66a92f9c33" providerId="ADAL" clId="{7A108CF2-572F-45F0-8870-D39F0C477427}" dt="2024-05-24T18:09:41.275" v="14557" actId="1076"/>
          <ac:picMkLst>
            <pc:docMk/>
            <pc:sldMk cId="2723690343" sldId="5444"/>
            <ac:picMk id="23606" creationId="{B810B788-71A8-C0A6-192D-EFFA4152D22F}"/>
          </ac:picMkLst>
        </pc:picChg>
        <pc:picChg chg="add mod">
          <ac:chgData name="Laurentiu Marinescu" userId="b0dd0703-37df-4a8b-9e5a-fe66a92f9c33" providerId="ADAL" clId="{7A108CF2-572F-45F0-8870-D39F0C477427}" dt="2024-05-24T18:09:41.275" v="14557" actId="1076"/>
          <ac:picMkLst>
            <pc:docMk/>
            <pc:sldMk cId="2723690343" sldId="5444"/>
            <ac:picMk id="23608" creationId="{F014B3BA-467B-AC49-3006-E5BF9D8E9C63}"/>
          </ac:picMkLst>
        </pc:picChg>
        <pc:picChg chg="add mod">
          <ac:chgData name="Laurentiu Marinescu" userId="b0dd0703-37df-4a8b-9e5a-fe66a92f9c33" providerId="ADAL" clId="{7A108CF2-572F-45F0-8870-D39F0C477427}" dt="2024-05-28T08:02:24.449" v="14950" actId="1076"/>
          <ac:picMkLst>
            <pc:docMk/>
            <pc:sldMk cId="2723690343" sldId="5444"/>
            <ac:picMk id="23610" creationId="{237F182A-3DA0-44A5-776D-8CEC845B096B}"/>
          </ac:picMkLst>
        </pc:picChg>
      </pc:sldChg>
      <pc:sldChg chg="addSp modSp del mod">
        <pc:chgData name="Laurentiu Marinescu" userId="b0dd0703-37df-4a8b-9e5a-fe66a92f9c33" providerId="ADAL" clId="{7A108CF2-572F-45F0-8870-D39F0C477427}" dt="2024-05-24T09:05:32.172" v="2000" actId="47"/>
        <pc:sldMkLst>
          <pc:docMk/>
          <pc:sldMk cId="1063241436" sldId="5445"/>
        </pc:sldMkLst>
        <pc:spChg chg="add mod">
          <ac:chgData name="Laurentiu Marinescu" userId="b0dd0703-37df-4a8b-9e5a-fe66a92f9c33" providerId="ADAL" clId="{7A108CF2-572F-45F0-8870-D39F0C477427}" dt="2024-05-15T12:22:46.181" v="777" actId="1076"/>
          <ac:spMkLst>
            <pc:docMk/>
            <pc:sldMk cId="1063241436" sldId="5445"/>
            <ac:spMk id="3" creationId="{005DE735-AAC2-FD08-3F9C-793ABD071103}"/>
          </ac:spMkLst>
        </pc:spChg>
        <pc:spChg chg="mod">
          <ac:chgData name="Laurentiu Marinescu" userId="b0dd0703-37df-4a8b-9e5a-fe66a92f9c33" providerId="ADAL" clId="{7A108CF2-572F-45F0-8870-D39F0C477427}" dt="2024-05-15T13:41:56.560" v="805" actId="20577"/>
          <ac:spMkLst>
            <pc:docMk/>
            <pc:sldMk cId="1063241436" sldId="5445"/>
            <ac:spMk id="4" creationId="{7609AF40-A510-231A-F449-77C8AE4EE7CC}"/>
          </ac:spMkLst>
        </pc:spChg>
      </pc:sldChg>
      <pc:sldChg chg="addSp modSp del mod">
        <pc:chgData name="Laurentiu Marinescu" userId="b0dd0703-37df-4a8b-9e5a-fe66a92f9c33" providerId="ADAL" clId="{7A108CF2-572F-45F0-8870-D39F0C477427}" dt="2024-05-24T09:05:34.548" v="2001" actId="47"/>
        <pc:sldMkLst>
          <pc:docMk/>
          <pc:sldMk cId="1650843804" sldId="5447"/>
        </pc:sldMkLst>
        <pc:spChg chg="add mod">
          <ac:chgData name="Laurentiu Marinescu" userId="b0dd0703-37df-4a8b-9e5a-fe66a92f9c33" providerId="ADAL" clId="{7A108CF2-572F-45F0-8870-D39F0C477427}" dt="2024-05-15T12:22:57.741" v="778" actId="1076"/>
          <ac:spMkLst>
            <pc:docMk/>
            <pc:sldMk cId="1650843804" sldId="5447"/>
            <ac:spMk id="3" creationId="{464AD537-3E1C-FC1E-1C36-9165282F8B76}"/>
          </ac:spMkLst>
        </pc:spChg>
        <pc:spChg chg="mod">
          <ac:chgData name="Laurentiu Marinescu" userId="b0dd0703-37df-4a8b-9e5a-fe66a92f9c33" providerId="ADAL" clId="{7A108CF2-572F-45F0-8870-D39F0C477427}" dt="2024-05-15T13:42:02.364" v="808" actId="20577"/>
          <ac:spMkLst>
            <pc:docMk/>
            <pc:sldMk cId="1650843804" sldId="5447"/>
            <ac:spMk id="4" creationId="{7609AF40-A510-231A-F449-77C8AE4EE7CC}"/>
          </ac:spMkLst>
        </pc:spChg>
      </pc:sldChg>
      <pc:sldChg chg="addSp modSp del mod modNotes">
        <pc:chgData name="Laurentiu Marinescu" userId="b0dd0703-37df-4a8b-9e5a-fe66a92f9c33" providerId="ADAL" clId="{7A108CF2-572F-45F0-8870-D39F0C477427}" dt="2024-05-24T09:05:36.184" v="2002" actId="47"/>
        <pc:sldMkLst>
          <pc:docMk/>
          <pc:sldMk cId="715890188" sldId="5450"/>
        </pc:sldMkLst>
        <pc:spChg chg="add mod">
          <ac:chgData name="Laurentiu Marinescu" userId="b0dd0703-37df-4a8b-9e5a-fe66a92f9c33" providerId="ADAL" clId="{7A108CF2-572F-45F0-8870-D39F0C477427}" dt="2024-05-15T12:23:07.732" v="779" actId="1076"/>
          <ac:spMkLst>
            <pc:docMk/>
            <pc:sldMk cId="715890188" sldId="5450"/>
            <ac:spMk id="3" creationId="{0CBF3B41-8399-5A45-C5F0-5582A937C7D1}"/>
          </ac:spMkLst>
        </pc:spChg>
        <pc:spChg chg="mod">
          <ac:chgData name="Laurentiu Marinescu" userId="b0dd0703-37df-4a8b-9e5a-fe66a92f9c33" providerId="ADAL" clId="{7A108CF2-572F-45F0-8870-D39F0C477427}" dt="2024-05-15T13:42:07.900" v="811" actId="20577"/>
          <ac:spMkLst>
            <pc:docMk/>
            <pc:sldMk cId="715890188" sldId="5450"/>
            <ac:spMk id="4" creationId="{7609AF40-A510-231A-F449-77C8AE4EE7CC}"/>
          </ac:spMkLst>
        </pc:spChg>
        <pc:picChg chg="mod">
          <ac:chgData name="Laurentiu Marinescu" userId="b0dd0703-37df-4a8b-9e5a-fe66a92f9c33" providerId="ADAL" clId="{7A108CF2-572F-45F0-8870-D39F0C477427}" dt="2024-05-15T10:48:58.756" v="433" actId="1076"/>
          <ac:picMkLst>
            <pc:docMk/>
            <pc:sldMk cId="715890188" sldId="5450"/>
            <ac:picMk id="5" creationId="{2ECEB340-DEE8-9373-7F5A-E1DB98FBCFD0}"/>
          </ac:picMkLst>
        </pc:picChg>
      </pc:sldChg>
      <pc:sldChg chg="addSp delSp modSp mod modNotesTx">
        <pc:chgData name="Laurentiu Marinescu" userId="b0dd0703-37df-4a8b-9e5a-fe66a92f9c33" providerId="ADAL" clId="{7A108CF2-572F-45F0-8870-D39F0C477427}" dt="2024-05-28T09:09:20.992" v="16839" actId="20577"/>
        <pc:sldMkLst>
          <pc:docMk/>
          <pc:sldMk cId="1532844565" sldId="5451"/>
        </pc:sldMkLst>
        <pc:spChg chg="add del mod">
          <ac:chgData name="Laurentiu Marinescu" userId="b0dd0703-37df-4a8b-9e5a-fe66a92f9c33" providerId="ADAL" clId="{7A108CF2-572F-45F0-8870-D39F0C477427}" dt="2024-05-24T19:18:50.769" v="14737" actId="478"/>
          <ac:spMkLst>
            <pc:docMk/>
            <pc:sldMk cId="1532844565" sldId="5451"/>
            <ac:spMk id="3" creationId="{D1B6FFA7-C702-6399-C76F-51D7CAB40CA3}"/>
          </ac:spMkLst>
        </pc:spChg>
        <pc:spChg chg="mod">
          <ac:chgData name="Laurentiu Marinescu" userId="b0dd0703-37df-4a8b-9e5a-fe66a92f9c33" providerId="ADAL" clId="{7A108CF2-572F-45F0-8870-D39F0C477427}" dt="2024-05-14T15:14:22.409" v="147" actId="20577"/>
          <ac:spMkLst>
            <pc:docMk/>
            <pc:sldMk cId="1532844565" sldId="5451"/>
            <ac:spMk id="4" creationId="{E7DAE5A8-DBA1-35F1-4055-61A572B4A7DE}"/>
          </ac:spMkLst>
        </pc:spChg>
        <pc:spChg chg="add mod">
          <ac:chgData name="Laurentiu Marinescu" userId="b0dd0703-37df-4a8b-9e5a-fe66a92f9c33" providerId="ADAL" clId="{7A108CF2-572F-45F0-8870-D39F0C477427}" dt="2024-05-24T19:18:51.034" v="14738"/>
          <ac:spMkLst>
            <pc:docMk/>
            <pc:sldMk cId="1532844565" sldId="5451"/>
            <ac:spMk id="5" creationId="{9E497F5F-6167-476B-955F-4FF74FA6FB98}"/>
          </ac:spMkLst>
        </pc:spChg>
        <pc:picChg chg="del">
          <ac:chgData name="Laurentiu Marinescu" userId="b0dd0703-37df-4a8b-9e5a-fe66a92f9c33" providerId="ADAL" clId="{7A108CF2-572F-45F0-8870-D39F0C477427}" dt="2024-05-14T15:13:22.577" v="110" actId="478"/>
          <ac:picMkLst>
            <pc:docMk/>
            <pc:sldMk cId="1532844565" sldId="5451"/>
            <ac:picMk id="18" creationId="{F2AA2CF7-3A35-B0AF-2E51-18187B158617}"/>
          </ac:picMkLst>
        </pc:picChg>
      </pc:sldChg>
      <pc:sldChg chg="addSp delSp modSp add mod modNotesTx">
        <pc:chgData name="Laurentiu Marinescu" userId="b0dd0703-37df-4a8b-9e5a-fe66a92f9c33" providerId="ADAL" clId="{7A108CF2-572F-45F0-8870-D39F0C477427}" dt="2024-05-28T21:19:25.139" v="20052"/>
        <pc:sldMkLst>
          <pc:docMk/>
          <pc:sldMk cId="3777200644" sldId="5452"/>
        </pc:sldMkLst>
        <pc:spChg chg="mod">
          <ac:chgData name="Laurentiu Marinescu" userId="b0dd0703-37df-4a8b-9e5a-fe66a92f9c33" providerId="ADAL" clId="{7A108CF2-572F-45F0-8870-D39F0C477427}" dt="2024-05-24T10:16:39.802" v="2706" actId="1076"/>
          <ac:spMkLst>
            <pc:docMk/>
            <pc:sldMk cId="3777200644" sldId="5452"/>
            <ac:spMk id="2" creationId="{FE141E0E-16C6-E816-64E9-1FDB0586EFA9}"/>
          </ac:spMkLst>
        </pc:spChg>
        <pc:spChg chg="add del mod">
          <ac:chgData name="Laurentiu Marinescu" userId="b0dd0703-37df-4a8b-9e5a-fe66a92f9c33" providerId="ADAL" clId="{7A108CF2-572F-45F0-8870-D39F0C477427}" dt="2024-05-24T19:15:00.414" v="14659" actId="478"/>
          <ac:spMkLst>
            <pc:docMk/>
            <pc:sldMk cId="3777200644" sldId="5452"/>
            <ac:spMk id="3" creationId="{B22041ED-216E-7729-E21E-875F8ECD60E3}"/>
          </ac:spMkLst>
        </pc:spChg>
        <pc:spChg chg="add mod">
          <ac:chgData name="Laurentiu Marinescu" userId="b0dd0703-37df-4a8b-9e5a-fe66a92f9c33" providerId="ADAL" clId="{7A108CF2-572F-45F0-8870-D39F0C477427}" dt="2024-05-28T19:49:23.289" v="17861" actId="207"/>
          <ac:spMkLst>
            <pc:docMk/>
            <pc:sldMk cId="3777200644" sldId="5452"/>
            <ac:spMk id="7" creationId="{472441F3-3482-DC04-6D45-9BFA3F5DACCF}"/>
          </ac:spMkLst>
        </pc:spChg>
        <pc:spChg chg="mod">
          <ac:chgData name="Laurentiu Marinescu" userId="b0dd0703-37df-4a8b-9e5a-fe66a92f9c33" providerId="ADAL" clId="{7A108CF2-572F-45F0-8870-D39F0C477427}" dt="2024-05-28T21:19:10.105" v="20050" actId="20577"/>
          <ac:spMkLst>
            <pc:docMk/>
            <pc:sldMk cId="3777200644" sldId="5452"/>
            <ac:spMk id="8" creationId="{D521885F-E98D-E2F2-E5C3-306C52D62072}"/>
          </ac:spMkLst>
        </pc:spChg>
        <pc:picChg chg="add mod ord">
          <ac:chgData name="Laurentiu Marinescu" userId="b0dd0703-37df-4a8b-9e5a-fe66a92f9c33" providerId="ADAL" clId="{7A108CF2-572F-45F0-8870-D39F0C477427}" dt="2024-05-28T19:25:22.037" v="17620" actId="167"/>
          <ac:picMkLst>
            <pc:docMk/>
            <pc:sldMk cId="3777200644" sldId="5452"/>
            <ac:picMk id="3" creationId="{8F599D7C-9E91-5E7B-113E-CFC3FAFB1942}"/>
          </ac:picMkLst>
        </pc:picChg>
        <pc:picChg chg="add del mod">
          <ac:chgData name="Laurentiu Marinescu" userId="b0dd0703-37df-4a8b-9e5a-fe66a92f9c33" providerId="ADAL" clId="{7A108CF2-572F-45F0-8870-D39F0C477427}" dt="2024-05-28T19:25:17.536" v="17618" actId="478"/>
          <ac:picMkLst>
            <pc:docMk/>
            <pc:sldMk cId="3777200644" sldId="5452"/>
            <ac:picMk id="5" creationId="{2BFA7A6D-DBF0-DCF6-8F0B-45B886505C1D}"/>
          </ac:picMkLst>
        </pc:picChg>
      </pc:sldChg>
      <pc:sldChg chg="addSp delSp modSp add mod ord modNotesTx">
        <pc:chgData name="Laurentiu Marinescu" userId="b0dd0703-37df-4a8b-9e5a-fe66a92f9c33" providerId="ADAL" clId="{7A108CF2-572F-45F0-8870-D39F0C477427}" dt="2024-05-28T19:49:45.161" v="17864" actId="207"/>
        <pc:sldMkLst>
          <pc:docMk/>
          <pc:sldMk cId="3013290480" sldId="5453"/>
        </pc:sldMkLst>
        <pc:spChg chg="mod">
          <ac:chgData name="Laurentiu Marinescu" userId="b0dd0703-37df-4a8b-9e5a-fe66a92f9c33" providerId="ADAL" clId="{7A108CF2-572F-45F0-8870-D39F0C477427}" dt="2024-05-24T10:17:56.252" v="2728" actId="1076"/>
          <ac:spMkLst>
            <pc:docMk/>
            <pc:sldMk cId="3013290480" sldId="5453"/>
            <ac:spMk id="2" creationId="{FE141E0E-16C6-E816-64E9-1FDB0586EFA9}"/>
          </ac:spMkLst>
        </pc:spChg>
        <pc:spChg chg="add del mod">
          <ac:chgData name="Laurentiu Marinescu" userId="b0dd0703-37df-4a8b-9e5a-fe66a92f9c33" providerId="ADAL" clId="{7A108CF2-572F-45F0-8870-D39F0C477427}" dt="2024-05-24T19:15:28.784" v="14670" actId="478"/>
          <ac:spMkLst>
            <pc:docMk/>
            <pc:sldMk cId="3013290480" sldId="5453"/>
            <ac:spMk id="3" creationId="{02EDE4BE-2D21-2D52-FEB9-4718C7E59BFA}"/>
          </ac:spMkLst>
        </pc:spChg>
        <pc:spChg chg="mod">
          <ac:chgData name="Laurentiu Marinescu" userId="b0dd0703-37df-4a8b-9e5a-fe66a92f9c33" providerId="ADAL" clId="{7A108CF2-572F-45F0-8870-D39F0C477427}" dt="2024-05-24T10:18:02.230" v="2730" actId="20577"/>
          <ac:spMkLst>
            <pc:docMk/>
            <pc:sldMk cId="3013290480" sldId="5453"/>
            <ac:spMk id="4" creationId="{7609AF40-A510-231A-F449-77C8AE4EE7CC}"/>
          </ac:spMkLst>
        </pc:spChg>
        <pc:spChg chg="add mod">
          <ac:chgData name="Laurentiu Marinescu" userId="b0dd0703-37df-4a8b-9e5a-fe66a92f9c33" providerId="ADAL" clId="{7A108CF2-572F-45F0-8870-D39F0C477427}" dt="2024-05-28T19:49:45.161" v="17864" actId="207"/>
          <ac:spMkLst>
            <pc:docMk/>
            <pc:sldMk cId="3013290480" sldId="5453"/>
            <ac:spMk id="7" creationId="{ED770499-74B5-EBCF-C50A-CF38589BF0CF}"/>
          </ac:spMkLst>
        </pc:spChg>
        <pc:spChg chg="mod">
          <ac:chgData name="Laurentiu Marinescu" userId="b0dd0703-37df-4a8b-9e5a-fe66a92f9c33" providerId="ADAL" clId="{7A108CF2-572F-45F0-8870-D39F0C477427}" dt="2024-05-14T15:44:58.155" v="209" actId="20577"/>
          <ac:spMkLst>
            <pc:docMk/>
            <pc:sldMk cId="3013290480" sldId="5453"/>
            <ac:spMk id="8" creationId="{D521885F-E98D-E2F2-E5C3-306C52D62072}"/>
          </ac:spMkLst>
        </pc:spChg>
        <pc:picChg chg="add mod ord">
          <ac:chgData name="Laurentiu Marinescu" userId="b0dd0703-37df-4a8b-9e5a-fe66a92f9c33" providerId="ADAL" clId="{7A108CF2-572F-45F0-8870-D39F0C477427}" dt="2024-05-28T19:25:45.907" v="17629" actId="167"/>
          <ac:picMkLst>
            <pc:docMk/>
            <pc:sldMk cId="3013290480" sldId="5453"/>
            <ac:picMk id="3" creationId="{4CB9629D-082B-ACC7-0B88-EBA73569E1E2}"/>
          </ac:picMkLst>
        </pc:picChg>
        <pc:picChg chg="add del mod">
          <ac:chgData name="Laurentiu Marinescu" userId="b0dd0703-37df-4a8b-9e5a-fe66a92f9c33" providerId="ADAL" clId="{7A108CF2-572F-45F0-8870-D39F0C477427}" dt="2024-05-28T19:25:43.661" v="17627" actId="478"/>
          <ac:picMkLst>
            <pc:docMk/>
            <pc:sldMk cId="3013290480" sldId="5453"/>
            <ac:picMk id="5" creationId="{80689790-BC2D-9477-61A9-1C1A3DF39EAB}"/>
          </ac:picMkLst>
        </pc:picChg>
      </pc:sldChg>
      <pc:sldChg chg="addSp delSp modSp new add del mod">
        <pc:chgData name="Laurentiu Marinescu" userId="b0dd0703-37df-4a8b-9e5a-fe66a92f9c33" providerId="ADAL" clId="{7A108CF2-572F-45F0-8870-D39F0C477427}" dt="2024-05-24T11:33:53.687" v="4048" actId="2696"/>
        <pc:sldMkLst>
          <pc:docMk/>
          <pc:sldMk cId="3409629349" sldId="5454"/>
        </pc:sldMkLst>
        <pc:spChg chg="mod">
          <ac:chgData name="Laurentiu Marinescu" userId="b0dd0703-37df-4a8b-9e5a-fe66a92f9c33" providerId="ADAL" clId="{7A108CF2-572F-45F0-8870-D39F0C477427}" dt="2024-05-24T11:32:57.819" v="3977" actId="12"/>
          <ac:spMkLst>
            <pc:docMk/>
            <pc:sldMk cId="3409629349" sldId="5454"/>
            <ac:spMk id="2" creationId="{122DC246-7CB8-9D02-ED9B-29E2BDDEDF95}"/>
          </ac:spMkLst>
        </pc:spChg>
        <pc:spChg chg="add mod">
          <ac:chgData name="Laurentiu Marinescu" userId="b0dd0703-37df-4a8b-9e5a-fe66a92f9c33" providerId="ADAL" clId="{7A108CF2-572F-45F0-8870-D39F0C477427}" dt="2024-05-24T11:33:53.415" v="4046" actId="12"/>
          <ac:spMkLst>
            <pc:docMk/>
            <pc:sldMk cId="3409629349" sldId="5454"/>
            <ac:spMk id="3" creationId="{0BCED5C6-C9D8-E77D-79B0-01D202C5264D}"/>
          </ac:spMkLst>
        </pc:spChg>
        <pc:spChg chg="del">
          <ac:chgData name="Laurentiu Marinescu" userId="b0dd0703-37df-4a8b-9e5a-fe66a92f9c33" providerId="ADAL" clId="{7A108CF2-572F-45F0-8870-D39F0C477427}" dt="2024-05-15T08:26:15.709" v="328" actId="478"/>
          <ac:spMkLst>
            <pc:docMk/>
            <pc:sldMk cId="3409629349" sldId="5454"/>
            <ac:spMk id="3" creationId="{BD30F04C-B830-4167-353A-D9BD5BAB607D}"/>
          </ac:spMkLst>
        </pc:spChg>
        <pc:spChg chg="del">
          <ac:chgData name="Laurentiu Marinescu" userId="b0dd0703-37df-4a8b-9e5a-fe66a92f9c33" providerId="ADAL" clId="{7A108CF2-572F-45F0-8870-D39F0C477427}" dt="2024-05-15T08:25:16.400" v="315" actId="931"/>
          <ac:spMkLst>
            <pc:docMk/>
            <pc:sldMk cId="3409629349" sldId="5454"/>
            <ac:spMk id="4" creationId="{A30D095E-519C-220C-C8F3-30BCB500B1AA}"/>
          </ac:spMkLst>
        </pc:spChg>
        <pc:spChg chg="del">
          <ac:chgData name="Laurentiu Marinescu" userId="b0dd0703-37df-4a8b-9e5a-fe66a92f9c33" providerId="ADAL" clId="{7A108CF2-572F-45F0-8870-D39F0C477427}" dt="2024-05-15T13:58:53.804" v="837" actId="478"/>
          <ac:spMkLst>
            <pc:docMk/>
            <pc:sldMk cId="3409629349" sldId="5454"/>
            <ac:spMk id="5" creationId="{00BDFC82-BC38-6B45-FA28-1E632F3B74CD}"/>
          </ac:spMkLst>
        </pc:spChg>
        <pc:spChg chg="del">
          <ac:chgData name="Laurentiu Marinescu" userId="b0dd0703-37df-4a8b-9e5a-fe66a92f9c33" providerId="ADAL" clId="{7A108CF2-572F-45F0-8870-D39F0C477427}" dt="2024-05-15T12:06:25.855" v="655" actId="478"/>
          <ac:spMkLst>
            <pc:docMk/>
            <pc:sldMk cId="3409629349" sldId="5454"/>
            <ac:spMk id="7" creationId="{1895D05A-04D3-BF71-2656-C9D38945C528}"/>
          </ac:spMkLst>
        </pc:spChg>
        <pc:spChg chg="add del">
          <ac:chgData name="Laurentiu Marinescu" userId="b0dd0703-37df-4a8b-9e5a-fe66a92f9c33" providerId="ADAL" clId="{7A108CF2-572F-45F0-8870-D39F0C477427}" dt="2024-05-15T10:44:26.415" v="423"/>
          <ac:spMkLst>
            <pc:docMk/>
            <pc:sldMk cId="3409629349" sldId="5454"/>
            <ac:spMk id="10" creationId="{5DC8B511-6B6E-8D5D-CEA8-EA34D58AAD62}"/>
          </ac:spMkLst>
        </pc:spChg>
        <pc:spChg chg="add mod">
          <ac:chgData name="Laurentiu Marinescu" userId="b0dd0703-37df-4a8b-9e5a-fe66a92f9c33" providerId="ADAL" clId="{7A108CF2-572F-45F0-8870-D39F0C477427}" dt="2024-05-15T12:27:33.147" v="797" actId="947"/>
          <ac:spMkLst>
            <pc:docMk/>
            <pc:sldMk cId="3409629349" sldId="5454"/>
            <ac:spMk id="11" creationId="{BC948F34-F1EE-11D8-5A97-5C845AD0157A}"/>
          </ac:spMkLst>
        </pc:spChg>
        <pc:picChg chg="add mod">
          <ac:chgData name="Laurentiu Marinescu" userId="b0dd0703-37df-4a8b-9e5a-fe66a92f9c33" providerId="ADAL" clId="{7A108CF2-572F-45F0-8870-D39F0C477427}" dt="2024-05-15T12:06:31.709" v="657" actId="1076"/>
          <ac:picMkLst>
            <pc:docMk/>
            <pc:sldMk cId="3409629349" sldId="5454"/>
            <ac:picMk id="9" creationId="{26DD4310-01A9-9E4E-134A-4C26321FB737}"/>
          </ac:picMkLst>
        </pc:picChg>
      </pc:sldChg>
      <pc:sldChg chg="addSp delSp modSp add del mod">
        <pc:chgData name="Laurentiu Marinescu" userId="b0dd0703-37df-4a8b-9e5a-fe66a92f9c33" providerId="ADAL" clId="{7A108CF2-572F-45F0-8870-D39F0C477427}" dt="2024-05-15T10:50:03.401" v="441" actId="47"/>
        <pc:sldMkLst>
          <pc:docMk/>
          <pc:sldMk cId="3183150151" sldId="5455"/>
        </pc:sldMkLst>
        <pc:spChg chg="mod">
          <ac:chgData name="Laurentiu Marinescu" userId="b0dd0703-37df-4a8b-9e5a-fe66a92f9c33" providerId="ADAL" clId="{7A108CF2-572F-45F0-8870-D39F0C477427}" dt="2024-05-15T10:44:45.158" v="429"/>
          <ac:spMkLst>
            <pc:docMk/>
            <pc:sldMk cId="3183150151" sldId="5455"/>
            <ac:spMk id="2" creationId="{122DC246-7CB8-9D02-ED9B-29E2BDDEDF95}"/>
          </ac:spMkLst>
        </pc:spChg>
        <pc:spChg chg="add del mod">
          <ac:chgData name="Laurentiu Marinescu" userId="b0dd0703-37df-4a8b-9e5a-fe66a92f9c33" providerId="ADAL" clId="{7A108CF2-572F-45F0-8870-D39F0C477427}" dt="2024-05-15T10:44:50.265" v="431" actId="478"/>
          <ac:spMkLst>
            <pc:docMk/>
            <pc:sldMk cId="3183150151" sldId="5455"/>
            <ac:spMk id="4" creationId="{353AB46D-832B-C0CF-72FE-96F249BC24BC}"/>
          </ac:spMkLst>
        </pc:spChg>
        <pc:picChg chg="del">
          <ac:chgData name="Laurentiu Marinescu" userId="b0dd0703-37df-4a8b-9e5a-fe66a92f9c33" providerId="ADAL" clId="{7A108CF2-572F-45F0-8870-D39F0C477427}" dt="2024-05-15T10:44:47.087" v="430" actId="478"/>
          <ac:picMkLst>
            <pc:docMk/>
            <pc:sldMk cId="3183150151" sldId="5455"/>
            <ac:picMk id="9" creationId="{26DD4310-01A9-9E4E-134A-4C26321FB737}"/>
          </ac:picMkLst>
        </pc:picChg>
      </pc:sldChg>
      <pc:sldChg chg="addSp delSp modSp add mod modNotesTx">
        <pc:chgData name="Laurentiu Marinescu" userId="b0dd0703-37df-4a8b-9e5a-fe66a92f9c33" providerId="ADAL" clId="{7A108CF2-572F-45F0-8870-D39F0C477427}" dt="2024-05-28T19:49:54.984" v="17866" actId="207"/>
        <pc:sldMkLst>
          <pc:docMk/>
          <pc:sldMk cId="3391989241" sldId="5455"/>
        </pc:sldMkLst>
        <pc:spChg chg="mod">
          <ac:chgData name="Laurentiu Marinescu" userId="b0dd0703-37df-4a8b-9e5a-fe66a92f9c33" providerId="ADAL" clId="{7A108CF2-572F-45F0-8870-D39F0C477427}" dt="2024-05-24T10:18:56.648" v="2746" actId="1076"/>
          <ac:spMkLst>
            <pc:docMk/>
            <pc:sldMk cId="3391989241" sldId="5455"/>
            <ac:spMk id="2" creationId="{FE141E0E-16C6-E816-64E9-1FDB0586EFA9}"/>
          </ac:spMkLst>
        </pc:spChg>
        <pc:spChg chg="del">
          <ac:chgData name="Laurentiu Marinescu" userId="b0dd0703-37df-4a8b-9e5a-fe66a92f9c33" providerId="ADAL" clId="{7A108CF2-572F-45F0-8870-D39F0C477427}" dt="2024-05-24T19:15:45.980" v="14676" actId="478"/>
          <ac:spMkLst>
            <pc:docMk/>
            <pc:sldMk cId="3391989241" sldId="5455"/>
            <ac:spMk id="3" creationId="{31226BC7-3E71-4123-375C-55F42787E2C7}"/>
          </ac:spMkLst>
        </pc:spChg>
        <pc:spChg chg="add mod">
          <ac:chgData name="Laurentiu Marinescu" userId="b0dd0703-37df-4a8b-9e5a-fe66a92f9c33" providerId="ADAL" clId="{7A108CF2-572F-45F0-8870-D39F0C477427}" dt="2024-05-28T19:49:54.984" v="17866" actId="207"/>
          <ac:spMkLst>
            <pc:docMk/>
            <pc:sldMk cId="3391989241" sldId="5455"/>
            <ac:spMk id="7" creationId="{52FA4802-8CCF-05ED-E5F9-3B46DCE91753}"/>
          </ac:spMkLst>
        </pc:spChg>
        <pc:spChg chg="mod">
          <ac:chgData name="Laurentiu Marinescu" userId="b0dd0703-37df-4a8b-9e5a-fe66a92f9c33" providerId="ADAL" clId="{7A108CF2-572F-45F0-8870-D39F0C477427}" dt="2024-05-24T10:19:06.805" v="2749" actId="20577"/>
          <ac:spMkLst>
            <pc:docMk/>
            <pc:sldMk cId="3391989241" sldId="5455"/>
            <ac:spMk id="8" creationId="{D521885F-E98D-E2F2-E5C3-306C52D62072}"/>
          </ac:spMkLst>
        </pc:spChg>
        <pc:picChg chg="add mod ord">
          <ac:chgData name="Laurentiu Marinescu" userId="b0dd0703-37df-4a8b-9e5a-fe66a92f9c33" providerId="ADAL" clId="{7A108CF2-572F-45F0-8870-D39F0C477427}" dt="2024-05-28T19:25:59.497" v="17635" actId="167"/>
          <ac:picMkLst>
            <pc:docMk/>
            <pc:sldMk cId="3391989241" sldId="5455"/>
            <ac:picMk id="3" creationId="{BEB03346-EF36-1947-0AC6-223BE35D8E07}"/>
          </ac:picMkLst>
        </pc:picChg>
        <pc:picChg chg="add del mod">
          <ac:chgData name="Laurentiu Marinescu" userId="b0dd0703-37df-4a8b-9e5a-fe66a92f9c33" providerId="ADAL" clId="{7A108CF2-572F-45F0-8870-D39F0C477427}" dt="2024-05-28T19:25:57.564" v="17633" actId="478"/>
          <ac:picMkLst>
            <pc:docMk/>
            <pc:sldMk cId="3391989241" sldId="5455"/>
            <ac:picMk id="5" creationId="{3E074791-30DD-4EFE-1CCA-6444E694B8FD}"/>
          </ac:picMkLst>
        </pc:picChg>
      </pc:sldChg>
      <pc:sldChg chg="add del">
        <pc:chgData name="Laurentiu Marinescu" userId="b0dd0703-37df-4a8b-9e5a-fe66a92f9c33" providerId="ADAL" clId="{7A108CF2-572F-45F0-8870-D39F0C477427}" dt="2024-05-15T12:22:04.343" v="771"/>
        <pc:sldMkLst>
          <pc:docMk/>
          <pc:sldMk cId="3771836212" sldId="5455"/>
        </pc:sldMkLst>
      </pc:sldChg>
      <pc:sldChg chg="delSp modSp add del mod modNotesTx">
        <pc:chgData name="Laurentiu Marinescu" userId="b0dd0703-37df-4a8b-9e5a-fe66a92f9c33" providerId="ADAL" clId="{7A108CF2-572F-45F0-8870-D39F0C477427}" dt="2024-05-23T09:10:51.602" v="953" actId="2696"/>
        <pc:sldMkLst>
          <pc:docMk/>
          <pc:sldMk cId="1791285451" sldId="5456"/>
        </pc:sldMkLst>
        <pc:spChg chg="mod">
          <ac:chgData name="Laurentiu Marinescu" userId="b0dd0703-37df-4a8b-9e5a-fe66a92f9c33" providerId="ADAL" clId="{7A108CF2-572F-45F0-8870-D39F0C477427}" dt="2024-05-23T09:10:29.289" v="947" actId="20577"/>
          <ac:spMkLst>
            <pc:docMk/>
            <pc:sldMk cId="1791285451" sldId="5456"/>
            <ac:spMk id="2" creationId="{FE141E0E-16C6-E816-64E9-1FDB0586EFA9}"/>
          </ac:spMkLst>
        </pc:spChg>
        <pc:spChg chg="mod">
          <ac:chgData name="Laurentiu Marinescu" userId="b0dd0703-37df-4a8b-9e5a-fe66a92f9c33" providerId="ADAL" clId="{7A108CF2-572F-45F0-8870-D39F0C477427}" dt="2024-05-23T09:10:50.760" v="951" actId="12"/>
          <ac:spMkLst>
            <pc:docMk/>
            <pc:sldMk cId="1791285451" sldId="5456"/>
            <ac:spMk id="4" creationId="{7609AF40-A510-231A-F449-77C8AE4EE7CC}"/>
          </ac:spMkLst>
        </pc:spChg>
        <pc:picChg chg="del">
          <ac:chgData name="Laurentiu Marinescu" userId="b0dd0703-37df-4a8b-9e5a-fe66a92f9c33" providerId="ADAL" clId="{7A108CF2-572F-45F0-8870-D39F0C477427}" dt="2024-05-23T09:10:45.884" v="949" actId="478"/>
          <ac:picMkLst>
            <pc:docMk/>
            <pc:sldMk cId="1791285451" sldId="5456"/>
            <ac:picMk id="9" creationId="{106AC37E-33D0-A718-4C04-6339B835A119}"/>
          </ac:picMkLst>
        </pc:picChg>
      </pc:sldChg>
      <pc:sldChg chg="modSp add del mod">
        <pc:chgData name="Laurentiu Marinescu" userId="b0dd0703-37df-4a8b-9e5a-fe66a92f9c33" providerId="ADAL" clId="{7A108CF2-572F-45F0-8870-D39F0C477427}" dt="2024-05-23T09:11:43.700" v="1012" actId="2696"/>
        <pc:sldMkLst>
          <pc:docMk/>
          <pc:sldMk cId="567386507" sldId="5457"/>
        </pc:sldMkLst>
        <pc:spChg chg="mod">
          <ac:chgData name="Laurentiu Marinescu" userId="b0dd0703-37df-4a8b-9e5a-fe66a92f9c33" providerId="ADAL" clId="{7A108CF2-572F-45F0-8870-D39F0C477427}" dt="2024-05-23T09:11:43.427" v="1010" actId="12"/>
          <ac:spMkLst>
            <pc:docMk/>
            <pc:sldMk cId="567386507" sldId="5457"/>
            <ac:spMk id="4" creationId="{7609AF40-A510-231A-F449-77C8AE4EE7CC}"/>
          </ac:spMkLst>
        </pc:spChg>
      </pc:sldChg>
      <pc:sldChg chg="addSp delSp modSp add mod modNotesTx">
        <pc:chgData name="Laurentiu Marinescu" userId="b0dd0703-37df-4a8b-9e5a-fe66a92f9c33" providerId="ADAL" clId="{7A108CF2-572F-45F0-8870-D39F0C477427}" dt="2024-05-28T19:48:51.072" v="17857" actId="207"/>
        <pc:sldMkLst>
          <pc:docMk/>
          <pc:sldMk cId="3888314790" sldId="5458"/>
        </pc:sldMkLst>
        <pc:spChg chg="mod">
          <ac:chgData name="Laurentiu Marinescu" userId="b0dd0703-37df-4a8b-9e5a-fe66a92f9c33" providerId="ADAL" clId="{7A108CF2-572F-45F0-8870-D39F0C477427}" dt="2024-05-24T10:14:50.437" v="2682" actId="1076"/>
          <ac:spMkLst>
            <pc:docMk/>
            <pc:sldMk cId="3888314790" sldId="5458"/>
            <ac:spMk id="2" creationId="{FE141E0E-16C6-E816-64E9-1FDB0586EFA9}"/>
          </ac:spMkLst>
        </pc:spChg>
        <pc:spChg chg="del">
          <ac:chgData name="Laurentiu Marinescu" userId="b0dd0703-37df-4a8b-9e5a-fe66a92f9c33" providerId="ADAL" clId="{7A108CF2-572F-45F0-8870-D39F0C477427}" dt="2024-05-24T19:14:21.011" v="14647" actId="478"/>
          <ac:spMkLst>
            <pc:docMk/>
            <pc:sldMk cId="3888314790" sldId="5458"/>
            <ac:spMk id="3" creationId="{309DF59A-DF69-2556-9531-0CA6486E5489}"/>
          </ac:spMkLst>
        </pc:spChg>
        <pc:spChg chg="mod">
          <ac:chgData name="Laurentiu Marinescu" userId="b0dd0703-37df-4a8b-9e5a-fe66a92f9c33" providerId="ADAL" clId="{7A108CF2-572F-45F0-8870-D39F0C477427}" dt="2024-05-24T10:14:53.816" v="2683" actId="1076"/>
          <ac:spMkLst>
            <pc:docMk/>
            <pc:sldMk cId="3888314790" sldId="5458"/>
            <ac:spMk id="4" creationId="{7609AF40-A510-231A-F449-77C8AE4EE7CC}"/>
          </ac:spMkLst>
        </pc:spChg>
        <pc:spChg chg="add mod">
          <ac:chgData name="Laurentiu Marinescu" userId="b0dd0703-37df-4a8b-9e5a-fe66a92f9c33" providerId="ADAL" clId="{7A108CF2-572F-45F0-8870-D39F0C477427}" dt="2024-05-28T19:48:51.072" v="17857" actId="207"/>
          <ac:spMkLst>
            <pc:docMk/>
            <pc:sldMk cId="3888314790" sldId="5458"/>
            <ac:spMk id="7" creationId="{8D2A90AA-EBE4-467E-2833-934EAFF86473}"/>
          </ac:spMkLst>
        </pc:spChg>
        <pc:picChg chg="add mod ord">
          <ac:chgData name="Laurentiu Marinescu" userId="b0dd0703-37df-4a8b-9e5a-fe66a92f9c33" providerId="ADAL" clId="{7A108CF2-572F-45F0-8870-D39F0C477427}" dt="2024-05-28T19:24:45.085" v="17608" actId="167"/>
          <ac:picMkLst>
            <pc:docMk/>
            <pc:sldMk cId="3888314790" sldId="5458"/>
            <ac:picMk id="3" creationId="{FC578A6A-7648-E065-8355-0971B37B7684}"/>
          </ac:picMkLst>
        </pc:picChg>
        <pc:picChg chg="add del mod">
          <ac:chgData name="Laurentiu Marinescu" userId="b0dd0703-37df-4a8b-9e5a-fe66a92f9c33" providerId="ADAL" clId="{7A108CF2-572F-45F0-8870-D39F0C477427}" dt="2024-05-28T19:24:40.640" v="17606" actId="478"/>
          <ac:picMkLst>
            <pc:docMk/>
            <pc:sldMk cId="3888314790" sldId="5458"/>
            <ac:picMk id="5" creationId="{8A293A6A-718C-8BE5-8006-853471272095}"/>
          </ac:picMkLst>
        </pc:picChg>
      </pc:sldChg>
      <pc:sldChg chg="modSp add del mod ord">
        <pc:chgData name="Laurentiu Marinescu" userId="b0dd0703-37df-4a8b-9e5a-fe66a92f9c33" providerId="ADAL" clId="{7A108CF2-572F-45F0-8870-D39F0C477427}" dt="2024-05-24T09:45:54.978" v="2587" actId="47"/>
        <pc:sldMkLst>
          <pc:docMk/>
          <pc:sldMk cId="2159629811" sldId="5459"/>
        </pc:sldMkLst>
        <pc:spChg chg="mod">
          <ac:chgData name="Laurentiu Marinescu" userId="b0dd0703-37df-4a8b-9e5a-fe66a92f9c33" providerId="ADAL" clId="{7A108CF2-572F-45F0-8870-D39F0C477427}" dt="2024-05-23T09:18:01.279" v="1128" actId="20577"/>
          <ac:spMkLst>
            <pc:docMk/>
            <pc:sldMk cId="2159629811" sldId="5459"/>
            <ac:spMk id="2" creationId="{FE141E0E-16C6-E816-64E9-1FDB0586EFA9}"/>
          </ac:spMkLst>
        </pc:spChg>
        <pc:spChg chg="mod">
          <ac:chgData name="Laurentiu Marinescu" userId="b0dd0703-37df-4a8b-9e5a-fe66a92f9c33" providerId="ADAL" clId="{7A108CF2-572F-45F0-8870-D39F0C477427}" dt="2024-05-23T09:18:07.551" v="1129" actId="6549"/>
          <ac:spMkLst>
            <pc:docMk/>
            <pc:sldMk cId="2159629811" sldId="5459"/>
            <ac:spMk id="8" creationId="{D521885F-E98D-E2F2-E5C3-306C52D62072}"/>
          </ac:spMkLst>
        </pc:spChg>
      </pc:sldChg>
      <pc:sldChg chg="modSp add del mod">
        <pc:chgData name="Laurentiu Marinescu" userId="b0dd0703-37df-4a8b-9e5a-fe66a92f9c33" providerId="ADAL" clId="{7A108CF2-572F-45F0-8870-D39F0C477427}" dt="2024-05-23T09:23:13.960" v="1217" actId="2696"/>
        <pc:sldMkLst>
          <pc:docMk/>
          <pc:sldMk cId="973707464" sldId="5460"/>
        </pc:sldMkLst>
        <pc:spChg chg="mod">
          <ac:chgData name="Laurentiu Marinescu" userId="b0dd0703-37df-4a8b-9e5a-fe66a92f9c33" providerId="ADAL" clId="{7A108CF2-572F-45F0-8870-D39F0C477427}" dt="2024-05-23T09:22:41.261" v="1199" actId="20577"/>
          <ac:spMkLst>
            <pc:docMk/>
            <pc:sldMk cId="973707464" sldId="5460"/>
            <ac:spMk id="2" creationId="{FE141E0E-16C6-E816-64E9-1FDB0586EFA9}"/>
          </ac:spMkLst>
        </pc:spChg>
        <pc:spChg chg="mod">
          <ac:chgData name="Laurentiu Marinescu" userId="b0dd0703-37df-4a8b-9e5a-fe66a92f9c33" providerId="ADAL" clId="{7A108CF2-572F-45F0-8870-D39F0C477427}" dt="2024-05-23T09:23:13.694" v="1215" actId="12"/>
          <ac:spMkLst>
            <pc:docMk/>
            <pc:sldMk cId="973707464" sldId="5460"/>
            <ac:spMk id="4" creationId="{7609AF40-A510-231A-F449-77C8AE4EE7CC}"/>
          </ac:spMkLst>
        </pc:spChg>
        <pc:spChg chg="mod">
          <ac:chgData name="Laurentiu Marinescu" userId="b0dd0703-37df-4a8b-9e5a-fe66a92f9c33" providerId="ADAL" clId="{7A108CF2-572F-45F0-8870-D39F0C477427}" dt="2024-05-23T09:22:55.088" v="1202" actId="12"/>
          <ac:spMkLst>
            <pc:docMk/>
            <pc:sldMk cId="973707464" sldId="5460"/>
            <ac:spMk id="8" creationId="{D521885F-E98D-E2F2-E5C3-306C52D62072}"/>
          </ac:spMkLst>
        </pc:spChg>
      </pc:sldChg>
      <pc:sldChg chg="addSp delSp modSp add mod modNotesTx">
        <pc:chgData name="Laurentiu Marinescu" userId="b0dd0703-37df-4a8b-9e5a-fe66a92f9c33" providerId="ADAL" clId="{7A108CF2-572F-45F0-8870-D39F0C477427}" dt="2024-05-28T19:49:28.249" v="17862" actId="207"/>
        <pc:sldMkLst>
          <pc:docMk/>
          <pc:sldMk cId="1174369589" sldId="5461"/>
        </pc:sldMkLst>
        <pc:spChg chg="mod">
          <ac:chgData name="Laurentiu Marinescu" userId="b0dd0703-37df-4a8b-9e5a-fe66a92f9c33" providerId="ADAL" clId="{7A108CF2-572F-45F0-8870-D39F0C477427}" dt="2024-05-24T10:17:03.955" v="2710" actId="1076"/>
          <ac:spMkLst>
            <pc:docMk/>
            <pc:sldMk cId="1174369589" sldId="5461"/>
            <ac:spMk id="2" creationId="{FE141E0E-16C6-E816-64E9-1FDB0586EFA9}"/>
          </ac:spMkLst>
        </pc:spChg>
        <pc:spChg chg="del">
          <ac:chgData name="Laurentiu Marinescu" userId="b0dd0703-37df-4a8b-9e5a-fe66a92f9c33" providerId="ADAL" clId="{7A108CF2-572F-45F0-8870-D39F0C477427}" dt="2024-05-24T19:15:12.277" v="14664" actId="478"/>
          <ac:spMkLst>
            <pc:docMk/>
            <pc:sldMk cId="1174369589" sldId="5461"/>
            <ac:spMk id="3" creationId="{B22041ED-216E-7729-E21E-875F8ECD60E3}"/>
          </ac:spMkLst>
        </pc:spChg>
        <pc:spChg chg="mod">
          <ac:chgData name="Laurentiu Marinescu" userId="b0dd0703-37df-4a8b-9e5a-fe66a92f9c33" providerId="ADAL" clId="{7A108CF2-572F-45F0-8870-D39F0C477427}" dt="2024-05-24T10:17:23.164" v="2719" actId="1076"/>
          <ac:spMkLst>
            <pc:docMk/>
            <pc:sldMk cId="1174369589" sldId="5461"/>
            <ac:spMk id="4" creationId="{7609AF40-A510-231A-F449-77C8AE4EE7CC}"/>
          </ac:spMkLst>
        </pc:spChg>
        <pc:spChg chg="add del mod">
          <ac:chgData name="Laurentiu Marinescu" userId="b0dd0703-37df-4a8b-9e5a-fe66a92f9c33" providerId="ADAL" clId="{7A108CF2-572F-45F0-8870-D39F0C477427}" dt="2024-05-24T19:15:10.906" v="14663"/>
          <ac:spMkLst>
            <pc:docMk/>
            <pc:sldMk cId="1174369589" sldId="5461"/>
            <ac:spMk id="7" creationId="{F1C43B4B-79D8-D081-5F09-C98302DD4F75}"/>
          </ac:spMkLst>
        </pc:spChg>
        <pc:spChg chg="add mod">
          <ac:chgData name="Laurentiu Marinescu" userId="b0dd0703-37df-4a8b-9e5a-fe66a92f9c33" providerId="ADAL" clId="{7A108CF2-572F-45F0-8870-D39F0C477427}" dt="2024-05-28T19:49:28.249" v="17862" actId="207"/>
          <ac:spMkLst>
            <pc:docMk/>
            <pc:sldMk cId="1174369589" sldId="5461"/>
            <ac:spMk id="9" creationId="{3BCB9DCD-99E8-24A0-578C-4C0B510BB227}"/>
          </ac:spMkLst>
        </pc:spChg>
        <pc:picChg chg="add mod ord">
          <ac:chgData name="Laurentiu Marinescu" userId="b0dd0703-37df-4a8b-9e5a-fe66a92f9c33" providerId="ADAL" clId="{7A108CF2-572F-45F0-8870-D39F0C477427}" dt="2024-05-28T19:25:31.388" v="17623" actId="167"/>
          <ac:picMkLst>
            <pc:docMk/>
            <pc:sldMk cId="1174369589" sldId="5461"/>
            <ac:picMk id="3" creationId="{7839BF50-D915-A6F8-F679-422AED94A8E2}"/>
          </ac:picMkLst>
        </pc:picChg>
        <pc:picChg chg="add del mod">
          <ac:chgData name="Laurentiu Marinescu" userId="b0dd0703-37df-4a8b-9e5a-fe66a92f9c33" providerId="ADAL" clId="{7A108CF2-572F-45F0-8870-D39F0C477427}" dt="2024-05-28T19:25:28.449" v="17621" actId="478"/>
          <ac:picMkLst>
            <pc:docMk/>
            <pc:sldMk cId="1174369589" sldId="5461"/>
            <ac:picMk id="5" creationId="{0D2D5F3D-E22F-E566-6265-DB87C06B5166}"/>
          </ac:picMkLst>
        </pc:picChg>
      </pc:sldChg>
      <pc:sldChg chg="addSp delSp modSp add del mod">
        <pc:chgData name="Laurentiu Marinescu" userId="b0dd0703-37df-4a8b-9e5a-fe66a92f9c33" providerId="ADAL" clId="{7A108CF2-572F-45F0-8870-D39F0C477427}" dt="2024-05-23T09:23:06.943" v="1211"/>
        <pc:sldMkLst>
          <pc:docMk/>
          <pc:sldMk cId="4018092646" sldId="5461"/>
        </pc:sldMkLst>
        <pc:spChg chg="add del">
          <ac:chgData name="Laurentiu Marinescu" userId="b0dd0703-37df-4a8b-9e5a-fe66a92f9c33" providerId="ADAL" clId="{7A108CF2-572F-45F0-8870-D39F0C477427}" dt="2024-05-23T09:23:05.351" v="1209"/>
          <ac:spMkLst>
            <pc:docMk/>
            <pc:sldMk cId="4018092646" sldId="5461"/>
            <ac:spMk id="5" creationId="{D77A5AD3-5AEB-A396-405C-B3D3428C18FF}"/>
          </ac:spMkLst>
        </pc:spChg>
        <pc:spChg chg="mod">
          <ac:chgData name="Laurentiu Marinescu" userId="b0dd0703-37df-4a8b-9e5a-fe66a92f9c33" providerId="ADAL" clId="{7A108CF2-572F-45F0-8870-D39F0C477427}" dt="2024-05-23T09:23:04.719" v="1208"/>
          <ac:spMkLst>
            <pc:docMk/>
            <pc:sldMk cId="4018092646" sldId="5461"/>
            <ac:spMk id="8" creationId="{D521885F-E98D-E2F2-E5C3-306C52D62072}"/>
          </ac:spMkLst>
        </pc:spChg>
      </pc:sldChg>
      <pc:sldChg chg="modSp add del mod">
        <pc:chgData name="Laurentiu Marinescu" userId="b0dd0703-37df-4a8b-9e5a-fe66a92f9c33" providerId="ADAL" clId="{7A108CF2-572F-45F0-8870-D39F0C477427}" dt="2024-05-23T09:28:47.629" v="1340" actId="2696"/>
        <pc:sldMkLst>
          <pc:docMk/>
          <pc:sldMk cId="2792093018" sldId="5462"/>
        </pc:sldMkLst>
        <pc:spChg chg="mod">
          <ac:chgData name="Laurentiu Marinescu" userId="b0dd0703-37df-4a8b-9e5a-fe66a92f9c33" providerId="ADAL" clId="{7A108CF2-572F-45F0-8870-D39F0C477427}" dt="2024-05-23T09:28:47.304" v="1338" actId="12"/>
          <ac:spMkLst>
            <pc:docMk/>
            <pc:sldMk cId="2792093018" sldId="5462"/>
            <ac:spMk id="4" creationId="{7609AF40-A510-231A-F449-77C8AE4EE7CC}"/>
          </ac:spMkLst>
        </pc:spChg>
      </pc:sldChg>
      <pc:sldChg chg="add del ord">
        <pc:chgData name="Laurentiu Marinescu" userId="b0dd0703-37df-4a8b-9e5a-fe66a92f9c33" providerId="ADAL" clId="{7A108CF2-572F-45F0-8870-D39F0C477427}" dt="2024-05-23T09:29:11.124" v="1343" actId="47"/>
        <pc:sldMkLst>
          <pc:docMk/>
          <pc:sldMk cId="2916402212" sldId="5463"/>
        </pc:sldMkLst>
      </pc:sldChg>
      <pc:sldChg chg="addSp delSp modSp add mod">
        <pc:chgData name="Laurentiu Marinescu" userId="b0dd0703-37df-4a8b-9e5a-fe66a92f9c33" providerId="ADAL" clId="{7A108CF2-572F-45F0-8870-D39F0C477427}" dt="2024-05-24T19:17:51.828" v="14720"/>
        <pc:sldMkLst>
          <pc:docMk/>
          <pc:sldMk cId="20091113" sldId="5464"/>
        </pc:sldMkLst>
        <pc:spChg chg="del">
          <ac:chgData name="Laurentiu Marinescu" userId="b0dd0703-37df-4a8b-9e5a-fe66a92f9c33" providerId="ADAL" clId="{7A108CF2-572F-45F0-8870-D39F0C477427}" dt="2024-05-24T19:17:51.599" v="14719" actId="478"/>
          <ac:spMkLst>
            <pc:docMk/>
            <pc:sldMk cId="20091113" sldId="5464"/>
            <ac:spMk id="3" creationId="{24C37E2F-F910-F74E-9787-1E6A6E278836}"/>
          </ac:spMkLst>
        </pc:spChg>
        <pc:spChg chg="mod">
          <ac:chgData name="Laurentiu Marinescu" userId="b0dd0703-37df-4a8b-9e5a-fe66a92f9c33" providerId="ADAL" clId="{7A108CF2-572F-45F0-8870-D39F0C477427}" dt="2024-05-23T09:30:24.012" v="1450" actId="20577"/>
          <ac:spMkLst>
            <pc:docMk/>
            <pc:sldMk cId="20091113" sldId="5464"/>
            <ac:spMk id="4" creationId="{7609AF40-A510-231A-F449-77C8AE4EE7CC}"/>
          </ac:spMkLst>
        </pc:spChg>
        <pc:spChg chg="add mod">
          <ac:chgData name="Laurentiu Marinescu" userId="b0dd0703-37df-4a8b-9e5a-fe66a92f9c33" providerId="ADAL" clId="{7A108CF2-572F-45F0-8870-D39F0C477427}" dt="2024-05-24T19:17:51.828" v="14720"/>
          <ac:spMkLst>
            <pc:docMk/>
            <pc:sldMk cId="20091113" sldId="5464"/>
            <ac:spMk id="7" creationId="{AFDEDD59-AD81-9127-E24F-1B0336BE3C51}"/>
          </ac:spMkLst>
        </pc:spChg>
      </pc:sldChg>
      <pc:sldChg chg="modSp add del mod">
        <pc:chgData name="Laurentiu Marinescu" userId="b0dd0703-37df-4a8b-9e5a-fe66a92f9c33" providerId="ADAL" clId="{7A108CF2-572F-45F0-8870-D39F0C477427}" dt="2024-05-23T09:30:05.611" v="1421" actId="2696"/>
        <pc:sldMkLst>
          <pc:docMk/>
          <pc:sldMk cId="3734420307" sldId="5465"/>
        </pc:sldMkLst>
        <pc:spChg chg="mod">
          <ac:chgData name="Laurentiu Marinescu" userId="b0dd0703-37df-4a8b-9e5a-fe66a92f9c33" providerId="ADAL" clId="{7A108CF2-572F-45F0-8870-D39F0C477427}" dt="2024-05-23T09:29:49.527" v="1416" actId="20577"/>
          <ac:spMkLst>
            <pc:docMk/>
            <pc:sldMk cId="3734420307" sldId="5465"/>
            <ac:spMk id="2" creationId="{FE141E0E-16C6-E816-64E9-1FDB0586EFA9}"/>
          </ac:spMkLst>
        </pc:spChg>
        <pc:spChg chg="mod">
          <ac:chgData name="Laurentiu Marinescu" userId="b0dd0703-37df-4a8b-9e5a-fe66a92f9c33" providerId="ADAL" clId="{7A108CF2-572F-45F0-8870-D39F0C477427}" dt="2024-05-23T09:30:05.326" v="1419" actId="12"/>
          <ac:spMkLst>
            <pc:docMk/>
            <pc:sldMk cId="3734420307" sldId="5465"/>
            <ac:spMk id="4" creationId="{7609AF40-A510-231A-F449-77C8AE4EE7CC}"/>
          </ac:spMkLst>
        </pc:spChg>
      </pc:sldChg>
      <pc:sldChg chg="addSp delSp modSp add mod modNotesTx">
        <pc:chgData name="Laurentiu Marinescu" userId="b0dd0703-37df-4a8b-9e5a-fe66a92f9c33" providerId="ADAL" clId="{7A108CF2-572F-45F0-8870-D39F0C477427}" dt="2024-05-24T19:17:57.135" v="14722"/>
        <pc:sldMkLst>
          <pc:docMk/>
          <pc:sldMk cId="3007277327" sldId="5466"/>
        </pc:sldMkLst>
        <pc:spChg chg="del">
          <ac:chgData name="Laurentiu Marinescu" userId="b0dd0703-37df-4a8b-9e5a-fe66a92f9c33" providerId="ADAL" clId="{7A108CF2-572F-45F0-8870-D39F0C477427}" dt="2024-05-24T19:17:56.883" v="14721" actId="478"/>
          <ac:spMkLst>
            <pc:docMk/>
            <pc:sldMk cId="3007277327" sldId="5466"/>
            <ac:spMk id="3" creationId="{24C37E2F-F910-F74E-9787-1E6A6E278836}"/>
          </ac:spMkLst>
        </pc:spChg>
        <pc:spChg chg="mod">
          <ac:chgData name="Laurentiu Marinescu" userId="b0dd0703-37df-4a8b-9e5a-fe66a92f9c33" providerId="ADAL" clId="{7A108CF2-572F-45F0-8870-D39F0C477427}" dt="2024-05-23T09:30:18.081" v="1449" actId="20577"/>
          <ac:spMkLst>
            <pc:docMk/>
            <pc:sldMk cId="3007277327" sldId="5466"/>
            <ac:spMk id="4" creationId="{7609AF40-A510-231A-F449-77C8AE4EE7CC}"/>
          </ac:spMkLst>
        </pc:spChg>
        <pc:spChg chg="add mod">
          <ac:chgData name="Laurentiu Marinescu" userId="b0dd0703-37df-4a8b-9e5a-fe66a92f9c33" providerId="ADAL" clId="{7A108CF2-572F-45F0-8870-D39F0C477427}" dt="2024-05-24T19:17:57.135" v="14722"/>
          <ac:spMkLst>
            <pc:docMk/>
            <pc:sldMk cId="3007277327" sldId="5466"/>
            <ac:spMk id="7" creationId="{EDAB2224-500D-6982-6231-8BC16BED4F94}"/>
          </ac:spMkLst>
        </pc:spChg>
      </pc:sldChg>
      <pc:sldChg chg="modSp add del mod">
        <pc:chgData name="Laurentiu Marinescu" userId="b0dd0703-37df-4a8b-9e5a-fe66a92f9c33" providerId="ADAL" clId="{7A108CF2-572F-45F0-8870-D39F0C477427}" dt="2024-05-23T09:31:12.803" v="1480" actId="2696"/>
        <pc:sldMkLst>
          <pc:docMk/>
          <pc:sldMk cId="1992588523" sldId="5467"/>
        </pc:sldMkLst>
        <pc:spChg chg="mod">
          <ac:chgData name="Laurentiu Marinescu" userId="b0dd0703-37df-4a8b-9e5a-fe66a92f9c33" providerId="ADAL" clId="{7A108CF2-572F-45F0-8870-D39F0C477427}" dt="2024-05-23T09:30:59.209" v="1475" actId="20577"/>
          <ac:spMkLst>
            <pc:docMk/>
            <pc:sldMk cId="1992588523" sldId="5467"/>
            <ac:spMk id="2" creationId="{FE141E0E-16C6-E816-64E9-1FDB0586EFA9}"/>
          </ac:spMkLst>
        </pc:spChg>
        <pc:spChg chg="mod">
          <ac:chgData name="Laurentiu Marinescu" userId="b0dd0703-37df-4a8b-9e5a-fe66a92f9c33" providerId="ADAL" clId="{7A108CF2-572F-45F0-8870-D39F0C477427}" dt="2024-05-23T09:31:12.509" v="1478" actId="12"/>
          <ac:spMkLst>
            <pc:docMk/>
            <pc:sldMk cId="1992588523" sldId="5467"/>
            <ac:spMk id="4" creationId="{7609AF40-A510-231A-F449-77C8AE4EE7CC}"/>
          </ac:spMkLst>
        </pc:spChg>
      </pc:sldChg>
      <pc:sldChg chg="addSp delSp modSp add mod">
        <pc:chgData name="Laurentiu Marinescu" userId="b0dd0703-37df-4a8b-9e5a-fe66a92f9c33" providerId="ADAL" clId="{7A108CF2-572F-45F0-8870-D39F0C477427}" dt="2024-05-24T19:18:40.179" v="14734"/>
        <pc:sldMkLst>
          <pc:docMk/>
          <pc:sldMk cId="2838680590" sldId="5468"/>
        </pc:sldMkLst>
        <pc:spChg chg="del">
          <ac:chgData name="Laurentiu Marinescu" userId="b0dd0703-37df-4a8b-9e5a-fe66a92f9c33" providerId="ADAL" clId="{7A108CF2-572F-45F0-8870-D39F0C477427}" dt="2024-05-24T19:18:39.943" v="14733" actId="478"/>
          <ac:spMkLst>
            <pc:docMk/>
            <pc:sldMk cId="2838680590" sldId="5468"/>
            <ac:spMk id="3" creationId="{D48688BC-F682-3FCC-EFB5-177BA3CCF375}"/>
          </ac:spMkLst>
        </pc:spChg>
        <pc:spChg chg="mod">
          <ac:chgData name="Laurentiu Marinescu" userId="b0dd0703-37df-4a8b-9e5a-fe66a92f9c33" providerId="ADAL" clId="{7A108CF2-572F-45F0-8870-D39F0C477427}" dt="2024-05-23T09:32:16.127" v="1494" actId="14100"/>
          <ac:spMkLst>
            <pc:docMk/>
            <pc:sldMk cId="2838680590" sldId="5468"/>
            <ac:spMk id="4" creationId="{7609AF40-A510-231A-F449-77C8AE4EE7CC}"/>
          </ac:spMkLst>
        </pc:spChg>
        <pc:spChg chg="add mod">
          <ac:chgData name="Laurentiu Marinescu" userId="b0dd0703-37df-4a8b-9e5a-fe66a92f9c33" providerId="ADAL" clId="{7A108CF2-572F-45F0-8870-D39F0C477427}" dt="2024-05-24T19:18:40.179" v="14734"/>
          <ac:spMkLst>
            <pc:docMk/>
            <pc:sldMk cId="2838680590" sldId="5468"/>
            <ac:spMk id="5" creationId="{6487201C-3BF6-924C-6899-5D2E7F3A6E88}"/>
          </ac:spMkLst>
        </pc:spChg>
        <pc:spChg chg="add del">
          <ac:chgData name="Laurentiu Marinescu" userId="b0dd0703-37df-4a8b-9e5a-fe66a92f9c33" providerId="ADAL" clId="{7A108CF2-572F-45F0-8870-D39F0C477427}" dt="2024-05-23T09:31:14.351" v="1482"/>
          <ac:spMkLst>
            <pc:docMk/>
            <pc:sldMk cId="2838680590" sldId="5468"/>
            <ac:spMk id="5" creationId="{BA015D26-9074-84C2-5473-E2FF192E86CA}"/>
          </ac:spMkLst>
        </pc:spChg>
        <pc:picChg chg="add mod">
          <ac:chgData name="Laurentiu Marinescu" userId="b0dd0703-37df-4a8b-9e5a-fe66a92f9c33" providerId="ADAL" clId="{7A108CF2-572F-45F0-8870-D39F0C477427}" dt="2024-05-23T09:32:17.944" v="1495" actId="1076"/>
          <ac:picMkLst>
            <pc:docMk/>
            <pc:sldMk cId="2838680590" sldId="5468"/>
            <ac:picMk id="8" creationId="{7EA1777C-8098-8C23-BD44-B5DDAD67DE3D}"/>
          </ac:picMkLst>
        </pc:picChg>
      </pc:sldChg>
      <pc:sldChg chg="addSp delSp modSp add del mod delAnim modAnim modNotesTx">
        <pc:chgData name="Laurentiu Marinescu" userId="b0dd0703-37df-4a8b-9e5a-fe66a92f9c33" providerId="ADAL" clId="{7A108CF2-572F-45F0-8870-D39F0C477427}" dt="2024-05-24T15:08:10.574" v="12493" actId="47"/>
        <pc:sldMkLst>
          <pc:docMk/>
          <pc:sldMk cId="3928403980" sldId="5469"/>
        </pc:sldMkLst>
        <pc:spChg chg="add del mod">
          <ac:chgData name="Laurentiu Marinescu" userId="b0dd0703-37df-4a8b-9e5a-fe66a92f9c33" providerId="ADAL" clId="{7A108CF2-572F-45F0-8870-D39F0C477427}" dt="2024-05-23T09:53:04.413" v="1519" actId="478"/>
          <ac:spMkLst>
            <pc:docMk/>
            <pc:sldMk cId="3928403980" sldId="5469"/>
            <ac:spMk id="3" creationId="{0FE7298A-C223-AB3F-4D11-F77BBB1624C1}"/>
          </ac:spMkLst>
        </pc:spChg>
        <pc:picChg chg="del">
          <ac:chgData name="Laurentiu Marinescu" userId="b0dd0703-37df-4a8b-9e5a-fe66a92f9c33" providerId="ADAL" clId="{7A108CF2-572F-45F0-8870-D39F0C477427}" dt="2024-05-23T09:53:02.483" v="1518" actId="478"/>
          <ac:picMkLst>
            <pc:docMk/>
            <pc:sldMk cId="3928403980" sldId="5469"/>
            <ac:picMk id="4" creationId="{B25F4EED-A86F-0A84-661C-8D26611EF35B}"/>
          </ac:picMkLst>
        </pc:picChg>
        <pc:picChg chg="add mod">
          <ac:chgData name="Laurentiu Marinescu" userId="b0dd0703-37df-4a8b-9e5a-fe66a92f9c33" providerId="ADAL" clId="{7A108CF2-572F-45F0-8870-D39F0C477427}" dt="2024-05-23T09:53:22.024" v="1522" actId="14100"/>
          <ac:picMkLst>
            <pc:docMk/>
            <pc:sldMk cId="3928403980" sldId="5469"/>
            <ac:picMk id="5" creationId="{778A85DE-CAC6-E45B-7DB6-C3969349DF52}"/>
          </ac:picMkLst>
        </pc:picChg>
      </pc:sldChg>
      <pc:sldChg chg="add del modNotesTx">
        <pc:chgData name="Laurentiu Marinescu" userId="b0dd0703-37df-4a8b-9e5a-fe66a92f9c33" providerId="ADAL" clId="{7A108CF2-572F-45F0-8870-D39F0C477427}" dt="2024-05-24T08:46:05.779" v="1769" actId="47"/>
        <pc:sldMkLst>
          <pc:docMk/>
          <pc:sldMk cId="1265867661" sldId="5470"/>
        </pc:sldMkLst>
      </pc:sldChg>
      <pc:sldChg chg="addSp delSp modSp add mod modNotesTx">
        <pc:chgData name="Laurentiu Marinescu" userId="b0dd0703-37df-4a8b-9e5a-fe66a92f9c33" providerId="ADAL" clId="{7A108CF2-572F-45F0-8870-D39F0C477427}" dt="2024-05-28T23:04:13.628" v="20201" actId="20577"/>
        <pc:sldMkLst>
          <pc:docMk/>
          <pc:sldMk cId="2140678142" sldId="5471"/>
        </pc:sldMkLst>
        <pc:spChg chg="add del mod">
          <ac:chgData name="Laurentiu Marinescu" userId="b0dd0703-37df-4a8b-9e5a-fe66a92f9c33" providerId="ADAL" clId="{7A108CF2-572F-45F0-8870-D39F0C477427}" dt="2024-05-24T19:08:51.116" v="14585" actId="478"/>
          <ac:spMkLst>
            <pc:docMk/>
            <pc:sldMk cId="2140678142" sldId="5471"/>
            <ac:spMk id="3" creationId="{6340B27B-7923-0FF0-78F8-231E628CBB7E}"/>
          </ac:spMkLst>
        </pc:spChg>
        <pc:spChg chg="add del mod">
          <ac:chgData name="Laurentiu Marinescu" userId="b0dd0703-37df-4a8b-9e5a-fe66a92f9c33" providerId="ADAL" clId="{7A108CF2-572F-45F0-8870-D39F0C477427}" dt="2024-05-24T19:09:53.481" v="14595" actId="478"/>
          <ac:spMkLst>
            <pc:docMk/>
            <pc:sldMk cId="2140678142" sldId="5471"/>
            <ac:spMk id="5" creationId="{C8EE719E-CE34-193E-8D46-5AE3893F058D}"/>
          </ac:spMkLst>
        </pc:spChg>
        <pc:spChg chg="add mod">
          <ac:chgData name="Laurentiu Marinescu" userId="b0dd0703-37df-4a8b-9e5a-fe66a92f9c33" providerId="ADAL" clId="{7A108CF2-572F-45F0-8870-D39F0C477427}" dt="2024-05-24T19:09:53.871" v="14596"/>
          <ac:spMkLst>
            <pc:docMk/>
            <pc:sldMk cId="2140678142" sldId="5471"/>
            <ac:spMk id="6" creationId="{39F54E61-93CA-9BDF-285A-65AC31CA4CD8}"/>
          </ac:spMkLst>
        </pc:spChg>
      </pc:sldChg>
      <pc:sldChg chg="addSp delSp modSp add mod ord modNotesTx">
        <pc:chgData name="Laurentiu Marinescu" userId="b0dd0703-37df-4a8b-9e5a-fe66a92f9c33" providerId="ADAL" clId="{7A108CF2-572F-45F0-8870-D39F0C477427}" dt="2024-05-28T23:23:02.156" v="20494" actId="33524"/>
        <pc:sldMkLst>
          <pc:docMk/>
          <pc:sldMk cId="4030619932" sldId="5472"/>
        </pc:sldMkLst>
        <pc:spChg chg="add mod">
          <ac:chgData name="Laurentiu Marinescu" userId="b0dd0703-37df-4a8b-9e5a-fe66a92f9c33" providerId="ADAL" clId="{7A108CF2-572F-45F0-8870-D39F0C477427}" dt="2024-05-24T19:10:42.388" v="14599" actId="207"/>
          <ac:spMkLst>
            <pc:docMk/>
            <pc:sldMk cId="4030619932" sldId="5472"/>
            <ac:spMk id="2" creationId="{4284CABC-4103-F3DC-A801-9AAD1E5528BF}"/>
          </ac:spMkLst>
        </pc:spChg>
        <pc:spChg chg="del">
          <ac:chgData name="Laurentiu Marinescu" userId="b0dd0703-37df-4a8b-9e5a-fe66a92f9c33" providerId="ADAL" clId="{7A108CF2-572F-45F0-8870-D39F0C477427}" dt="2024-05-24T19:10:38.349" v="14597" actId="478"/>
          <ac:spMkLst>
            <pc:docMk/>
            <pc:sldMk cId="4030619932" sldId="5472"/>
            <ac:spMk id="3" creationId="{747E6824-3700-82A2-F761-504A6C039E95}"/>
          </ac:spMkLst>
        </pc:spChg>
        <pc:spChg chg="mod">
          <ac:chgData name="Laurentiu Marinescu" userId="b0dd0703-37df-4a8b-9e5a-fe66a92f9c33" providerId="ADAL" clId="{7A108CF2-572F-45F0-8870-D39F0C477427}" dt="2024-05-24T08:57:33.841" v="1861" actId="20577"/>
          <ac:spMkLst>
            <pc:docMk/>
            <pc:sldMk cId="4030619932" sldId="5472"/>
            <ac:spMk id="5" creationId="{CD17E5EC-7298-A0F9-AD9E-8E9E93167D01}"/>
          </ac:spMkLst>
        </pc:spChg>
        <pc:picChg chg="add mod ord">
          <ac:chgData name="Laurentiu Marinescu" userId="b0dd0703-37df-4a8b-9e5a-fe66a92f9c33" providerId="ADAL" clId="{7A108CF2-572F-45F0-8870-D39F0C477427}" dt="2024-05-24T17:49:49.351" v="14287" actId="167"/>
          <ac:picMkLst>
            <pc:docMk/>
            <pc:sldMk cId="4030619932" sldId="5472"/>
            <ac:picMk id="4" creationId="{206B6798-5CDE-BD7F-A4C4-CFC6F76C791A}"/>
          </ac:picMkLst>
        </pc:picChg>
        <pc:picChg chg="del">
          <ac:chgData name="Laurentiu Marinescu" userId="b0dd0703-37df-4a8b-9e5a-fe66a92f9c33" providerId="ADAL" clId="{7A108CF2-572F-45F0-8870-D39F0C477427}" dt="2024-05-24T16:47:43.716" v="13756" actId="478"/>
          <ac:picMkLst>
            <pc:docMk/>
            <pc:sldMk cId="4030619932" sldId="5472"/>
            <ac:picMk id="8" creationId="{B7BD2D5F-2D7F-8149-7D94-7649CEF0A719}"/>
          </ac:picMkLst>
        </pc:picChg>
      </pc:sldChg>
      <pc:sldChg chg="delSp modSp add mod modNotesTx">
        <pc:chgData name="Laurentiu Marinescu" userId="b0dd0703-37df-4a8b-9e5a-fe66a92f9c33" providerId="ADAL" clId="{7A108CF2-572F-45F0-8870-D39F0C477427}" dt="2024-05-28T20:10:00.048" v="18237" actId="20577"/>
        <pc:sldMkLst>
          <pc:docMk/>
          <pc:sldMk cId="2488518700" sldId="5473"/>
        </pc:sldMkLst>
        <pc:spChg chg="mod">
          <ac:chgData name="Laurentiu Marinescu" userId="b0dd0703-37df-4a8b-9e5a-fe66a92f9c33" providerId="ADAL" clId="{7A108CF2-572F-45F0-8870-D39F0C477427}" dt="2024-05-24T08:43:23.327" v="1746" actId="20577"/>
          <ac:spMkLst>
            <pc:docMk/>
            <pc:sldMk cId="2488518700" sldId="5473"/>
            <ac:spMk id="2" creationId="{7809C9C7-2FC4-17C4-FD81-4EC6BF87BCBB}"/>
          </ac:spMkLst>
        </pc:spChg>
        <pc:spChg chg="del">
          <ac:chgData name="Laurentiu Marinescu" userId="b0dd0703-37df-4a8b-9e5a-fe66a92f9c33" providerId="ADAL" clId="{7A108CF2-572F-45F0-8870-D39F0C477427}" dt="2024-05-24T08:43:36.665" v="1750" actId="478"/>
          <ac:spMkLst>
            <pc:docMk/>
            <pc:sldMk cId="2488518700" sldId="5473"/>
            <ac:spMk id="7" creationId="{231B2557-7C20-5989-3429-88135ABB247E}"/>
          </ac:spMkLst>
        </pc:spChg>
      </pc:sldChg>
      <pc:sldChg chg="modSp add mod ord modNotesTx">
        <pc:chgData name="Laurentiu Marinescu" userId="b0dd0703-37df-4a8b-9e5a-fe66a92f9c33" providerId="ADAL" clId="{7A108CF2-572F-45F0-8870-D39F0C477427}" dt="2024-05-28T20:10:51.067" v="18247" actId="20577"/>
        <pc:sldMkLst>
          <pc:docMk/>
          <pc:sldMk cId="1078731153" sldId="5474"/>
        </pc:sldMkLst>
        <pc:spChg chg="mod">
          <ac:chgData name="Laurentiu Marinescu" userId="b0dd0703-37df-4a8b-9e5a-fe66a92f9c33" providerId="ADAL" clId="{7A108CF2-572F-45F0-8870-D39F0C477427}" dt="2024-05-24T19:07:29.440" v="14570" actId="207"/>
          <ac:spMkLst>
            <pc:docMk/>
            <pc:sldMk cId="1078731153" sldId="5474"/>
            <ac:spMk id="2" creationId="{F7C3036D-2FDA-6159-7BF7-421F88FB7187}"/>
          </ac:spMkLst>
        </pc:spChg>
      </pc:sldChg>
      <pc:sldChg chg="addSp delSp modSp add mod ord modNotesTx">
        <pc:chgData name="Laurentiu Marinescu" userId="b0dd0703-37df-4a8b-9e5a-fe66a92f9c33" providerId="ADAL" clId="{7A108CF2-572F-45F0-8870-D39F0C477427}" dt="2024-05-28T20:48:02.786" v="19256"/>
        <pc:sldMkLst>
          <pc:docMk/>
          <pc:sldMk cId="3007037436" sldId="5475"/>
        </pc:sldMkLst>
        <pc:spChg chg="del">
          <ac:chgData name="Laurentiu Marinescu" userId="b0dd0703-37df-4a8b-9e5a-fe66a92f9c33" providerId="ADAL" clId="{7A108CF2-572F-45F0-8870-D39F0C477427}" dt="2024-05-24T19:08:32.323" v="14581" actId="478"/>
          <ac:spMkLst>
            <pc:docMk/>
            <pc:sldMk cId="3007037436" sldId="5475"/>
            <ac:spMk id="2" creationId="{5114A821-D1F2-4FBF-8676-CD40E5EA2946}"/>
          </ac:spMkLst>
        </pc:spChg>
        <pc:spChg chg="add mod">
          <ac:chgData name="Laurentiu Marinescu" userId="b0dd0703-37df-4a8b-9e5a-fe66a92f9c33" providerId="ADAL" clId="{7A108CF2-572F-45F0-8870-D39F0C477427}" dt="2024-05-24T19:08:34.524" v="14582"/>
          <ac:spMkLst>
            <pc:docMk/>
            <pc:sldMk cId="3007037436" sldId="5475"/>
            <ac:spMk id="3" creationId="{8E7D1050-15E7-521C-43C3-84389F39D4F3}"/>
          </ac:spMkLst>
        </pc:spChg>
        <pc:spChg chg="mod">
          <ac:chgData name="Laurentiu Marinescu" userId="b0dd0703-37df-4a8b-9e5a-fe66a92f9c33" providerId="ADAL" clId="{7A108CF2-572F-45F0-8870-D39F0C477427}" dt="2024-05-24T08:45:05.452" v="1761" actId="1076"/>
          <ac:spMkLst>
            <pc:docMk/>
            <pc:sldMk cId="3007037436" sldId="5475"/>
            <ac:spMk id="14" creationId="{54A44363-CC8A-9998-49F2-74E969835670}"/>
          </ac:spMkLst>
        </pc:spChg>
        <pc:spChg chg="mod">
          <ac:chgData name="Laurentiu Marinescu" userId="b0dd0703-37df-4a8b-9e5a-fe66a92f9c33" providerId="ADAL" clId="{7A108CF2-572F-45F0-8870-D39F0C477427}" dt="2024-05-24T08:47:30.938" v="1823" actId="1076"/>
          <ac:spMkLst>
            <pc:docMk/>
            <pc:sldMk cId="3007037436" sldId="5475"/>
            <ac:spMk id="15" creationId="{B1BF4182-152F-A0A0-B927-59E3B015F758}"/>
          </ac:spMkLst>
        </pc:spChg>
        <pc:spChg chg="mod">
          <ac:chgData name="Laurentiu Marinescu" userId="b0dd0703-37df-4a8b-9e5a-fe66a92f9c33" providerId="ADAL" clId="{7A108CF2-572F-45F0-8870-D39F0C477427}" dt="2024-05-24T14:12:34.920" v="12483" actId="1076"/>
          <ac:spMkLst>
            <pc:docMk/>
            <pc:sldMk cId="3007037436" sldId="5475"/>
            <ac:spMk id="16" creationId="{95C231F6-9B3C-3C83-3DF2-0B048D5A3DBF}"/>
          </ac:spMkLst>
        </pc:spChg>
        <pc:spChg chg="mod">
          <ac:chgData name="Laurentiu Marinescu" userId="b0dd0703-37df-4a8b-9e5a-fe66a92f9c33" providerId="ADAL" clId="{7A108CF2-572F-45F0-8870-D39F0C477427}" dt="2024-05-24T08:45:30.764" v="1765" actId="14100"/>
          <ac:spMkLst>
            <pc:docMk/>
            <pc:sldMk cId="3007037436" sldId="5475"/>
            <ac:spMk id="17" creationId="{5641163F-3F40-C20E-46DD-B8A5C096E8A0}"/>
          </ac:spMkLst>
        </pc:spChg>
      </pc:sldChg>
      <pc:sldChg chg="addSp delSp modSp add del mod modNotesTx">
        <pc:chgData name="Laurentiu Marinescu" userId="b0dd0703-37df-4a8b-9e5a-fe66a92f9c33" providerId="ADAL" clId="{7A108CF2-572F-45F0-8870-D39F0C477427}" dt="2024-05-28T08:14:39.188" v="15386" actId="47"/>
        <pc:sldMkLst>
          <pc:docMk/>
          <pc:sldMk cId="318334867" sldId="5476"/>
        </pc:sldMkLst>
        <pc:spChg chg="del">
          <ac:chgData name="Laurentiu Marinescu" userId="b0dd0703-37df-4a8b-9e5a-fe66a92f9c33" providerId="ADAL" clId="{7A108CF2-572F-45F0-8870-D39F0C477427}" dt="2024-05-24T19:09:15.408" v="14587" actId="478"/>
          <ac:spMkLst>
            <pc:docMk/>
            <pc:sldMk cId="318334867" sldId="5476"/>
            <ac:spMk id="2" creationId="{5AEE8B30-2EFF-18A6-B837-1B5EB366CDF5}"/>
          </ac:spMkLst>
        </pc:spChg>
        <pc:spChg chg="add mod">
          <ac:chgData name="Laurentiu Marinescu" userId="b0dd0703-37df-4a8b-9e5a-fe66a92f9c33" providerId="ADAL" clId="{7A108CF2-572F-45F0-8870-D39F0C477427}" dt="2024-05-24T19:09:27.434" v="14589" actId="207"/>
          <ac:spMkLst>
            <pc:docMk/>
            <pc:sldMk cId="318334867" sldId="5476"/>
            <ac:spMk id="4" creationId="{52C97947-F811-A095-9B71-AA9D4C7F88A6}"/>
          </ac:spMkLst>
        </pc:spChg>
        <pc:spChg chg="add del mod">
          <ac:chgData name="Laurentiu Marinescu" userId="b0dd0703-37df-4a8b-9e5a-fe66a92f9c33" providerId="ADAL" clId="{7A108CF2-572F-45F0-8870-D39F0C477427}" dt="2024-05-24T16:35:48.095" v="13172" actId="1076"/>
          <ac:spMkLst>
            <pc:docMk/>
            <pc:sldMk cId="318334867" sldId="5476"/>
            <ac:spMk id="6" creationId="{61062CF6-435E-9DC7-56D5-A9DE165BDBF1}"/>
          </ac:spMkLst>
        </pc:spChg>
        <pc:picChg chg="mod">
          <ac:chgData name="Laurentiu Marinescu" userId="b0dd0703-37df-4a8b-9e5a-fe66a92f9c33" providerId="ADAL" clId="{7A108CF2-572F-45F0-8870-D39F0C477427}" dt="2024-05-24T14:12:42.283" v="12484" actId="14100"/>
          <ac:picMkLst>
            <pc:docMk/>
            <pc:sldMk cId="318334867" sldId="5476"/>
            <ac:picMk id="3" creationId="{562A38DC-29C6-6002-6DE6-D00756DAC73F}"/>
          </ac:picMkLst>
        </pc:picChg>
        <pc:picChg chg="add del mod">
          <ac:chgData name="Laurentiu Marinescu" userId="b0dd0703-37df-4a8b-9e5a-fe66a92f9c33" providerId="ADAL" clId="{7A108CF2-572F-45F0-8870-D39F0C477427}" dt="2024-05-24T14:10:06.898" v="12476"/>
          <ac:picMkLst>
            <pc:docMk/>
            <pc:sldMk cId="318334867" sldId="5476"/>
            <ac:picMk id="7" creationId="{B60789BB-502B-D095-9AE1-7ADBD639A0E6}"/>
          </ac:picMkLst>
        </pc:picChg>
      </pc:sldChg>
      <pc:sldChg chg="addSp delSp modSp add mod modNotesTx">
        <pc:chgData name="Laurentiu Marinescu" userId="b0dd0703-37df-4a8b-9e5a-fe66a92f9c33" providerId="ADAL" clId="{7A108CF2-572F-45F0-8870-D39F0C477427}" dt="2024-05-28T20:27:14.782" v="18450" actId="20577"/>
        <pc:sldMkLst>
          <pc:docMk/>
          <pc:sldMk cId="1346165079" sldId="5477"/>
        </pc:sldMkLst>
        <pc:spChg chg="del">
          <ac:chgData name="Laurentiu Marinescu" userId="b0dd0703-37df-4a8b-9e5a-fe66a92f9c33" providerId="ADAL" clId="{7A108CF2-572F-45F0-8870-D39F0C477427}" dt="2024-05-24T19:08:43.849" v="14583" actId="478"/>
          <ac:spMkLst>
            <pc:docMk/>
            <pc:sldMk cId="1346165079" sldId="5477"/>
            <ac:spMk id="2" creationId="{5AEE8B30-2EFF-18A6-B837-1B5EB366CDF5}"/>
          </ac:spMkLst>
        </pc:spChg>
        <pc:spChg chg="add del mod">
          <ac:chgData name="Laurentiu Marinescu" userId="b0dd0703-37df-4a8b-9e5a-fe66a92f9c33" providerId="ADAL" clId="{7A108CF2-572F-45F0-8870-D39F0C477427}" dt="2024-05-24T19:09:34.233" v="14590" actId="478"/>
          <ac:spMkLst>
            <pc:docMk/>
            <pc:sldMk cId="1346165079" sldId="5477"/>
            <ac:spMk id="3" creationId="{C25CCE6C-1AE0-B6A2-36FF-6E0F1072C91C}"/>
          </ac:spMkLst>
        </pc:spChg>
        <pc:spChg chg="add mod">
          <ac:chgData name="Laurentiu Marinescu" userId="b0dd0703-37df-4a8b-9e5a-fe66a92f9c33" providerId="ADAL" clId="{7A108CF2-572F-45F0-8870-D39F0C477427}" dt="2024-05-24T19:09:34.622" v="14591"/>
          <ac:spMkLst>
            <pc:docMk/>
            <pc:sldMk cId="1346165079" sldId="5477"/>
            <ac:spMk id="4" creationId="{35CC9C8C-D678-CBDD-DEE9-750F8AE48DC3}"/>
          </ac:spMkLst>
        </pc:spChg>
        <pc:spChg chg="add del">
          <ac:chgData name="Laurentiu Marinescu" userId="b0dd0703-37df-4a8b-9e5a-fe66a92f9c33" providerId="ADAL" clId="{7A108CF2-572F-45F0-8870-D39F0C477427}" dt="2024-05-24T12:07:05.677" v="7329" actId="22"/>
          <ac:spMkLst>
            <pc:docMk/>
            <pc:sldMk cId="1346165079" sldId="5477"/>
            <ac:spMk id="4" creationId="{5E83B435-230A-5DE7-234D-0750655A355C}"/>
          </ac:spMkLst>
        </pc:spChg>
        <pc:spChg chg="add del">
          <ac:chgData name="Laurentiu Marinescu" userId="b0dd0703-37df-4a8b-9e5a-fe66a92f9c33" providerId="ADAL" clId="{7A108CF2-572F-45F0-8870-D39F0C477427}" dt="2024-05-24T12:07:11.897" v="7331" actId="478"/>
          <ac:spMkLst>
            <pc:docMk/>
            <pc:sldMk cId="1346165079" sldId="5477"/>
            <ac:spMk id="6" creationId="{323E0607-E83B-129F-FAD6-414CB8D5F030}"/>
          </ac:spMkLst>
        </pc:spChg>
        <pc:spChg chg="add mod">
          <ac:chgData name="Laurentiu Marinescu" userId="b0dd0703-37df-4a8b-9e5a-fe66a92f9c33" providerId="ADAL" clId="{7A108CF2-572F-45F0-8870-D39F0C477427}" dt="2024-05-24T12:07:40.480" v="7356" actId="20577"/>
          <ac:spMkLst>
            <pc:docMk/>
            <pc:sldMk cId="1346165079" sldId="5477"/>
            <ac:spMk id="8" creationId="{2EEF3868-3AB2-2941-D0F6-DCD62AF79AA4}"/>
          </ac:spMkLst>
        </pc:spChg>
        <pc:picChg chg="add mod">
          <ac:chgData name="Laurentiu Marinescu" userId="b0dd0703-37df-4a8b-9e5a-fe66a92f9c33" providerId="ADAL" clId="{7A108CF2-572F-45F0-8870-D39F0C477427}" dt="2024-05-27T13:13:52.788" v="14813" actId="1076"/>
          <ac:picMkLst>
            <pc:docMk/>
            <pc:sldMk cId="1346165079" sldId="5477"/>
            <ac:picMk id="3" creationId="{0A89B6D3-C707-BA87-A454-3AAE14CCFADC}"/>
          </ac:picMkLst>
        </pc:picChg>
        <pc:picChg chg="add del mod">
          <ac:chgData name="Laurentiu Marinescu" userId="b0dd0703-37df-4a8b-9e5a-fe66a92f9c33" providerId="ADAL" clId="{7A108CF2-572F-45F0-8870-D39F0C477427}" dt="2024-05-27T13:10:47.362" v="14782" actId="478"/>
          <ac:picMkLst>
            <pc:docMk/>
            <pc:sldMk cId="1346165079" sldId="5477"/>
            <ac:picMk id="7" creationId="{5477CE13-259E-3945-8865-000F543998C5}"/>
          </ac:picMkLst>
        </pc:picChg>
        <pc:picChg chg="del">
          <ac:chgData name="Laurentiu Marinescu" userId="b0dd0703-37df-4a8b-9e5a-fe66a92f9c33" providerId="ADAL" clId="{7A108CF2-572F-45F0-8870-D39F0C477427}" dt="2024-05-24T12:07:04.350" v="7327" actId="478"/>
          <ac:picMkLst>
            <pc:docMk/>
            <pc:sldMk cId="1346165079" sldId="5477"/>
            <ac:picMk id="1026" creationId="{241B0C3F-25A5-0C9A-D50C-D4BCE2F6F621}"/>
          </ac:picMkLst>
        </pc:picChg>
      </pc:sldChg>
      <pc:sldChg chg="add del modNotesTx">
        <pc:chgData name="Laurentiu Marinescu" userId="b0dd0703-37df-4a8b-9e5a-fe66a92f9c33" providerId="ADAL" clId="{7A108CF2-572F-45F0-8870-D39F0C477427}" dt="2024-05-24T14:10:45.396" v="12478" actId="47"/>
        <pc:sldMkLst>
          <pc:docMk/>
          <pc:sldMk cId="3227288857" sldId="5478"/>
        </pc:sldMkLst>
      </pc:sldChg>
      <pc:sldChg chg="addSp delSp modSp add mod ord modNotesTx">
        <pc:chgData name="Laurentiu Marinescu" userId="b0dd0703-37df-4a8b-9e5a-fe66a92f9c33" providerId="ADAL" clId="{7A108CF2-572F-45F0-8870-D39F0C477427}" dt="2024-05-28T23:23:07.720" v="20495" actId="313"/>
        <pc:sldMkLst>
          <pc:docMk/>
          <pc:sldMk cId="3878628493" sldId="5479"/>
        </pc:sldMkLst>
        <pc:spChg chg="add mod">
          <ac:chgData name="Laurentiu Marinescu" userId="b0dd0703-37df-4a8b-9e5a-fe66a92f9c33" providerId="ADAL" clId="{7A108CF2-572F-45F0-8870-D39F0C477427}" dt="2024-05-24T19:10:54.057" v="14602" actId="207"/>
          <ac:spMkLst>
            <pc:docMk/>
            <pc:sldMk cId="3878628493" sldId="5479"/>
            <ac:spMk id="2" creationId="{3227DDD0-AB9E-866C-C936-9FFE8B8DE875}"/>
          </ac:spMkLst>
        </pc:spChg>
        <pc:spChg chg="del">
          <ac:chgData name="Laurentiu Marinescu" userId="b0dd0703-37df-4a8b-9e5a-fe66a92f9c33" providerId="ADAL" clId="{7A108CF2-572F-45F0-8870-D39F0C477427}" dt="2024-05-24T19:10:49.854" v="14600" actId="478"/>
          <ac:spMkLst>
            <pc:docMk/>
            <pc:sldMk cId="3878628493" sldId="5479"/>
            <ac:spMk id="3" creationId="{747E6824-3700-82A2-F761-504A6C039E95}"/>
          </ac:spMkLst>
        </pc:spChg>
        <pc:spChg chg="mod">
          <ac:chgData name="Laurentiu Marinescu" userId="b0dd0703-37df-4a8b-9e5a-fe66a92f9c33" providerId="ADAL" clId="{7A108CF2-572F-45F0-8870-D39F0C477427}" dt="2024-05-24T08:58:30.450" v="1947" actId="20577"/>
          <ac:spMkLst>
            <pc:docMk/>
            <pc:sldMk cId="3878628493" sldId="5479"/>
            <ac:spMk id="5" creationId="{CD17E5EC-7298-A0F9-AD9E-8E9E93167D01}"/>
          </ac:spMkLst>
        </pc:spChg>
      </pc:sldChg>
      <pc:sldChg chg="addSp delSp modSp add mod modNotesTx">
        <pc:chgData name="Laurentiu Marinescu" userId="b0dd0703-37df-4a8b-9e5a-fe66a92f9c33" providerId="ADAL" clId="{7A108CF2-572F-45F0-8870-D39F0C477427}" dt="2024-05-28T23:16:10.262" v="20456" actId="20577"/>
        <pc:sldMkLst>
          <pc:docMk/>
          <pc:sldMk cId="452128777" sldId="5480"/>
        </pc:sldMkLst>
        <pc:spChg chg="del">
          <ac:chgData name="Laurentiu Marinescu" userId="b0dd0703-37df-4a8b-9e5a-fe66a92f9c33" providerId="ADAL" clId="{7A108CF2-572F-45F0-8870-D39F0C477427}" dt="2024-05-24T19:12:15.507" v="14610" actId="478"/>
          <ac:spMkLst>
            <pc:docMk/>
            <pc:sldMk cId="452128777" sldId="5480"/>
            <ac:spMk id="2" creationId="{52966CF7-2D97-1771-FC5B-3BD829877936}"/>
          </ac:spMkLst>
        </pc:spChg>
        <pc:spChg chg="add mod">
          <ac:chgData name="Laurentiu Marinescu" userId="b0dd0703-37df-4a8b-9e5a-fe66a92f9c33" providerId="ADAL" clId="{7A108CF2-572F-45F0-8870-D39F0C477427}" dt="2024-05-24T19:12:16.316" v="14611"/>
          <ac:spMkLst>
            <pc:docMk/>
            <pc:sldMk cId="452128777" sldId="5480"/>
            <ac:spMk id="3" creationId="{A207FF42-9727-6C19-3796-EEBDDD9B7269}"/>
          </ac:spMkLst>
        </pc:spChg>
        <pc:spChg chg="mod">
          <ac:chgData name="Laurentiu Marinescu" userId="b0dd0703-37df-4a8b-9e5a-fe66a92f9c33" providerId="ADAL" clId="{7A108CF2-572F-45F0-8870-D39F0C477427}" dt="2024-05-24T09:05:28.189" v="1999" actId="1076"/>
          <ac:spMkLst>
            <pc:docMk/>
            <pc:sldMk cId="452128777" sldId="5480"/>
            <ac:spMk id="31" creationId="{CB89C85A-227B-49D6-95E3-19D3B5FC7E06}"/>
          </ac:spMkLst>
        </pc:spChg>
        <pc:spChg chg="mod">
          <ac:chgData name="Laurentiu Marinescu" userId="b0dd0703-37df-4a8b-9e5a-fe66a92f9c33" providerId="ADAL" clId="{7A108CF2-572F-45F0-8870-D39F0C477427}" dt="2024-05-28T08:18:07.464" v="15453" actId="20577"/>
          <ac:spMkLst>
            <pc:docMk/>
            <pc:sldMk cId="452128777" sldId="5480"/>
            <ac:spMk id="34" creationId="{F5E94FD0-FCE6-4511-BF9B-96CCEECCEB53}"/>
          </ac:spMkLst>
        </pc:spChg>
        <pc:spChg chg="mod">
          <ac:chgData name="Laurentiu Marinescu" userId="b0dd0703-37df-4a8b-9e5a-fe66a92f9c33" providerId="ADAL" clId="{7A108CF2-572F-45F0-8870-D39F0C477427}" dt="2024-05-28T08:17:04.084" v="15433" actId="20577"/>
          <ac:spMkLst>
            <pc:docMk/>
            <pc:sldMk cId="452128777" sldId="5480"/>
            <ac:spMk id="44" creationId="{6F80A57D-E41D-4FA3-B7F6-02CBE6A8A746}"/>
          </ac:spMkLst>
        </pc:spChg>
        <pc:spChg chg="mod">
          <ac:chgData name="Laurentiu Marinescu" userId="b0dd0703-37df-4a8b-9e5a-fe66a92f9c33" providerId="ADAL" clId="{7A108CF2-572F-45F0-8870-D39F0C477427}" dt="2024-05-28T08:17:31.460" v="15448" actId="20577"/>
          <ac:spMkLst>
            <pc:docMk/>
            <pc:sldMk cId="452128777" sldId="5480"/>
            <ac:spMk id="46" creationId="{7636EA59-0932-4B3B-AFAF-3FA2235226E8}"/>
          </ac:spMkLst>
        </pc:spChg>
        <pc:spChg chg="mod">
          <ac:chgData name="Laurentiu Marinescu" userId="b0dd0703-37df-4a8b-9e5a-fe66a92f9c33" providerId="ADAL" clId="{7A108CF2-572F-45F0-8870-D39F0C477427}" dt="2024-05-28T08:17:08.856" v="15434" actId="6549"/>
          <ac:spMkLst>
            <pc:docMk/>
            <pc:sldMk cId="452128777" sldId="5480"/>
            <ac:spMk id="48" creationId="{40389F90-D19D-4073-86DF-BD7B87F5ACB8}"/>
          </ac:spMkLst>
        </pc:spChg>
        <pc:spChg chg="mod">
          <ac:chgData name="Laurentiu Marinescu" userId="b0dd0703-37df-4a8b-9e5a-fe66a92f9c33" providerId="ADAL" clId="{7A108CF2-572F-45F0-8870-D39F0C477427}" dt="2024-05-28T08:17:36.393" v="15451" actId="20577"/>
          <ac:spMkLst>
            <pc:docMk/>
            <pc:sldMk cId="452128777" sldId="5480"/>
            <ac:spMk id="49" creationId="{869DB562-7B0A-457C-A34B-F45E29F0C073}"/>
          </ac:spMkLst>
        </pc:spChg>
        <pc:spChg chg="mod">
          <ac:chgData name="Laurentiu Marinescu" userId="b0dd0703-37df-4a8b-9e5a-fe66a92f9c33" providerId="ADAL" clId="{7A108CF2-572F-45F0-8870-D39F0C477427}" dt="2024-05-24T09:05:28.189" v="1999" actId="1076"/>
          <ac:spMkLst>
            <pc:docMk/>
            <pc:sldMk cId="452128777" sldId="5480"/>
            <ac:spMk id="51" creationId="{DBE614A2-5F8B-4182-8E00-3F4F469490B4}"/>
          </ac:spMkLst>
        </pc:spChg>
        <pc:spChg chg="mod">
          <ac:chgData name="Laurentiu Marinescu" userId="b0dd0703-37df-4a8b-9e5a-fe66a92f9c33" providerId="ADAL" clId="{7A108CF2-572F-45F0-8870-D39F0C477427}" dt="2024-05-28T08:18:31.281" v="15455" actId="20577"/>
          <ac:spMkLst>
            <pc:docMk/>
            <pc:sldMk cId="452128777" sldId="5480"/>
            <ac:spMk id="52" creationId="{40CBA7CA-298E-44DA-A376-DA54D9B45E0F}"/>
          </ac:spMkLst>
        </pc:spChg>
        <pc:grpChg chg="mod">
          <ac:chgData name="Laurentiu Marinescu" userId="b0dd0703-37df-4a8b-9e5a-fe66a92f9c33" providerId="ADAL" clId="{7A108CF2-572F-45F0-8870-D39F0C477427}" dt="2024-05-24T09:05:28.189" v="1999" actId="1076"/>
          <ac:grpSpMkLst>
            <pc:docMk/>
            <pc:sldMk cId="452128777" sldId="5480"/>
            <ac:grpSpMk id="30" creationId="{94766977-F033-4680-8FF2-8CFEC68A638E}"/>
          </ac:grpSpMkLst>
        </pc:grpChg>
        <pc:grpChg chg="mod">
          <ac:chgData name="Laurentiu Marinescu" userId="b0dd0703-37df-4a8b-9e5a-fe66a92f9c33" providerId="ADAL" clId="{7A108CF2-572F-45F0-8870-D39F0C477427}" dt="2024-05-28T08:15:19.249" v="15388" actId="1037"/>
          <ac:grpSpMkLst>
            <pc:docMk/>
            <pc:sldMk cId="452128777" sldId="5480"/>
            <ac:grpSpMk id="35" creationId="{C98B3262-EDB2-4997-B826-F4D197E4FCC0}"/>
          </ac:grpSpMkLst>
        </pc:grpChg>
        <pc:grpChg chg="mod">
          <ac:chgData name="Laurentiu Marinescu" userId="b0dd0703-37df-4a8b-9e5a-fe66a92f9c33" providerId="ADAL" clId="{7A108CF2-572F-45F0-8870-D39F0C477427}" dt="2024-05-24T09:05:28.189" v="1999" actId="1076"/>
          <ac:grpSpMkLst>
            <pc:docMk/>
            <pc:sldMk cId="452128777" sldId="5480"/>
            <ac:grpSpMk id="47" creationId="{AFFD2820-C708-48EE-8FD6-674D81A07D59}"/>
          </ac:grpSpMkLst>
        </pc:grpChg>
        <pc:grpChg chg="mod">
          <ac:chgData name="Laurentiu Marinescu" userId="b0dd0703-37df-4a8b-9e5a-fe66a92f9c33" providerId="ADAL" clId="{7A108CF2-572F-45F0-8870-D39F0C477427}" dt="2024-05-24T09:05:28.189" v="1999" actId="1076"/>
          <ac:grpSpMkLst>
            <pc:docMk/>
            <pc:sldMk cId="452128777" sldId="5480"/>
            <ac:grpSpMk id="50" creationId="{C62A6926-9910-4C64-AE99-04B0D7630563}"/>
          </ac:grpSpMkLst>
        </pc:grpChg>
      </pc:sldChg>
      <pc:sldChg chg="addSp delSp modSp add mod">
        <pc:chgData name="Laurentiu Marinescu" userId="b0dd0703-37df-4a8b-9e5a-fe66a92f9c33" providerId="ADAL" clId="{7A108CF2-572F-45F0-8870-D39F0C477427}" dt="2024-05-24T19:16:35.612" v="14692" actId="207"/>
        <pc:sldMkLst>
          <pc:docMk/>
          <pc:sldMk cId="2844275101" sldId="5481"/>
        </pc:sldMkLst>
        <pc:spChg chg="add del mod">
          <ac:chgData name="Laurentiu Marinescu" userId="b0dd0703-37df-4a8b-9e5a-fe66a92f9c33" providerId="ADAL" clId="{7A108CF2-572F-45F0-8870-D39F0C477427}" dt="2024-05-24T19:16:12.196" v="14687"/>
          <ac:spMkLst>
            <pc:docMk/>
            <pc:sldMk cId="2844275101" sldId="5481"/>
            <ac:spMk id="3" creationId="{D369BCAE-D0C6-48A4-4348-BDF4DEB66E82}"/>
          </ac:spMkLst>
        </pc:spChg>
        <pc:spChg chg="add mod">
          <ac:chgData name="Laurentiu Marinescu" userId="b0dd0703-37df-4a8b-9e5a-fe66a92f9c33" providerId="ADAL" clId="{7A108CF2-572F-45F0-8870-D39F0C477427}" dt="2024-05-24T19:16:35.612" v="14692" actId="207"/>
          <ac:spMkLst>
            <pc:docMk/>
            <pc:sldMk cId="2844275101" sldId="5481"/>
            <ac:spMk id="4" creationId="{079CBD8B-9CA7-DAE1-5F67-C089F38CC54C}"/>
          </ac:spMkLst>
        </pc:spChg>
        <pc:spChg chg="del">
          <ac:chgData name="Laurentiu Marinescu" userId="b0dd0703-37df-4a8b-9e5a-fe66a92f9c33" providerId="ADAL" clId="{7A108CF2-572F-45F0-8870-D39F0C477427}" dt="2024-05-24T19:16:00.228" v="14681" actId="478"/>
          <ac:spMkLst>
            <pc:docMk/>
            <pc:sldMk cId="2844275101" sldId="5481"/>
            <ac:spMk id="16" creationId="{5AF0A580-1D4A-B135-114D-395890837060}"/>
          </ac:spMkLst>
        </pc:spChg>
        <pc:picChg chg="mod">
          <ac:chgData name="Laurentiu Marinescu" userId="b0dd0703-37df-4a8b-9e5a-fe66a92f9c33" providerId="ADAL" clId="{7A108CF2-572F-45F0-8870-D39F0C477427}" dt="2024-05-24T19:16:22.984" v="14688" actId="14100"/>
          <ac:picMkLst>
            <pc:docMk/>
            <pc:sldMk cId="2844275101" sldId="5481"/>
            <ac:picMk id="5122" creationId="{A5365FF8-D993-751A-944C-D6799377CAD9}"/>
          </ac:picMkLst>
        </pc:picChg>
      </pc:sldChg>
      <pc:sldChg chg="addSp delSp modSp add mod">
        <pc:chgData name="Laurentiu Marinescu" userId="b0dd0703-37df-4a8b-9e5a-fe66a92f9c33" providerId="ADAL" clId="{7A108CF2-572F-45F0-8870-D39F0C477427}" dt="2024-05-28T19:49:07.078" v="17859" actId="207"/>
        <pc:sldMkLst>
          <pc:docMk/>
          <pc:sldMk cId="3290158864" sldId="5482"/>
        </pc:sldMkLst>
        <pc:spChg chg="mod">
          <ac:chgData name="Laurentiu Marinescu" userId="b0dd0703-37df-4a8b-9e5a-fe66a92f9c33" providerId="ADAL" clId="{7A108CF2-572F-45F0-8870-D39F0C477427}" dt="2024-05-24T18:10:55.154" v="14567" actId="14100"/>
          <ac:spMkLst>
            <pc:docMk/>
            <pc:sldMk cId="3290158864" sldId="5482"/>
            <ac:spMk id="2" creationId="{FE141E0E-16C6-E816-64E9-1FDB0586EFA9}"/>
          </ac:spMkLst>
        </pc:spChg>
        <pc:spChg chg="del">
          <ac:chgData name="Laurentiu Marinescu" userId="b0dd0703-37df-4a8b-9e5a-fe66a92f9c33" providerId="ADAL" clId="{7A108CF2-572F-45F0-8870-D39F0C477427}" dt="2024-05-24T19:14:42.670" v="14653" actId="478"/>
          <ac:spMkLst>
            <pc:docMk/>
            <pc:sldMk cId="3290158864" sldId="5482"/>
            <ac:spMk id="3" creationId="{FE590AB1-DF67-3826-E844-1F29E15ED1D9}"/>
          </ac:spMkLst>
        </pc:spChg>
        <pc:spChg chg="add mod">
          <ac:chgData name="Laurentiu Marinescu" userId="b0dd0703-37df-4a8b-9e5a-fe66a92f9c33" providerId="ADAL" clId="{7A108CF2-572F-45F0-8870-D39F0C477427}" dt="2024-05-28T19:49:07.078" v="17859" actId="207"/>
          <ac:spMkLst>
            <pc:docMk/>
            <pc:sldMk cId="3290158864" sldId="5482"/>
            <ac:spMk id="7" creationId="{531E6228-225C-F5C2-7435-10D16317A5E1}"/>
          </ac:spMkLst>
        </pc:spChg>
        <pc:picChg chg="add mod ord">
          <ac:chgData name="Laurentiu Marinescu" userId="b0dd0703-37df-4a8b-9e5a-fe66a92f9c33" providerId="ADAL" clId="{7A108CF2-572F-45F0-8870-D39F0C477427}" dt="2024-05-28T19:25:00.192" v="17614" actId="167"/>
          <ac:picMkLst>
            <pc:docMk/>
            <pc:sldMk cId="3290158864" sldId="5482"/>
            <ac:picMk id="3" creationId="{B31E213D-9360-8A16-13CE-ECE9EC5F4622}"/>
          </ac:picMkLst>
        </pc:picChg>
        <pc:picChg chg="add del mod">
          <ac:chgData name="Laurentiu Marinescu" userId="b0dd0703-37df-4a8b-9e5a-fe66a92f9c33" providerId="ADAL" clId="{7A108CF2-572F-45F0-8870-D39F0C477427}" dt="2024-05-28T19:24:57.586" v="17612" actId="478"/>
          <ac:picMkLst>
            <pc:docMk/>
            <pc:sldMk cId="3290158864" sldId="5482"/>
            <ac:picMk id="5" creationId="{88E4E720-02EE-359D-018E-BCB8811CA832}"/>
          </ac:picMkLst>
        </pc:picChg>
        <pc:picChg chg="del">
          <ac:chgData name="Laurentiu Marinescu" userId="b0dd0703-37df-4a8b-9e5a-fe66a92f9c33" providerId="ADAL" clId="{7A108CF2-572F-45F0-8870-D39F0C477427}" dt="2024-05-24T10:15:36.956" v="2694" actId="478"/>
          <ac:picMkLst>
            <pc:docMk/>
            <pc:sldMk cId="3290158864" sldId="5482"/>
            <ac:picMk id="9" creationId="{8EA76792-C8C3-8CB7-C664-E24A96CC236F}"/>
          </ac:picMkLst>
        </pc:picChg>
      </pc:sldChg>
      <pc:sldChg chg="addSp delSp modSp add mod replTag modNotes modNotesTx">
        <pc:chgData name="Laurentiu Marinescu" userId="b0dd0703-37df-4a8b-9e5a-fe66a92f9c33" providerId="ADAL" clId="{7A108CF2-572F-45F0-8870-D39F0C477427}" dt="2024-05-28T08:09:07.104" v="15210" actId="20577"/>
        <pc:sldMkLst>
          <pc:docMk/>
          <pc:sldMk cId="999955294" sldId="5483"/>
        </pc:sldMkLst>
        <pc:spChg chg="add mod">
          <ac:chgData name="Laurentiu Marinescu" userId="b0dd0703-37df-4a8b-9e5a-fe66a92f9c33" providerId="ADAL" clId="{7A108CF2-572F-45F0-8870-D39F0C477427}" dt="2024-05-24T19:07:47.666" v="14574"/>
          <ac:spMkLst>
            <pc:docMk/>
            <pc:sldMk cId="999955294" sldId="5483"/>
            <ac:spMk id="2" creationId="{21C3A440-4462-6122-DF22-9588A2C1D852}"/>
          </ac:spMkLst>
        </pc:spChg>
        <pc:spChg chg="del">
          <ac:chgData name="Laurentiu Marinescu" userId="b0dd0703-37df-4a8b-9e5a-fe66a92f9c33" providerId="ADAL" clId="{7A108CF2-572F-45F0-8870-D39F0C477427}" dt="2024-05-24T10:24:10.180" v="2787"/>
          <ac:spMkLst>
            <pc:docMk/>
            <pc:sldMk cId="999955294" sldId="5483"/>
            <ac:spMk id="2" creationId="{B82553AD-2F34-2264-2016-6A7E200AE1A1}"/>
          </ac:spMkLst>
        </pc:spChg>
        <pc:spChg chg="add mod">
          <ac:chgData name="Laurentiu Marinescu" userId="b0dd0703-37df-4a8b-9e5a-fe66a92f9c33" providerId="ADAL" clId="{7A108CF2-572F-45F0-8870-D39F0C477427}" dt="2024-05-24T10:24:11.066" v="3201" actId="790"/>
          <ac:spMkLst>
            <pc:docMk/>
            <pc:sldMk cId="999955294" sldId="5483"/>
            <ac:spMk id="3" creationId="{A425178D-C6CA-4E26-044C-F47CF7A7C52D}"/>
          </ac:spMkLst>
        </pc:spChg>
        <pc:spChg chg="add del mod">
          <ac:chgData name="Laurentiu Marinescu" userId="b0dd0703-37df-4a8b-9e5a-fe66a92f9c33" providerId="ADAL" clId="{7A108CF2-572F-45F0-8870-D39F0C477427}" dt="2024-05-24T19:07:46.384" v="14573" actId="478"/>
          <ac:spMkLst>
            <pc:docMk/>
            <pc:sldMk cId="999955294" sldId="5483"/>
            <ac:spMk id="4" creationId="{33D82E86-C5B8-701A-34A4-2E83DE0F9727}"/>
          </ac:spMkLst>
        </pc:spChg>
        <pc:spChg chg="del">
          <ac:chgData name="Laurentiu Marinescu" userId="b0dd0703-37df-4a8b-9e5a-fe66a92f9c33" providerId="ADAL" clId="{7A108CF2-572F-45F0-8870-D39F0C477427}" dt="2024-05-24T10:24:10.181" v="2789"/>
          <ac:spMkLst>
            <pc:docMk/>
            <pc:sldMk cId="999955294" sldId="5483"/>
            <ac:spMk id="5" creationId="{E3BA2DE5-726F-884E-1F53-AE2C6D181567}"/>
          </ac:spMkLst>
        </pc:spChg>
        <pc:spChg chg="del">
          <ac:chgData name="Laurentiu Marinescu" userId="b0dd0703-37df-4a8b-9e5a-fe66a92f9c33" providerId="ADAL" clId="{7A108CF2-572F-45F0-8870-D39F0C477427}" dt="2024-05-24T10:24:10.182" v="2791"/>
          <ac:spMkLst>
            <pc:docMk/>
            <pc:sldMk cId="999955294" sldId="5483"/>
            <ac:spMk id="6" creationId="{353A8DDB-B3A7-C072-0222-B2A4DFD9AABD}"/>
          </ac:spMkLst>
        </pc:spChg>
        <pc:spChg chg="add mod">
          <ac:chgData name="Laurentiu Marinescu" userId="b0dd0703-37df-4a8b-9e5a-fe66a92f9c33" providerId="ADAL" clId="{7A108CF2-572F-45F0-8870-D39F0C477427}" dt="2024-05-24T10:24:11.068" v="3203" actId="790"/>
          <ac:spMkLst>
            <pc:docMk/>
            <pc:sldMk cId="999955294" sldId="5483"/>
            <ac:spMk id="7" creationId="{7833EF79-10DB-E816-CCA2-EE4C894EF5C6}"/>
          </ac:spMkLst>
        </pc:spChg>
        <pc:spChg chg="mod">
          <ac:chgData name="Laurentiu Marinescu" userId="b0dd0703-37df-4a8b-9e5a-fe66a92f9c33" providerId="ADAL" clId="{7A108CF2-572F-45F0-8870-D39F0C477427}" dt="2024-05-24T10:24:11.058" v="3192" actId="790"/>
          <ac:spMkLst>
            <pc:docMk/>
            <pc:sldMk cId="999955294" sldId="5483"/>
            <ac:spMk id="10" creationId="{92072C12-E50F-FA4A-8F34-CE5667F4EB29}"/>
          </ac:spMkLst>
        </pc:spChg>
        <pc:spChg chg="mod">
          <ac:chgData name="Laurentiu Marinescu" userId="b0dd0703-37df-4a8b-9e5a-fe66a92f9c33" providerId="ADAL" clId="{7A108CF2-572F-45F0-8870-D39F0C477427}" dt="2024-05-24T10:24:11.056" v="3190"/>
          <ac:spMkLst>
            <pc:docMk/>
            <pc:sldMk cId="999955294" sldId="5483"/>
            <ac:spMk id="24" creationId="{9C0A1FF5-5AA0-4940-B97E-36BC0E690342}"/>
          </ac:spMkLst>
        </pc:spChg>
        <pc:spChg chg="mod">
          <ac:chgData name="Laurentiu Marinescu" userId="b0dd0703-37df-4a8b-9e5a-fe66a92f9c33" providerId="ADAL" clId="{7A108CF2-572F-45F0-8870-D39F0C477427}" dt="2024-05-24T10:24:11.057" v="3191" actId="790"/>
          <ac:spMkLst>
            <pc:docMk/>
            <pc:sldMk cId="999955294" sldId="5483"/>
            <ac:spMk id="210" creationId="{4C52521D-BD66-49E5-A34C-7BEA62EEA3BB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18" creationId="{26D40A54-A5FD-2D47-8F44-BB18F254D694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19" creationId="{AAB8C1BC-A351-6447-9107-223A04E6BF88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21" creationId="{A7117A71-FF1C-8B46-A497-04AD215141ED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24" creationId="{B515B9DE-BD09-FA44-8BFF-25332295F142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26" creationId="{B4FD9DD1-9765-2E49-91F5-951D1A7B72F0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27" creationId="{6DC769F5-21B4-8947-BC5A-4EEC5BC90739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30" creationId="{14430C01-333D-9A49-BE50-CB5BF77B5B7C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32" creationId="{DADB9873-C2FF-D64A-999D-8E26695D1CC4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34" creationId="{A3A40265-41F1-B045-BDAE-5BB1B106106E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35" creationId="{D1BD77CE-6E91-534A-9812-1BAC2D432408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36" creationId="{D361DF41-4136-4045-B9CB-A71023A40215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37" creationId="{23B33BA7-3AF7-024B-BD2C-CEA40D67A95A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38" creationId="{E7FF371E-621F-5C4F-89B2-F399DF7EB50B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39" creationId="{BAE9231E-0004-AA40-8B1B-D550B8276A65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40" creationId="{D3692930-EA56-2C44-91A4-84B23DBFD752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41" creationId="{B87EC8F6-902C-9B42-A9B1-6B6E13C25C62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42" creationId="{DA43F1DF-7418-8A47-BC87-E9F9D4FB5F18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43" creationId="{9E072740-77AD-B14D-BB36-9D32E0EDA3DF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44" creationId="{8B95B8E7-55D9-D443-A66E-8A0C693A619C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45" creationId="{6071A0F0-9EF8-DC4D-B9D9-2E0E6F20F05D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46" creationId="{9521F996-F4A2-C94B-97F0-5B180FA01C35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47" creationId="{28A9F00A-16FC-A741-BB31-86E41E402356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49" creationId="{A2C0169B-8522-BC4E-AEB7-5736716A273D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50" creationId="{078ECCD3-9E42-4E43-A37E-521272E636C8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51" creationId="{C30F778F-125E-954D-9C58-D995E9353559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52" creationId="{C6A79CC7-2105-C449-AFE9-7406C6B9FDC1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53" creationId="{0FF08F96-3500-0A48-B865-E3EF71D63062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54" creationId="{1342C415-4137-CF46-A851-261FC5C92CBD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55" creationId="{D65DF301-B092-3946-851F-83C8173185EF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56" creationId="{02E840CE-73C9-D94A-ACC9-2F611954BD38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57" creationId="{CEB5B458-CE28-A444-A7EF-942DD24095F8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58" creationId="{822D6770-C944-3142-BA6D-9F0E526B1565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59" creationId="{506E8CC7-3810-1E47-9C05-6A05E8A24411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60" creationId="{38B42500-DC79-074E-B87B-1BDDD5365A7D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61" creationId="{0B3F7531-6C3F-E04B-8173-1697408A661D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62" creationId="{7986F5E3-237F-954F-999E-5BB65D8EAD10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63" creationId="{123C4FEF-44D4-A641-A06F-A02466169EDE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64" creationId="{50793444-7C04-8542-B60A-D6F5FAD73E65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65" creationId="{74C8EF4B-C23A-A64F-A019-85E46F33903F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66" creationId="{3E1A8039-D278-7C4C-BE7E-B6673E0F6E57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67" creationId="{7B18B89E-7047-4D44-B515-A501C38AB287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68" creationId="{C48DF8CC-3962-9B41-A0CB-9CD8172D5DC9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69" creationId="{E68118E4-E44D-D84F-AA05-4554EADCF82C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70" creationId="{9B4A14B9-3FD2-7B46-838A-BD0EF8EFAB42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71" creationId="{CC4C3B9D-D780-554C-B5C1-82DBB3177366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72" creationId="{1F300F44-C881-9E48-9893-ADD13A1518E6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73" creationId="{D17B5C4E-6B6F-7D44-974E-AE3E8739CE91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74" creationId="{3F266065-CD98-FB45-BB20-0334658FBE26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75" creationId="{9E9A9B5B-DA23-CB45-B9F8-6DAD0AE18E08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77" creationId="{5DB802D2-A420-B648-9958-6983C9285A5A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78" creationId="{3F51ECA7-0679-5F4A-8341-07C258F7A869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79" creationId="{A7D0C458-E189-F343-BE5A-AD91B0549FB9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80" creationId="{E9EAEB3D-877D-884E-A897-191E7A41094B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81" creationId="{04AAA31F-3454-B946-B445-F90978F5F9DB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82" creationId="{A2556072-86C1-C94A-93D7-B4A4A1D3C02C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83" creationId="{E1C74879-97A7-3A47-B415-65498DDF836F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84" creationId="{76B0E9DD-91AB-BB42-AA15-1D6298EEE40E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85" creationId="{601BF8D6-55FA-A44F-B604-E0CA4FE2642B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86" creationId="{1F0E2E58-9C69-BB46-880A-58FA0F5F8C7F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88" creationId="{E1DF44BC-1D32-6F41-AE00-BB80AD3CFC70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89" creationId="{CE1608F1-52D3-994D-97B5-A413B4A5422E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90" creationId="{D61921DB-5EA5-FD4D-A39C-173EFE6DDC28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91" creationId="{10937DA4-7E83-594C-879C-C9566DD5B6DF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92" creationId="{67B7CE15-EAB4-184E-840C-88947E7FD54A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93" creationId="{E246BEDF-383D-904A-941E-CD4EFE1A0E75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94" creationId="{35FD9415-C129-3246-9658-CAAB8E709047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95" creationId="{D13C4EAB-987C-D747-A1E4-F249A9EE07DA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96" creationId="{A5147AE6-68DB-2B4F-A5D1-BB28439AB7A7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97" creationId="{6F2AA753-D095-DB49-94D1-6160C1359F0D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98" creationId="{9ABFEA6C-3EEA-E147-BEF1-20408F28E8EF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299" creationId="{6AC40B88-763A-824B-83B9-46AFA6171ABA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00" creationId="{BC74D83A-142C-0648-A1A8-3D654324DA87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06" creationId="{748BE1C0-4D5A-EE45-9F7F-24A69EDF9FA2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07" creationId="{D24523BB-736B-934E-A036-1BC25E32FC9A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08" creationId="{3208B573-673E-B545-971A-47977DD0E708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09" creationId="{E2755770-751C-784D-B776-D30CCF5D8BC4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10" creationId="{8420AD36-58C0-6F47-8C91-56C11C833018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11" creationId="{5D1E212F-1E32-794B-BE0A-DFFF84CA5664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12" creationId="{95C564BB-3B6F-3142-86F7-38EAC021B9C6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13" creationId="{CD74523B-B8F1-B645-B937-604FF9368289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14" creationId="{6EDA7188-9CE7-9F46-827E-8B34076188FC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15" creationId="{9C05CEA9-BCF1-4644-93D2-E538A43EE18C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16" creationId="{DA8096CE-B8BF-0944-AB86-C29451C44258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17" creationId="{4A1FC130-87BC-9142-B1C0-85F3D0DA90E7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18" creationId="{D841204C-6B0B-D24E-B7DD-14AAFC3ADF9E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19" creationId="{76049DB5-7AE3-CC4E-8DDF-D10EE2BA3B36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20" creationId="{3C6D5460-CF9D-804A-973E-72DF6829D153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21" creationId="{256562BE-0EB1-7D4F-AD3B-0DEDF0F9E62B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25" creationId="{2C28C3E9-721B-F448-A961-297892EB4B82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26" creationId="{6B1511F8-A24B-814D-83AE-CAB5D64CA2E8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27" creationId="{B43F14B5-7152-F046-BA19-376C535DF1AB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28" creationId="{B0E9E982-FAA4-FB47-9A4C-0E3A702A204D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29" creationId="{4F974E6B-248A-1A40-8A5B-07C0559E1F38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30" creationId="{9D588960-DDF5-AE45-959D-39FDB549559E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31" creationId="{682CDF79-5554-CF41-AA99-A11CC82F2DD9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32" creationId="{0D837874-5DB1-0044-806A-BCF0D5E715B4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33" creationId="{9BC3FE25-FC3F-3949-A109-4D76E2D05EA4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34" creationId="{623FBFD6-D503-9346-96E7-C80F119259B8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35" creationId="{ECCAD39A-F7AC-1C4E-B9A2-7FE988017A18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36" creationId="{86F45329-C9A0-D944-AB6E-C17814036AA1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37" creationId="{CA2CFA08-D87D-794D-B539-DD20260C6E5D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38" creationId="{D5973005-11CF-B947-8D82-1AF8824B6F54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39" creationId="{47EAAF89-D3B6-F646-977B-4B4E04128979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40" creationId="{C1EAAA56-FB7D-9649-B1F7-9421B21C99CE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41" creationId="{75A7A8F2-508B-E24D-9F38-EDD0BB7F1C4C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42" creationId="{17BD9CB5-E15B-BF4A-9855-33E5321E5565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43" creationId="{8CA1C9AA-A268-014B-80A5-81A28174A494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44" creationId="{C16A8AF4-ED2C-AE44-8EA4-C6A00CD9733C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45" creationId="{6A7861E7-F527-6A48-A8D6-FED6042CC38F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46" creationId="{9C3E1634-9C46-494A-9A45-1BFE2805B60E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47" creationId="{8A3605D7-879F-984A-854F-BC82463B61FF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48" creationId="{38978904-D0D1-3747-A8ED-643CC1C8BE54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49" creationId="{BD9D06D7-D33B-7D4B-B342-610FE3531952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50" creationId="{CFCA7E61-3A7A-344A-80A3-0336B1F1B3CF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51" creationId="{885B7A71-B550-964C-B478-8D6CE968CF97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53" creationId="{7BE51A14-2627-A14E-95C5-FB7D14FEE23A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54" creationId="{5E16CEE4-44FA-9149-A02E-35A9DC6C5A62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55" creationId="{72A8DCB3-EEAA-8E4B-A260-03D9D4FE2911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56" creationId="{E7605A7C-C6ED-8E44-948D-C2876081E4BE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61" creationId="{DA0EBE66-380D-6342-873C-1F4976D6091C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64" creationId="{8C952CA0-4304-BC4A-8460-F6F0D3F45BF5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65" creationId="{FE5811A2-B41A-E84B-8280-40CE1A5D0FA3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66" creationId="{D31AC202-8B58-E04E-80DC-08CF5E35E5B6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67" creationId="{8F2A99E7-C28B-414F-BE4A-FD007FDACB64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68" creationId="{E4FA8067-A711-4947-816F-024FDA9FD899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69" creationId="{948563A1-ECD9-294B-A3E3-DEF156FB9D01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70" creationId="{84C8BF48-D3E9-4848-B98E-9947BB28C27F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71" creationId="{9F25C726-3411-3B4A-8948-160F2B0C502D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72" creationId="{A4857913-09EB-C142-8D69-8CD968F0710E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73" creationId="{43411641-8D31-314F-9F5E-3EACBA3F24DC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74" creationId="{8F307FCF-F95C-7843-A3E7-32A230D5B767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75" creationId="{9187BAF9-1493-FD4B-8FE3-C917CFF62F95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76" creationId="{EC5A0E5C-0B26-0C44-8F07-42B400C1686D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77" creationId="{3E020D90-A093-CD47-B35A-62904A21BB08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78" creationId="{E300B927-898B-E546-B54C-12F4A514A24C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79" creationId="{69CF8DEF-DE30-AA47-8C90-E66BB9EACD71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80" creationId="{128E3E8F-6339-BC43-A63E-6DB4AD5EC7D6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81" creationId="{D3084040-3E54-EE4B-8984-0A3F96BBD14E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82" creationId="{2FDEE40B-C4DD-6E46-ABAF-130231B2CDFE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83" creationId="{13816D62-6E35-3C4A-BFBC-FC5A01C85CA6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84" creationId="{BD7E8A42-6A1D-CA40-9745-2F935D70B4E3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85" creationId="{13E73199-DFCC-5F43-BD08-00AEB01C9710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86" creationId="{CA334BAC-A46E-984E-93D5-09955F25EE64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87" creationId="{E24FDBF3-8037-504C-851D-1BC3947F7FBE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88" creationId="{7A27D2F4-A0F2-6C41-8D3E-404A6B7F3D2C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89" creationId="{155A868A-3533-BE47-80C3-52481FAE387B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90" creationId="{EFBE0546-3571-9242-8A4A-C10FB78F4656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91" creationId="{A58D95D2-349B-2E4E-8D42-2B4CFA76E696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92" creationId="{11B5E5B4-6760-B34F-AE86-0986E1F2C070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93" creationId="{6C58872F-5F01-F943-864B-1EEE29A648BC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94" creationId="{7EBD3A21-918F-B546-B043-164DE67F7CCF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95" creationId="{6EB4F9D7-CBF3-564F-83B7-1D5624FE8543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96" creationId="{10D08C59-948F-334C-B169-C8E7D5E84C1D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97" creationId="{05F50E8B-B2A0-8641-A799-6B63CA531CB1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98" creationId="{6998D076-296F-DD40-8F20-1AD213309F9C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399" creationId="{83AFE42B-2668-2C4F-9F62-4742A9FC9270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00" creationId="{3688F4D5-07EF-FC4D-A55A-C76D13467417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01" creationId="{EDBADF04-C3FB-7840-9659-9F16F65A9975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02" creationId="{A81858CD-2853-BE42-BFBD-B61E347225EC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03" creationId="{2686B89C-7160-8D4A-B89C-210EDBD485C7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04" creationId="{271A1AB1-FCA8-2046-949D-53C57780B7BA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05" creationId="{825FC5CE-0A75-7846-B3FF-AB34E8BFD132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07" creationId="{3C5D33FC-DD33-8642-9506-AF56D7E151A6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08" creationId="{B560B50D-9FAB-0649-90A3-768FFBF3F87D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11" creationId="{CC66990B-A742-044B-830C-10737DD65F52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12" creationId="{6FCCD05F-56F6-5545-A3E8-4C8D60B0D320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13" creationId="{7A949C3D-96DD-6E49-83BA-B5C9393373DB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14" creationId="{71610264-60E0-7541-9741-CE1CB8F03D3D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15" creationId="{26F6970A-F64B-E545-BD80-2EC6236B333A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16" creationId="{44DF552B-10C3-E14A-99FB-547746B667F0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17" creationId="{04E3749E-768F-5A48-8662-33CED2F7B9CE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18" creationId="{654BA19B-E212-3B41-B9F9-767E548F9A5A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19" creationId="{92C81DD0-DD75-844E-8872-55A9A8DECB74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20" creationId="{6A4333E9-01D2-E742-8CBC-399171DAD34D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21" creationId="{0AE7B14B-71BF-1E42-A0B5-17941F8F8998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22" creationId="{14EDFE1D-4E88-0C4A-AAA1-8A58AC9EE739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23" creationId="{52211E53-FBF1-5445-8FB0-DCCBBB261F4A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24" creationId="{10A0C24C-CFC4-D642-96A8-8BA2CF8E9087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25" creationId="{17870CF6-1AEC-3B4C-9127-9716F709D1F9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26" creationId="{569CCBBB-8D7C-D34E-90AC-91D724D438A8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27" creationId="{1B73B93F-1BB1-EC4D-A2B7-ABD08F5D62BB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28" creationId="{F565B046-F3CF-BD49-9428-5CECA4E19EB7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29" creationId="{C0F207DC-702C-914C-A53C-54F5DF7E3CBF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31" creationId="{275EC402-769E-5042-80C4-E09C2E4B0B0D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33" creationId="{242AC88B-E86B-504C-8838-38720B4E1EFE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34" creationId="{8E1E7E40-5237-E546-9229-9265EEB4E91C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35" creationId="{D99E303D-2B25-254E-A04F-DCD7DEB10A85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36" creationId="{019224CE-E9A0-914D-94A1-9665C54A6112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37" creationId="{F0D60650-511D-1A44-90B0-9B2D3C3410CA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38" creationId="{FC28D2D3-873B-554F-979C-FE3D27413F6A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39" creationId="{2F16FD5E-3C7E-0643-BAA4-0C033232A003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40" creationId="{C4129A84-3482-0043-96B0-1F507CBD6396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41" creationId="{7D717DA5-C4DA-8144-A8DC-3EC035B7D7E7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42" creationId="{F36BA648-F9DE-D541-A03F-9F8C181BB88A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43" creationId="{4C878C83-0C9D-5D47-836E-D44F18C3EBB2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44" creationId="{54ACD280-F3D4-A947-AA1F-4980CDF0938A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45" creationId="{A5B6D524-8FDC-B94B-93FB-0F0064549B26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46" creationId="{17C49FBC-355F-5342-8191-607E6F1DFB7A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47" creationId="{F8F1D819-7AF5-3F4F-AB3F-F4E4AFC0223F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48" creationId="{E08CF655-E0CF-A241-A3C3-100696CA0A30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49" creationId="{AB9D3D83-5A71-1444-A111-2A05F35F8B3E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50" creationId="{76E507A4-E2F7-0942-A68C-854B52E41153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52" creationId="{7FB864BA-68A3-9A48-9943-FE17D0CC24C1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53" creationId="{E9914C44-6F3E-3243-9576-7D62886C81C1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54" creationId="{38CF6373-5DD4-864C-BA6C-806231F1DCBF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55" creationId="{E81C936C-F852-8843-B3F8-616F52120AFB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56" creationId="{EEE8A725-32DF-CE4C-BFDA-31D9EC81CF90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57" creationId="{6C5C46A6-42E2-1343-B403-8F8A55F22661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58" creationId="{2500D007-04CC-A941-B9A8-03B543314FB0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59" creationId="{E4C3BC48-23CB-BE4B-A9E1-10AF137A05C5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60" creationId="{DC50C765-3ED2-7540-A786-3A1A2E7328E1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61" creationId="{5BD5917B-060D-734F-A164-F28A3EFEDAAF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62" creationId="{F7D4310E-618E-304C-A1E0-8C12A1FF8A50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63" creationId="{BDF8EDEE-E766-2E45-8007-BA40DE1A7734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64" creationId="{785D12BA-2D7F-834F-9BDF-6E9892763A93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65" creationId="{94CFC23A-4E43-584A-A9E0-13E55B237C1E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66" creationId="{F0F49132-C6D6-EF4D-8174-54D32169ED9F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67" creationId="{C7C7B52F-1024-D94F-9209-C8E9A2FF7779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68" creationId="{46C44CDF-D409-2042-BCB6-7E8AE3E3283E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69" creationId="{2CD29076-3846-7240-97AE-FDC717DE95A6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70" creationId="{2B5ED193-59CD-8349-A9F5-205307921803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71" creationId="{7D3528D0-CD55-2A4B-A543-FB06055DA5A2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72" creationId="{B0C34D26-CEAA-0F44-8AC3-9C0077386559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73" creationId="{177D93BC-6619-3B4C-8DC2-BC923A19D3B1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74" creationId="{360E43AD-B652-A64E-B2EB-35E2C15586F9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75" creationId="{91352CC5-FF76-1847-91D6-6D046500437C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76" creationId="{A338174F-A4D8-FD40-9A13-3939C555D407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77" creationId="{834F4185-1ACA-E54C-BBB9-BDA2D5C723F6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78" creationId="{D5894F80-936E-8849-ACC2-25A93BCAFD61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79" creationId="{44BC20BA-5D04-FD47-B5A7-576D00700B80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80" creationId="{7F92ED90-CCB9-254C-9B9D-F823E26639D5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81" creationId="{1D5DB0B0-3588-814E-9A56-5E1A1BF1A1AB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82" creationId="{73A5433C-6619-CD4C-A6F9-BEF99D319CC7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83" creationId="{56BFA2CB-AC62-334A-89E8-EC0CDD9F66EB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84" creationId="{DAB61B1F-9082-8A47-800A-93B6FE3AC1C1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85" creationId="{2DD7A03F-F8DD-5048-A2DC-7B55F0353BEF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86" creationId="{941C1C60-B375-7D4E-84F9-87E8ED1E6E3B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87" creationId="{76CDE321-AACA-B948-BE57-809DF8F25C0F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88" creationId="{FD2A4161-6D01-724C-B4FF-E2222C3B1C61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89" creationId="{5203D9BE-0D1E-4344-93A7-1BB4B6382C16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90" creationId="{2E014417-A8C8-8D46-BCF5-63C87B59F051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91" creationId="{8234FB78-6BCE-6245-BAA9-F746B08F88E4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92" creationId="{E8750009-C8FF-1741-8E1C-87EF7CAD1495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93" creationId="{1C6C6583-26AD-6B46-8756-ADAF47FED523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94" creationId="{D653D060-DFC7-8344-B327-F5802A2CCD1E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95" creationId="{3E0934B8-A5B3-174F-A9D8-AC617A7838ED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96" creationId="{B29BD775-BAB9-7441-A22F-6EC704493CD6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97" creationId="{377CDEFB-B473-AE4E-99C5-B9D5D534AAFE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98" creationId="{5E9D31B5-C8B6-BA4E-8F66-84D5859CCC58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499" creationId="{FAE770E5-4FB0-2742-A935-F34EEBA6796C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00" creationId="{A16C7D43-C599-034F-89FB-3C2410746BCA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01" creationId="{47132BAA-FA23-2C44-BDBE-43D28D1ABA23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02" creationId="{06E2394E-2699-EC44-9F5F-81057C5776C3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03" creationId="{C91ECBDC-4274-2840-A6BB-4C12079291BF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04" creationId="{3C29BEC9-675A-2543-84C6-26BE9E33D3FA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05" creationId="{51592EBA-5123-D049-B654-BB577A1BAA28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06" creationId="{2E2D627B-0E11-0D47-B598-F13278996F28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07" creationId="{368F3DF1-5422-2E48-9959-E901C610B703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08" creationId="{02611F91-CE38-9346-8E91-BF89AC72EA81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09" creationId="{F71084E8-E77F-6545-B692-6DFC2078DDD7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10" creationId="{2E516BE9-7B07-674D-AE60-FC269CF35DE7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11" creationId="{CCD739D5-A317-A942-B01C-099D70AE4642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12" creationId="{14F616F3-C488-C247-9CCD-5E2A59C66029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13" creationId="{FBB49881-4C94-C440-987E-ABAC849C0C9B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14" creationId="{EF34457C-7384-484E-B3D4-B6C772D42A05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15" creationId="{11F39896-5AC6-DA4F-8C26-8526594BD8D2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16" creationId="{EC6132C4-CF25-004E-BBEB-9D2CC919F9C2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17" creationId="{D6D8FC13-C342-0C47-97DF-9D930565584F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18" creationId="{ECA580B3-55BC-A740-B79A-7F496B1E4BF2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19" creationId="{E3D82885-4B46-EA41-A6D7-FCE96A0E97EA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20" creationId="{10F92D65-E7AC-084D-BB39-46C33B491FAD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21" creationId="{A0981959-4190-BD41-BFEB-62C9D6A81345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22" creationId="{EE8129CF-2489-1C4D-8FAF-F97B7B0D480D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23" creationId="{334C0C77-D42A-DA4E-9D30-D7C63739C72D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24" creationId="{3F9B28E0-7EDA-D241-A71F-EEC763E7170E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25" creationId="{A7A5D0A2-288D-5A4F-9B3F-B091F03EB447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26" creationId="{E444574C-F224-1F4D-B243-897390BFF4DA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27" creationId="{BB3C7E8A-DE8C-AC46-B66F-ADDD587E17EB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28" creationId="{2A1C4CEF-4658-EB4E-8BF7-F98E2E6B8047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29" creationId="{E294D742-1641-2141-97AE-EC18E308DA7D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30" creationId="{460507A0-B20F-474F-8547-31D3F73D4F32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31" creationId="{02768096-CB7C-7A43-B088-8967415221C0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32" creationId="{D089EEAE-2455-B74B-BD51-4FA2A3DA03EA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33" creationId="{54FF6EA9-F8A8-7A44-8EB1-211A824A8180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34" creationId="{563E5474-DCE2-964C-9934-9740D62B25DB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35" creationId="{C4B73B41-6D6B-3046-91A4-18536928A8B9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38" creationId="{DBDAA30D-60FA-2444-B51B-C5C16470DC30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39" creationId="{8D855C97-5EFC-8E48-96D4-1091570F9E27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40" creationId="{1442F8A8-DC71-3242-A059-1C857D923CE1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41" creationId="{929AD269-789A-AD41-97C5-FFB8D52E02D7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42" creationId="{F84D0B23-F681-5943-913B-6278C234B681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43" creationId="{142B7DF6-32FA-044B-9F13-0350B9FC302D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44" creationId="{53F0AFD8-7959-E948-B38D-FC7FD2788AD0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45" creationId="{EB7AD7BE-BC91-B341-BDC8-88CC2AA0FFDA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46" creationId="{6FF16DA3-71C7-764D-9211-290B483A5FAC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47" creationId="{451DC929-053C-E041-8AA3-F4F5251588C4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48" creationId="{766B9F24-1872-6947-AB4F-3F211C1EE87A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49" creationId="{9B9C314A-2FB9-A041-9C8B-EA317E550170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50" creationId="{410ED5A9-467D-FA47-AA42-AC921C0F761D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51" creationId="{D4454A88-B61E-E449-8DA2-54ACC9DE0607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52" creationId="{CB977AAE-C300-9444-8FA2-C5C35E485402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53" creationId="{106E103B-6A6B-9843-9C66-F6D425763C8C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54" creationId="{2ED4D377-BE54-DE46-BA36-3AD32A836AFA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55" creationId="{FAB387FD-A404-3E4B-934F-80BD9EDA7F70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56" creationId="{27F42AF4-206E-CF4A-9A0D-38613A6F8570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57" creationId="{1BB76404-397F-7646-B66B-681F7CAB311C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58" creationId="{DA2DBF5A-BC62-1C4D-A0FE-547CEBAF97D4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59" creationId="{EE6A3AE8-7492-F84F-BC13-8BB1A0F92AF5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60" creationId="{A90BFBBC-FB5A-9643-BE21-9F14F95E45C2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61" creationId="{1B132073-9172-0E44-8970-F61523F5D174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62" creationId="{CF305E02-AC68-3245-A1B4-3C6AF5AB71AC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63" creationId="{2B27304A-3AAA-9346-9D3C-92B8797826D3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64" creationId="{84D314DC-ABFC-9C46-A24D-004E9A5E34F3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65" creationId="{ED787245-9111-6940-9A72-22600E4018C4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66" creationId="{DAFAEA14-BBF8-0844-9091-85A850C96122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67" creationId="{424E9AE6-106A-C341-B381-4395A9F7EAD3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68" creationId="{B326FD5A-2975-EC44-8E41-766658ED78AF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69" creationId="{B7A8401F-EE65-A44E-BBA6-2E0C54D00E13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70" creationId="{9037EB7C-9D36-F245-84BF-9A1217B1311A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71" creationId="{8E8B7DAF-E6C1-3241-9D82-9EF2E974740D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72" creationId="{2CA453A2-35E0-A648-9B6D-133D0887ABC8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73" creationId="{8359766E-F003-654C-83AA-8A5D1B7D758C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74" creationId="{D46FB7DD-07A9-654E-88E6-5FC601C6DB00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75" creationId="{B0420AC2-3E6E-0449-A599-C60FB08A7B42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76" creationId="{312ED961-AD33-0C4E-86E1-DB85574979AD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77" creationId="{EB9647E5-B4A4-664A-9829-83242CE8752B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78" creationId="{47D47E6F-4FC8-4341-AA93-57A27E03332E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79" creationId="{73634474-8CF9-6847-BBB9-6282B3910B6A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80" creationId="{9E183A0C-275D-6D45-A931-ABA88F12D14E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81" creationId="{9A361F66-4411-0346-8DA2-1F484693CE81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82" creationId="{1944A098-BFF8-D347-8EFE-4641A4927247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83" creationId="{E01707B3-CC0B-B341-AB9E-6F566D45F797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84" creationId="{6B21F869-BE04-404D-8696-E1927EFABA5A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85" creationId="{0EAAF1CD-8DDE-304C-B448-607ACE4C1449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86" creationId="{6131DE90-EBB0-CF4E-93FC-D8E74EDC4A4D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87" creationId="{4BAE857C-6F95-E143-A182-4E1F3423E9C8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88" creationId="{0A60FA28-B620-4044-9B2C-7C5A55C5BD24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89" creationId="{289902F5-91BA-CF45-B0CB-4AE4C5E12D18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90" creationId="{93B2E878-C563-9049-97AC-27F95DDDEA20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91" creationId="{FAAE9C4B-DD90-234C-9139-5E8BAA165770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92" creationId="{C0679A5D-3105-E94D-92B1-742B6F129011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93" creationId="{3C0C3F16-2EAB-554A-9E76-6951CC82CFCB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94" creationId="{DEFF9F1D-8CA0-0D48-9B2C-962D0CE56EA8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95" creationId="{8646762E-599A-0147-8182-E5C81C7334C0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96" creationId="{3F859432-F7CF-6845-B552-F4D14141B535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97" creationId="{7B2339E8-B6AA-7C4F-A828-3F05E01BB339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98" creationId="{F0FFE015-2DC4-694B-B65B-11F19D60D992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599" creationId="{74B1AAB1-5295-9F43-8830-5CC2C35CFF79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600" creationId="{74F4D557-F222-A34A-92AA-65471CB8872A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601" creationId="{2EB21632-AF5B-2441-A455-671270347431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602" creationId="{8E9BF1A9-8C96-0D4C-A766-C18DAF0A7719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603" creationId="{73FBEB30-A8EB-F743-8463-41176967BFDF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604" creationId="{1D9DA20E-3FCA-334A-9A0C-F1D6BF4E07BB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605" creationId="{ADF0332F-1677-3145-928A-9DB7B72C8203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606" creationId="{201183E7-BA43-3341-885B-69930763C018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607" creationId="{82F392EE-049F-1746-B57B-D419B7EC14D4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608" creationId="{AA80305A-19F9-8548-BAE9-56B5CC34A252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609" creationId="{E33BC381-98CC-1F44-A295-2BBCF881ADDB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610" creationId="{9ACE6E3C-B3B1-1249-BE86-4E803FAF66D1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611" creationId="{C5C4F744-A574-A349-A688-C3444479AEEC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612" creationId="{AEE272D0-CAEB-7D43-A5F0-D6AD4A22D7B3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613" creationId="{F10D8C11-5463-2943-905C-3732500B3205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614" creationId="{BE325DB3-659D-F840-BE44-F1E635D15EFE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615" creationId="{3CF3B8E7-C099-AF4A-AAC5-2A5360B29651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616" creationId="{99B690B1-B03B-6143-B8C5-36DFC34B85C9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617" creationId="{57A834F6-271B-A64B-BE5C-CE55817D8C6D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618" creationId="{8B1442D8-6310-E843-A0D2-F79816FE0FD9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619" creationId="{ADAADAB5-410E-5F45-8906-9FE73C6AFC31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620" creationId="{A458465F-0336-3447-8E00-9BB5BB9CA4D1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621" creationId="{12CE34C6-AC2B-C54A-848E-181585DA2B07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622" creationId="{57625C2B-3F3C-F442-A44C-DF446CD12DC3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623" creationId="{8FD088FA-7031-174F-878D-2B4807ADD510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624" creationId="{F2D3AB5B-89C6-4149-8584-4B768CD66F59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625" creationId="{F2259491-AFF8-0146-8D50-FA145CEA1804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626" creationId="{C5FB4FF5-7DB6-9642-80E0-FA033A86E11A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627" creationId="{B00C33D8-E8B3-9D4F-A132-FD52AE53BBBC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628" creationId="{AC208E68-876D-DC40-BE9F-802D828E8FE8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629" creationId="{CB7726C8-4E6A-6643-904F-125FDB89161A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630" creationId="{5FFBFE99-9A7F-544F-B31E-52DEC1D31320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631" creationId="{D0662F90-3145-5D48-91FD-41F6037A60EE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632" creationId="{E561F7DB-663D-6C47-B70E-F0B2CB0AD337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633" creationId="{4C95310D-7A19-884A-B83A-AECAFA3AE5EB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634" creationId="{8E367234-5CF2-2B44-99B4-78074DF372ED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635" creationId="{D0F67B6A-3F8E-0743-A31C-4BE78139AACB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636" creationId="{F565ABF7-8E90-474F-B093-ACDADF66E29A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637" creationId="{3B6D9198-CC29-C54A-9F8E-F74F8FE3CAF7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638" creationId="{8548B1EE-2782-ED42-9CBA-0C90412E679C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639" creationId="{5B82AB57-989F-D840-9250-D77E9CD5E744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640" creationId="{AC3BDD24-934D-1542-AE89-041089F59AEE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641" creationId="{398AA669-EAE2-354B-9E95-4E214716CE45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642" creationId="{9D934A75-F86B-F04F-B152-3D56C694DBC0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643" creationId="{7E057A48-FD82-8A41-B126-BB7F56498E9C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644" creationId="{A774303F-78AA-9C4E-850A-B7DA1D3EF64D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645" creationId="{F124501F-0FC6-5E4D-8540-4EA81B892144}"/>
          </ac:spMkLst>
        </pc:spChg>
        <pc:spChg chg="mod">
          <ac:chgData name="Laurentiu Marinescu" userId="b0dd0703-37df-4a8b-9e5a-fe66a92f9c33" providerId="ADAL" clId="{7A108CF2-572F-45F0-8870-D39F0C477427}" dt="2024-05-24T10:24:12.018" v="3220"/>
          <ac:spMkLst>
            <pc:docMk/>
            <pc:sldMk cId="999955294" sldId="5483"/>
            <ac:spMk id="646" creationId="{EEE1621E-E3EF-C749-896A-7CB67DB3859A}"/>
          </ac:spMkLst>
        </pc:spChg>
        <pc:spChg chg="mod">
          <ac:chgData name="Laurentiu Marinescu" userId="b0dd0703-37df-4a8b-9e5a-fe66a92f9c33" providerId="ADAL" clId="{7A108CF2-572F-45F0-8870-D39F0C477427}" dt="2024-05-24T10:24:12.020" v="3228"/>
          <ac:spMkLst>
            <pc:docMk/>
            <pc:sldMk cId="999955294" sldId="5483"/>
            <ac:spMk id="1077" creationId="{E9A3BE7F-01AF-5844-99C0-2C3771253ACA}"/>
          </ac:spMkLst>
        </pc:spChg>
        <pc:spChg chg="mod">
          <ac:chgData name="Laurentiu Marinescu" userId="b0dd0703-37df-4a8b-9e5a-fe66a92f9c33" providerId="ADAL" clId="{7A108CF2-572F-45F0-8870-D39F0C477427}" dt="2024-05-24T10:24:12.025" v="3244"/>
          <ac:spMkLst>
            <pc:docMk/>
            <pc:sldMk cId="999955294" sldId="5483"/>
            <ac:spMk id="1079" creationId="{EA09392A-02DD-5446-BAFC-0109CE9A96E3}"/>
          </ac:spMkLst>
        </pc:spChg>
        <pc:spChg chg="mod">
          <ac:chgData name="Laurentiu Marinescu" userId="b0dd0703-37df-4a8b-9e5a-fe66a92f9c33" providerId="ADAL" clId="{7A108CF2-572F-45F0-8870-D39F0C477427}" dt="2024-05-24T10:24:12.033" v="3268"/>
          <ac:spMkLst>
            <pc:docMk/>
            <pc:sldMk cId="999955294" sldId="5483"/>
            <ac:spMk id="1082" creationId="{DBF179D3-C6C6-BE47-ABC9-358BD9CCD918}"/>
          </ac:spMkLst>
        </pc:spChg>
        <pc:spChg chg="mod">
          <ac:chgData name="Laurentiu Marinescu" userId="b0dd0703-37df-4a8b-9e5a-fe66a92f9c33" providerId="ADAL" clId="{7A108CF2-572F-45F0-8870-D39F0C477427}" dt="2024-05-24T10:24:12.037" v="3284"/>
          <ac:spMkLst>
            <pc:docMk/>
            <pc:sldMk cId="999955294" sldId="5483"/>
            <ac:spMk id="1084" creationId="{D413003C-8141-6A40-A1DB-2E29666567D3}"/>
          </ac:spMkLst>
        </pc:spChg>
        <pc:spChg chg="mod">
          <ac:chgData name="Laurentiu Marinescu" userId="b0dd0703-37df-4a8b-9e5a-fe66a92f9c33" providerId="ADAL" clId="{7A108CF2-572F-45F0-8870-D39F0C477427}" dt="2024-05-24T10:24:12.045" v="3308"/>
          <ac:spMkLst>
            <pc:docMk/>
            <pc:sldMk cId="999955294" sldId="5483"/>
            <ac:spMk id="1087" creationId="{6CC94AAB-7ED1-3A40-A4EA-78D510C5AD6F}"/>
          </ac:spMkLst>
        </pc:spChg>
        <pc:spChg chg="mod">
          <ac:chgData name="Laurentiu Marinescu" userId="b0dd0703-37df-4a8b-9e5a-fe66a92f9c33" providerId="ADAL" clId="{7A108CF2-572F-45F0-8870-D39F0C477427}" dt="2024-05-24T10:24:12.047" v="3316"/>
          <ac:spMkLst>
            <pc:docMk/>
            <pc:sldMk cId="999955294" sldId="5483"/>
            <ac:spMk id="1088" creationId="{DF710421-179D-F64B-A720-8DFACFCB8E7C}"/>
          </ac:spMkLst>
        </pc:spChg>
        <pc:spChg chg="mod">
          <ac:chgData name="Laurentiu Marinescu" userId="b0dd0703-37df-4a8b-9e5a-fe66a92f9c33" providerId="ADAL" clId="{7A108CF2-572F-45F0-8870-D39F0C477427}" dt="2024-05-24T10:24:12.050" v="3324"/>
          <ac:spMkLst>
            <pc:docMk/>
            <pc:sldMk cId="999955294" sldId="5483"/>
            <ac:spMk id="1089" creationId="{7B77F6B7-FEC4-224D-8E8A-7987668E05B8}"/>
          </ac:spMkLst>
        </pc:spChg>
        <pc:spChg chg="mod">
          <ac:chgData name="Laurentiu Marinescu" userId="b0dd0703-37df-4a8b-9e5a-fe66a92f9c33" providerId="ADAL" clId="{7A108CF2-572F-45F0-8870-D39F0C477427}" dt="2024-05-24T10:24:12.054" v="3340"/>
          <ac:spMkLst>
            <pc:docMk/>
            <pc:sldMk cId="999955294" sldId="5483"/>
            <ac:spMk id="1091" creationId="{4C725871-B06F-594B-8D77-F9F6695256AE}"/>
          </ac:spMkLst>
        </pc:spChg>
        <pc:grpChg chg="mod">
          <ac:chgData name="Laurentiu Marinescu" userId="b0dd0703-37df-4a8b-9e5a-fe66a92f9c33" providerId="ADAL" clId="{7A108CF2-572F-45F0-8870-D39F0C477427}" dt="2024-05-24T10:24:12.018" v="3220"/>
          <ac:grpSpMkLst>
            <pc:docMk/>
            <pc:sldMk cId="999955294" sldId="5483"/>
            <ac:grpSpMk id="213" creationId="{E925E1F6-002B-F74F-A31E-4833028DFAC8}"/>
          </ac:grpSpMkLst>
        </pc:grpChg>
        <pc:grpChg chg="mod">
          <ac:chgData name="Laurentiu Marinescu" userId="b0dd0703-37df-4a8b-9e5a-fe66a92f9c33" providerId="ADAL" clId="{7A108CF2-572F-45F0-8870-D39F0C477427}" dt="2024-05-24T10:24:12.018" v="3220"/>
          <ac:grpSpMkLst>
            <pc:docMk/>
            <pc:sldMk cId="999955294" sldId="5483"/>
            <ac:grpSpMk id="216" creationId="{AE3783A9-F447-364A-91F3-93F51018D9FC}"/>
          </ac:grpSpMkLst>
        </pc:grpChg>
        <pc:grpChg chg="mod">
          <ac:chgData name="Laurentiu Marinescu" userId="b0dd0703-37df-4a8b-9e5a-fe66a92f9c33" providerId="ADAL" clId="{7A108CF2-572F-45F0-8870-D39F0C477427}" dt="2024-05-24T10:24:12.018" v="3220"/>
          <ac:grpSpMkLst>
            <pc:docMk/>
            <pc:sldMk cId="999955294" sldId="5483"/>
            <ac:grpSpMk id="217" creationId="{CFE71154-5368-4D45-A927-0955944AD86B}"/>
          </ac:grpSpMkLst>
        </pc:grpChg>
        <pc:grpChg chg="mod">
          <ac:chgData name="Laurentiu Marinescu" userId="b0dd0703-37df-4a8b-9e5a-fe66a92f9c33" providerId="ADAL" clId="{7A108CF2-572F-45F0-8870-D39F0C477427}" dt="2024-05-24T10:24:12.018" v="3220"/>
          <ac:grpSpMkLst>
            <pc:docMk/>
            <pc:sldMk cId="999955294" sldId="5483"/>
            <ac:grpSpMk id="220" creationId="{DBD029BC-9E85-4941-B4FA-76D973780F25}"/>
          </ac:grpSpMkLst>
        </pc:grpChg>
        <pc:grpChg chg="mod">
          <ac:chgData name="Laurentiu Marinescu" userId="b0dd0703-37df-4a8b-9e5a-fe66a92f9c33" providerId="ADAL" clId="{7A108CF2-572F-45F0-8870-D39F0C477427}" dt="2024-05-24T10:24:12.018" v="3220"/>
          <ac:grpSpMkLst>
            <pc:docMk/>
            <pc:sldMk cId="999955294" sldId="5483"/>
            <ac:grpSpMk id="222" creationId="{23601197-A89B-0543-A5A2-BCE5B5BBCE1F}"/>
          </ac:grpSpMkLst>
        </pc:grpChg>
        <pc:grpChg chg="mod">
          <ac:chgData name="Laurentiu Marinescu" userId="b0dd0703-37df-4a8b-9e5a-fe66a92f9c33" providerId="ADAL" clId="{7A108CF2-572F-45F0-8870-D39F0C477427}" dt="2024-05-24T10:24:12.018" v="3220"/>
          <ac:grpSpMkLst>
            <pc:docMk/>
            <pc:sldMk cId="999955294" sldId="5483"/>
            <ac:grpSpMk id="223" creationId="{1BCD4416-556A-1E4B-A9C7-AC1D95D71098}"/>
          </ac:grpSpMkLst>
        </pc:grpChg>
        <pc:grpChg chg="mod">
          <ac:chgData name="Laurentiu Marinescu" userId="b0dd0703-37df-4a8b-9e5a-fe66a92f9c33" providerId="ADAL" clId="{7A108CF2-572F-45F0-8870-D39F0C477427}" dt="2024-05-24T10:24:12.018" v="3220"/>
          <ac:grpSpMkLst>
            <pc:docMk/>
            <pc:sldMk cId="999955294" sldId="5483"/>
            <ac:grpSpMk id="225" creationId="{6398286E-73BE-064E-9231-4A679A430606}"/>
          </ac:grpSpMkLst>
        </pc:grpChg>
        <pc:grpChg chg="mod">
          <ac:chgData name="Laurentiu Marinescu" userId="b0dd0703-37df-4a8b-9e5a-fe66a92f9c33" providerId="ADAL" clId="{7A108CF2-572F-45F0-8870-D39F0C477427}" dt="2024-05-24T10:24:12.018" v="3220"/>
          <ac:grpSpMkLst>
            <pc:docMk/>
            <pc:sldMk cId="999955294" sldId="5483"/>
            <ac:grpSpMk id="228" creationId="{A65E4E44-7A7E-1542-9F38-AE7989E4B2A0}"/>
          </ac:grpSpMkLst>
        </pc:grpChg>
        <pc:grpChg chg="mod">
          <ac:chgData name="Laurentiu Marinescu" userId="b0dd0703-37df-4a8b-9e5a-fe66a92f9c33" providerId="ADAL" clId="{7A108CF2-572F-45F0-8870-D39F0C477427}" dt="2024-05-24T10:24:12.018" v="3220"/>
          <ac:grpSpMkLst>
            <pc:docMk/>
            <pc:sldMk cId="999955294" sldId="5483"/>
            <ac:grpSpMk id="233" creationId="{A74BA3A5-ADD1-4248-974D-751B90234670}"/>
          </ac:grpSpMkLst>
        </pc:grpChg>
        <pc:grpChg chg="mod">
          <ac:chgData name="Laurentiu Marinescu" userId="b0dd0703-37df-4a8b-9e5a-fe66a92f9c33" providerId="ADAL" clId="{7A108CF2-572F-45F0-8870-D39F0C477427}" dt="2024-05-24T10:24:12.018" v="3220"/>
          <ac:grpSpMkLst>
            <pc:docMk/>
            <pc:sldMk cId="999955294" sldId="5483"/>
            <ac:grpSpMk id="248" creationId="{4B6A2E20-8E55-9F4D-8D26-1459D6FF3FFF}"/>
          </ac:grpSpMkLst>
        </pc:grpChg>
        <pc:grpChg chg="mod">
          <ac:chgData name="Laurentiu Marinescu" userId="b0dd0703-37df-4a8b-9e5a-fe66a92f9c33" providerId="ADAL" clId="{7A108CF2-572F-45F0-8870-D39F0C477427}" dt="2024-05-24T10:24:12.018" v="3220"/>
          <ac:grpSpMkLst>
            <pc:docMk/>
            <pc:sldMk cId="999955294" sldId="5483"/>
            <ac:grpSpMk id="276" creationId="{A86A2F5F-3792-C34A-8957-8C1B8E4D577D}"/>
          </ac:grpSpMkLst>
        </pc:grpChg>
        <pc:grpChg chg="mod">
          <ac:chgData name="Laurentiu Marinescu" userId="b0dd0703-37df-4a8b-9e5a-fe66a92f9c33" providerId="ADAL" clId="{7A108CF2-572F-45F0-8870-D39F0C477427}" dt="2024-05-24T10:24:12.018" v="3220"/>
          <ac:grpSpMkLst>
            <pc:docMk/>
            <pc:sldMk cId="999955294" sldId="5483"/>
            <ac:grpSpMk id="287" creationId="{2F609C26-E847-5940-B6E3-A1A3B8337E98}"/>
          </ac:grpSpMkLst>
        </pc:grpChg>
        <pc:grpChg chg="mod">
          <ac:chgData name="Laurentiu Marinescu" userId="b0dd0703-37df-4a8b-9e5a-fe66a92f9c33" providerId="ADAL" clId="{7A108CF2-572F-45F0-8870-D39F0C477427}" dt="2024-05-24T10:24:12.018" v="3220"/>
          <ac:grpSpMkLst>
            <pc:docMk/>
            <pc:sldMk cId="999955294" sldId="5483"/>
            <ac:grpSpMk id="301" creationId="{D82D3250-33F5-AE49-9637-D6F803CD607D}"/>
          </ac:grpSpMkLst>
        </pc:grpChg>
        <pc:grpChg chg="mod">
          <ac:chgData name="Laurentiu Marinescu" userId="b0dd0703-37df-4a8b-9e5a-fe66a92f9c33" providerId="ADAL" clId="{7A108CF2-572F-45F0-8870-D39F0C477427}" dt="2024-05-24T10:24:12.018" v="3220"/>
          <ac:grpSpMkLst>
            <pc:docMk/>
            <pc:sldMk cId="999955294" sldId="5483"/>
            <ac:grpSpMk id="302" creationId="{3BE1E700-7BAA-9D4B-9DDA-726BD8B90CD0}"/>
          </ac:grpSpMkLst>
        </pc:grpChg>
        <pc:grpChg chg="mod">
          <ac:chgData name="Laurentiu Marinescu" userId="b0dd0703-37df-4a8b-9e5a-fe66a92f9c33" providerId="ADAL" clId="{7A108CF2-572F-45F0-8870-D39F0C477427}" dt="2024-05-24T10:24:12.018" v="3220"/>
          <ac:grpSpMkLst>
            <pc:docMk/>
            <pc:sldMk cId="999955294" sldId="5483"/>
            <ac:grpSpMk id="303" creationId="{5E572868-FCBE-0C4B-B22A-797EC13E134D}"/>
          </ac:grpSpMkLst>
        </pc:grpChg>
        <pc:grpChg chg="mod">
          <ac:chgData name="Laurentiu Marinescu" userId="b0dd0703-37df-4a8b-9e5a-fe66a92f9c33" providerId="ADAL" clId="{7A108CF2-572F-45F0-8870-D39F0C477427}" dt="2024-05-24T10:24:12.018" v="3220"/>
          <ac:grpSpMkLst>
            <pc:docMk/>
            <pc:sldMk cId="999955294" sldId="5483"/>
            <ac:grpSpMk id="304" creationId="{E272329E-6971-E04D-897A-F64277C8066F}"/>
          </ac:grpSpMkLst>
        </pc:grpChg>
        <pc:grpChg chg="mod">
          <ac:chgData name="Laurentiu Marinescu" userId="b0dd0703-37df-4a8b-9e5a-fe66a92f9c33" providerId="ADAL" clId="{7A108CF2-572F-45F0-8870-D39F0C477427}" dt="2024-05-24T10:24:12.018" v="3220"/>
          <ac:grpSpMkLst>
            <pc:docMk/>
            <pc:sldMk cId="999955294" sldId="5483"/>
            <ac:grpSpMk id="305" creationId="{F79B207C-AFBF-794B-B877-FE45527BF8B1}"/>
          </ac:grpSpMkLst>
        </pc:grpChg>
        <pc:grpChg chg="mod">
          <ac:chgData name="Laurentiu Marinescu" userId="b0dd0703-37df-4a8b-9e5a-fe66a92f9c33" providerId="ADAL" clId="{7A108CF2-572F-45F0-8870-D39F0C477427}" dt="2024-05-24T10:24:12.018" v="3220"/>
          <ac:grpSpMkLst>
            <pc:docMk/>
            <pc:sldMk cId="999955294" sldId="5483"/>
            <ac:grpSpMk id="322" creationId="{4C235AE1-D18B-1148-8DB8-90CA86E81436}"/>
          </ac:grpSpMkLst>
        </pc:grpChg>
        <pc:grpChg chg="mod">
          <ac:chgData name="Laurentiu Marinescu" userId="b0dd0703-37df-4a8b-9e5a-fe66a92f9c33" providerId="ADAL" clId="{7A108CF2-572F-45F0-8870-D39F0C477427}" dt="2024-05-24T10:24:12.018" v="3220"/>
          <ac:grpSpMkLst>
            <pc:docMk/>
            <pc:sldMk cId="999955294" sldId="5483"/>
            <ac:grpSpMk id="323" creationId="{F7C65896-A560-DF40-90B4-B78D922BA4CA}"/>
          </ac:grpSpMkLst>
        </pc:grpChg>
        <pc:grpChg chg="mod">
          <ac:chgData name="Laurentiu Marinescu" userId="b0dd0703-37df-4a8b-9e5a-fe66a92f9c33" providerId="ADAL" clId="{7A108CF2-572F-45F0-8870-D39F0C477427}" dt="2024-05-24T10:24:12.018" v="3220"/>
          <ac:grpSpMkLst>
            <pc:docMk/>
            <pc:sldMk cId="999955294" sldId="5483"/>
            <ac:grpSpMk id="324" creationId="{D6E41491-F549-A14C-8E23-8DFB5B7A524B}"/>
          </ac:grpSpMkLst>
        </pc:grpChg>
        <pc:grpChg chg="mod">
          <ac:chgData name="Laurentiu Marinescu" userId="b0dd0703-37df-4a8b-9e5a-fe66a92f9c33" providerId="ADAL" clId="{7A108CF2-572F-45F0-8870-D39F0C477427}" dt="2024-05-24T10:24:12.018" v="3220"/>
          <ac:grpSpMkLst>
            <pc:docMk/>
            <pc:sldMk cId="999955294" sldId="5483"/>
            <ac:grpSpMk id="352" creationId="{EE3FE4D9-2D2E-0749-B928-0BD9D5E36C39}"/>
          </ac:grpSpMkLst>
        </pc:grpChg>
        <pc:grpChg chg="mod">
          <ac:chgData name="Laurentiu Marinescu" userId="b0dd0703-37df-4a8b-9e5a-fe66a92f9c33" providerId="ADAL" clId="{7A108CF2-572F-45F0-8870-D39F0C477427}" dt="2024-05-24T10:24:12.018" v="3220"/>
          <ac:grpSpMkLst>
            <pc:docMk/>
            <pc:sldMk cId="999955294" sldId="5483"/>
            <ac:grpSpMk id="357" creationId="{9DA41021-030D-DF44-A965-1EEDEB66A833}"/>
          </ac:grpSpMkLst>
        </pc:grpChg>
        <pc:grpChg chg="mod">
          <ac:chgData name="Laurentiu Marinescu" userId="b0dd0703-37df-4a8b-9e5a-fe66a92f9c33" providerId="ADAL" clId="{7A108CF2-572F-45F0-8870-D39F0C477427}" dt="2024-05-24T10:24:12.018" v="3220"/>
          <ac:grpSpMkLst>
            <pc:docMk/>
            <pc:sldMk cId="999955294" sldId="5483"/>
            <ac:grpSpMk id="358" creationId="{C0635519-C740-2046-BE09-D762BACF5382}"/>
          </ac:grpSpMkLst>
        </pc:grpChg>
        <pc:grpChg chg="mod">
          <ac:chgData name="Laurentiu Marinescu" userId="b0dd0703-37df-4a8b-9e5a-fe66a92f9c33" providerId="ADAL" clId="{7A108CF2-572F-45F0-8870-D39F0C477427}" dt="2024-05-24T10:24:12.018" v="3220"/>
          <ac:grpSpMkLst>
            <pc:docMk/>
            <pc:sldMk cId="999955294" sldId="5483"/>
            <ac:grpSpMk id="359" creationId="{A091352D-5678-874F-91FD-C5E3A42016CC}"/>
          </ac:grpSpMkLst>
        </pc:grpChg>
        <pc:grpChg chg="mod">
          <ac:chgData name="Laurentiu Marinescu" userId="b0dd0703-37df-4a8b-9e5a-fe66a92f9c33" providerId="ADAL" clId="{7A108CF2-572F-45F0-8870-D39F0C477427}" dt="2024-05-24T10:24:12.018" v="3220"/>
          <ac:grpSpMkLst>
            <pc:docMk/>
            <pc:sldMk cId="999955294" sldId="5483"/>
            <ac:grpSpMk id="360" creationId="{62F9DC89-9510-F24D-ADE0-B97A512AC897}"/>
          </ac:grpSpMkLst>
        </pc:grpChg>
        <pc:grpChg chg="mod">
          <ac:chgData name="Laurentiu Marinescu" userId="b0dd0703-37df-4a8b-9e5a-fe66a92f9c33" providerId="ADAL" clId="{7A108CF2-572F-45F0-8870-D39F0C477427}" dt="2024-05-24T10:24:12.018" v="3220"/>
          <ac:grpSpMkLst>
            <pc:docMk/>
            <pc:sldMk cId="999955294" sldId="5483"/>
            <ac:grpSpMk id="362" creationId="{A0C1C6EE-C49F-6942-A448-69A545848F64}"/>
          </ac:grpSpMkLst>
        </pc:grpChg>
        <pc:grpChg chg="mod">
          <ac:chgData name="Laurentiu Marinescu" userId="b0dd0703-37df-4a8b-9e5a-fe66a92f9c33" providerId="ADAL" clId="{7A108CF2-572F-45F0-8870-D39F0C477427}" dt="2024-05-24T10:24:12.018" v="3220"/>
          <ac:grpSpMkLst>
            <pc:docMk/>
            <pc:sldMk cId="999955294" sldId="5483"/>
            <ac:grpSpMk id="363" creationId="{18833BA1-5D1E-5649-A862-556CDA95508B}"/>
          </ac:grpSpMkLst>
        </pc:grpChg>
        <pc:grpChg chg="mod">
          <ac:chgData name="Laurentiu Marinescu" userId="b0dd0703-37df-4a8b-9e5a-fe66a92f9c33" providerId="ADAL" clId="{7A108CF2-572F-45F0-8870-D39F0C477427}" dt="2024-05-24T10:24:12.018" v="3220"/>
          <ac:grpSpMkLst>
            <pc:docMk/>
            <pc:sldMk cId="999955294" sldId="5483"/>
            <ac:grpSpMk id="406" creationId="{2A0E52EF-282F-DE43-90B6-6B87B0974402}"/>
          </ac:grpSpMkLst>
        </pc:grpChg>
        <pc:grpChg chg="mod">
          <ac:chgData name="Laurentiu Marinescu" userId="b0dd0703-37df-4a8b-9e5a-fe66a92f9c33" providerId="ADAL" clId="{7A108CF2-572F-45F0-8870-D39F0C477427}" dt="2024-05-24T10:24:12.018" v="3220"/>
          <ac:grpSpMkLst>
            <pc:docMk/>
            <pc:sldMk cId="999955294" sldId="5483"/>
            <ac:grpSpMk id="409" creationId="{9813E19D-C8D2-F94D-9873-16AE240B2B84}"/>
          </ac:grpSpMkLst>
        </pc:grpChg>
        <pc:grpChg chg="mod">
          <ac:chgData name="Laurentiu Marinescu" userId="b0dd0703-37df-4a8b-9e5a-fe66a92f9c33" providerId="ADAL" clId="{7A108CF2-572F-45F0-8870-D39F0C477427}" dt="2024-05-24T10:24:12.018" v="3220"/>
          <ac:grpSpMkLst>
            <pc:docMk/>
            <pc:sldMk cId="999955294" sldId="5483"/>
            <ac:grpSpMk id="410" creationId="{898220B6-A112-A84E-882C-A567CA9C010D}"/>
          </ac:grpSpMkLst>
        </pc:grpChg>
        <pc:grpChg chg="mod">
          <ac:chgData name="Laurentiu Marinescu" userId="b0dd0703-37df-4a8b-9e5a-fe66a92f9c33" providerId="ADAL" clId="{7A108CF2-572F-45F0-8870-D39F0C477427}" dt="2024-05-24T10:24:12.018" v="3220"/>
          <ac:grpSpMkLst>
            <pc:docMk/>
            <pc:sldMk cId="999955294" sldId="5483"/>
            <ac:grpSpMk id="430" creationId="{EF9BEC03-7495-C847-947C-B952DF7A90CC}"/>
          </ac:grpSpMkLst>
        </pc:grpChg>
        <pc:grpChg chg="mod">
          <ac:chgData name="Laurentiu Marinescu" userId="b0dd0703-37df-4a8b-9e5a-fe66a92f9c33" providerId="ADAL" clId="{7A108CF2-572F-45F0-8870-D39F0C477427}" dt="2024-05-24T10:24:12.018" v="3220"/>
          <ac:grpSpMkLst>
            <pc:docMk/>
            <pc:sldMk cId="999955294" sldId="5483"/>
            <ac:grpSpMk id="432" creationId="{1FC8C117-79E7-FB43-95C6-83F5A044C0A5}"/>
          </ac:grpSpMkLst>
        </pc:grpChg>
        <pc:grpChg chg="mod">
          <ac:chgData name="Laurentiu Marinescu" userId="b0dd0703-37df-4a8b-9e5a-fe66a92f9c33" providerId="ADAL" clId="{7A108CF2-572F-45F0-8870-D39F0C477427}" dt="2024-05-24T10:24:12.018" v="3220"/>
          <ac:grpSpMkLst>
            <pc:docMk/>
            <pc:sldMk cId="999955294" sldId="5483"/>
            <ac:grpSpMk id="451" creationId="{2A59379A-9C94-464F-813E-F2D87D417082}"/>
          </ac:grpSpMkLst>
        </pc:grpChg>
        <pc:grpChg chg="mod">
          <ac:chgData name="Laurentiu Marinescu" userId="b0dd0703-37df-4a8b-9e5a-fe66a92f9c33" providerId="ADAL" clId="{7A108CF2-572F-45F0-8870-D39F0C477427}" dt="2024-05-24T10:24:12.018" v="3220"/>
          <ac:grpSpMkLst>
            <pc:docMk/>
            <pc:sldMk cId="999955294" sldId="5483"/>
            <ac:grpSpMk id="536" creationId="{94DBA103-B30B-E444-92A1-04A3643B4CDA}"/>
          </ac:grpSpMkLst>
        </pc:grpChg>
        <pc:grpChg chg="mod">
          <ac:chgData name="Laurentiu Marinescu" userId="b0dd0703-37df-4a8b-9e5a-fe66a92f9c33" providerId="ADAL" clId="{7A108CF2-572F-45F0-8870-D39F0C477427}" dt="2024-05-24T10:24:12.018" v="3220"/>
          <ac:grpSpMkLst>
            <pc:docMk/>
            <pc:sldMk cId="999955294" sldId="5483"/>
            <ac:grpSpMk id="537" creationId="{A0B6671D-F7CE-1849-A868-2DBCBF37FA03}"/>
          </ac:grpSpMkLst>
        </pc:grpChg>
        <pc:picChg chg="mod">
          <ac:chgData name="Laurentiu Marinescu" userId="b0dd0703-37df-4a8b-9e5a-fe66a92f9c33" providerId="ADAL" clId="{7A108CF2-572F-45F0-8870-D39F0C477427}" dt="2024-05-24T10:24:12.069" v="3359"/>
          <ac:picMkLst>
            <pc:docMk/>
            <pc:sldMk cId="999955294" sldId="5483"/>
            <ac:picMk id="1080" creationId="{6AF1EDAD-454E-FA4C-927E-2824361E3DD6}"/>
          </ac:picMkLst>
        </pc:picChg>
        <pc:picChg chg="mod">
          <ac:chgData name="Laurentiu Marinescu" userId="b0dd0703-37df-4a8b-9e5a-fe66a92f9c33" providerId="ADAL" clId="{7A108CF2-572F-45F0-8870-D39F0C477427}" dt="2024-05-24T10:24:12.073" v="3370"/>
          <ac:picMkLst>
            <pc:docMk/>
            <pc:sldMk cId="999955294" sldId="5483"/>
            <ac:picMk id="1085" creationId="{25739322-CD1C-0F4F-A3FF-D35E625B170A}"/>
          </ac:picMkLst>
        </pc:picChg>
        <pc:picChg chg="mod">
          <ac:chgData name="Laurentiu Marinescu" userId="b0dd0703-37df-4a8b-9e5a-fe66a92f9c33" providerId="ADAL" clId="{7A108CF2-572F-45F0-8870-D39F0C477427}" dt="2024-05-24T10:24:12.078" v="3381"/>
          <ac:picMkLst>
            <pc:docMk/>
            <pc:sldMk cId="999955294" sldId="5483"/>
            <ac:picMk id="1090" creationId="{4267C248-8083-7140-8D8F-A334A4A8EA9D}"/>
          </ac:picMkLst>
        </pc:picChg>
        <pc:cxnChg chg="mod">
          <ac:chgData name="Laurentiu Marinescu" userId="b0dd0703-37df-4a8b-9e5a-fe66a92f9c33" providerId="ADAL" clId="{7A108CF2-572F-45F0-8870-D39F0C477427}" dt="2024-05-24T10:24:12.023" v="3236"/>
          <ac:cxnSpMkLst>
            <pc:docMk/>
            <pc:sldMk cId="999955294" sldId="5483"/>
            <ac:cxnSpMk id="1078" creationId="{5E677A9A-3CB6-E343-A1CF-BEE2094B4F03}"/>
          </ac:cxnSpMkLst>
        </pc:cxnChg>
        <pc:cxnChg chg="mod">
          <ac:chgData name="Laurentiu Marinescu" userId="b0dd0703-37df-4a8b-9e5a-fe66a92f9c33" providerId="ADAL" clId="{7A108CF2-572F-45F0-8870-D39F0C477427}" dt="2024-05-24T10:24:12.030" v="3260"/>
          <ac:cxnSpMkLst>
            <pc:docMk/>
            <pc:sldMk cId="999955294" sldId="5483"/>
            <ac:cxnSpMk id="1081" creationId="{5590C272-206B-3D47-9B35-CEE580444F1E}"/>
          </ac:cxnSpMkLst>
        </pc:cxnChg>
        <pc:cxnChg chg="mod">
          <ac:chgData name="Laurentiu Marinescu" userId="b0dd0703-37df-4a8b-9e5a-fe66a92f9c33" providerId="ADAL" clId="{7A108CF2-572F-45F0-8870-D39F0C477427}" dt="2024-05-24T10:24:12.035" v="3276"/>
          <ac:cxnSpMkLst>
            <pc:docMk/>
            <pc:sldMk cId="999955294" sldId="5483"/>
            <ac:cxnSpMk id="1083" creationId="{5DC92991-B44E-964A-89CA-E1A08A66AA64}"/>
          </ac:cxnSpMkLst>
        </pc:cxnChg>
        <pc:cxnChg chg="mod">
          <ac:chgData name="Laurentiu Marinescu" userId="b0dd0703-37df-4a8b-9e5a-fe66a92f9c33" providerId="ADAL" clId="{7A108CF2-572F-45F0-8870-D39F0C477427}" dt="2024-05-24T10:24:12.043" v="3300"/>
          <ac:cxnSpMkLst>
            <pc:docMk/>
            <pc:sldMk cId="999955294" sldId="5483"/>
            <ac:cxnSpMk id="1086" creationId="{170D7798-F023-3146-AAD0-B9D3F7C832D7}"/>
          </ac:cxnSpMkLst>
        </pc:cxnChg>
        <pc:cxnChg chg="mod">
          <ac:chgData name="Laurentiu Marinescu" userId="b0dd0703-37df-4a8b-9e5a-fe66a92f9c33" providerId="ADAL" clId="{7A108CF2-572F-45F0-8870-D39F0C477427}" dt="2024-05-24T10:24:12.057" v="3348"/>
          <ac:cxnSpMkLst>
            <pc:docMk/>
            <pc:sldMk cId="999955294" sldId="5483"/>
            <ac:cxnSpMk id="1092" creationId="{F5A2B89F-FD6E-D74C-93D6-B429AAE2DFAC}"/>
          </ac:cxnSpMkLst>
        </pc:cxnChg>
      </pc:sldChg>
      <pc:sldChg chg="add del">
        <pc:chgData name="Laurentiu Marinescu" userId="b0dd0703-37df-4a8b-9e5a-fe66a92f9c33" providerId="ADAL" clId="{7A108CF2-572F-45F0-8870-D39F0C477427}" dt="2024-05-24T11:32:59.880" v="3981"/>
        <pc:sldMkLst>
          <pc:docMk/>
          <pc:sldMk cId="2264940456" sldId="5484"/>
        </pc:sldMkLst>
      </pc:sldChg>
      <pc:sldChg chg="addSp delSp modSp add mod modNotesTx">
        <pc:chgData name="Laurentiu Marinescu" userId="b0dd0703-37df-4a8b-9e5a-fe66a92f9c33" providerId="ADAL" clId="{7A108CF2-572F-45F0-8870-D39F0C477427}" dt="2024-05-28T08:37:09.388" v="16300" actId="14100"/>
        <pc:sldMkLst>
          <pc:docMk/>
          <pc:sldMk cId="3980757617" sldId="5484"/>
        </pc:sldMkLst>
        <pc:spChg chg="mod">
          <ac:chgData name="Laurentiu Marinescu" userId="b0dd0703-37df-4a8b-9e5a-fe66a92f9c33" providerId="ADAL" clId="{7A108CF2-572F-45F0-8870-D39F0C477427}" dt="2024-05-24T16:26:38.585" v="12908" actId="14100"/>
          <ac:spMkLst>
            <pc:docMk/>
            <pc:sldMk cId="3980757617" sldId="5484"/>
            <ac:spMk id="2" creationId="{122DC246-7CB8-9D02-ED9B-29E2BDDEDF95}"/>
          </ac:spMkLst>
        </pc:spChg>
        <pc:spChg chg="mod">
          <ac:chgData name="Laurentiu Marinescu" userId="b0dd0703-37df-4a8b-9e5a-fe66a92f9c33" providerId="ADAL" clId="{7A108CF2-572F-45F0-8870-D39F0C477427}" dt="2024-05-28T08:37:09.388" v="16300" actId="14100"/>
          <ac:spMkLst>
            <pc:docMk/>
            <pc:sldMk cId="3980757617" sldId="5484"/>
            <ac:spMk id="3" creationId="{0BCED5C6-C9D8-E77D-79B0-01D202C5264D}"/>
          </ac:spMkLst>
        </pc:spChg>
        <pc:spChg chg="add mod">
          <ac:chgData name="Laurentiu Marinescu" userId="b0dd0703-37df-4a8b-9e5a-fe66a92f9c33" providerId="ADAL" clId="{7A108CF2-572F-45F0-8870-D39F0C477427}" dt="2024-05-24T19:19:00.005" v="14741" actId="207"/>
          <ac:spMkLst>
            <pc:docMk/>
            <pc:sldMk cId="3980757617" sldId="5484"/>
            <ac:spMk id="4" creationId="{D1495E88-5EAF-AF85-2812-7DB61AD196A2}"/>
          </ac:spMkLst>
        </pc:spChg>
        <pc:spChg chg="del">
          <ac:chgData name="Laurentiu Marinescu" userId="b0dd0703-37df-4a8b-9e5a-fe66a92f9c33" providerId="ADAL" clId="{7A108CF2-572F-45F0-8870-D39F0C477427}" dt="2024-05-24T19:18:56.916" v="14739" actId="478"/>
          <ac:spMkLst>
            <pc:docMk/>
            <pc:sldMk cId="3980757617" sldId="5484"/>
            <ac:spMk id="11" creationId="{BC948F34-F1EE-11D8-5A97-5C845AD0157A}"/>
          </ac:spMkLst>
        </pc:spChg>
      </pc:sldChg>
      <pc:sldChg chg="addSp delSp modSp add del mod">
        <pc:chgData name="Laurentiu Marinescu" userId="b0dd0703-37df-4a8b-9e5a-fe66a92f9c33" providerId="ADAL" clId="{7A108CF2-572F-45F0-8870-D39F0C477427}" dt="2024-05-24T11:08:10.282" v="3956" actId="47"/>
        <pc:sldMkLst>
          <pc:docMk/>
          <pc:sldMk cId="4067202699" sldId="5484"/>
        </pc:sldMkLst>
        <pc:picChg chg="del">
          <ac:chgData name="Laurentiu Marinescu" userId="b0dd0703-37df-4a8b-9e5a-fe66a92f9c33" providerId="ADAL" clId="{7A108CF2-572F-45F0-8870-D39F0C477427}" dt="2024-05-24T11:07:38.250" v="3952" actId="478"/>
          <ac:picMkLst>
            <pc:docMk/>
            <pc:sldMk cId="4067202699" sldId="5484"/>
            <ac:picMk id="11" creationId="{D808345C-FA02-4A7A-A995-CD92C501ED7D}"/>
          </ac:picMkLst>
        </pc:picChg>
        <pc:picChg chg="add mod">
          <ac:chgData name="Laurentiu Marinescu" userId="b0dd0703-37df-4a8b-9e5a-fe66a92f9c33" providerId="ADAL" clId="{7A108CF2-572F-45F0-8870-D39F0C477427}" dt="2024-05-24T11:07:46.595" v="3955" actId="1076"/>
          <ac:picMkLst>
            <pc:docMk/>
            <pc:sldMk cId="4067202699" sldId="5484"/>
            <ac:picMk id="8194" creationId="{D35796B1-4F33-E473-040B-B3673339AD1A}"/>
          </ac:picMkLst>
        </pc:picChg>
      </pc:sldChg>
      <pc:sldChg chg="addSp delSp modSp add mod">
        <pc:chgData name="Laurentiu Marinescu" userId="b0dd0703-37df-4a8b-9e5a-fe66a92f9c33" providerId="ADAL" clId="{7A108CF2-572F-45F0-8870-D39F0C477427}" dt="2024-05-28T23:24:19.135" v="20503" actId="20577"/>
        <pc:sldMkLst>
          <pc:docMk/>
          <pc:sldMk cId="1746331985" sldId="5485"/>
        </pc:sldMkLst>
        <pc:spChg chg="del">
          <ac:chgData name="Laurentiu Marinescu" userId="b0dd0703-37df-4a8b-9e5a-fe66a92f9c33" providerId="ADAL" clId="{7A108CF2-572F-45F0-8870-D39F0C477427}" dt="2024-05-24T19:11:30.664" v="14605" actId="478"/>
          <ac:spMkLst>
            <pc:docMk/>
            <pc:sldMk cId="1746331985" sldId="5485"/>
            <ac:spMk id="3" creationId="{3C9B912A-99A5-CC7B-0F70-6A7BA0D1AB53}"/>
          </ac:spMkLst>
        </pc:spChg>
        <pc:spChg chg="mod">
          <ac:chgData name="Laurentiu Marinescu" userId="b0dd0703-37df-4a8b-9e5a-fe66a92f9c33" providerId="ADAL" clId="{7A108CF2-572F-45F0-8870-D39F0C477427}" dt="2024-05-28T23:24:19.135" v="20503" actId="20577"/>
          <ac:spMkLst>
            <pc:docMk/>
            <pc:sldMk cId="1746331985" sldId="5485"/>
            <ac:spMk id="4" creationId="{EB2A1D15-730E-44E3-5E18-C9038526860D}"/>
          </ac:spMkLst>
        </pc:spChg>
        <pc:spChg chg="add mod">
          <ac:chgData name="Laurentiu Marinescu" userId="b0dd0703-37df-4a8b-9e5a-fe66a92f9c33" providerId="ADAL" clId="{7A108CF2-572F-45F0-8870-D39F0C477427}" dt="2024-05-24T19:11:35.114" v="14607" actId="207"/>
          <ac:spMkLst>
            <pc:docMk/>
            <pc:sldMk cId="1746331985" sldId="5485"/>
            <ac:spMk id="5" creationId="{7E405A5C-9E9D-55F5-2580-9639B0D614A0}"/>
          </ac:spMkLst>
        </pc:spChg>
        <pc:picChg chg="add del mod ord">
          <ac:chgData name="Laurentiu Marinescu" userId="b0dd0703-37df-4a8b-9e5a-fe66a92f9c33" providerId="ADAL" clId="{7A108CF2-572F-45F0-8870-D39F0C477427}" dt="2024-05-24T19:11:04.616" v="14604" actId="478"/>
          <ac:picMkLst>
            <pc:docMk/>
            <pc:sldMk cId="1746331985" sldId="5485"/>
            <ac:picMk id="7" creationId="{A12F7A22-FFC5-E923-65A4-7C40207C9F45}"/>
          </ac:picMkLst>
        </pc:picChg>
      </pc:sldChg>
      <pc:sldChg chg="addSp delSp modSp new mod modNotesTx">
        <pc:chgData name="Laurentiu Marinescu" userId="b0dd0703-37df-4a8b-9e5a-fe66a92f9c33" providerId="ADAL" clId="{7A108CF2-572F-45F0-8870-D39F0C477427}" dt="2024-05-28T23:24:41.832" v="20505" actId="20577"/>
        <pc:sldMkLst>
          <pc:docMk/>
          <pc:sldMk cId="3546307719" sldId="5486"/>
        </pc:sldMkLst>
        <pc:spChg chg="del">
          <ac:chgData name="Laurentiu Marinescu" userId="b0dd0703-37df-4a8b-9e5a-fe66a92f9c33" providerId="ADAL" clId="{7A108CF2-572F-45F0-8870-D39F0C477427}" dt="2024-05-28T07:56:36.008" v="14872" actId="478"/>
          <ac:spMkLst>
            <pc:docMk/>
            <pc:sldMk cId="3546307719" sldId="5486"/>
            <ac:spMk id="2" creationId="{26328D1F-6706-BC42-14DE-828DE40108A6}"/>
          </ac:spMkLst>
        </pc:spChg>
        <pc:spChg chg="add mod">
          <ac:chgData name="Laurentiu Marinescu" userId="b0dd0703-37df-4a8b-9e5a-fe66a92f9c33" providerId="ADAL" clId="{7A108CF2-572F-45F0-8870-D39F0C477427}" dt="2024-05-28T19:47:09.011" v="17843"/>
          <ac:spMkLst>
            <pc:docMk/>
            <pc:sldMk cId="3546307719" sldId="5486"/>
            <ac:spMk id="2" creationId="{29757762-BB78-DC12-452E-433B36DC6B7C}"/>
          </ac:spMkLst>
        </pc:spChg>
        <pc:spChg chg="del">
          <ac:chgData name="Laurentiu Marinescu" userId="b0dd0703-37df-4a8b-9e5a-fe66a92f9c33" providerId="ADAL" clId="{7A108CF2-572F-45F0-8870-D39F0C477427}" dt="2024-05-28T07:56:42.419" v="14873" actId="478"/>
          <ac:spMkLst>
            <pc:docMk/>
            <pc:sldMk cId="3546307719" sldId="5486"/>
            <ac:spMk id="3" creationId="{28331FE6-F0D7-BDA0-E9A1-38AA328C6344}"/>
          </ac:spMkLst>
        </pc:spChg>
        <pc:spChg chg="del">
          <ac:chgData name="Laurentiu Marinescu" userId="b0dd0703-37df-4a8b-9e5a-fe66a92f9c33" providerId="ADAL" clId="{7A108CF2-572F-45F0-8870-D39F0C477427}" dt="2024-05-28T07:56:44.140" v="14874" actId="478"/>
          <ac:spMkLst>
            <pc:docMk/>
            <pc:sldMk cId="3546307719" sldId="5486"/>
            <ac:spMk id="4" creationId="{5410C518-4F80-54B9-1C9C-E8C51573F46F}"/>
          </ac:spMkLst>
        </pc:spChg>
        <pc:picChg chg="add mod">
          <ac:chgData name="Laurentiu Marinescu" userId="b0dd0703-37df-4a8b-9e5a-fe66a92f9c33" providerId="ADAL" clId="{7A108CF2-572F-45F0-8870-D39F0C477427}" dt="2024-05-28T07:59:01.541" v="14875" actId="931"/>
          <ac:picMkLst>
            <pc:docMk/>
            <pc:sldMk cId="3546307719" sldId="5486"/>
            <ac:picMk id="9" creationId="{127F39B9-B4BC-A05E-56CB-01A736569DC3}"/>
          </ac:picMkLst>
        </pc:picChg>
      </pc:sldChg>
      <pc:sldChg chg="add del">
        <pc:chgData name="Laurentiu Marinescu" userId="b0dd0703-37df-4a8b-9e5a-fe66a92f9c33" providerId="ADAL" clId="{7A108CF2-572F-45F0-8870-D39F0C477427}" dt="2024-05-28T08:04:56.816" v="14980"/>
        <pc:sldMkLst>
          <pc:docMk/>
          <pc:sldMk cId="3374057498" sldId="5487"/>
        </pc:sldMkLst>
      </pc:sldChg>
    </pc:docChg>
  </pc:docChgLst>
  <pc:docChgLst>
    <pc:chgData name="Laurentiu Marinescu" userId="S::laurentiu.marinescu@asml.com::b0dd0703-37df-4a8b-9e5a-fe66a92f9c33" providerId="AD" clId="Web-{55642CD9-43AD-2854-BAFF-BB2C39F2452C}"/>
    <pc:docChg chg="modSld">
      <pc:chgData name="Laurentiu Marinescu" userId="S::laurentiu.marinescu@asml.com::b0dd0703-37df-4a8b-9e5a-fe66a92f9c33" providerId="AD" clId="Web-{55642CD9-43AD-2854-BAFF-BB2C39F2452C}" dt="2024-05-27T08:05:46.778" v="23" actId="1076"/>
      <pc:docMkLst>
        <pc:docMk/>
      </pc:docMkLst>
      <pc:sldChg chg="addSp delSp modSp">
        <pc:chgData name="Laurentiu Marinescu" userId="S::laurentiu.marinescu@asml.com::b0dd0703-37df-4a8b-9e5a-fe66a92f9c33" providerId="AD" clId="Web-{55642CD9-43AD-2854-BAFF-BB2C39F2452C}" dt="2024-05-27T08:05:46.778" v="23" actId="1076"/>
        <pc:sldMkLst>
          <pc:docMk/>
          <pc:sldMk cId="2723690343" sldId="5444"/>
        </pc:sldMkLst>
        <pc:picChg chg="add mod">
          <ac:chgData name="Laurentiu Marinescu" userId="S::laurentiu.marinescu@asml.com::b0dd0703-37df-4a8b-9e5a-fe66a92f9c33" providerId="AD" clId="Web-{55642CD9-43AD-2854-BAFF-BB2C39F2452C}" dt="2024-05-27T08:05:46.778" v="23" actId="1076"/>
          <ac:picMkLst>
            <pc:docMk/>
            <pc:sldMk cId="2723690343" sldId="5444"/>
            <ac:picMk id="3" creationId="{9AC383C8-BF36-09C7-8B11-BED09E410E1A}"/>
          </ac:picMkLst>
        </pc:picChg>
        <pc:picChg chg="add mod">
          <ac:chgData name="Laurentiu Marinescu" userId="S::laurentiu.marinescu@asml.com::b0dd0703-37df-4a8b-9e5a-fe66a92f9c33" providerId="AD" clId="Web-{55642CD9-43AD-2854-BAFF-BB2C39F2452C}" dt="2024-05-27T08:05:21.293" v="14" actId="1076"/>
          <ac:picMkLst>
            <pc:docMk/>
            <pc:sldMk cId="2723690343" sldId="5444"/>
            <ac:picMk id="5" creationId="{070A32F8-5522-9283-C757-3DE34561931A}"/>
          </ac:picMkLst>
        </pc:picChg>
        <pc:picChg chg="mod">
          <ac:chgData name="Laurentiu Marinescu" userId="S::laurentiu.marinescu@asml.com::b0dd0703-37df-4a8b-9e5a-fe66a92f9c33" providerId="AD" clId="Web-{55642CD9-43AD-2854-BAFF-BB2C39F2452C}" dt="2024-05-27T08:05:29.075" v="18" actId="1076"/>
          <ac:picMkLst>
            <pc:docMk/>
            <pc:sldMk cId="2723690343" sldId="5444"/>
            <ac:picMk id="29" creationId="{4528A2C3-6D5B-8ADF-C016-25B146C6F18E}"/>
          </ac:picMkLst>
        </pc:picChg>
        <pc:picChg chg="del mod">
          <ac:chgData name="Laurentiu Marinescu" userId="S::laurentiu.marinescu@asml.com::b0dd0703-37df-4a8b-9e5a-fe66a92f9c33" providerId="AD" clId="Web-{55642CD9-43AD-2854-BAFF-BB2C39F2452C}" dt="2024-05-27T08:04:50.495" v="9"/>
          <ac:picMkLst>
            <pc:docMk/>
            <pc:sldMk cId="2723690343" sldId="5444"/>
            <ac:picMk id="23556" creationId="{035A6274-2719-0BA3-FC64-5F7831D67DEA}"/>
          </ac:picMkLst>
        </pc:picChg>
        <pc:picChg chg="mod">
          <ac:chgData name="Laurentiu Marinescu" userId="S::laurentiu.marinescu@asml.com::b0dd0703-37df-4a8b-9e5a-fe66a92f9c33" providerId="AD" clId="Web-{55642CD9-43AD-2854-BAFF-BB2C39F2452C}" dt="2024-05-27T08:05:25.153" v="16" actId="1076"/>
          <ac:picMkLst>
            <pc:docMk/>
            <pc:sldMk cId="2723690343" sldId="5444"/>
            <ac:picMk id="23558" creationId="{9E067FB7-957F-0CD5-CA59-C3067649B5A6}"/>
          </ac:picMkLst>
        </pc:picChg>
        <pc:picChg chg="mod">
          <ac:chgData name="Laurentiu Marinescu" userId="S::laurentiu.marinescu@asml.com::b0dd0703-37df-4a8b-9e5a-fe66a92f9c33" providerId="AD" clId="Web-{55642CD9-43AD-2854-BAFF-BB2C39F2452C}" dt="2024-05-27T08:05:26.497" v="17" actId="1076"/>
          <ac:picMkLst>
            <pc:docMk/>
            <pc:sldMk cId="2723690343" sldId="5444"/>
            <ac:picMk id="23562" creationId="{D88204CD-487B-1D64-F043-BFC48C7D4933}"/>
          </ac:picMkLst>
        </pc:picChg>
        <pc:picChg chg="mod">
          <ac:chgData name="Laurentiu Marinescu" userId="S::laurentiu.marinescu@asml.com::b0dd0703-37df-4a8b-9e5a-fe66a92f9c33" providerId="AD" clId="Web-{55642CD9-43AD-2854-BAFF-BB2C39F2452C}" dt="2024-05-27T08:05:31.450" v="19" actId="1076"/>
          <ac:picMkLst>
            <pc:docMk/>
            <pc:sldMk cId="2723690343" sldId="5444"/>
            <ac:picMk id="23566" creationId="{6A1E3E19-1E8A-280C-A7FC-F986FFCF7707}"/>
          </ac:picMkLst>
        </pc:picChg>
        <pc:picChg chg="mod">
          <ac:chgData name="Laurentiu Marinescu" userId="S::laurentiu.marinescu@asml.com::b0dd0703-37df-4a8b-9e5a-fe66a92f9c33" providerId="AD" clId="Web-{55642CD9-43AD-2854-BAFF-BB2C39F2452C}" dt="2024-05-27T08:05:33.903" v="20" actId="1076"/>
          <ac:picMkLst>
            <pc:docMk/>
            <pc:sldMk cId="2723690343" sldId="5444"/>
            <ac:picMk id="23576" creationId="{25C76278-9644-4A14-1BF0-879065558564}"/>
          </ac:picMkLst>
        </pc:picChg>
        <pc:picChg chg="mod">
          <ac:chgData name="Laurentiu Marinescu" userId="S::laurentiu.marinescu@asml.com::b0dd0703-37df-4a8b-9e5a-fe66a92f9c33" providerId="AD" clId="Web-{55642CD9-43AD-2854-BAFF-BB2C39F2452C}" dt="2024-05-27T08:05:22.731" v="15" actId="1076"/>
          <ac:picMkLst>
            <pc:docMk/>
            <pc:sldMk cId="2723690343" sldId="5444"/>
            <ac:picMk id="23608" creationId="{F014B3BA-467B-AC49-3006-E5BF9D8E9C63}"/>
          </ac:picMkLst>
        </pc:picChg>
      </pc:sldChg>
    </pc:docChg>
  </pc:docChgLst>
</pc:chgInfo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svg"/><Relationship Id="rId1" Type="http://schemas.openxmlformats.org/officeDocument/2006/relationships/image" Target="../media/image2.png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svg"/><Relationship Id="rId1" Type="http://schemas.openxmlformats.org/officeDocument/2006/relationships/image" Target="../media/image2.png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82B5186-34D2-4A4B-90CB-8D53FB865928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ED37BC7-F4D4-4825-A43D-A7153D8C2ABA}">
      <dgm:prSet/>
      <dgm:spPr/>
      <dgm:t>
        <a:bodyPr/>
        <a:lstStyle/>
        <a:p>
          <a:r>
            <a:rPr lang="en-US"/>
            <a:t>What is ASML?</a:t>
          </a:r>
        </a:p>
        <a:p>
          <a:r>
            <a:rPr lang="en-US"/>
            <a:t>Is Java contributing to chips high-volume manufacturing?</a:t>
          </a:r>
        </a:p>
      </dgm:t>
    </dgm:pt>
    <dgm:pt modelId="{B7F9B33C-A8DC-43B8-B7EC-FFC4523CC338}" type="parTrans" cxnId="{0A03FEDD-ECEA-493C-B271-13C713816F9F}">
      <dgm:prSet/>
      <dgm:spPr/>
      <dgm:t>
        <a:bodyPr/>
        <a:lstStyle/>
        <a:p>
          <a:endParaRPr lang="en-US"/>
        </a:p>
      </dgm:t>
    </dgm:pt>
    <dgm:pt modelId="{8AF217B5-30A6-40DA-BE46-ECA9A55BE3FD}" type="sibTrans" cxnId="{0A03FEDD-ECEA-493C-B271-13C713816F9F}">
      <dgm:prSet/>
      <dgm:spPr/>
      <dgm:t>
        <a:bodyPr/>
        <a:lstStyle/>
        <a:p>
          <a:endParaRPr lang="en-US"/>
        </a:p>
      </dgm:t>
    </dgm:pt>
    <dgm:pt modelId="{5B0EB409-8086-402E-A243-51E462F7A764}">
      <dgm:prSet/>
      <dgm:spPr/>
      <dgm:t>
        <a:bodyPr/>
        <a:lstStyle/>
        <a:p>
          <a:r>
            <a:rPr lang="en-US" dirty="0"/>
            <a:t>How to handle distributed tracing?</a:t>
          </a:r>
        </a:p>
      </dgm:t>
    </dgm:pt>
    <dgm:pt modelId="{BFE21B2C-5464-48CE-9CA0-9FCF873F3915}" type="parTrans" cxnId="{A2F8F02E-129B-4ABE-A98D-710275C0114F}">
      <dgm:prSet/>
      <dgm:spPr/>
      <dgm:t>
        <a:bodyPr/>
        <a:lstStyle/>
        <a:p>
          <a:endParaRPr lang="en-US"/>
        </a:p>
      </dgm:t>
    </dgm:pt>
    <dgm:pt modelId="{1B6F8BFD-E1AC-4658-94F9-6D0CAF5D4DDE}" type="sibTrans" cxnId="{A2F8F02E-129B-4ABE-A98D-710275C0114F}">
      <dgm:prSet/>
      <dgm:spPr/>
      <dgm:t>
        <a:bodyPr/>
        <a:lstStyle/>
        <a:p>
          <a:endParaRPr lang="en-US"/>
        </a:p>
      </dgm:t>
    </dgm:pt>
    <dgm:pt modelId="{C763C9FF-348E-4943-944E-4AD3F2DA5CC5}">
      <dgm:prSet/>
      <dgm:spPr/>
      <dgm:t>
        <a:bodyPr/>
        <a:lstStyle/>
        <a:p>
          <a:r>
            <a:rPr lang="en-US" dirty="0"/>
            <a:t>Spring Boot 3 migration: challenges and solutions</a:t>
          </a:r>
        </a:p>
      </dgm:t>
    </dgm:pt>
    <dgm:pt modelId="{20FC6A68-0259-42CF-9575-D0056ADE497D}" type="parTrans" cxnId="{64A639CF-E180-4FBA-B426-9F968AB2668F}">
      <dgm:prSet/>
      <dgm:spPr/>
      <dgm:t>
        <a:bodyPr/>
        <a:lstStyle/>
        <a:p>
          <a:endParaRPr lang="en-US"/>
        </a:p>
      </dgm:t>
    </dgm:pt>
    <dgm:pt modelId="{6F9308E7-66DC-4EAE-814A-33415DD1EAB7}" type="sibTrans" cxnId="{64A639CF-E180-4FBA-B426-9F968AB2668F}">
      <dgm:prSet/>
      <dgm:spPr/>
      <dgm:t>
        <a:bodyPr/>
        <a:lstStyle/>
        <a:p>
          <a:endParaRPr lang="en-US"/>
        </a:p>
      </dgm:t>
    </dgm:pt>
    <dgm:pt modelId="{6A262FEF-9BA2-4AAA-BCE0-9C031D888BD5}" type="pres">
      <dgm:prSet presAssocID="{382B5186-34D2-4A4B-90CB-8D53FB865928}" presName="root" presStyleCnt="0">
        <dgm:presLayoutVars>
          <dgm:dir/>
          <dgm:resizeHandles val="exact"/>
        </dgm:presLayoutVars>
      </dgm:prSet>
      <dgm:spPr/>
    </dgm:pt>
    <dgm:pt modelId="{F7723FD5-5593-49D3-B50B-4F0D31D8A0FB}" type="pres">
      <dgm:prSet presAssocID="{2ED37BC7-F4D4-4825-A43D-A7153D8C2ABA}" presName="compNode" presStyleCnt="0"/>
      <dgm:spPr/>
    </dgm:pt>
    <dgm:pt modelId="{8ECD9362-7875-4506-9780-16560CEFA838}" type="pres">
      <dgm:prSet presAssocID="{2ED37BC7-F4D4-4825-A43D-A7153D8C2ABA}" presName="bgRect" presStyleLbl="bgShp" presStyleIdx="0" presStyleCnt="3"/>
      <dgm:spPr/>
    </dgm:pt>
    <dgm:pt modelId="{1AFF4E11-CB3D-4912-8169-396505BD2BE7}" type="pres">
      <dgm:prSet presAssocID="{2ED37BC7-F4D4-4825-A43D-A7153D8C2ABA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Processor"/>
        </a:ext>
      </dgm:extLst>
    </dgm:pt>
    <dgm:pt modelId="{7A4AF083-BA8E-4E0F-B8B0-646193A251B6}" type="pres">
      <dgm:prSet presAssocID="{2ED37BC7-F4D4-4825-A43D-A7153D8C2ABA}" presName="spaceRect" presStyleCnt="0"/>
      <dgm:spPr/>
    </dgm:pt>
    <dgm:pt modelId="{19C091C9-9EC5-4A05-B5B8-20D7E6F93808}" type="pres">
      <dgm:prSet presAssocID="{2ED37BC7-F4D4-4825-A43D-A7153D8C2ABA}" presName="parTx" presStyleLbl="revTx" presStyleIdx="0" presStyleCnt="3">
        <dgm:presLayoutVars>
          <dgm:chMax val="0"/>
          <dgm:chPref val="0"/>
        </dgm:presLayoutVars>
      </dgm:prSet>
      <dgm:spPr/>
    </dgm:pt>
    <dgm:pt modelId="{E2C6DD35-6895-4646-9B49-E15945A33958}" type="pres">
      <dgm:prSet presAssocID="{8AF217B5-30A6-40DA-BE46-ECA9A55BE3FD}" presName="sibTrans" presStyleCnt="0"/>
      <dgm:spPr/>
    </dgm:pt>
    <dgm:pt modelId="{29DC3F2A-2FE8-4295-9A0A-4A8D811EFB1B}" type="pres">
      <dgm:prSet presAssocID="{5B0EB409-8086-402E-A243-51E462F7A764}" presName="compNode" presStyleCnt="0"/>
      <dgm:spPr/>
    </dgm:pt>
    <dgm:pt modelId="{DD5F56BC-498E-4D7F-8B27-1C89827C77CB}" type="pres">
      <dgm:prSet presAssocID="{5B0EB409-8086-402E-A243-51E462F7A764}" presName="bgRect" presStyleLbl="bgShp" presStyleIdx="1" presStyleCnt="3" custLinFactNeighborX="0"/>
      <dgm:spPr/>
    </dgm:pt>
    <dgm:pt modelId="{C9300DC5-052F-42F1-A54F-1BC23D51400C}" type="pres">
      <dgm:prSet presAssocID="{5B0EB409-8086-402E-A243-51E462F7A764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Network with solid fill"/>
        </a:ext>
      </dgm:extLst>
    </dgm:pt>
    <dgm:pt modelId="{8CEE7F48-6669-4737-9DAC-967EFE6BA3F5}" type="pres">
      <dgm:prSet presAssocID="{5B0EB409-8086-402E-A243-51E462F7A764}" presName="spaceRect" presStyleCnt="0"/>
      <dgm:spPr/>
    </dgm:pt>
    <dgm:pt modelId="{8EF09574-4F72-4656-BDF9-649D2B9308D3}" type="pres">
      <dgm:prSet presAssocID="{5B0EB409-8086-402E-A243-51E462F7A764}" presName="parTx" presStyleLbl="revTx" presStyleIdx="1" presStyleCnt="3">
        <dgm:presLayoutVars>
          <dgm:chMax val="0"/>
          <dgm:chPref val="0"/>
        </dgm:presLayoutVars>
      </dgm:prSet>
      <dgm:spPr/>
    </dgm:pt>
    <dgm:pt modelId="{DC858860-DB59-4D59-A07F-D9A53274D03C}" type="pres">
      <dgm:prSet presAssocID="{1B6F8BFD-E1AC-4658-94F9-6D0CAF5D4DDE}" presName="sibTrans" presStyleCnt="0"/>
      <dgm:spPr/>
    </dgm:pt>
    <dgm:pt modelId="{871CD1AD-672E-4E36-8CDF-AB40992C7AE2}" type="pres">
      <dgm:prSet presAssocID="{C763C9FF-348E-4943-944E-4AD3F2DA5CC5}" presName="compNode" presStyleCnt="0"/>
      <dgm:spPr/>
    </dgm:pt>
    <dgm:pt modelId="{C0DA3DE0-9BC0-4202-829D-DE27A5EA1BC4}" type="pres">
      <dgm:prSet presAssocID="{C763C9FF-348E-4943-944E-4AD3F2DA5CC5}" presName="bgRect" presStyleLbl="bgShp" presStyleIdx="2" presStyleCnt="3"/>
      <dgm:spPr/>
    </dgm:pt>
    <dgm:pt modelId="{749CF7FD-59F3-4F4C-9E0B-F6601B7093D2}" type="pres">
      <dgm:prSet presAssocID="{C763C9FF-348E-4943-944E-4AD3F2DA5CC5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Jail Break with solid fill"/>
        </a:ext>
      </dgm:extLst>
    </dgm:pt>
    <dgm:pt modelId="{63AF8E2F-8B44-4772-86A2-3770B8EC15CE}" type="pres">
      <dgm:prSet presAssocID="{C763C9FF-348E-4943-944E-4AD3F2DA5CC5}" presName="spaceRect" presStyleCnt="0"/>
      <dgm:spPr/>
    </dgm:pt>
    <dgm:pt modelId="{22786FC0-6B4E-4812-A2AA-89A88000C64F}" type="pres">
      <dgm:prSet presAssocID="{C763C9FF-348E-4943-944E-4AD3F2DA5CC5}" presName="parTx" presStyleLbl="revTx" presStyleIdx="2" presStyleCnt="3">
        <dgm:presLayoutVars>
          <dgm:chMax val="0"/>
          <dgm:chPref val="0"/>
        </dgm:presLayoutVars>
      </dgm:prSet>
      <dgm:spPr/>
    </dgm:pt>
  </dgm:ptLst>
  <dgm:cxnLst>
    <dgm:cxn modelId="{5C13DF0F-6C3B-4B45-B03B-895933563280}" type="presOf" srcId="{382B5186-34D2-4A4B-90CB-8D53FB865928}" destId="{6A262FEF-9BA2-4AAA-BCE0-9C031D888BD5}" srcOrd="0" destOrd="0" presId="urn:microsoft.com/office/officeart/2018/2/layout/IconVerticalSolidList"/>
    <dgm:cxn modelId="{A2F8F02E-129B-4ABE-A98D-710275C0114F}" srcId="{382B5186-34D2-4A4B-90CB-8D53FB865928}" destId="{5B0EB409-8086-402E-A243-51E462F7A764}" srcOrd="1" destOrd="0" parTransId="{BFE21B2C-5464-48CE-9CA0-9FCF873F3915}" sibTransId="{1B6F8BFD-E1AC-4658-94F9-6D0CAF5D4DDE}"/>
    <dgm:cxn modelId="{4D55134A-5BBB-424C-8005-DF62D3AFB25B}" type="presOf" srcId="{2ED37BC7-F4D4-4825-A43D-A7153D8C2ABA}" destId="{19C091C9-9EC5-4A05-B5B8-20D7E6F93808}" srcOrd="0" destOrd="0" presId="urn:microsoft.com/office/officeart/2018/2/layout/IconVerticalSolidList"/>
    <dgm:cxn modelId="{FFE2C997-F613-4C90-A2FA-CB77312E537C}" type="presOf" srcId="{5B0EB409-8086-402E-A243-51E462F7A764}" destId="{8EF09574-4F72-4656-BDF9-649D2B9308D3}" srcOrd="0" destOrd="0" presId="urn:microsoft.com/office/officeart/2018/2/layout/IconVerticalSolidList"/>
    <dgm:cxn modelId="{64A639CF-E180-4FBA-B426-9F968AB2668F}" srcId="{382B5186-34D2-4A4B-90CB-8D53FB865928}" destId="{C763C9FF-348E-4943-944E-4AD3F2DA5CC5}" srcOrd="2" destOrd="0" parTransId="{20FC6A68-0259-42CF-9575-D0056ADE497D}" sibTransId="{6F9308E7-66DC-4EAE-814A-33415DD1EAB7}"/>
    <dgm:cxn modelId="{0A03FEDD-ECEA-493C-B271-13C713816F9F}" srcId="{382B5186-34D2-4A4B-90CB-8D53FB865928}" destId="{2ED37BC7-F4D4-4825-A43D-A7153D8C2ABA}" srcOrd="0" destOrd="0" parTransId="{B7F9B33C-A8DC-43B8-B7EC-FFC4523CC338}" sibTransId="{8AF217B5-30A6-40DA-BE46-ECA9A55BE3FD}"/>
    <dgm:cxn modelId="{70620BFC-9580-4BEB-AB50-305AD06FEDA2}" type="presOf" srcId="{C763C9FF-348E-4943-944E-4AD3F2DA5CC5}" destId="{22786FC0-6B4E-4812-A2AA-89A88000C64F}" srcOrd="0" destOrd="0" presId="urn:microsoft.com/office/officeart/2018/2/layout/IconVerticalSolidList"/>
    <dgm:cxn modelId="{4B90E240-76A7-48F0-B895-7AC809444B64}" type="presParOf" srcId="{6A262FEF-9BA2-4AAA-BCE0-9C031D888BD5}" destId="{F7723FD5-5593-49D3-B50B-4F0D31D8A0FB}" srcOrd="0" destOrd="0" presId="urn:microsoft.com/office/officeart/2018/2/layout/IconVerticalSolidList"/>
    <dgm:cxn modelId="{5CFF2C40-0B88-4481-B015-F57633DD2E14}" type="presParOf" srcId="{F7723FD5-5593-49D3-B50B-4F0D31D8A0FB}" destId="{8ECD9362-7875-4506-9780-16560CEFA838}" srcOrd="0" destOrd="0" presId="urn:microsoft.com/office/officeart/2018/2/layout/IconVerticalSolidList"/>
    <dgm:cxn modelId="{E7C38A48-9DE3-474B-8138-D8E8F9201413}" type="presParOf" srcId="{F7723FD5-5593-49D3-B50B-4F0D31D8A0FB}" destId="{1AFF4E11-CB3D-4912-8169-396505BD2BE7}" srcOrd="1" destOrd="0" presId="urn:microsoft.com/office/officeart/2018/2/layout/IconVerticalSolidList"/>
    <dgm:cxn modelId="{6665C3C4-430A-4EEA-A461-82987F394E80}" type="presParOf" srcId="{F7723FD5-5593-49D3-B50B-4F0D31D8A0FB}" destId="{7A4AF083-BA8E-4E0F-B8B0-646193A251B6}" srcOrd="2" destOrd="0" presId="urn:microsoft.com/office/officeart/2018/2/layout/IconVerticalSolidList"/>
    <dgm:cxn modelId="{30B7FCC5-F3DE-4305-9C04-4717596F32E5}" type="presParOf" srcId="{F7723FD5-5593-49D3-B50B-4F0D31D8A0FB}" destId="{19C091C9-9EC5-4A05-B5B8-20D7E6F93808}" srcOrd="3" destOrd="0" presId="urn:microsoft.com/office/officeart/2018/2/layout/IconVerticalSolidList"/>
    <dgm:cxn modelId="{3070B6CE-D20B-4011-B986-5A69A03CBB56}" type="presParOf" srcId="{6A262FEF-9BA2-4AAA-BCE0-9C031D888BD5}" destId="{E2C6DD35-6895-4646-9B49-E15945A33958}" srcOrd="1" destOrd="0" presId="urn:microsoft.com/office/officeart/2018/2/layout/IconVerticalSolidList"/>
    <dgm:cxn modelId="{119C1FAB-0D22-4C81-BB3B-B9AEA1668DF0}" type="presParOf" srcId="{6A262FEF-9BA2-4AAA-BCE0-9C031D888BD5}" destId="{29DC3F2A-2FE8-4295-9A0A-4A8D811EFB1B}" srcOrd="2" destOrd="0" presId="urn:microsoft.com/office/officeart/2018/2/layout/IconVerticalSolidList"/>
    <dgm:cxn modelId="{23B65548-A3AE-41F5-8C07-ED493E6EBD1D}" type="presParOf" srcId="{29DC3F2A-2FE8-4295-9A0A-4A8D811EFB1B}" destId="{DD5F56BC-498E-4D7F-8B27-1C89827C77CB}" srcOrd="0" destOrd="0" presId="urn:microsoft.com/office/officeart/2018/2/layout/IconVerticalSolidList"/>
    <dgm:cxn modelId="{01FD6A6A-F9B0-44F5-9E8D-017DCDA38E2C}" type="presParOf" srcId="{29DC3F2A-2FE8-4295-9A0A-4A8D811EFB1B}" destId="{C9300DC5-052F-42F1-A54F-1BC23D51400C}" srcOrd="1" destOrd="0" presId="urn:microsoft.com/office/officeart/2018/2/layout/IconVerticalSolidList"/>
    <dgm:cxn modelId="{022EAE11-F4A3-4106-B5DD-0028BE7F0429}" type="presParOf" srcId="{29DC3F2A-2FE8-4295-9A0A-4A8D811EFB1B}" destId="{8CEE7F48-6669-4737-9DAC-967EFE6BA3F5}" srcOrd="2" destOrd="0" presId="urn:microsoft.com/office/officeart/2018/2/layout/IconVerticalSolidList"/>
    <dgm:cxn modelId="{37E5827D-E4E0-4BB2-B3C5-D3047F0080CD}" type="presParOf" srcId="{29DC3F2A-2FE8-4295-9A0A-4A8D811EFB1B}" destId="{8EF09574-4F72-4656-BDF9-649D2B9308D3}" srcOrd="3" destOrd="0" presId="urn:microsoft.com/office/officeart/2018/2/layout/IconVerticalSolidList"/>
    <dgm:cxn modelId="{0ECF1D1F-E180-4164-9B9D-54241FBC8418}" type="presParOf" srcId="{6A262FEF-9BA2-4AAA-BCE0-9C031D888BD5}" destId="{DC858860-DB59-4D59-A07F-D9A53274D03C}" srcOrd="3" destOrd="0" presId="urn:microsoft.com/office/officeart/2018/2/layout/IconVerticalSolidList"/>
    <dgm:cxn modelId="{0D00C426-13DD-4E93-B544-8207062D5309}" type="presParOf" srcId="{6A262FEF-9BA2-4AAA-BCE0-9C031D888BD5}" destId="{871CD1AD-672E-4E36-8CDF-AB40992C7AE2}" srcOrd="4" destOrd="0" presId="urn:microsoft.com/office/officeart/2018/2/layout/IconVerticalSolidList"/>
    <dgm:cxn modelId="{C1AF5063-BB92-463E-89F2-06E1FE27ADB3}" type="presParOf" srcId="{871CD1AD-672E-4E36-8CDF-AB40992C7AE2}" destId="{C0DA3DE0-9BC0-4202-829D-DE27A5EA1BC4}" srcOrd="0" destOrd="0" presId="urn:microsoft.com/office/officeart/2018/2/layout/IconVerticalSolidList"/>
    <dgm:cxn modelId="{B308E934-E103-428E-8485-7127985D5771}" type="presParOf" srcId="{871CD1AD-672E-4E36-8CDF-AB40992C7AE2}" destId="{749CF7FD-59F3-4F4C-9E0B-F6601B7093D2}" srcOrd="1" destOrd="0" presId="urn:microsoft.com/office/officeart/2018/2/layout/IconVerticalSolidList"/>
    <dgm:cxn modelId="{33CAC4E1-0F01-4D5B-A46B-5A34A0705E9B}" type="presParOf" srcId="{871CD1AD-672E-4E36-8CDF-AB40992C7AE2}" destId="{63AF8E2F-8B44-4772-86A2-3770B8EC15CE}" srcOrd="2" destOrd="0" presId="urn:microsoft.com/office/officeart/2018/2/layout/IconVerticalSolidList"/>
    <dgm:cxn modelId="{A22AF5A6-4EFB-457F-80FF-0F163ECC4A18}" type="presParOf" srcId="{871CD1AD-672E-4E36-8CDF-AB40992C7AE2}" destId="{22786FC0-6B4E-4812-A2AA-89A88000C64F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ECD9362-7875-4506-9780-16560CEFA838}">
      <dsp:nvSpPr>
        <dsp:cNvPr id="0" name=""/>
        <dsp:cNvSpPr/>
      </dsp:nvSpPr>
      <dsp:spPr>
        <a:xfrm>
          <a:off x="0" y="571"/>
          <a:ext cx="10857863" cy="1336862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AFF4E11-CB3D-4912-8169-396505BD2BE7}">
      <dsp:nvSpPr>
        <dsp:cNvPr id="0" name=""/>
        <dsp:cNvSpPr/>
      </dsp:nvSpPr>
      <dsp:spPr>
        <a:xfrm>
          <a:off x="404401" y="301365"/>
          <a:ext cx="735274" cy="735274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9C091C9-9EC5-4A05-B5B8-20D7E6F93808}">
      <dsp:nvSpPr>
        <dsp:cNvPr id="0" name=""/>
        <dsp:cNvSpPr/>
      </dsp:nvSpPr>
      <dsp:spPr>
        <a:xfrm>
          <a:off x="1544076" y="571"/>
          <a:ext cx="9313786" cy="13368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1485" tIns="141485" rIns="141485" bIns="141485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What is ASML?</a:t>
          </a:r>
        </a:p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Is Java contributing to chips high-volume manufacturing?</a:t>
          </a:r>
        </a:p>
      </dsp:txBody>
      <dsp:txXfrm>
        <a:off x="1544076" y="571"/>
        <a:ext cx="9313786" cy="1336862"/>
      </dsp:txXfrm>
    </dsp:sp>
    <dsp:sp modelId="{DD5F56BC-498E-4D7F-8B27-1C89827C77CB}">
      <dsp:nvSpPr>
        <dsp:cNvPr id="0" name=""/>
        <dsp:cNvSpPr/>
      </dsp:nvSpPr>
      <dsp:spPr>
        <a:xfrm>
          <a:off x="0" y="1671650"/>
          <a:ext cx="10857863" cy="1336862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9300DC5-052F-42F1-A54F-1BC23D51400C}">
      <dsp:nvSpPr>
        <dsp:cNvPr id="0" name=""/>
        <dsp:cNvSpPr/>
      </dsp:nvSpPr>
      <dsp:spPr>
        <a:xfrm>
          <a:off x="404401" y="1972444"/>
          <a:ext cx="735274" cy="735274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19050" cap="flat" cmpd="sng" algn="ctr">
          <a:noFill/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EF09574-4F72-4656-BDF9-649D2B9308D3}">
      <dsp:nvSpPr>
        <dsp:cNvPr id="0" name=""/>
        <dsp:cNvSpPr/>
      </dsp:nvSpPr>
      <dsp:spPr>
        <a:xfrm>
          <a:off x="1544076" y="1671650"/>
          <a:ext cx="9313786" cy="13368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1485" tIns="141485" rIns="141485" bIns="141485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/>
            <a:t>How to handle distributed tracing?</a:t>
          </a:r>
        </a:p>
      </dsp:txBody>
      <dsp:txXfrm>
        <a:off x="1544076" y="1671650"/>
        <a:ext cx="9313786" cy="1336862"/>
      </dsp:txXfrm>
    </dsp:sp>
    <dsp:sp modelId="{C0DA3DE0-9BC0-4202-829D-DE27A5EA1BC4}">
      <dsp:nvSpPr>
        <dsp:cNvPr id="0" name=""/>
        <dsp:cNvSpPr/>
      </dsp:nvSpPr>
      <dsp:spPr>
        <a:xfrm>
          <a:off x="0" y="3342728"/>
          <a:ext cx="10857863" cy="1336862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49CF7FD-59F3-4F4C-9E0B-F6601B7093D2}">
      <dsp:nvSpPr>
        <dsp:cNvPr id="0" name=""/>
        <dsp:cNvSpPr/>
      </dsp:nvSpPr>
      <dsp:spPr>
        <a:xfrm>
          <a:off x="404401" y="3643522"/>
          <a:ext cx="735274" cy="735274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19050" cap="flat" cmpd="sng" algn="ctr">
          <a:noFill/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2786FC0-6B4E-4812-A2AA-89A88000C64F}">
      <dsp:nvSpPr>
        <dsp:cNvPr id="0" name=""/>
        <dsp:cNvSpPr/>
      </dsp:nvSpPr>
      <dsp:spPr>
        <a:xfrm>
          <a:off x="1544076" y="3342728"/>
          <a:ext cx="9313786" cy="13368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1485" tIns="141485" rIns="141485" bIns="141485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/>
            <a:t>Spring Boot 3 migration: challenges and solutions</a:t>
          </a:r>
        </a:p>
      </dsp:txBody>
      <dsp:txXfrm>
        <a:off x="1544076" y="3342728"/>
        <a:ext cx="9313786" cy="133686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29D2421-AB76-43CF-AC87-27381149982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480600" y="219600"/>
            <a:ext cx="4161046" cy="494775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200"/>
            </a:lvl1pPr>
          </a:lstStyle>
          <a:p>
            <a:pPr>
              <a:lnSpc>
                <a:spcPct val="100000"/>
              </a:lnSpc>
            </a:pPr>
            <a:r>
              <a:rPr lang="en-US" sz="1600" b="1">
                <a:solidFill>
                  <a:schemeClr val="tx2"/>
                </a:solidFill>
              </a:rPr>
              <a:t>Use native PPT "Header and Footer" to set header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1E805F7-C6DC-49D0-9E5F-8126FB84247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411800" y="8784000"/>
            <a:ext cx="1474200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fld id="{6C32FB06-AC8D-42CB-BC9C-84B9A863515E}" type="datetime4">
              <a:rPr lang="en-US" sz="1000">
                <a:solidFill>
                  <a:schemeClr val="tx2"/>
                </a:solidFill>
              </a:rPr>
              <a:t>June 4, 2024</a:t>
            </a:fld>
            <a:endParaRPr lang="en-US" sz="1000">
              <a:solidFill>
                <a:schemeClr val="tx2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4C73045-617B-4A11-BFAF-AA37B3D6548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479424" y="8784000"/>
            <a:ext cx="3885576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/>
            </a:lvl1pPr>
          </a:lstStyle>
          <a:p>
            <a:r>
              <a:rPr lang="en-US" sz="1000">
                <a:solidFill>
                  <a:schemeClr val="tx2"/>
                </a:solidFill>
              </a:rPr>
              <a:t>Use native PPT "Header and Footer" to set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7C48BB-715D-460B-AE69-64ECBA4560E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956200" y="8784000"/>
            <a:ext cx="514450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fld id="{0C0E4CA2-648C-49DE-8FF3-D303AA8895AF}" type="slidenum">
              <a:rPr lang="en-US" sz="1000">
                <a:solidFill>
                  <a:schemeClr val="tx2"/>
                </a:solidFill>
              </a:rPr>
              <a:t>‹#›</a:t>
            </a:fld>
            <a:endParaRPr lang="en-US" sz="1000">
              <a:solidFill>
                <a:schemeClr val="tx2"/>
              </a:solidFill>
            </a:endParaRPr>
          </a:p>
        </p:txBody>
      </p:sp>
      <p:sp>
        <p:nvSpPr>
          <p:cNvPr id="6" name="Logo">
            <a:extLst>
              <a:ext uri="{FF2B5EF4-FFF2-40B4-BE49-F238E27FC236}">
                <a16:creationId xmlns:a16="http://schemas.microsoft.com/office/drawing/2014/main" id="{DF1EABAE-662D-4DE0-A7DF-B858E601D1A0}"/>
              </a:ext>
            </a:extLst>
          </p:cNvPr>
          <p:cNvSpPr/>
          <p:nvPr/>
        </p:nvSpPr>
        <p:spPr bwMode="black">
          <a:xfrm>
            <a:off x="5143038" y="266400"/>
            <a:ext cx="1336044" cy="374400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rgbClr val="10069F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2400" baseline="0">
              <a:latin typeface="+mn-lt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A0B4081-D4BA-4211-87D8-80B8B3557A4D}"/>
              </a:ext>
            </a:extLst>
          </p:cNvPr>
          <p:cNvCxnSpPr/>
          <p:nvPr/>
        </p:nvCxnSpPr>
        <p:spPr>
          <a:xfrm>
            <a:off x="3708400" y="12024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2E7DC72-6FC6-4647-ACF2-463663CF2E4E}"/>
              </a:ext>
            </a:extLst>
          </p:cNvPr>
          <p:cNvCxnSpPr/>
          <p:nvPr/>
        </p:nvCxnSpPr>
        <p:spPr>
          <a:xfrm>
            <a:off x="3709800" y="15768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C044078-D5C4-4E7B-969B-FB66F75C3DE1}"/>
              </a:ext>
            </a:extLst>
          </p:cNvPr>
          <p:cNvCxnSpPr/>
          <p:nvPr/>
        </p:nvCxnSpPr>
        <p:spPr>
          <a:xfrm>
            <a:off x="3711200" y="19512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5DC23E9-A2BA-4714-A207-D8690B38D557}"/>
              </a:ext>
            </a:extLst>
          </p:cNvPr>
          <p:cNvCxnSpPr/>
          <p:nvPr/>
        </p:nvCxnSpPr>
        <p:spPr>
          <a:xfrm>
            <a:off x="3712600" y="23256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8AF2E7B-0AF5-4F2F-9205-5E02AC1DAD99}"/>
              </a:ext>
            </a:extLst>
          </p:cNvPr>
          <p:cNvCxnSpPr/>
          <p:nvPr/>
        </p:nvCxnSpPr>
        <p:spPr>
          <a:xfrm>
            <a:off x="3714000" y="27000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2EC744A-4121-4C71-91A5-5E700EC64304}"/>
              </a:ext>
            </a:extLst>
          </p:cNvPr>
          <p:cNvCxnSpPr/>
          <p:nvPr/>
        </p:nvCxnSpPr>
        <p:spPr>
          <a:xfrm>
            <a:off x="3709800" y="38232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64944704-4FD1-4401-A330-AADD3A0C08F2}"/>
              </a:ext>
            </a:extLst>
          </p:cNvPr>
          <p:cNvCxnSpPr/>
          <p:nvPr/>
        </p:nvCxnSpPr>
        <p:spPr>
          <a:xfrm>
            <a:off x="3711200" y="41976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012487B-2DE2-43EA-8D41-96F4DEB08174}"/>
              </a:ext>
            </a:extLst>
          </p:cNvPr>
          <p:cNvCxnSpPr/>
          <p:nvPr/>
        </p:nvCxnSpPr>
        <p:spPr>
          <a:xfrm>
            <a:off x="3712600" y="45720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606F7128-78F2-45F8-9E03-48A2660DB51B}"/>
              </a:ext>
            </a:extLst>
          </p:cNvPr>
          <p:cNvCxnSpPr/>
          <p:nvPr/>
        </p:nvCxnSpPr>
        <p:spPr>
          <a:xfrm>
            <a:off x="3714000" y="49464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E40C1F6-B2AE-409F-AD66-C53E4523F66F}"/>
              </a:ext>
            </a:extLst>
          </p:cNvPr>
          <p:cNvCxnSpPr/>
          <p:nvPr/>
        </p:nvCxnSpPr>
        <p:spPr>
          <a:xfrm>
            <a:off x="3715400" y="53208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F42B8729-F7A1-4248-BF81-C8AB3EE3A033}"/>
              </a:ext>
            </a:extLst>
          </p:cNvPr>
          <p:cNvCxnSpPr/>
          <p:nvPr/>
        </p:nvCxnSpPr>
        <p:spPr>
          <a:xfrm>
            <a:off x="3711200" y="64908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933C7F4F-7F8C-4F62-9A09-25026FF2A3E2}"/>
              </a:ext>
            </a:extLst>
          </p:cNvPr>
          <p:cNvCxnSpPr/>
          <p:nvPr/>
        </p:nvCxnSpPr>
        <p:spPr>
          <a:xfrm>
            <a:off x="3712600" y="68652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A62C309B-3ECE-4651-8116-DC625F384BDB}"/>
              </a:ext>
            </a:extLst>
          </p:cNvPr>
          <p:cNvCxnSpPr/>
          <p:nvPr/>
        </p:nvCxnSpPr>
        <p:spPr>
          <a:xfrm>
            <a:off x="3714000" y="72396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F43AB9DE-F441-4F49-B095-AEC2B93DEF13}"/>
              </a:ext>
            </a:extLst>
          </p:cNvPr>
          <p:cNvCxnSpPr/>
          <p:nvPr/>
        </p:nvCxnSpPr>
        <p:spPr>
          <a:xfrm>
            <a:off x="3715400" y="76140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40A52033-48AE-4CC3-B03B-36827517010D}"/>
              </a:ext>
            </a:extLst>
          </p:cNvPr>
          <p:cNvCxnSpPr/>
          <p:nvPr/>
        </p:nvCxnSpPr>
        <p:spPr>
          <a:xfrm>
            <a:off x="3716800" y="79884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6589459"/>
      </p:ext>
    </p:extLst>
  </p:cSld>
  <p:clrMap bg1="lt1" tx1="dk1" bg2="lt2" tx2="dk2" accent1="accent1" accent2="accent2" accent3="accent3" accent4="accent4" accent5="accent5" accent6="accent6" hlink="hlink" folHlink="folHlink"/>
  <p:hf/>
  <p:extLst>
    <p:ext uri="{56416CCD-93CA-4268-BC5B-53C4BB910035}">
      <p15:sldGuideLst xmlns:p15="http://schemas.microsoft.com/office/powerpoint/2012/main">
        <p15:guide id="1" pos="4076" userDrawn="1">
          <p15:clr>
            <a:srgbClr val="547EBF"/>
          </p15:clr>
        </p15:guide>
        <p15:guide id="2" orient="horz" pos="450" userDrawn="1">
          <p15:clr>
            <a:srgbClr val="547EBF"/>
          </p15:clr>
        </p15:guide>
        <p15:guide id="3" pos="302" userDrawn="1">
          <p15:clr>
            <a:srgbClr val="547EBF"/>
          </p15:clr>
        </p15:guide>
        <p15:guide id="4" orient="horz" pos="126" userDrawn="1">
          <p15:clr>
            <a:srgbClr val="547EBF"/>
          </p15:clr>
        </p15:guide>
        <p15:guide id="5" pos="2071" userDrawn="1">
          <p15:clr>
            <a:srgbClr val="547EBF"/>
          </p15:clr>
        </p15:guide>
        <p15:guide id="6" pos="2336" userDrawn="1">
          <p15:clr>
            <a:srgbClr val="547EBF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79424" y="172800"/>
            <a:ext cx="4587575" cy="495537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lnSpc>
                <a:spcPct val="100000"/>
              </a:lnSpc>
              <a:defRPr sz="1600" b="1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Use native PPT "Header and Footer" to set header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318200" y="8737200"/>
            <a:ext cx="1684800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 baseline="0">
                <a:solidFill>
                  <a:schemeClr val="tx2"/>
                </a:solidFill>
                <a:latin typeface="+mn-lt"/>
              </a:defRPr>
            </a:lvl1pPr>
          </a:lstStyle>
          <a:p>
            <a:fld id="{2658EC27-0245-4AF2-B202-B3DBFC05E02B}" type="datetime4">
              <a:rPr lang="en-US"/>
              <a:t>June 4, 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0600" y="1041400"/>
            <a:ext cx="5990050" cy="336940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79425" y="4598988"/>
            <a:ext cx="5991225" cy="3717012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8"/>
            <a:r>
              <a:rPr lang="en-US"/>
              <a:t>	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79425" y="8737200"/>
            <a:ext cx="3838774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003000" y="8737200"/>
            <a:ext cx="467651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 baseline="0">
                <a:solidFill>
                  <a:schemeClr val="tx2"/>
                </a:solidFill>
                <a:latin typeface="+mn-lt"/>
              </a:defRPr>
            </a:lvl1pPr>
          </a:lstStyle>
          <a:p>
            <a:fld id="{129D5E52-2129-4526-A67E-44A5DCA639D6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8" name="Logo">
            <a:extLst>
              <a:ext uri="{FF2B5EF4-FFF2-40B4-BE49-F238E27FC236}">
                <a16:creationId xmlns:a16="http://schemas.microsoft.com/office/drawing/2014/main" id="{30DDDF2A-A7C0-45C4-9158-4A0DE292D298}"/>
              </a:ext>
            </a:extLst>
          </p:cNvPr>
          <p:cNvSpPr/>
          <p:nvPr/>
        </p:nvSpPr>
        <p:spPr bwMode="black">
          <a:xfrm>
            <a:off x="5143038" y="219600"/>
            <a:ext cx="1336044" cy="374400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rgbClr val="10069F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1200" b="1" baseline="0">
              <a:solidFill>
                <a:schemeClr val="tx2"/>
              </a:solidFill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068119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374400" rtl="0" eaLnBrk="1" latinLnBrk="0" hangingPunct="1">
      <a:lnSpc>
        <a:spcPct val="105000"/>
      </a:lnSpc>
      <a:spcAft>
        <a:spcPts val="737"/>
      </a:spcAft>
      <a:defRPr sz="1200" kern="1200" baseline="0">
        <a:solidFill>
          <a:schemeClr val="tx1"/>
        </a:solidFill>
        <a:latin typeface="+mn-lt"/>
        <a:ea typeface="+mn-ea"/>
        <a:cs typeface="+mn-cs"/>
      </a:defRPr>
    </a:lvl1pPr>
    <a:lvl2pPr marL="0" algn="l" defTabSz="374400" rtl="0" eaLnBrk="1" latinLnBrk="0" hangingPunct="1">
      <a:lnSpc>
        <a:spcPct val="105000"/>
      </a:lnSpc>
      <a:spcAft>
        <a:spcPts val="737"/>
      </a:spcAft>
      <a:defRPr sz="1200" b="1" kern="1200" baseline="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234000" indent="-234000" algn="l" defTabSz="374400" rtl="0" eaLnBrk="1" latinLnBrk="0" hangingPunct="1">
      <a:lnSpc>
        <a:spcPct val="105000"/>
      </a:lnSpc>
      <a:spcAft>
        <a:spcPts val="737"/>
      </a:spcAft>
      <a:buSzPct val="110000"/>
      <a:buFont typeface="Arial" panose="020B0604020202020204" pitchFamily="34" charset="0"/>
      <a:buChar char="•"/>
      <a:defRPr sz="1200" kern="1200" baseline="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468000" indent="-234000" algn="l" defTabSz="374400" rtl="0" eaLnBrk="1" latinLnBrk="0" hangingPunct="1">
      <a:lnSpc>
        <a:spcPct val="105000"/>
      </a:lnSpc>
      <a:spcAft>
        <a:spcPts val="737"/>
      </a:spcAft>
      <a:buFont typeface="Arial" panose="020B0604020202020204" pitchFamily="34" charset="0"/>
      <a:buChar char="•"/>
      <a:defRPr sz="1200" kern="1200" baseline="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702000" indent="-234000" algn="l" defTabSz="374400" rtl="0" eaLnBrk="1" latinLnBrk="0" hangingPunct="1">
      <a:lnSpc>
        <a:spcPct val="105000"/>
      </a:lnSpc>
      <a:spcAft>
        <a:spcPts val="737"/>
      </a:spcAft>
      <a:buSzPct val="90000"/>
      <a:buFont typeface="Arial" panose="020B0604020202020204" pitchFamily="34" charset="0"/>
      <a:buChar char="•"/>
      <a:defRPr sz="1200" kern="1200" baseline="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34000" indent="-234000" algn="l" defTabSz="374400" rtl="0" eaLnBrk="1" latinLnBrk="0" hangingPunct="1">
      <a:lnSpc>
        <a:spcPct val="105000"/>
      </a:lnSpc>
      <a:spcAft>
        <a:spcPts val="737"/>
      </a:spcAft>
      <a:buFont typeface="+mj-lt"/>
      <a:buAutoNum type="arabicPeriod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468000" indent="-234000" algn="l" defTabSz="374400" rtl="0" eaLnBrk="1" latinLnBrk="0" hangingPunct="1">
      <a:lnSpc>
        <a:spcPct val="105000"/>
      </a:lnSpc>
      <a:spcAft>
        <a:spcPts val="737"/>
      </a:spcAft>
      <a:buFont typeface="+mj-lt"/>
      <a:buAutoNum type="romanLcPeriod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0" algn="l" defTabSz="374400" rtl="0" eaLnBrk="1" latinLnBrk="0" hangingPunct="1">
      <a:lnSpc>
        <a:spcPct val="105000"/>
      </a:lnSpc>
      <a:spcAft>
        <a:spcPts val="737"/>
      </a:spcAft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0" algn="l" defTabSz="914400" rtl="0" eaLnBrk="1" latinLnBrk="0" hangingPunct="1">
      <a:lnSpc>
        <a:spcPct val="105000"/>
      </a:lnSpc>
      <a:spcAft>
        <a:spcPts val="737"/>
      </a:spcAft>
      <a:defRPr sz="10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pos="4076" userDrawn="1">
          <p15:clr>
            <a:srgbClr val="547EBF"/>
          </p15:clr>
        </p15:guide>
        <p15:guide id="2" orient="horz" pos="421" userDrawn="1">
          <p15:clr>
            <a:srgbClr val="547EBF"/>
          </p15:clr>
        </p15:guide>
        <p15:guide id="3" pos="302" userDrawn="1">
          <p15:clr>
            <a:srgbClr val="547EBF"/>
          </p15:clr>
        </p15:guide>
        <p15:guide id="4" orient="horz" pos="96" userDrawn="1">
          <p15:clr>
            <a:srgbClr val="547EBF"/>
          </p15:clr>
        </p15:guide>
        <p15:guide id="5" orient="horz" pos="2779" userDrawn="1">
          <p15:clr>
            <a:srgbClr val="547EBF"/>
          </p15:clr>
        </p15:guide>
        <p15:guide id="7" orient="horz" pos="656" userDrawn="1">
          <p15:clr>
            <a:srgbClr val="547EBF"/>
          </p15:clr>
        </p15:guide>
        <p15:guide id="8" orient="horz" pos="2897" userDrawn="1">
          <p15:clr>
            <a:srgbClr val="547EBF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br>
              <a:rPr lang="en-US" dirty="0"/>
            </a:b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 smtClean="0"/>
              <a:t>June 4,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13723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 smtClean="0"/>
              <a:t>June 4,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750593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 smtClean="0"/>
              <a:t>June 4,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94122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 smtClean="0"/>
              <a:t>June 4,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636455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 smtClean="0"/>
              <a:t>June 4,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664452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 smtClean="0"/>
              <a:t>June 4,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096110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/>
              <a:t>June 4,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169788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 smtClean="0"/>
              <a:t>June 4,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170595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 smtClean="0"/>
              <a:t>June 4,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387383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 smtClean="0"/>
              <a:t>June 4,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869397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 smtClean="0"/>
              <a:t>June 4,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19823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 smtClean="0"/>
              <a:t>June 4,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78466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 smtClean="0"/>
              <a:t>June 4,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106072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 smtClean="0"/>
              <a:t>June 4,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97502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/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 smtClean="0"/>
              <a:t>June 4,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181757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 smtClean="0"/>
              <a:t>June 4,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091929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 smtClean="0"/>
              <a:t>June 4,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 smtClean="0"/>
              <a:pPr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0929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 smtClean="0"/>
              <a:t>June 4,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 smtClean="0"/>
              <a:pPr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047920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 smtClean="0"/>
              <a:t>June 4,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 smtClean="0"/>
              <a:pPr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664271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 smtClean="0"/>
              <a:t>June 4,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 smtClean="0"/>
              <a:pPr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297474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 smtClean="0"/>
              <a:t>June 4,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 smtClean="0"/>
              <a:pPr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04136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 smtClean="0"/>
              <a:t>June 4,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 smtClean="0"/>
              <a:pPr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40061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 smtClean="0"/>
              <a:t>June 4,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03029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37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737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 smtClean="0"/>
              <a:t>June 4,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 smtClean="0"/>
              <a:pPr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633551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 smtClean="0"/>
              <a:t>June 4,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 smtClean="0"/>
              <a:pPr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22139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 smtClean="0"/>
              <a:t>June 4,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 smtClean="0"/>
              <a:pPr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348228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 smtClean="0"/>
              <a:t>June 4,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 smtClean="0"/>
              <a:pPr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571057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 smtClean="0"/>
              <a:t>June 4,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 smtClean="0"/>
              <a:pPr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724137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 smtClean="0"/>
              <a:t>June 4,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 smtClean="0"/>
              <a:pPr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856740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 smtClean="0"/>
              <a:t>June 4,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 smtClean="0"/>
              <a:pPr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1025041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 smtClean="0"/>
              <a:t>June 4,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 smtClean="0"/>
              <a:pPr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5792976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 smtClean="0"/>
              <a:t>June 4,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 smtClean="0"/>
              <a:pPr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9974672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 smtClean="0"/>
              <a:t>June 4,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 smtClean="0"/>
              <a:pPr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19922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April 17, 2024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5085686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 smtClean="0"/>
              <a:t>June 4,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 smtClean="0"/>
              <a:pPr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0726901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 smtClean="0"/>
              <a:t>June 4,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 smtClean="0"/>
              <a:pPr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9156093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 smtClean="0"/>
              <a:t>June 4,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 smtClean="0"/>
              <a:pPr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4959747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 smtClean="0"/>
              <a:t>June 4,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 smtClean="0"/>
              <a:pPr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1148930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 smtClean="0"/>
              <a:t>June 4,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 smtClean="0"/>
              <a:pPr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1734838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 smtClean="0"/>
              <a:t>June 4,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 smtClean="0"/>
              <a:pPr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2654262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 smtClean="0"/>
              <a:t>June 4,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 smtClean="0"/>
              <a:pPr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2183441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 smtClean="0"/>
              <a:t>June 4,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 smtClean="0"/>
              <a:pPr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5977907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 smtClean="0"/>
              <a:t>June 4,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 smtClean="0"/>
              <a:pPr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4037500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 smtClean="0"/>
              <a:t>June 4,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 smtClean="0"/>
              <a:pPr/>
              <a:t>5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50209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37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737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April 17, 2024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5489805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 smtClean="0"/>
              <a:t>June 4,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 smtClean="0"/>
              <a:pPr/>
              <a:t>5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1169433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 smtClean="0"/>
              <a:t>June 4,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 smtClean="0"/>
              <a:pPr/>
              <a:t>5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4111706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 smtClean="0"/>
              <a:t>June 4,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 smtClean="0"/>
              <a:pPr/>
              <a:t>5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3159646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/>
              <a:t>June 4,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/>
              <a:pPr/>
              <a:t>5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993541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April 17, 2024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07799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April 17, 2024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829078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April 17, 2024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120755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975FB5-9214-4EFA-B591-A6F1A7368D3F}" type="slidenum">
              <a:rPr lang="en-US" smtClean="0">
                <a:solidFill>
                  <a:prstClr val="black"/>
                </a:solidFill>
              </a:rPr>
              <a:pPr/>
              <a:t>9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35223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1" preserve="1">
  <p:cSld name="Title Slide 1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8" name="Hide background Logo">
            <a:extLst>
              <a:ext uri="{FF2B5EF4-FFF2-40B4-BE49-F238E27FC236}">
                <a16:creationId xmlns:a16="http://schemas.microsoft.com/office/drawing/2014/main" id="{CD7E7ADD-A5EE-4293-9821-A81FD429DCCC}"/>
              </a:ext>
            </a:extLst>
          </p:cNvPr>
          <p:cNvSpPr/>
          <p:nvPr/>
        </p:nvSpPr>
        <p:spPr>
          <a:xfrm>
            <a:off x="292800" y="6471000"/>
            <a:ext cx="748800" cy="280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ate Placeholder">
            <a:extLst>
              <a:ext uri="{FF2B5EF4-FFF2-40B4-BE49-F238E27FC236}">
                <a16:creationId xmlns:a16="http://schemas.microsoft.com/office/drawing/2014/main" id="{4F6A1DCD-AFA3-44B1-BB26-956115725CC6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4505325" y="3614462"/>
            <a:ext cx="5849475" cy="422938"/>
          </a:xfrm>
        </p:spPr>
        <p:txBody>
          <a:bodyPr wrap="square" anchor="b">
            <a:spAutoFit/>
          </a:bodyPr>
          <a:lstStyle>
            <a:lvl1pPr algn="l" defTabSz="374400">
              <a:lnSpc>
                <a:spcPct val="95000"/>
              </a:lnSpc>
              <a:spcAft>
                <a:spcPts val="737"/>
              </a:spcAft>
              <a:defRPr sz="1600" b="0" baseline="0">
                <a:solidFill>
                  <a:schemeClr val="bg1"/>
                </a:solidFill>
              </a:defRPr>
            </a:lvl1pPr>
          </a:lstStyle>
          <a:p>
            <a:fld id="{63DDB710-0227-4EAB-8159-7458BF5EFB73}" type="datetime4">
              <a:rPr lang="en-US"/>
              <a:pPr/>
              <a:t>June 4, 2024</a:t>
            </a:fld>
            <a:endParaRPr lang="en-US"/>
          </a:p>
        </p:txBody>
      </p:sp>
      <p:sp>
        <p:nvSpPr>
          <p:cNvPr id="9" name="Footer Placeholder (hidden)">
            <a:extLst>
              <a:ext uri="{FF2B5EF4-FFF2-40B4-BE49-F238E27FC236}">
                <a16:creationId xmlns:a16="http://schemas.microsoft.com/office/drawing/2014/main" id="{E59104A9-6371-4B6E-ADB0-1BC485D2DE73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12182947" y="6848947"/>
            <a:ext cx="0" cy="0"/>
          </a:xfrm>
          <a:prstGeom prst="rect">
            <a:avLst/>
          </a:prstGeom>
        </p:spPr>
        <p:txBody>
          <a:bodyPr/>
          <a:lstStyle>
            <a:lvl1pPr algn="r">
              <a:defRPr>
                <a:noFill/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10" name="Slide Number Placeholder (hidden)">
            <a:extLst>
              <a:ext uri="{FF2B5EF4-FFF2-40B4-BE49-F238E27FC236}">
                <a16:creationId xmlns:a16="http://schemas.microsoft.com/office/drawing/2014/main" id="{03B6870E-CF8C-4EED-BB0D-66F9991BDBC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2182947" y="6848947"/>
            <a:ext cx="0" cy="0"/>
          </a:xfrm>
          <a:prstGeom prst="rect">
            <a:avLst/>
          </a:prstGeom>
        </p:spPr>
        <p:txBody>
          <a:bodyPr/>
          <a:lstStyle>
            <a:lvl1pPr algn="r">
              <a:defRPr>
                <a:noFill/>
              </a:defRPr>
            </a:lvl1pPr>
          </a:lstStyle>
          <a:p>
            <a:fld id="{A2218858-49EA-4BF8-8EFE-B88A4580565A}" type="slidenum">
              <a:rPr lang="en-US"/>
              <a:pPr/>
              <a:t>‹#›</a:t>
            </a:fld>
            <a:endParaRPr lang="en-US"/>
          </a:p>
        </p:txBody>
      </p:sp>
      <p:grpSp>
        <p:nvGrpSpPr>
          <p:cNvPr id="104" name="Grid Decoration">
            <a:extLst>
              <a:ext uri="{FF2B5EF4-FFF2-40B4-BE49-F238E27FC236}">
                <a16:creationId xmlns:a16="http://schemas.microsoft.com/office/drawing/2014/main" id="{477C5741-C323-4904-A7E4-C6EE7E7C36B1}"/>
              </a:ext>
            </a:extLst>
          </p:cNvPr>
          <p:cNvGrpSpPr/>
          <p:nvPr/>
        </p:nvGrpSpPr>
        <p:grpSpPr bwMode="ltGray">
          <a:xfrm>
            <a:off x="-525" y="-12600"/>
            <a:ext cx="12192525" cy="6870600"/>
            <a:chOff x="-525" y="-12600"/>
            <a:chExt cx="12192525" cy="6870600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791930DD-37F9-4E5C-AF98-367271E48F65}"/>
                </a:ext>
              </a:extLst>
            </p:cNvPr>
            <p:cNvCxnSpPr/>
            <p:nvPr userDrawn="1"/>
          </p:nvCxnSpPr>
          <p:spPr bwMode="ltGray">
            <a:xfrm>
              <a:off x="0" y="5113338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E4BECD12-13FA-465C-A5C9-F74D5C72FF8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0" y="5348288"/>
              <a:ext cx="4130675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17E3B37-8AD5-4342-A01B-490894F5538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5582750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8FFCDC22-4C05-4409-A1A2-BA40843B63B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5817212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42442ECD-8E60-46BA-93E9-034AD2F2952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-525" y="6049963"/>
              <a:ext cx="4131200" cy="1712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F262152-E536-45B3-B42E-FF64534BE76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6286136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93DE0786-0311-432C-BF1C-0FC4484EB54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6520598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11A26A46-5A23-4E71-86B8-D42B8AE213D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-525" y="6751638"/>
              <a:ext cx="4131200" cy="3422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3932711A-14CB-4B7E-897F-0F43D5E5EA85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4130400" y="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50FFE11-2228-4095-8213-B7DF694B07B1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071200" y="-126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6976BF9B-BA80-4535-9BEE-4C96B17589F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0" y="2539800"/>
              <a:ext cx="4118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2973A65C-8424-4A10-A797-3CD4EB372522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258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F9D055B9-1151-4A29-8BC8-F226B88C224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884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8FC626A0-B95A-4A60-90B8-04C99A492EE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445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1D2E554C-FE97-4D2B-BCC1-AB142412B25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632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7F3C16FC-5417-4C75-B329-3F86AA17A1A7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820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F75E7C3B-12AE-4BB8-BBB5-6BDED40828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007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368D9680-1780-4095-A6A5-2D3C993B814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194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BF97DB5B-2E43-4A4E-8C59-51F0966A413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381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87ACA9E8-0A0A-4BEC-B611-67DE5E820C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568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103294FB-D050-4427-B3A7-7AB40551D4A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756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6F44C384-B751-406C-BE7A-68C3296941E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943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Straight Connector 101">
              <a:extLst>
                <a:ext uri="{FF2B5EF4-FFF2-40B4-BE49-F238E27FC236}">
                  <a16:creationId xmlns:a16="http://schemas.microsoft.com/office/drawing/2014/main" id="{575287CC-10F4-4756-ACFF-FC235CC31B94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696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102">
              <a:extLst>
                <a:ext uri="{FF2B5EF4-FFF2-40B4-BE49-F238E27FC236}">
                  <a16:creationId xmlns:a16="http://schemas.microsoft.com/office/drawing/2014/main" id="{EBBA423D-CED0-4685-B301-48162C9D196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509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103">
              <a:extLst>
                <a:ext uri="{FF2B5EF4-FFF2-40B4-BE49-F238E27FC236}">
                  <a16:creationId xmlns:a16="http://schemas.microsoft.com/office/drawing/2014/main" id="{EF37AE5F-737F-47BB-8C7C-73008137DF0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322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6AB332B4-661E-480F-B3A7-03A1659F61C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135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8B801BD6-B64D-436A-A2C8-FE764D59FA3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948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82BFCE8B-EFDD-4BF9-8236-5088DA0366C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760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C131BE53-9ED4-46DB-8379-0EAF4BA536F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573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096AB21B-7279-46BA-BE0B-765FFC84504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D078673B-947B-4697-BE71-880F0EEF3245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99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900A1DFC-F57B-4770-90BD-038EC73C411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86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Picture Placeholder (P41)">
            <a:extLst>
              <a:ext uri="{FF2B5EF4-FFF2-40B4-BE49-F238E27FC236}">
                <a16:creationId xmlns:a16="http://schemas.microsoft.com/office/drawing/2014/main" id="{D463EF9F-EC08-4F41-95E7-7BC682D3D8E8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4136750 w 12192000"/>
              <a:gd name="connsiteY0" fmla="*/ 5113800 h 6858000"/>
              <a:gd name="connsiteX1" fmla="*/ 4364400 w 12192000"/>
              <a:gd name="connsiteY1" fmla="*/ 5113800 h 6858000"/>
              <a:gd name="connsiteX2" fmla="*/ 12192000 w 12192000"/>
              <a:gd name="connsiteY2" fmla="*/ 5113800 h 6858000"/>
              <a:gd name="connsiteX3" fmla="*/ 12192000 w 12192000"/>
              <a:gd name="connsiteY3" fmla="*/ 6858000 h 6858000"/>
              <a:gd name="connsiteX4" fmla="*/ 4136750 w 12192000"/>
              <a:gd name="connsiteY4" fmla="*/ 6858000 h 6858000"/>
              <a:gd name="connsiteX5" fmla="*/ 0 w 12192000"/>
              <a:gd name="connsiteY5" fmla="*/ 5113800 h 6858000"/>
              <a:gd name="connsiteX6" fmla="*/ 4130400 w 12192000"/>
              <a:gd name="connsiteY6" fmla="*/ 5113800 h 6858000"/>
              <a:gd name="connsiteX7" fmla="*/ 4130400 w 12192000"/>
              <a:gd name="connsiteY7" fmla="*/ 6858000 h 6858000"/>
              <a:gd name="connsiteX8" fmla="*/ 0 w 12192000"/>
              <a:gd name="connsiteY8" fmla="*/ 6858000 h 6858000"/>
              <a:gd name="connsiteX9" fmla="*/ 0 w 12192000"/>
              <a:gd name="connsiteY9" fmla="*/ 0 h 6858000"/>
              <a:gd name="connsiteX10" fmla="*/ 4130400 w 12192000"/>
              <a:gd name="connsiteY10" fmla="*/ 0 h 6858000"/>
              <a:gd name="connsiteX11" fmla="*/ 4130400 w 12192000"/>
              <a:gd name="connsiteY11" fmla="*/ 5067000 h 6858000"/>
              <a:gd name="connsiteX12" fmla="*/ 4130400 w 12192000"/>
              <a:gd name="connsiteY12" fmla="*/ 5107450 h 6858000"/>
              <a:gd name="connsiteX13" fmla="*/ 0 w 12192000"/>
              <a:gd name="connsiteY13" fmla="*/ 510745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2000" h="6858000">
                <a:moveTo>
                  <a:pt x="4136750" y="5113800"/>
                </a:moveTo>
                <a:lnTo>
                  <a:pt x="4364400" y="5113800"/>
                </a:lnTo>
                <a:lnTo>
                  <a:pt x="12192000" y="5113800"/>
                </a:lnTo>
                <a:lnTo>
                  <a:pt x="12192000" y="6858000"/>
                </a:lnTo>
                <a:lnTo>
                  <a:pt x="4136750" y="6858000"/>
                </a:lnTo>
                <a:close/>
                <a:moveTo>
                  <a:pt x="0" y="5113800"/>
                </a:moveTo>
                <a:lnTo>
                  <a:pt x="4130400" y="5113800"/>
                </a:lnTo>
                <a:lnTo>
                  <a:pt x="4130400" y="6858000"/>
                </a:lnTo>
                <a:lnTo>
                  <a:pt x="0" y="6858000"/>
                </a:lnTo>
                <a:close/>
                <a:moveTo>
                  <a:pt x="0" y="0"/>
                </a:moveTo>
                <a:lnTo>
                  <a:pt x="4130400" y="0"/>
                </a:lnTo>
                <a:lnTo>
                  <a:pt x="4130400" y="5067000"/>
                </a:lnTo>
                <a:lnTo>
                  <a:pt x="4130400" y="5107450"/>
                </a:lnTo>
                <a:lnTo>
                  <a:pt x="0" y="5107450"/>
                </a:lnTo>
                <a:close/>
              </a:path>
            </a:pathLst>
          </a:custGeom>
          <a:noFill/>
        </p:spPr>
        <p:txBody>
          <a:bodyPr wrap="square" lIns="396000" rIns="396000" bIns="468000" anchor="ctr" anchorCtr="0">
            <a:noAutofit/>
          </a:bodyPr>
          <a:lstStyle>
            <a:lvl1pPr algn="l"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on area to add picture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0CA825D8-8A74-4D85-9E5D-DA0C5C57A3B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05325" y="2025000"/>
            <a:ext cx="5849475" cy="467820"/>
          </a:xfrm>
        </p:spPr>
        <p:txBody>
          <a:bodyPr tIns="0" bIns="0" anchor="b"/>
          <a:lstStyle>
            <a:lvl1pPr algn="l" defTabSz="374400">
              <a:lnSpc>
                <a:spcPct val="95000"/>
              </a:lnSpc>
              <a:spcAft>
                <a:spcPts val="0"/>
              </a:spcAft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heading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B79FE9FA-B090-40ED-A66C-FC46A2929F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05325" y="2492819"/>
            <a:ext cx="5849475" cy="371784"/>
          </a:xfrm>
        </p:spPr>
        <p:txBody>
          <a:bodyPr wrap="square" tIns="3600">
            <a:noAutofit/>
          </a:bodyPr>
          <a:lstStyle>
            <a:lvl1pPr>
              <a:defRPr sz="2400" b="1" baseline="0">
                <a:solidFill>
                  <a:schemeClr val="bg1"/>
                </a:solidFill>
              </a:defRPr>
            </a:lvl1pPr>
            <a:lvl2pPr>
              <a:defRPr sz="2400" baseline="0"/>
            </a:lvl2pPr>
            <a:lvl3pPr>
              <a:defRPr sz="2400" baseline="0"/>
            </a:lvl3pPr>
            <a:lvl4pPr>
              <a:defRPr sz="2400" baseline="0"/>
            </a:lvl4pPr>
            <a:lvl5pPr>
              <a:defRPr sz="2400" baseline="0"/>
            </a:lvl5pPr>
            <a:lvl6pPr>
              <a:defRPr sz="2400" baseline="0"/>
            </a:lvl6pPr>
            <a:lvl7pPr>
              <a:defRPr sz="2400" baseline="0"/>
            </a:lvl7pPr>
            <a:lvl8pPr>
              <a:defRPr sz="2400" baseline="0"/>
            </a:lvl8pPr>
            <a:lvl9pPr>
              <a:defRPr sz="2400" baseline="0"/>
            </a:lvl9pPr>
          </a:lstStyle>
          <a:p>
            <a:r>
              <a:rPr lang="en-US"/>
              <a:t>Click to edit subheading</a:t>
            </a:r>
          </a:p>
        </p:txBody>
      </p:sp>
      <p:sp>
        <p:nvSpPr>
          <p:cNvPr id="103" name="Logo">
            <a:extLst>
              <a:ext uri="{FF2B5EF4-FFF2-40B4-BE49-F238E27FC236}">
                <a16:creationId xmlns:a16="http://schemas.microsoft.com/office/drawing/2014/main" id="{66B4BCD1-6E4A-40C1-85DC-38A5A7EEA082}"/>
              </a:ext>
            </a:extLst>
          </p:cNvPr>
          <p:cNvSpPr>
            <a:spLocks noChangeAspect="1"/>
          </p:cNvSpPr>
          <p:nvPr/>
        </p:nvSpPr>
        <p:spPr bwMode="black">
          <a:xfrm>
            <a:off x="10111908" y="433388"/>
            <a:ext cx="1694330" cy="468412"/>
          </a:xfrm>
          <a:custGeom>
            <a:avLst/>
            <a:gdLst>
              <a:gd name="connsiteX0" fmla="*/ 322580 w 2575560"/>
              <a:gd name="connsiteY0" fmla="*/ 171554 h 719869"/>
              <a:gd name="connsiteX1" fmla="*/ 261620 w 2575560"/>
              <a:gd name="connsiteY1" fmla="*/ 452224 h 719869"/>
              <a:gd name="connsiteX2" fmla="*/ 384810 w 2575560"/>
              <a:gd name="connsiteY2" fmla="*/ 452224 h 719869"/>
              <a:gd name="connsiteX3" fmla="*/ 941070 w 2575560"/>
              <a:gd name="connsiteY3" fmla="*/ 157584 h 719869"/>
              <a:gd name="connsiteX4" fmla="*/ 892810 w 2575560"/>
              <a:gd name="connsiteY4" fmla="*/ 212194 h 719869"/>
              <a:gd name="connsiteX5" fmla="*/ 998220 w 2575560"/>
              <a:gd name="connsiteY5" fmla="*/ 293474 h 719869"/>
              <a:gd name="connsiteX6" fmla="*/ 1195070 w 2575560"/>
              <a:gd name="connsiteY6" fmla="*/ 500484 h 719869"/>
              <a:gd name="connsiteX7" fmla="*/ 1009650 w 2575560"/>
              <a:gd name="connsiteY7" fmla="*/ 703684 h 719869"/>
              <a:gd name="connsiteX8" fmla="*/ 687070 w 2575560"/>
              <a:gd name="connsiteY8" fmla="*/ 671934 h 719869"/>
              <a:gd name="connsiteX9" fmla="*/ 687070 w 2575560"/>
              <a:gd name="connsiteY9" fmla="*/ 506834 h 719869"/>
              <a:gd name="connsiteX10" fmla="*/ 876300 w 2575560"/>
              <a:gd name="connsiteY10" fmla="*/ 577954 h 719869"/>
              <a:gd name="connsiteX11" fmla="*/ 981710 w 2575560"/>
              <a:gd name="connsiteY11" fmla="*/ 500484 h 719869"/>
              <a:gd name="connsiteX12" fmla="*/ 909320 w 2575560"/>
              <a:gd name="connsiteY12" fmla="*/ 420474 h 719869"/>
              <a:gd name="connsiteX13" fmla="*/ 941070 w 2575560"/>
              <a:gd name="connsiteY13" fmla="*/ 157584 h 719869"/>
              <a:gd name="connsiteX14" fmla="*/ 2136140 w 2575560"/>
              <a:gd name="connsiteY14" fmla="*/ 20424 h 719869"/>
              <a:gd name="connsiteX15" fmla="*/ 2321560 w 2575560"/>
              <a:gd name="connsiteY15" fmla="*/ 20424 h 719869"/>
              <a:gd name="connsiteX16" fmla="*/ 2321560 w 2575560"/>
              <a:gd name="connsiteY16" fmla="*/ 562714 h 719869"/>
              <a:gd name="connsiteX17" fmla="*/ 2575560 w 2575560"/>
              <a:gd name="connsiteY17" fmla="*/ 562714 h 719869"/>
              <a:gd name="connsiteX18" fmla="*/ 2575560 w 2575560"/>
              <a:gd name="connsiteY18" fmla="*/ 706224 h 719869"/>
              <a:gd name="connsiteX19" fmla="*/ 2136140 w 2575560"/>
              <a:gd name="connsiteY19" fmla="*/ 706224 h 719869"/>
              <a:gd name="connsiteX20" fmla="*/ 1346200 w 2575560"/>
              <a:gd name="connsiteY20" fmla="*/ 20424 h 719869"/>
              <a:gd name="connsiteX21" fmla="*/ 1551940 w 2575560"/>
              <a:gd name="connsiteY21" fmla="*/ 20424 h 719869"/>
              <a:gd name="connsiteX22" fmla="*/ 1648460 w 2575560"/>
              <a:gd name="connsiteY22" fmla="*/ 431904 h 719869"/>
              <a:gd name="connsiteX23" fmla="*/ 1743710 w 2575560"/>
              <a:gd name="connsiteY23" fmla="*/ 20424 h 719869"/>
              <a:gd name="connsiteX24" fmla="*/ 1950720 w 2575560"/>
              <a:gd name="connsiteY24" fmla="*/ 20424 h 719869"/>
              <a:gd name="connsiteX25" fmla="*/ 2039620 w 2575560"/>
              <a:gd name="connsiteY25" fmla="*/ 706224 h 719869"/>
              <a:gd name="connsiteX26" fmla="*/ 1846580 w 2575560"/>
              <a:gd name="connsiteY26" fmla="*/ 706224 h 719869"/>
              <a:gd name="connsiteX27" fmla="*/ 1813560 w 2575560"/>
              <a:gd name="connsiteY27" fmla="*/ 274424 h 719869"/>
              <a:gd name="connsiteX28" fmla="*/ 1723390 w 2575560"/>
              <a:gd name="connsiteY28" fmla="*/ 706224 h 719869"/>
              <a:gd name="connsiteX29" fmla="*/ 1572260 w 2575560"/>
              <a:gd name="connsiteY29" fmla="*/ 706224 h 719869"/>
              <a:gd name="connsiteX30" fmla="*/ 1483360 w 2575560"/>
              <a:gd name="connsiteY30" fmla="*/ 274424 h 719869"/>
              <a:gd name="connsiteX31" fmla="*/ 1449070 w 2575560"/>
              <a:gd name="connsiteY31" fmla="*/ 706224 h 719869"/>
              <a:gd name="connsiteX32" fmla="*/ 1257300 w 2575560"/>
              <a:gd name="connsiteY32" fmla="*/ 706224 h 719869"/>
              <a:gd name="connsiteX33" fmla="*/ 205740 w 2575560"/>
              <a:gd name="connsiteY33" fmla="*/ 20424 h 719869"/>
              <a:gd name="connsiteX34" fmla="*/ 439420 w 2575560"/>
              <a:gd name="connsiteY34" fmla="*/ 20424 h 719869"/>
              <a:gd name="connsiteX35" fmla="*/ 645160 w 2575560"/>
              <a:gd name="connsiteY35" fmla="*/ 706224 h 719869"/>
              <a:gd name="connsiteX36" fmla="*/ 439420 w 2575560"/>
              <a:gd name="connsiteY36" fmla="*/ 706224 h 719869"/>
              <a:gd name="connsiteX37" fmla="*/ 411480 w 2575560"/>
              <a:gd name="connsiteY37" fmla="*/ 583034 h 719869"/>
              <a:gd name="connsiteX38" fmla="*/ 232410 w 2575560"/>
              <a:gd name="connsiteY38" fmla="*/ 583034 h 719869"/>
              <a:gd name="connsiteX39" fmla="*/ 204470 w 2575560"/>
              <a:gd name="connsiteY39" fmla="*/ 706224 h 719869"/>
              <a:gd name="connsiteX40" fmla="*/ 0 w 2575560"/>
              <a:gd name="connsiteY40" fmla="*/ 706224 h 719869"/>
              <a:gd name="connsiteX41" fmla="*/ 994112 w 2575560"/>
              <a:gd name="connsiteY41" fmla="*/ 422 h 719869"/>
              <a:gd name="connsiteX42" fmla="*/ 1140459 w 2575560"/>
              <a:gd name="connsiteY42" fmla="*/ 34395 h 719869"/>
              <a:gd name="connsiteX43" fmla="*/ 1140459 w 2575560"/>
              <a:gd name="connsiteY43" fmla="*/ 212195 h 719869"/>
              <a:gd name="connsiteX44" fmla="*/ 701040 w 2575560"/>
              <a:gd name="connsiteY44" fmla="*/ 260455 h 719869"/>
              <a:gd name="connsiteX45" fmla="*/ 994112 w 2575560"/>
              <a:gd name="connsiteY45" fmla="*/ 422 h 719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2575560" h="719869">
                <a:moveTo>
                  <a:pt x="322580" y="171554"/>
                </a:moveTo>
                <a:lnTo>
                  <a:pt x="261620" y="452224"/>
                </a:lnTo>
                <a:lnTo>
                  <a:pt x="384810" y="452224"/>
                </a:lnTo>
                <a:close/>
                <a:moveTo>
                  <a:pt x="941070" y="157584"/>
                </a:moveTo>
                <a:cubicBezTo>
                  <a:pt x="900430" y="170284"/>
                  <a:pt x="892810" y="191874"/>
                  <a:pt x="892810" y="212194"/>
                </a:cubicBezTo>
                <a:cubicBezTo>
                  <a:pt x="892810" y="261724"/>
                  <a:pt x="955040" y="276964"/>
                  <a:pt x="998220" y="293474"/>
                </a:cubicBezTo>
                <a:cubicBezTo>
                  <a:pt x="1069340" y="320144"/>
                  <a:pt x="1195070" y="355704"/>
                  <a:pt x="1195070" y="500484"/>
                </a:cubicBezTo>
                <a:cubicBezTo>
                  <a:pt x="1195070" y="589384"/>
                  <a:pt x="1109980" y="673204"/>
                  <a:pt x="1009650" y="703684"/>
                </a:cubicBezTo>
                <a:cubicBezTo>
                  <a:pt x="885190" y="741784"/>
                  <a:pt x="763270" y="704954"/>
                  <a:pt x="687070" y="671934"/>
                </a:cubicBezTo>
                <a:lnTo>
                  <a:pt x="687070" y="506834"/>
                </a:lnTo>
                <a:cubicBezTo>
                  <a:pt x="750570" y="552554"/>
                  <a:pt x="806450" y="576684"/>
                  <a:pt x="876300" y="577954"/>
                </a:cubicBezTo>
                <a:cubicBezTo>
                  <a:pt x="918210" y="579224"/>
                  <a:pt x="981710" y="558904"/>
                  <a:pt x="981710" y="500484"/>
                </a:cubicBezTo>
                <a:cubicBezTo>
                  <a:pt x="981710" y="449684"/>
                  <a:pt x="935990" y="434444"/>
                  <a:pt x="909320" y="420474"/>
                </a:cubicBezTo>
                <a:cubicBezTo>
                  <a:pt x="758190" y="337924"/>
                  <a:pt x="803910" y="171554"/>
                  <a:pt x="941070" y="157584"/>
                </a:cubicBezTo>
                <a:close/>
                <a:moveTo>
                  <a:pt x="2136140" y="20424"/>
                </a:moveTo>
                <a:lnTo>
                  <a:pt x="2321560" y="20424"/>
                </a:lnTo>
                <a:lnTo>
                  <a:pt x="2321560" y="562714"/>
                </a:lnTo>
                <a:lnTo>
                  <a:pt x="2575560" y="562714"/>
                </a:lnTo>
                <a:lnTo>
                  <a:pt x="2575560" y="706224"/>
                </a:lnTo>
                <a:lnTo>
                  <a:pt x="2136140" y="706224"/>
                </a:lnTo>
                <a:close/>
                <a:moveTo>
                  <a:pt x="1346200" y="20424"/>
                </a:moveTo>
                <a:lnTo>
                  <a:pt x="1551940" y="20424"/>
                </a:lnTo>
                <a:lnTo>
                  <a:pt x="1648460" y="431904"/>
                </a:lnTo>
                <a:lnTo>
                  <a:pt x="1743710" y="20424"/>
                </a:lnTo>
                <a:lnTo>
                  <a:pt x="1950720" y="20424"/>
                </a:lnTo>
                <a:lnTo>
                  <a:pt x="2039620" y="706224"/>
                </a:lnTo>
                <a:lnTo>
                  <a:pt x="1846580" y="706224"/>
                </a:lnTo>
                <a:lnTo>
                  <a:pt x="1813560" y="274424"/>
                </a:lnTo>
                <a:lnTo>
                  <a:pt x="1723390" y="706224"/>
                </a:lnTo>
                <a:lnTo>
                  <a:pt x="1572260" y="706224"/>
                </a:lnTo>
                <a:lnTo>
                  <a:pt x="1483360" y="274424"/>
                </a:lnTo>
                <a:lnTo>
                  <a:pt x="1449070" y="706224"/>
                </a:lnTo>
                <a:lnTo>
                  <a:pt x="1257300" y="706224"/>
                </a:lnTo>
                <a:close/>
                <a:moveTo>
                  <a:pt x="205740" y="20424"/>
                </a:moveTo>
                <a:lnTo>
                  <a:pt x="439420" y="20424"/>
                </a:lnTo>
                <a:lnTo>
                  <a:pt x="645160" y="706224"/>
                </a:lnTo>
                <a:lnTo>
                  <a:pt x="439420" y="706224"/>
                </a:lnTo>
                <a:lnTo>
                  <a:pt x="411480" y="583034"/>
                </a:lnTo>
                <a:lnTo>
                  <a:pt x="232410" y="583034"/>
                </a:lnTo>
                <a:lnTo>
                  <a:pt x="204470" y="706224"/>
                </a:lnTo>
                <a:lnTo>
                  <a:pt x="0" y="706224"/>
                </a:lnTo>
                <a:close/>
                <a:moveTo>
                  <a:pt x="994112" y="422"/>
                </a:moveTo>
                <a:cubicBezTo>
                  <a:pt x="1046321" y="2724"/>
                  <a:pt x="1097597" y="14392"/>
                  <a:pt x="1140459" y="34395"/>
                </a:cubicBezTo>
                <a:cubicBezTo>
                  <a:pt x="1143000" y="75035"/>
                  <a:pt x="1146809" y="118215"/>
                  <a:pt x="1140459" y="212195"/>
                </a:cubicBezTo>
                <a:cubicBezTo>
                  <a:pt x="970280" y="63605"/>
                  <a:pt x="703580" y="123295"/>
                  <a:pt x="701040" y="260455"/>
                </a:cubicBezTo>
                <a:cubicBezTo>
                  <a:pt x="672465" y="70907"/>
                  <a:pt x="837486" y="-6483"/>
                  <a:pt x="994112" y="422"/>
                </a:cubicBezTo>
                <a:close/>
              </a:path>
            </a:pathLst>
          </a:custGeom>
          <a:solidFill>
            <a:srgbClr val="FFFFFF"/>
          </a:soli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MIO_AGENDA_IGNORE_NAVIGATION" hidden="1">
            <a:extLst>
              <a:ext uri="{FF2B5EF4-FFF2-40B4-BE49-F238E27FC236}">
                <a16:creationId xmlns:a16="http://schemas.microsoft.com/office/drawing/2014/main" id="{287EF10B-E93F-4F89-9FB3-1A347169686C}"/>
              </a:ext>
            </a:extLst>
          </p:cNvPr>
          <p:cNvSpPr/>
          <p:nvPr/>
        </p:nvSpPr>
        <p:spPr>
          <a:xfrm>
            <a:off x="1180496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8" name="MIO_AGENDA_IGNORE_CHAPTER_REFERENCE" hidden="1">
            <a:extLst>
              <a:ext uri="{FF2B5EF4-FFF2-40B4-BE49-F238E27FC236}">
                <a16:creationId xmlns:a16="http://schemas.microsoft.com/office/drawing/2014/main" id="{C4F5FA7D-3698-4E1D-9882-6F3C343465A7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2" name="Firstname Lastname">
            <a:extLst>
              <a:ext uri="{FF2B5EF4-FFF2-40B4-BE49-F238E27FC236}">
                <a16:creationId xmlns:a16="http://schemas.microsoft.com/office/drawing/2014/main" id="{44F94BEC-5FEE-4E23-9B49-21A45B711E9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04799" y="3101490"/>
            <a:ext cx="5850000" cy="2312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First name Last name</a:t>
            </a:r>
          </a:p>
        </p:txBody>
      </p:sp>
      <p:sp>
        <p:nvSpPr>
          <p:cNvPr id="14" name="Position and Title">
            <a:extLst>
              <a:ext uri="{FF2B5EF4-FFF2-40B4-BE49-F238E27FC236}">
                <a16:creationId xmlns:a16="http://schemas.microsoft.com/office/drawing/2014/main" id="{AF3DCBE4-97FE-41EF-8901-C12C7A998AF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4504799" y="3335400"/>
            <a:ext cx="5850000" cy="23391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osition and Title</a:t>
            </a:r>
          </a:p>
        </p:txBody>
      </p:sp>
      <p:sp>
        <p:nvSpPr>
          <p:cNvPr id="16" name="Location">
            <a:extLst>
              <a:ext uri="{FF2B5EF4-FFF2-40B4-BE49-F238E27FC236}">
                <a16:creationId xmlns:a16="http://schemas.microsoft.com/office/drawing/2014/main" id="{65FC8929-EAC1-44D3-88E2-9306D0D4B23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504799" y="4037400"/>
            <a:ext cx="5850000" cy="23391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Location</a:t>
            </a:r>
          </a:p>
        </p:txBody>
      </p:sp>
      <p:sp>
        <p:nvSpPr>
          <p:cNvPr id="18" name="Version">
            <a:extLst>
              <a:ext uri="{FF2B5EF4-FFF2-40B4-BE49-F238E27FC236}">
                <a16:creationId xmlns:a16="http://schemas.microsoft.com/office/drawing/2014/main" id="{A1534518-BDDC-41CB-B717-67772836121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04799" y="4645800"/>
            <a:ext cx="4867200" cy="280800"/>
          </a:xfrm>
          <a:noFill/>
        </p:spPr>
        <p:txBody>
          <a:bodyPr wrap="square" lIns="0" tIns="0" rIns="0" bIns="0" rtlCol="0" anchor="ctr" anchorCtr="0">
            <a:noAutofit/>
          </a:bodyPr>
          <a:lstStyle>
            <a:lvl1pPr>
              <a:defRPr lang="en-US" sz="1200" b="0" cap="all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05000"/>
              </a:lnSpc>
            </a:pPr>
            <a:r>
              <a:rPr lang="en-US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24144095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2838">
          <p15:clr>
            <a:srgbClr val="FFFFFF"/>
          </p15:clr>
        </p15:guide>
        <p15:guide id="2" orient="horz" pos="1276">
          <p15:clr>
            <a:srgbClr val="FFFFFF"/>
          </p15:clr>
        </p15:guide>
        <p15:guide id="3" pos="6523">
          <p15:clr>
            <a:srgbClr val="FFFFFF"/>
          </p15:clr>
        </p15:guide>
        <p15:guide id="4" orient="horz" pos="1570">
          <p15:clr>
            <a:srgbClr val="FFFFFF"/>
          </p15:clr>
        </p15:guide>
        <p15:guide id="5" orient="horz" pos="1806">
          <p15:clr>
            <a:srgbClr val="FFFFF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4 Contents" type="fourObj" preserve="1">
  <p:cSld name="Title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12" name="Content Placeholder left">
            <a:extLst>
              <a:ext uri="{FF2B5EF4-FFF2-40B4-BE49-F238E27FC236}">
                <a16:creationId xmlns:a16="http://schemas.microsoft.com/office/drawing/2014/main" id="{68997374-0D38-4532-8506-0877E5D1F9A0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400" y="1369799"/>
            <a:ext cx="2433000" cy="4680163"/>
          </a:xfrm>
        </p:spPr>
        <p:txBody>
          <a:bodyPr/>
          <a:lstStyle>
            <a:lvl1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/>
            </a:lvl1pPr>
            <a:lvl2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/>
            </a:lvl2pPr>
            <a:lvl3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/>
            </a:lvl3pPr>
            <a:lvl4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000" baseline="0"/>
            </a:lvl4pPr>
            <a:lvl5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1000" baseline="0"/>
            </a:lvl5pPr>
            <a:lvl6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/>
            </a:lvl6pPr>
            <a:lvl7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1000" baseline="0"/>
            </a:lvl7pPr>
            <a:lvl8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/>
            </a:lvl8pPr>
            <a:lvl9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center left">
            <a:extLst>
              <a:ext uri="{FF2B5EF4-FFF2-40B4-BE49-F238E27FC236}">
                <a16:creationId xmlns:a16="http://schemas.microsoft.com/office/drawing/2014/main" id="{40E6EFB6-C485-43AC-8071-33FD8D38BC7D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194400" y="1369799"/>
            <a:ext cx="2433288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</a:p>
        </p:txBody>
      </p:sp>
      <p:sp>
        <p:nvSpPr>
          <p:cNvPr id="14" name="Content Placeholder center right">
            <a:extLst>
              <a:ext uri="{FF2B5EF4-FFF2-40B4-BE49-F238E27FC236}">
                <a16:creationId xmlns:a16="http://schemas.microsoft.com/office/drawing/2014/main" id="{F07FD752-F5AE-44F3-9E78-BAE50FECB035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002399" y="1369799"/>
            <a:ext cx="2433575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</a:p>
        </p:txBody>
      </p:sp>
      <p:sp>
        <p:nvSpPr>
          <p:cNvPr id="15" name="Content Placeholder right">
            <a:extLst>
              <a:ext uri="{FF2B5EF4-FFF2-40B4-BE49-F238E27FC236}">
                <a16:creationId xmlns:a16="http://schemas.microsoft.com/office/drawing/2014/main" id="{11103353-C967-4B83-BF3B-88CA81C96030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810399" y="1369799"/>
            <a:ext cx="2433863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F6C5AA7-4333-4ADE-B698-06D17EAFF7DF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6DC0EA7D-56F1-4A2B-89B2-9444DEF1AFC8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June 4, 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6BC7595-36F8-47CD-9313-F7DD7933BC5A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A92EC2A-38E8-46A0-A721-6659543C2ECF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99396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3811">
          <p15:clr>
            <a:srgbClr val="547EBF"/>
          </p15:clr>
        </p15:guide>
        <p15:guide id="7" orient="horz" pos="3958">
          <p15:clr>
            <a:srgbClr val="547EBF"/>
          </p15:clr>
        </p15:guide>
        <p15:guide id="8" pos="7083">
          <p15:clr>
            <a:srgbClr val="547EBF"/>
          </p15:clr>
        </p15:guide>
        <p15:guide id="9" pos="5550">
          <p15:clr>
            <a:srgbClr val="547EBF"/>
          </p15:clr>
        </p15:guide>
        <p15:guide id="10" pos="5314">
          <p15:clr>
            <a:srgbClr val="547EBF"/>
          </p15:clr>
        </p15:guide>
        <p15:guide id="11" pos="1776">
          <p15:clr>
            <a:srgbClr val="547EBF"/>
          </p15:clr>
        </p15:guide>
        <p15:guide id="12" pos="2012">
          <p15:clr>
            <a:srgbClr val="547EBF"/>
          </p15:clr>
        </p15:guide>
        <p15:guide id="13" pos="3545">
          <p15:clr>
            <a:srgbClr val="547EBF"/>
          </p15:clr>
        </p15:guide>
        <p15:guide id="14" pos="3781">
          <p15:clr>
            <a:srgbClr val="547EB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Content &#10;with Header" type="txOverObj" preserve="1">
  <p:cSld name="Title Content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12" name="Text Placeholder">
            <a:extLst>
              <a:ext uri="{FF2B5EF4-FFF2-40B4-BE49-F238E27FC236}">
                <a16:creationId xmlns:a16="http://schemas.microsoft.com/office/drawing/2014/main" id="{1A5B03E1-015A-4D18-B342-9CADF726D9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3"/>
            <a:ext cx="10858500" cy="280988"/>
          </a:xfrm>
        </p:spPr>
        <p:txBody>
          <a:bodyPr vert="horz" lIns="0" tIns="0" rIns="0" bIns="0" rtlCol="0">
            <a:noAutofit/>
          </a:bodyPr>
          <a:lstStyle>
            <a:lvl1pPr>
              <a:defRPr lang="en-US" baseline="0" dirty="0">
                <a:solidFill>
                  <a:schemeClr val="accent1"/>
                </a:solidFill>
              </a:defRPr>
            </a:lvl1pPr>
            <a:lvl2pPr>
              <a:defRPr lang="en-US" baseline="0" dirty="0">
                <a:solidFill>
                  <a:schemeClr val="accent1"/>
                </a:solidFill>
              </a:defRPr>
            </a:lvl2pPr>
            <a:lvl3pPr>
              <a:defRPr lang="en-US" baseline="0" dirty="0">
                <a:solidFill>
                  <a:schemeClr val="accent1"/>
                </a:solidFill>
              </a:defRPr>
            </a:lvl3pPr>
            <a:lvl4pPr>
              <a:defRPr lang="en-US" baseline="0" dirty="0">
                <a:solidFill>
                  <a:schemeClr val="accent1"/>
                </a:solidFill>
              </a:defRPr>
            </a:lvl4pPr>
            <a:lvl5pPr>
              <a:defRPr lang="en-US" baseline="0" dirty="0">
                <a:solidFill>
                  <a:schemeClr val="accent1"/>
                </a:solidFill>
              </a:defRPr>
            </a:lvl5pPr>
            <a:lvl6pPr>
              <a:buAutoNum type="arabicPeriod"/>
              <a:defRPr lang="en-US" baseline="0" dirty="0">
                <a:solidFill>
                  <a:schemeClr val="accent1"/>
                </a:solidFill>
              </a:defRPr>
            </a:lvl6pPr>
            <a:lvl7pPr>
              <a:buAutoNum type="romanLcPeriod"/>
              <a:defRPr lang="en-US" baseline="0" dirty="0">
                <a:solidFill>
                  <a:schemeClr val="accent1"/>
                </a:solidFill>
              </a:defRPr>
            </a:lvl7pPr>
            <a:lvl8pPr>
              <a:defRPr lang="en-US" baseline="0" dirty="0">
                <a:solidFill>
                  <a:schemeClr val="accent1"/>
                </a:solidFill>
              </a:defRPr>
            </a:lvl8pPr>
            <a:lvl9pPr>
              <a:defRPr lang="en-US" baseline="0" dirty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" hidden="1">
            <a:extLst>
              <a:ext uri="{FF2B5EF4-FFF2-40B4-BE49-F238E27FC236}">
                <a16:creationId xmlns:a16="http://schemas.microsoft.com/office/drawing/2014/main" id="{F39CDF36-8584-474A-A340-2CF19A90EF6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5763" y="1838326"/>
            <a:ext cx="10857863" cy="42116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6F9F72-D473-4FF0-B534-697B037CAB9D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63A683AB-5A04-4495-8F42-C4AB3BB4E0B4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June 4, 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9F3986B-5EC8-441C-8101-40A5B761494C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D8A1E49-F2C9-4BC4-B87C-E6B6AD4C5169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298378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1040">
          <p15:clr>
            <a:srgbClr val="547EBF"/>
          </p15:clr>
        </p15:guide>
        <p15:guide id="8" orient="horz" pos="1158">
          <p15:clr>
            <a:srgbClr val="547EBF"/>
          </p15:clr>
        </p15:guide>
        <p15:guide id="9" orient="horz" pos="3811">
          <p15:clr>
            <a:srgbClr val="547EBF"/>
          </p15:clr>
        </p15:guide>
        <p15:guide id="10" orient="horz" pos="3958">
          <p15:clr>
            <a:srgbClr val="547EB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2 Contents &#10;with Headers" type="twoTxTwoObj" preserve="1">
  <p:cSld name="Title 2 Contents 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3"/>
            <a:ext cx="5242237" cy="280988"/>
          </a:xfrm>
        </p:spPr>
        <p:txBody>
          <a:bodyPr/>
          <a:lstStyle>
            <a:lvl1pPr>
              <a:defRPr b="0"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right">
            <a:extLst>
              <a:ext uri="{FF2B5EF4-FFF2-40B4-BE49-F238E27FC236}">
                <a16:creationId xmlns:a16="http://schemas.microsoft.com/office/drawing/2014/main" id="{2736EA48-A5FD-471F-8C50-CAC9BAAFCC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02400" y="1369800"/>
            <a:ext cx="5237781" cy="280987"/>
          </a:xfrm>
        </p:spPr>
        <p:txBody>
          <a:bodyPr/>
          <a:lstStyle>
            <a:lvl1pPr>
              <a:defRPr b="0"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left">
            <a:extLst>
              <a:ext uri="{FF2B5EF4-FFF2-40B4-BE49-F238E27FC236}">
                <a16:creationId xmlns:a16="http://schemas.microsoft.com/office/drawing/2014/main" id="{66ADD6CF-E96E-40D4-888D-AEC6A7B689C7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400" y="1838325"/>
            <a:ext cx="5241288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right">
            <a:extLst>
              <a:ext uri="{FF2B5EF4-FFF2-40B4-BE49-F238E27FC236}">
                <a16:creationId xmlns:a16="http://schemas.microsoft.com/office/drawing/2014/main" id="{E1B13DFC-B01F-469C-B65F-D2F368712314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002399" y="1838325"/>
            <a:ext cx="5241863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753840-5CF9-42CC-B75A-73C48DC2F7C1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B9BDC80F-B4C1-44FE-ACB2-6206973AA8E2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June 4, 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08F75E6-E90D-4A29-855E-060F8C52029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ECCE0EC-DF6D-4A71-AB27-210BB010718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612089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1040">
          <p15:clr>
            <a:srgbClr val="547EBF"/>
          </p15:clr>
        </p15:guide>
        <p15:guide id="7" orient="horz" pos="1158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3545">
          <p15:clr>
            <a:srgbClr val="547EBF"/>
          </p15:clr>
        </p15:guide>
        <p15:guide id="11" pos="3781">
          <p15:clr>
            <a:srgbClr val="547EBF"/>
          </p15:clr>
        </p15:guide>
        <p15:guide id="12" pos="7083">
          <p15:clr>
            <a:srgbClr val="547EB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3 Contents &#10;with Headers" preserve="1">
  <p:cSld name="Title 3 Contents 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12" name="Text Placeholder left">
            <a:extLst>
              <a:ext uri="{FF2B5EF4-FFF2-40B4-BE49-F238E27FC236}">
                <a16:creationId xmlns:a16="http://schemas.microsoft.com/office/drawing/2014/main" id="{A8886709-9610-483F-92CC-2A72A3FBEFD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3"/>
            <a:ext cx="3370237" cy="280988"/>
          </a:xfrm>
        </p:spPr>
        <p:txBody>
          <a:bodyPr/>
          <a:lstStyle>
            <a:lvl1pPr>
              <a:defRPr b="0"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center">
            <a:extLst>
              <a:ext uri="{FF2B5EF4-FFF2-40B4-BE49-F238E27FC236}">
                <a16:creationId xmlns:a16="http://schemas.microsoft.com/office/drawing/2014/main" id="{C5D6C4C1-1748-4F13-BF71-CB0B1D588BA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0400" y="1370013"/>
            <a:ext cx="3367372" cy="280987"/>
          </a:xfrm>
        </p:spPr>
        <p:txBody>
          <a:bodyPr/>
          <a:lstStyle>
            <a:lvl1pPr>
              <a:defRPr b="0"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right">
            <a:extLst>
              <a:ext uri="{FF2B5EF4-FFF2-40B4-BE49-F238E27FC236}">
                <a16:creationId xmlns:a16="http://schemas.microsoft.com/office/drawing/2014/main" id="{137B864B-E3EF-48FF-9B48-5900C6762F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876628" y="1370013"/>
            <a:ext cx="3367372" cy="280987"/>
          </a:xfrm>
        </p:spPr>
        <p:txBody>
          <a:bodyPr/>
          <a:lstStyle>
            <a:lvl1pPr>
              <a:defRPr b="0"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left">
            <a:extLst>
              <a:ext uri="{FF2B5EF4-FFF2-40B4-BE49-F238E27FC236}">
                <a16:creationId xmlns:a16="http://schemas.microsoft.com/office/drawing/2014/main" id="{80B9EEE4-A50E-45E6-90B7-A6DF93D7D7E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399" y="1838325"/>
            <a:ext cx="3369625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center">
            <a:extLst>
              <a:ext uri="{FF2B5EF4-FFF2-40B4-BE49-F238E27FC236}">
                <a16:creationId xmlns:a16="http://schemas.microsoft.com/office/drawing/2014/main" id="{6198751F-5038-4C04-BB4F-3E8723C1B29B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130400" y="1838325"/>
            <a:ext cx="3368950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right">
            <a:extLst>
              <a:ext uri="{FF2B5EF4-FFF2-40B4-BE49-F238E27FC236}">
                <a16:creationId xmlns:a16="http://schemas.microsoft.com/office/drawing/2014/main" id="{491A289C-2085-4668-9581-ADDF1084BBEE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7874399" y="1838325"/>
            <a:ext cx="3369863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6572EF5-53AC-4B89-8142-90BB2ABE7316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845B5099-DAA5-4374-A8EF-055ECA9C9DD1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June 4, 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BFEE9EC-14C8-490D-AD5C-42C125A1E4EE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057346F-2946-4C35-8684-4782DA545403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245537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1040">
          <p15:clr>
            <a:srgbClr val="547EBF"/>
          </p15:clr>
        </p15:guide>
        <p15:guide id="8" orient="horz" pos="1158">
          <p15:clr>
            <a:srgbClr val="547EBF"/>
          </p15:clr>
        </p15:guide>
        <p15:guide id="9" orient="horz" pos="3811">
          <p15:clr>
            <a:srgbClr val="547EBF"/>
          </p15:clr>
        </p15:guide>
        <p15:guide id="10" orient="horz" pos="3958">
          <p15:clr>
            <a:srgbClr val="547EBF"/>
          </p15:clr>
        </p15:guide>
        <p15:guide id="11" pos="2366">
          <p15:clr>
            <a:srgbClr val="547EBF"/>
          </p15:clr>
        </p15:guide>
        <p15:guide id="12" pos="2602">
          <p15:clr>
            <a:srgbClr val="547EBF"/>
          </p15:clr>
        </p15:guide>
        <p15:guide id="13" pos="4724">
          <p15:clr>
            <a:srgbClr val="547EBF"/>
          </p15:clr>
        </p15:guide>
        <p15:guide id="14" pos="4960">
          <p15:clr>
            <a:srgbClr val="547EB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4 Contents &#10;with Headers" preserve="1">
  <p:cSld name="Title 4 Contents 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13" name="Text Placeholder left">
            <a:extLst>
              <a:ext uri="{FF2B5EF4-FFF2-40B4-BE49-F238E27FC236}">
                <a16:creationId xmlns:a16="http://schemas.microsoft.com/office/drawing/2014/main" id="{F3C161C3-640E-41D6-A44F-B3AC303481B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3"/>
            <a:ext cx="2434237" cy="28098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b="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4" name="Text Placeholder center left">
            <a:extLst>
              <a:ext uri="{FF2B5EF4-FFF2-40B4-BE49-F238E27FC236}">
                <a16:creationId xmlns:a16="http://schemas.microsoft.com/office/drawing/2014/main" id="{BF155FED-E878-4F82-91CB-EEB6A0EAAC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194400" y="1369801"/>
            <a:ext cx="2432168" cy="2812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b="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5" name="Text Placeholder center right">
            <a:extLst>
              <a:ext uri="{FF2B5EF4-FFF2-40B4-BE49-F238E27FC236}">
                <a16:creationId xmlns:a16="http://schemas.microsoft.com/office/drawing/2014/main" id="{2D1F3CDA-96EB-4C1B-8688-55D69CCE43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02400" y="1370013"/>
            <a:ext cx="2432168" cy="280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b="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6" name="Text Placeholder right">
            <a:extLst>
              <a:ext uri="{FF2B5EF4-FFF2-40B4-BE49-F238E27FC236}">
                <a16:creationId xmlns:a16="http://schemas.microsoft.com/office/drawing/2014/main" id="{8857AEC9-5CA3-4A1E-B979-308C2CAC47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810208" y="1370013"/>
            <a:ext cx="2433792" cy="280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b="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25" name="Content Placeholder left">
            <a:extLst>
              <a:ext uri="{FF2B5EF4-FFF2-40B4-BE49-F238E27FC236}">
                <a16:creationId xmlns:a16="http://schemas.microsoft.com/office/drawing/2014/main" id="{F3658C72-050E-49A9-8A13-07B94D5B9E7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400" y="1838325"/>
            <a:ext cx="2433000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</a:p>
        </p:txBody>
      </p:sp>
      <p:sp>
        <p:nvSpPr>
          <p:cNvPr id="26" name="Content Placeholder center left">
            <a:extLst>
              <a:ext uri="{FF2B5EF4-FFF2-40B4-BE49-F238E27FC236}">
                <a16:creationId xmlns:a16="http://schemas.microsoft.com/office/drawing/2014/main" id="{1A0351BE-E79F-40A3-8577-E328D3958891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194400" y="1838325"/>
            <a:ext cx="2433288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</a:p>
        </p:txBody>
      </p:sp>
      <p:sp>
        <p:nvSpPr>
          <p:cNvPr id="27" name="Content Placeholder center right">
            <a:extLst>
              <a:ext uri="{FF2B5EF4-FFF2-40B4-BE49-F238E27FC236}">
                <a16:creationId xmlns:a16="http://schemas.microsoft.com/office/drawing/2014/main" id="{B5182934-6831-4FDC-A7C4-AD9D38150805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002399" y="1838325"/>
            <a:ext cx="2433575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</a:p>
        </p:txBody>
      </p:sp>
      <p:sp>
        <p:nvSpPr>
          <p:cNvPr id="28" name="Content Placeholder right">
            <a:extLst>
              <a:ext uri="{FF2B5EF4-FFF2-40B4-BE49-F238E27FC236}">
                <a16:creationId xmlns:a16="http://schemas.microsoft.com/office/drawing/2014/main" id="{C472BB61-B63B-4095-8DC2-455C10AA39CF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810399" y="1838325"/>
            <a:ext cx="2433863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0D54E39-7624-462F-9F80-7DB617C0C73A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8CEDC305-A4E2-47D6-8428-DF835B4BE358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June 4, 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D42CD21-E3A6-48AE-89E1-78DE4A6A013B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38E3CC0-4E20-44A9-BE78-32651EB3DB80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984208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1040">
          <p15:clr>
            <a:srgbClr val="547EBF"/>
          </p15:clr>
        </p15:guide>
        <p15:guide id="8" orient="horz" pos="1158">
          <p15:clr>
            <a:srgbClr val="547EBF"/>
          </p15:clr>
        </p15:guide>
        <p15:guide id="9" orient="horz" pos="3811">
          <p15:clr>
            <a:srgbClr val="547EBF"/>
          </p15:clr>
        </p15:guide>
        <p15:guide id="10" orient="horz" pos="3958">
          <p15:clr>
            <a:srgbClr val="547EBF"/>
          </p15:clr>
        </p15:guide>
        <p15:guide id="11" pos="1776">
          <p15:clr>
            <a:srgbClr val="547EBF"/>
          </p15:clr>
        </p15:guide>
        <p15:guide id="12" pos="2012">
          <p15:clr>
            <a:srgbClr val="547EBF"/>
          </p15:clr>
        </p15:guide>
        <p15:guide id="13" pos="3545">
          <p15:clr>
            <a:srgbClr val="547EBF"/>
          </p15:clr>
        </p15:guide>
        <p15:guide id="14" pos="3781">
          <p15:clr>
            <a:srgbClr val="547EBF"/>
          </p15:clr>
        </p15:guide>
        <p15:guide id="15" pos="5314">
          <p15:clr>
            <a:srgbClr val="547EBF"/>
          </p15:clr>
        </p15:guide>
        <p15:guide id="16" pos="5550">
          <p15:clr>
            <a:srgbClr val="547EB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Content &#10;with Intro" type="txAndObj" preserve="1">
  <p:cSld name="Title Content with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13" name="Text Placeholder">
            <a:extLst>
              <a:ext uri="{FF2B5EF4-FFF2-40B4-BE49-F238E27FC236}">
                <a16:creationId xmlns:a16="http://schemas.microsoft.com/office/drawing/2014/main" id="{72A2FDCE-6151-4692-9789-AB95CA61E4F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3"/>
            <a:ext cx="10858500" cy="749300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 baseline="0">
                <a:solidFill>
                  <a:schemeClr val="accent1"/>
                </a:solidFill>
              </a:defRPr>
            </a:lvl6pPr>
            <a:lvl7pPr>
              <a:defRPr baseline="0">
                <a:solidFill>
                  <a:schemeClr val="accent1"/>
                </a:solidFill>
              </a:defRPr>
            </a:lvl7pPr>
            <a:lvl8pPr>
              <a:defRPr baseline="0">
                <a:solidFill>
                  <a:schemeClr val="accent1"/>
                </a:solidFill>
              </a:defRPr>
            </a:lvl8pPr>
            <a:lvl9pPr>
              <a:defRPr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BC68B6CC-90B0-4EEA-B714-6E3AFC295DB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400" y="2305800"/>
            <a:ext cx="10857863" cy="374416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572956B-2CDE-4E6E-830A-3B27344C8F46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73C4E7FB-5B91-46E6-A46C-5488EE2B85C2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June 4, 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D756FD2-4F39-4021-9903-850FB63FD853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E7ECBC2-1186-4738-BA8D-47F51F71F4A8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241845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1335">
          <p15:clr>
            <a:srgbClr val="547EBF"/>
          </p15:clr>
        </p15:guide>
        <p15:guide id="8" orient="horz" pos="1452">
          <p15:clr>
            <a:srgbClr val="547EBF"/>
          </p15:clr>
        </p15:guide>
        <p15:guide id="9" orient="horz" pos="3811">
          <p15:clr>
            <a:srgbClr val="547EBF"/>
          </p15:clr>
        </p15:guide>
        <p15:guide id="11" orient="horz" pos="3958">
          <p15:clr>
            <a:srgbClr val="547EBF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2 Contents &#10;with Intro" type="twoColTx" preserve="1">
  <p:cSld name="Titöe 2 Contents with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2"/>
            <a:ext cx="5242237" cy="74880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aseline="0" dirty="0">
                <a:solidFill>
                  <a:schemeClr val="accent1"/>
                </a:solidFill>
              </a:defRPr>
            </a:lvl1pPr>
            <a:lvl2pPr>
              <a:defRPr lang="en-US" sz="1600" baseline="0" dirty="0">
                <a:solidFill>
                  <a:schemeClr val="accent1"/>
                </a:solidFill>
              </a:defRPr>
            </a:lvl2pPr>
            <a:lvl3pPr>
              <a:defRPr lang="en-US" sz="1600" baseline="0" dirty="0">
                <a:solidFill>
                  <a:schemeClr val="accent1"/>
                </a:solidFill>
              </a:defRPr>
            </a:lvl3pPr>
            <a:lvl4pPr>
              <a:defRPr lang="en-US" baseline="0" dirty="0">
                <a:solidFill>
                  <a:schemeClr val="accent1"/>
                </a:solidFill>
              </a:defRPr>
            </a:lvl4pPr>
            <a:lvl5pPr>
              <a:defRPr lang="en-US" baseline="0" dirty="0">
                <a:solidFill>
                  <a:schemeClr val="accent1"/>
                </a:solidFill>
              </a:defRPr>
            </a:lvl5pPr>
            <a:lvl6pPr>
              <a:defRPr baseline="0">
                <a:solidFill>
                  <a:schemeClr val="accent1"/>
                </a:solidFill>
              </a:defRPr>
            </a:lvl6pPr>
            <a:lvl7pPr>
              <a:defRPr baseline="0">
                <a:solidFill>
                  <a:schemeClr val="accent1"/>
                </a:solidFill>
              </a:defRPr>
            </a:lvl7pPr>
            <a:lvl8pPr>
              <a:defRPr baseline="0">
                <a:solidFill>
                  <a:schemeClr val="accent1"/>
                </a:solidFill>
              </a:defRPr>
            </a:lvl8pPr>
            <a:lvl9pPr>
              <a:defRPr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right">
            <a:extLst>
              <a:ext uri="{FF2B5EF4-FFF2-40B4-BE49-F238E27FC236}">
                <a16:creationId xmlns:a16="http://schemas.microsoft.com/office/drawing/2014/main" id="{2736EA48-A5FD-471F-8C50-CAC9BAAFCC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02400" y="1369800"/>
            <a:ext cx="5237781" cy="748800"/>
          </a:xfrm>
        </p:spPr>
        <p:txBody>
          <a:bodyPr vert="horz" lIns="0" tIns="0" rIns="0" bIns="0" rtlCol="0">
            <a:noAutofit/>
          </a:bodyPr>
          <a:lstStyle>
            <a:lvl1pPr>
              <a:defRPr lang="en-US" baseline="0" dirty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 baseline="0">
                <a:solidFill>
                  <a:schemeClr val="accent1"/>
                </a:solidFill>
              </a:defRPr>
            </a:lvl6pPr>
            <a:lvl7pPr>
              <a:defRPr baseline="0">
                <a:solidFill>
                  <a:schemeClr val="accent1"/>
                </a:solidFill>
              </a:defRPr>
            </a:lvl7pPr>
            <a:lvl8pPr>
              <a:defRPr baseline="0">
                <a:solidFill>
                  <a:schemeClr val="accent1"/>
                </a:solidFill>
              </a:defRPr>
            </a:lvl8pPr>
            <a:lvl9pPr>
              <a:defRPr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2305800"/>
            <a:ext cx="5241600" cy="374394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righ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02400" y="2305800"/>
            <a:ext cx="5241862" cy="374394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3ACEDA-14D2-4D60-ACDB-D5109573C7DA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3CA84888-AC81-4564-B0ED-A3AB5BF805AC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June 4, 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B44124A-5903-474D-B425-7EC03B538F4D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29A5D1A-8FC2-4425-8085-692FBEA23661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268373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545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1335">
          <p15:clr>
            <a:srgbClr val="547EBF"/>
          </p15:clr>
        </p15:guide>
        <p15:guide id="7" orient="horz" pos="1452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3781">
          <p15:clr>
            <a:srgbClr val="547EBF"/>
          </p15:clr>
        </p15:guide>
        <p15:guide id="11" pos="7083">
          <p15:clr>
            <a:srgbClr val="547EBF"/>
          </p15:clr>
        </p15:guide>
        <p15:guide id="12" pos="243">
          <p15:clr>
            <a:srgbClr val="547EBF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3 Contents &#10;with Intro" preserve="1">
  <p:cSld name="Title 3 Contents with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12" name="Text Placeholder left">
            <a:extLst>
              <a:ext uri="{FF2B5EF4-FFF2-40B4-BE49-F238E27FC236}">
                <a16:creationId xmlns:a16="http://schemas.microsoft.com/office/drawing/2014/main" id="{A8886709-9610-483F-92CC-2A72A3FBEFD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3"/>
            <a:ext cx="3370237" cy="748590"/>
          </a:xfrm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center">
            <a:extLst>
              <a:ext uri="{FF2B5EF4-FFF2-40B4-BE49-F238E27FC236}">
                <a16:creationId xmlns:a16="http://schemas.microsoft.com/office/drawing/2014/main" id="{C5D6C4C1-1748-4F13-BF71-CB0B1D588BA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0400" y="1370013"/>
            <a:ext cx="3367372" cy="748587"/>
          </a:xfrm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right">
            <a:extLst>
              <a:ext uri="{FF2B5EF4-FFF2-40B4-BE49-F238E27FC236}">
                <a16:creationId xmlns:a16="http://schemas.microsoft.com/office/drawing/2014/main" id="{137B864B-E3EF-48FF-9B48-5900C6762F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876628" y="1370013"/>
            <a:ext cx="3367372" cy="748587"/>
          </a:xfrm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2306013"/>
            <a:ext cx="3369600" cy="374394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center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130400" y="2305800"/>
            <a:ext cx="3369600" cy="374394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Content Placeholder right">
            <a:extLst>
              <a:ext uri="{FF2B5EF4-FFF2-40B4-BE49-F238E27FC236}">
                <a16:creationId xmlns:a16="http://schemas.microsoft.com/office/drawing/2014/main" id="{050396BA-273E-425D-AD91-83515A91269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874399" y="2305800"/>
            <a:ext cx="3369863" cy="374394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3403440-F3EA-48E6-B8F0-E8964D08C2A6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58311C3C-C296-4B23-8529-7B5E85E25800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June 4, 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6573ED-A8D1-44BE-89E8-BDC17846C043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1022E9E-7F31-4169-926F-181B429842B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965045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602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1335">
          <p15:clr>
            <a:srgbClr val="547EBF"/>
          </p15:clr>
        </p15:guide>
        <p15:guide id="7" orient="horz" pos="1452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243">
          <p15:clr>
            <a:srgbClr val="547EBF"/>
          </p15:clr>
        </p15:guide>
        <p15:guide id="11" pos="2366">
          <p15:clr>
            <a:srgbClr val="547EBF"/>
          </p15:clr>
        </p15:guide>
        <p15:guide id="12" pos="4724">
          <p15:clr>
            <a:srgbClr val="547EBF"/>
          </p15:clr>
        </p15:guide>
        <p15:guide id="13" pos="4960">
          <p15:clr>
            <a:srgbClr val="547EBF"/>
          </p15:clr>
        </p15:guide>
        <p15:guide id="14" pos="7083">
          <p15:clr>
            <a:srgbClr val="547EBF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4 Contents &#10;with Intro" preserve="1">
  <p:cSld name="Title 4 Contents with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17" name="Text Placeholder left">
            <a:extLst>
              <a:ext uri="{FF2B5EF4-FFF2-40B4-BE49-F238E27FC236}">
                <a16:creationId xmlns:a16="http://schemas.microsoft.com/office/drawing/2014/main" id="{5FA9E211-8E39-47DD-A16C-2F9499BC7F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2"/>
            <a:ext cx="2434237" cy="70167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</p:txBody>
      </p:sp>
      <p:sp>
        <p:nvSpPr>
          <p:cNvPr id="18" name="Text Placeholder center left">
            <a:extLst>
              <a:ext uri="{FF2B5EF4-FFF2-40B4-BE49-F238E27FC236}">
                <a16:creationId xmlns:a16="http://schemas.microsoft.com/office/drawing/2014/main" id="{2A19C958-E7D0-44A4-B38C-60844D9F667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194400" y="1369800"/>
            <a:ext cx="2432168" cy="7018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</p:txBody>
      </p:sp>
      <p:sp>
        <p:nvSpPr>
          <p:cNvPr id="19" name="Text Placeholder center right">
            <a:extLst>
              <a:ext uri="{FF2B5EF4-FFF2-40B4-BE49-F238E27FC236}">
                <a16:creationId xmlns:a16="http://schemas.microsoft.com/office/drawing/2014/main" id="{8E8876E3-76FC-4ACB-8045-9ACBD3AB98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02400" y="1370013"/>
            <a:ext cx="2432168" cy="70167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</p:txBody>
      </p:sp>
      <p:sp>
        <p:nvSpPr>
          <p:cNvPr id="20" name="Text Placeholder right">
            <a:extLst>
              <a:ext uri="{FF2B5EF4-FFF2-40B4-BE49-F238E27FC236}">
                <a16:creationId xmlns:a16="http://schemas.microsoft.com/office/drawing/2014/main" id="{725A00B6-43EB-4ECA-AF70-EB3B121F052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810208" y="1370013"/>
            <a:ext cx="2433792" cy="70167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</p:txBody>
      </p:sp>
      <p:sp>
        <p:nvSpPr>
          <p:cNvPr id="25" name="Content Placeholder left">
            <a:extLst>
              <a:ext uri="{FF2B5EF4-FFF2-40B4-BE49-F238E27FC236}">
                <a16:creationId xmlns:a16="http://schemas.microsoft.com/office/drawing/2014/main" id="{0BB2027E-987B-485D-89AA-87365F0151D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400" y="2305050"/>
            <a:ext cx="2433000" cy="374491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</a:p>
        </p:txBody>
      </p:sp>
      <p:sp>
        <p:nvSpPr>
          <p:cNvPr id="26" name="Content Placeholder center left">
            <a:extLst>
              <a:ext uri="{FF2B5EF4-FFF2-40B4-BE49-F238E27FC236}">
                <a16:creationId xmlns:a16="http://schemas.microsoft.com/office/drawing/2014/main" id="{9E46103B-D425-4BC6-A1E6-5704302AEA0A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194400" y="2305050"/>
            <a:ext cx="2433288" cy="374491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</a:p>
        </p:txBody>
      </p:sp>
      <p:sp>
        <p:nvSpPr>
          <p:cNvPr id="27" name="Content Placeholder center right">
            <a:extLst>
              <a:ext uri="{FF2B5EF4-FFF2-40B4-BE49-F238E27FC236}">
                <a16:creationId xmlns:a16="http://schemas.microsoft.com/office/drawing/2014/main" id="{4C5B107C-E832-4C51-99BD-DBFE27272F46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6002399" y="2305050"/>
            <a:ext cx="2433575" cy="374491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0"/>
              </a:spcAft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ixth level</a:t>
            </a:r>
          </a:p>
          <a:p>
            <a:pPr lvl="6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8" name="Content Placeholder right">
            <a:extLst>
              <a:ext uri="{FF2B5EF4-FFF2-40B4-BE49-F238E27FC236}">
                <a16:creationId xmlns:a16="http://schemas.microsoft.com/office/drawing/2014/main" id="{546E20EC-644E-49F2-9E1F-9546C70449BE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810399" y="2305050"/>
            <a:ext cx="2433863" cy="374491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0EDFF9E-C967-40DC-8E03-0995A117EA7C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AACF3B69-8127-4046-A791-57CE4AFBD3DC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June 4, 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0F72F79-D9B5-4D0A-B162-39508696979A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8517A76-FB91-4F47-B520-B627D55DBE21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049495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1305">
          <p15:clr>
            <a:srgbClr val="547EBF"/>
          </p15:clr>
        </p15:guide>
        <p15:guide id="7" orient="horz" pos="1452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1776">
          <p15:clr>
            <a:srgbClr val="547EBF"/>
          </p15:clr>
        </p15:guide>
        <p15:guide id="11" pos="2012">
          <p15:clr>
            <a:srgbClr val="547EBF"/>
          </p15:clr>
        </p15:guide>
        <p15:guide id="12" pos="3545">
          <p15:clr>
            <a:srgbClr val="547EBF"/>
          </p15:clr>
        </p15:guide>
        <p15:guide id="13" pos="3781">
          <p15:clr>
            <a:srgbClr val="547EBF"/>
          </p15:clr>
        </p15:guide>
        <p15:guide id="14" pos="5314">
          <p15:clr>
            <a:srgbClr val="547EBF"/>
          </p15:clr>
        </p15:guide>
        <p15:guide id="15" pos="5550">
          <p15:clr>
            <a:srgbClr val="547EBF"/>
          </p15:clr>
        </p15:guide>
        <p15:guide id="16" pos="7083">
          <p15:clr>
            <a:srgbClr val="547EBF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Content &#10;with Text" type="objOverTx" preserve="1">
  <p:cSld name="Title Content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21" name="Content Placeholder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399" y="1369800"/>
            <a:ext cx="10857863" cy="3089488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noProof="0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12" name="Text Placeholder">
            <a:extLst>
              <a:ext uri="{FF2B5EF4-FFF2-40B4-BE49-F238E27FC236}">
                <a16:creationId xmlns:a16="http://schemas.microsoft.com/office/drawing/2014/main" id="{1A5B03E1-015A-4D18-B342-9CADF726D9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6400" y="4645800"/>
            <a:ext cx="10858500" cy="1404776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84FC1AD-118A-479F-B6D9-E94E29C8D3FE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64D15F24-6B43-40C0-92CA-B20BD4F41C61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June 4, 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564B1D0-72DB-448B-852E-084AA83DB1CD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C2BB846-FD72-404F-B0F8-B4CBB9109F35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673771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2809">
          <p15:clr>
            <a:srgbClr val="547EBF"/>
          </p15:clr>
        </p15:guide>
        <p15:guide id="8" orient="horz" pos="2926">
          <p15:clr>
            <a:srgbClr val="547EBF"/>
          </p15:clr>
        </p15:guide>
        <p15:guide id="9" orient="horz" pos="3811">
          <p15:clr>
            <a:srgbClr val="547EBF"/>
          </p15:clr>
        </p15:guide>
        <p15:guide id="10" orient="horz" pos="3958">
          <p15:clr>
            <a:srgbClr val="547EBF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tIns="36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2000" baseline="0">
                <a:solidFill>
                  <a:schemeClr val="accent1"/>
                </a:solidFill>
              </a:defRPr>
            </a:lvl1pPr>
            <a:lvl2pPr>
              <a:lnSpc>
                <a:spcPct val="90000"/>
              </a:lnSpc>
              <a:spcBef>
                <a:spcPts val="369"/>
              </a:spcBef>
              <a:spcAft>
                <a:spcPts val="369"/>
              </a:spcAft>
              <a:defRPr sz="2000" baseline="0">
                <a:solidFill>
                  <a:schemeClr val="accent1"/>
                </a:solidFill>
              </a:defRPr>
            </a:lvl2pPr>
            <a:lvl3pPr>
              <a:lnSpc>
                <a:spcPct val="90000"/>
              </a:lnSpc>
              <a:spcBef>
                <a:spcPts val="369"/>
              </a:spcBef>
              <a:spcAft>
                <a:spcPts val="369"/>
              </a:spcAft>
              <a:defRPr sz="2000" baseline="0">
                <a:solidFill>
                  <a:schemeClr val="accent1"/>
                </a:solidFill>
              </a:defRPr>
            </a:lvl3pPr>
            <a:lvl4pPr>
              <a:lnSpc>
                <a:spcPct val="95000"/>
              </a:lnSpc>
              <a:spcBef>
                <a:spcPts val="369"/>
              </a:spcBef>
              <a:spcAft>
                <a:spcPts val="369"/>
              </a:spcAft>
              <a:defRPr sz="1600" baseline="0">
                <a:solidFill>
                  <a:schemeClr val="accent1"/>
                </a:solidFill>
              </a:defRPr>
            </a:lvl4pPr>
            <a:lvl5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>
                <a:solidFill>
                  <a:schemeClr val="accent1"/>
                </a:solidFill>
              </a:defRPr>
            </a:lvl5pPr>
            <a:lvl6pPr>
              <a:lnSpc>
                <a:spcPct val="90000"/>
              </a:lnSpc>
              <a:spcBef>
                <a:spcPts val="369"/>
              </a:spcBef>
              <a:spcAft>
                <a:spcPts val="369"/>
              </a:spcAft>
              <a:defRPr sz="2000" baseline="0">
                <a:solidFill>
                  <a:schemeClr val="accent1"/>
                </a:solidFill>
              </a:defRPr>
            </a:lvl6pPr>
            <a:lvl7pPr>
              <a:lnSpc>
                <a:spcPct val="95000"/>
              </a:lnSpc>
              <a:spcBef>
                <a:spcPts val="369"/>
              </a:spcBef>
              <a:spcAft>
                <a:spcPts val="369"/>
              </a:spcAft>
              <a:defRPr sz="1600" baseline="0">
                <a:solidFill>
                  <a:schemeClr val="accent1"/>
                </a:solidFill>
              </a:defRPr>
            </a:lvl7pPr>
            <a:lvl8pPr>
              <a:lnSpc>
                <a:spcPct val="95000"/>
              </a:lnSpc>
              <a:spcBef>
                <a:spcPts val="369"/>
              </a:spcBef>
              <a:spcAft>
                <a:spcPts val="369"/>
              </a:spcAft>
              <a:defRPr sz="1600" baseline="0">
                <a:solidFill>
                  <a:schemeClr val="accent1"/>
                </a:solidFill>
              </a:defRPr>
            </a:lvl8pPr>
            <a:lvl9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95CED1D3-1FC8-4A3D-BC76-3245976F6574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399" y="1369799"/>
            <a:ext cx="10857863" cy="4680163"/>
          </a:xfrm>
        </p:spPr>
        <p:txBody>
          <a:bodyPr/>
          <a:lstStyle>
            <a:lvl6pPr>
              <a:buAutoNum type="arabicPeriod"/>
              <a:defRPr/>
            </a:lvl6pPr>
            <a:lvl7pPr>
              <a:buAutoNum type="romanLcPeriod"/>
              <a:defRPr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49D5BDC-1173-44FF-AFA5-8F2114E340A1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14CD3A7-9E40-46FB-A41D-9CC29415685D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June 4, 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BCE3109-2B52-4738-928A-F7125818F0DB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18341C4-4C0D-4BED-9235-74E019B48B8F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/>
          </a:p>
        </p:txBody>
      </p:sp>
      <p:sp>
        <p:nvSpPr>
          <p:cNvPr id="11" name="Logo">
            <a:extLst>
              <a:ext uri="{FF2B5EF4-FFF2-40B4-BE49-F238E27FC236}">
                <a16:creationId xmlns:a16="http://schemas.microsoft.com/office/drawing/2014/main" id="{46FDEC34-FCB4-4EAC-9BEA-21A661EFE34B}"/>
              </a:ext>
            </a:extLst>
          </p:cNvPr>
          <p:cNvSpPr>
            <a:spLocks/>
          </p:cNvSpPr>
          <p:nvPr userDrawn="1"/>
        </p:nvSpPr>
        <p:spPr bwMode="black">
          <a:xfrm>
            <a:off x="385763" y="6512963"/>
            <a:ext cx="538161" cy="150809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rgbClr val="10069F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2400" baseline="0"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00764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7083">
          <p15:clr>
            <a:srgbClr val="547EBF"/>
          </p15:clr>
        </p15:guide>
        <p15:guide id="2" orient="horz" pos="863">
          <p15:clr>
            <a:srgbClr val="547EBF"/>
          </p15:clr>
        </p15:guide>
        <p15:guide id="3" pos="243">
          <p15:clr>
            <a:srgbClr val="547EBF"/>
          </p15:clr>
        </p15:guide>
        <p15:guide id="4" orient="horz" pos="3811">
          <p15:clr>
            <a:srgbClr val="547EBF"/>
          </p15:clr>
        </p15:guide>
        <p15:guide id="5" orient="horz" pos="3958">
          <p15:clr>
            <a:srgbClr val="547EBF"/>
          </p15:clr>
        </p15:guide>
        <p15:guide id="7" orient="horz" pos="745">
          <p15:clr>
            <a:srgbClr val="547EBF"/>
          </p15:clr>
        </p15:guide>
        <p15:guide id="8" orient="horz" pos="273">
          <p15:clr>
            <a:srgbClr val="547EBF"/>
          </p15:clr>
        </p15:guide>
        <p15:guide id="9" orient="horz" pos="509">
          <p15:clr>
            <a:srgbClr val="547EBF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2 Contents &#10;with Text" type="twoObjOverTx" preserve="1">
  <p:cSld name="Title 2 Content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1370013"/>
            <a:ext cx="5241600" cy="308858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righ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02400" y="1370013"/>
            <a:ext cx="5241862" cy="308858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4646010"/>
            <a:ext cx="5242237" cy="1404006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right">
            <a:extLst>
              <a:ext uri="{FF2B5EF4-FFF2-40B4-BE49-F238E27FC236}">
                <a16:creationId xmlns:a16="http://schemas.microsoft.com/office/drawing/2014/main" id="{2736EA48-A5FD-471F-8C50-CAC9BAAFCC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02400" y="4645800"/>
            <a:ext cx="5237781" cy="1404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0FFBE53-5DCA-4779-8AAF-DDEF8984ED07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FE5F86F-552B-4977-B9DD-7E75D9D4FFE2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June 4, 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091EF74-A273-4D9F-BFB8-4F3A848D8DA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0DA29FB-8CE8-4CA8-BAAF-0562B530F84B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269801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708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2809">
          <p15:clr>
            <a:srgbClr val="547EBF"/>
          </p15:clr>
        </p15:guide>
        <p15:guide id="7" orient="horz" pos="2926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243">
          <p15:clr>
            <a:srgbClr val="547EBF"/>
          </p15:clr>
        </p15:guide>
        <p15:guide id="11" pos="3545">
          <p15:clr>
            <a:srgbClr val="547EBF"/>
          </p15:clr>
        </p15:guide>
        <p15:guide id="12" pos="3781">
          <p15:clr>
            <a:srgbClr val="547EBF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3 Contents &#10;with Text" preserve="1">
  <p:cSld name="Title 3 Content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1370013"/>
            <a:ext cx="3369600" cy="308858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center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130400" y="1369800"/>
            <a:ext cx="3369600" cy="308858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Content Placeholder right">
            <a:extLst>
              <a:ext uri="{FF2B5EF4-FFF2-40B4-BE49-F238E27FC236}">
                <a16:creationId xmlns:a16="http://schemas.microsoft.com/office/drawing/2014/main" id="{050396BA-273E-425D-AD91-83515A91269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874399" y="1369800"/>
            <a:ext cx="3369863" cy="308858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noProof="0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12" name="Text Placeholder left">
            <a:extLst>
              <a:ext uri="{FF2B5EF4-FFF2-40B4-BE49-F238E27FC236}">
                <a16:creationId xmlns:a16="http://schemas.microsoft.com/office/drawing/2014/main" id="{A8886709-9610-483F-92CC-2A72A3FBEFD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4645797"/>
            <a:ext cx="3370237" cy="140400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center">
            <a:extLst>
              <a:ext uri="{FF2B5EF4-FFF2-40B4-BE49-F238E27FC236}">
                <a16:creationId xmlns:a16="http://schemas.microsoft.com/office/drawing/2014/main" id="{C5D6C4C1-1748-4F13-BF71-CB0B1D588BA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0400" y="4645800"/>
            <a:ext cx="3367372" cy="140399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right">
            <a:extLst>
              <a:ext uri="{FF2B5EF4-FFF2-40B4-BE49-F238E27FC236}">
                <a16:creationId xmlns:a16="http://schemas.microsoft.com/office/drawing/2014/main" id="{137B864B-E3EF-48FF-9B48-5900C6762F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876628" y="4645800"/>
            <a:ext cx="3367372" cy="140399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1E5C7900-745E-4006-AAFE-0C3258E3DCEF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E3B7811-8A70-4E0A-80E6-0BEFC6238E7B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June 4, 2024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F2F9DF32-2956-4A1E-80B3-89A1D1BB0C35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C0A82D22-5BA5-44CE-BE69-87DDF0144BE9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896956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2809">
          <p15:clr>
            <a:srgbClr val="547EBF"/>
          </p15:clr>
        </p15:guide>
        <p15:guide id="7" orient="horz" pos="2926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2366">
          <p15:clr>
            <a:srgbClr val="547EBF"/>
          </p15:clr>
        </p15:guide>
        <p15:guide id="11" pos="2602">
          <p15:clr>
            <a:srgbClr val="547EBF"/>
          </p15:clr>
        </p15:guide>
        <p15:guide id="12" pos="4724">
          <p15:clr>
            <a:srgbClr val="547EBF"/>
          </p15:clr>
        </p15:guide>
        <p15:guide id="13" pos="4960">
          <p15:clr>
            <a:srgbClr val="547EBF"/>
          </p15:clr>
        </p15:guide>
        <p15:guide id="14" pos="7083">
          <p15:clr>
            <a:srgbClr val="547EBF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4 Contents &#10;with Text" preserve="1">
  <p:cSld name="Title 4 Content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1369801"/>
            <a:ext cx="2433600" cy="30888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</a:p>
        </p:txBody>
      </p:sp>
      <p:sp>
        <p:nvSpPr>
          <p:cNvPr id="22" name="Content Placeholder center lef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194400" y="1369801"/>
            <a:ext cx="2433600" cy="30888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</a:p>
        </p:txBody>
      </p:sp>
      <p:sp>
        <p:nvSpPr>
          <p:cNvPr id="23" name="Content Placeholder center right">
            <a:extLst>
              <a:ext uri="{FF2B5EF4-FFF2-40B4-BE49-F238E27FC236}">
                <a16:creationId xmlns:a16="http://schemas.microsoft.com/office/drawing/2014/main" id="{050396BA-273E-425D-AD91-83515A91269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002400" y="1369801"/>
            <a:ext cx="2433600" cy="30888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</a:p>
        </p:txBody>
      </p:sp>
      <p:sp>
        <p:nvSpPr>
          <p:cNvPr id="24" name="Content Placeholder right">
            <a:extLst>
              <a:ext uri="{FF2B5EF4-FFF2-40B4-BE49-F238E27FC236}">
                <a16:creationId xmlns:a16="http://schemas.microsoft.com/office/drawing/2014/main" id="{9DCB9383-FF8B-4F58-9768-9723C97F0D99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8810399" y="1369801"/>
            <a:ext cx="2433863" cy="30888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</a:p>
        </p:txBody>
      </p:sp>
      <p:sp>
        <p:nvSpPr>
          <p:cNvPr id="13" name="Text Placeholder left">
            <a:extLst>
              <a:ext uri="{FF2B5EF4-FFF2-40B4-BE49-F238E27FC236}">
                <a16:creationId xmlns:a16="http://schemas.microsoft.com/office/drawing/2014/main" id="{F3C161C3-640E-41D6-A44F-B3AC303481B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4645797"/>
            <a:ext cx="2434237" cy="140368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</a:p>
        </p:txBody>
      </p:sp>
      <p:sp>
        <p:nvSpPr>
          <p:cNvPr id="14" name="Text Placeholder center left">
            <a:extLst>
              <a:ext uri="{FF2B5EF4-FFF2-40B4-BE49-F238E27FC236}">
                <a16:creationId xmlns:a16="http://schemas.microsoft.com/office/drawing/2014/main" id="{BF155FED-E878-4F82-91CB-EEB6A0EAAC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194400" y="4645055"/>
            <a:ext cx="2432168" cy="140474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</a:p>
        </p:txBody>
      </p:sp>
      <p:sp>
        <p:nvSpPr>
          <p:cNvPr id="15" name="Text Placeholder center right">
            <a:extLst>
              <a:ext uri="{FF2B5EF4-FFF2-40B4-BE49-F238E27FC236}">
                <a16:creationId xmlns:a16="http://schemas.microsoft.com/office/drawing/2014/main" id="{2D1F3CDA-96EB-4C1B-8688-55D69CCE43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02400" y="4645800"/>
            <a:ext cx="2432168" cy="1403681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</a:p>
        </p:txBody>
      </p:sp>
      <p:sp>
        <p:nvSpPr>
          <p:cNvPr id="16" name="Text Placeholder right">
            <a:extLst>
              <a:ext uri="{FF2B5EF4-FFF2-40B4-BE49-F238E27FC236}">
                <a16:creationId xmlns:a16="http://schemas.microsoft.com/office/drawing/2014/main" id="{8857AEC9-5CA3-4A1E-B979-308C2CAC47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810208" y="4645800"/>
            <a:ext cx="2433792" cy="1403681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896A14B-7708-46D9-8826-69E1E642DEC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37681E4-1BFC-43B2-8037-029FB590810D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June 4, 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74E8C58-8CC0-4477-8D91-E7F3D11137D0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118CE30-E3AA-4912-B632-62F474FEF024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357437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012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243">
          <p15:clr>
            <a:srgbClr val="547EBF"/>
          </p15:clr>
        </p15:guide>
        <p15:guide id="4" pos="7083">
          <p15:clr>
            <a:srgbClr val="547EBF"/>
          </p15:clr>
        </p15:guide>
        <p15:guide id="5" pos="1776">
          <p15:clr>
            <a:srgbClr val="547EBF"/>
          </p15:clr>
        </p15:guide>
        <p15:guide id="6" pos="3545">
          <p15:clr>
            <a:srgbClr val="547EBF"/>
          </p15:clr>
        </p15:guide>
        <p15:guide id="7" pos="3781">
          <p15:clr>
            <a:srgbClr val="547EBF"/>
          </p15:clr>
        </p15:guide>
        <p15:guide id="8" pos="5314">
          <p15:clr>
            <a:srgbClr val="547EBF"/>
          </p15:clr>
        </p15:guide>
        <p15:guide id="9" pos="5550">
          <p15:clr>
            <a:srgbClr val="547EBF"/>
          </p15:clr>
        </p15:guide>
        <p15:guide id="10" orient="horz" pos="509">
          <p15:clr>
            <a:srgbClr val="547EBF"/>
          </p15:clr>
        </p15:guide>
        <p15:guide id="11" orient="horz" pos="745">
          <p15:clr>
            <a:srgbClr val="547EBF"/>
          </p15:clr>
        </p15:guide>
        <p15:guide id="12" orient="horz" pos="863">
          <p15:clr>
            <a:srgbClr val="547EBF"/>
          </p15:clr>
        </p15:guide>
        <p15:guide id="13" orient="horz" pos="2809">
          <p15:clr>
            <a:srgbClr val="547EBF"/>
          </p15:clr>
        </p15:guide>
        <p15:guide id="14" orient="horz" pos="2926">
          <p15:clr>
            <a:srgbClr val="547EBF"/>
          </p15:clr>
        </p15:guide>
        <p15:guide id="15" orient="horz" pos="3811">
          <p15:clr>
            <a:srgbClr val="547EBF"/>
          </p15:clr>
        </p15:guide>
        <p15:guide id="16" orient="horz" pos="3958">
          <p15:clr>
            <a:srgbClr val="547EBF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&#10;with Header right" type="twoObjAndTx" preserve="1">
  <p:cSld name="2 Contents with Header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8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1370014"/>
            <a:ext cx="5241600" cy="4679736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righ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02400" y="1838324"/>
            <a:ext cx="5241862" cy="4211425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righ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01763" y="1370013"/>
            <a:ext cx="5242237" cy="280988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98ADD4-8AFF-4ACF-93DF-CFB1C5ACF223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E41893C4-02D9-4333-95BC-1DA31FA8CEFE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June 4, 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24B576C-63CA-4CCA-9DD6-D688BE66DF83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9DAFDF3-2398-4828-B505-4DD86880574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57574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708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3811">
          <p15:clr>
            <a:srgbClr val="547EBF"/>
          </p15:clr>
        </p15:guide>
        <p15:guide id="7" orient="horz" pos="3958">
          <p15:clr>
            <a:srgbClr val="547EBF"/>
          </p15:clr>
        </p15:guide>
        <p15:guide id="8" pos="243">
          <p15:clr>
            <a:srgbClr val="547EBF"/>
          </p15:clr>
        </p15:guide>
        <p15:guide id="9" pos="3545">
          <p15:clr>
            <a:srgbClr val="547EBF"/>
          </p15:clr>
        </p15:guide>
        <p15:guide id="10" pos="3781">
          <p15:clr>
            <a:srgbClr val="547EBF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&#10;with Intro right" type="txAndTwoObj" preserve="1">
  <p:cSld name="2 Contents with Intr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1370014"/>
            <a:ext cx="5241600" cy="4679736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righ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02400" y="2305800"/>
            <a:ext cx="5241862" cy="3743949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righ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01763" y="1370012"/>
            <a:ext cx="5242237" cy="748803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63FEF96-3E0F-4E0F-AFE2-A69102B82C90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2AFF231-6E5F-4F60-AA37-7DE0ACD786C2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June 4, 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648DFA4-1119-44B7-BD42-A233F866843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5DB2CF4-935D-40C6-B1CF-F181FED349E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324861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781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3811">
          <p15:clr>
            <a:srgbClr val="547EBF"/>
          </p15:clr>
        </p15:guide>
        <p15:guide id="7" orient="horz" pos="3958">
          <p15:clr>
            <a:srgbClr val="547EBF"/>
          </p15:clr>
        </p15:guide>
        <p15:guide id="8" pos="3545">
          <p15:clr>
            <a:srgbClr val="547EBF"/>
          </p15:clr>
        </p15:guide>
        <p15:guide id="9" pos="243">
          <p15:clr>
            <a:srgbClr val="547EBF"/>
          </p15:clr>
        </p15:guide>
        <p15:guide id="10" pos="7083">
          <p15:clr>
            <a:srgbClr val="547EBF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&#10;with Text right" type="mediaAndTx" preserve="1">
  <p:cSld name="2 Contents with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1370014"/>
            <a:ext cx="5241600" cy="4679736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noProof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22" name="Content Placeholder righ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02400" y="1369801"/>
            <a:ext cx="5241862" cy="3088800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righ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01763" y="4645611"/>
            <a:ext cx="5242237" cy="1404351"/>
          </a:xfrm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 marL="519750" indent="-285750">
              <a:buNone/>
              <a:defRPr lang="en-US" sz="1600" kern="120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02E3762-0CF3-461E-BD9F-A326B5F02B14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7106D8F7-02B1-4160-83C7-46939707B81B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June 4, 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58D85ED-676A-4FEA-9EA2-2C71D76D7093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9BEE438-0DDB-4A6A-921F-7BE670E39DCA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450538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273">
          <p15:clr>
            <a:srgbClr val="547EBF"/>
          </p15:clr>
        </p15:guide>
        <p15:guide id="2" pos="243">
          <p15:clr>
            <a:srgbClr val="547EBF"/>
          </p15:clr>
        </p15:guide>
        <p15:guide id="3" pos="3545">
          <p15:clr>
            <a:srgbClr val="547EBF"/>
          </p15:clr>
        </p15:guide>
        <p15:guide id="4" pos="3781">
          <p15:clr>
            <a:srgbClr val="547EBF"/>
          </p15:clr>
        </p15:guide>
        <p15:guide id="5" pos="7083">
          <p15:clr>
            <a:srgbClr val="547EBF"/>
          </p15:clr>
        </p15:guide>
        <p15:guide id="6" orient="horz" pos="509">
          <p15:clr>
            <a:srgbClr val="547EBF"/>
          </p15:clr>
        </p15:guide>
        <p15:guide id="7" orient="horz" pos="745">
          <p15:clr>
            <a:srgbClr val="547EBF"/>
          </p15:clr>
        </p15:guide>
        <p15:guide id="8" orient="horz" pos="863">
          <p15:clr>
            <a:srgbClr val="547EBF"/>
          </p15:clr>
        </p15:guide>
        <p15:guide id="9" orient="horz" pos="3811">
          <p15:clr>
            <a:srgbClr val="547EBF"/>
          </p15:clr>
        </p15:guide>
        <p15:guide id="10" orient="horz" pos="3958">
          <p15:clr>
            <a:srgbClr val="547EB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&#10;with Text left" type="txAndMedia" preserve="1">
  <p:cSld name="2 Contents with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21" name="Content Placeholder righ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002400" y="1369800"/>
            <a:ext cx="5241600" cy="4679736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  <a:lvl6pPr>
              <a:buAutoNum type="arabicPeriod"/>
              <a:defRPr/>
            </a:lvl6pPr>
            <a:lvl7pPr>
              <a:buAutoNum type="romanLcPeriod"/>
              <a:defRPr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lef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7037" y="1369801"/>
            <a:ext cx="5241862" cy="3088800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noProof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6400" y="4645611"/>
            <a:ext cx="5242237" cy="1404351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  <a:lvl2pPr>
              <a:defRPr lang="en-US" dirty="0">
                <a:solidFill>
                  <a:schemeClr val="accent1"/>
                </a:solidFill>
              </a:defRPr>
            </a:lvl2pPr>
            <a:lvl3pPr>
              <a:defRPr lang="en-US" dirty="0">
                <a:solidFill>
                  <a:schemeClr val="accent1"/>
                </a:solidFill>
              </a:defRPr>
            </a:lvl3pPr>
            <a:lvl4pPr>
              <a:defRPr lang="en-US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buAutoNum type="arabicPeriod"/>
              <a:defRPr lang="en-US" dirty="0">
                <a:solidFill>
                  <a:schemeClr val="accent1"/>
                </a:solidFill>
              </a:defRPr>
            </a:lvl6pPr>
            <a:lvl7pPr>
              <a:buAutoNum type="romanLcPeriod"/>
              <a:defRPr lang="en-US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7FD0E28-6962-45CE-B41C-F26C7DD3067E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AE90AF89-4D3A-4473-BDD4-EB66E7355146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June 4, 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E6ED946-A89F-4642-A6D1-5B220E00CC0E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5E1D2E-928D-46A5-A4D0-3B092CC58C35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068493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545">
          <p15:clr>
            <a:srgbClr val="547EBF"/>
          </p15:clr>
        </p15:guide>
        <p15:guide id="2" orient="horz" pos="3811">
          <p15:clr>
            <a:srgbClr val="547EBF"/>
          </p15:clr>
        </p15:guide>
        <p15:guide id="3" pos="3781">
          <p15:clr>
            <a:srgbClr val="547EBF"/>
          </p15:clr>
        </p15:guide>
        <p15:guide id="4" pos="243">
          <p15:clr>
            <a:srgbClr val="547EBF"/>
          </p15:clr>
        </p15:guide>
        <p15:guide id="5" pos="7083">
          <p15:clr>
            <a:srgbClr val="547EBF"/>
          </p15:clr>
        </p15:guide>
        <p15:guide id="6" orient="horz" pos="273">
          <p15:clr>
            <a:srgbClr val="547EBF"/>
          </p15:clr>
        </p15:guide>
        <p15:guide id="7" orient="horz" pos="509">
          <p15:clr>
            <a:srgbClr val="547EBF"/>
          </p15:clr>
        </p15:guide>
        <p15:guide id="8" orient="horz" pos="745">
          <p15:clr>
            <a:srgbClr val="547EBF"/>
          </p15:clr>
        </p15:guide>
        <p15:guide id="9" orient="horz" pos="863">
          <p15:clr>
            <a:srgbClr val="547EBF"/>
          </p15:clr>
        </p15:guide>
        <p15:guide id="10" orient="horz" pos="3958">
          <p15:clr>
            <a:srgbClr val="547EBF"/>
          </p15:clr>
        </p15:guide>
        <p15:guide id="11" orient="horz" pos="2809">
          <p15:clr>
            <a:srgbClr val="547EBF"/>
          </p15:clr>
        </p15:guide>
        <p15:guide id="12" orient="horz" pos="2926">
          <p15:clr>
            <a:srgbClr val="547EBF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C31B13F-62D2-42B8-A68D-203BB59F18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45DC443F-D5F0-4B85-B2C1-3A4667FC9D7A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June 4, 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C909442-E2B8-4A8B-AA29-571D780EA7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3551B03-B8BB-45BD-8DD9-CBBFCA639B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060335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3811">
          <p15:clr>
            <a:srgbClr val="547EBF"/>
          </p15:clr>
        </p15:guide>
        <p15:guide id="7" orient="horz" pos="3958">
          <p15:clr>
            <a:srgbClr val="547EBF"/>
          </p15:clr>
        </p15:guide>
        <p15:guide id="8" pos="243">
          <p15:clr>
            <a:srgbClr val="547EBF"/>
          </p15:clr>
        </p15:guide>
        <p15:guide id="9" pos="7083">
          <p15:clr>
            <a:srgbClr val="547EBF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A46804C-5EB1-4AB4-807F-4F6195643A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724BFB57-36D4-4F2E-ADB1-F2B6DE0714C7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June 4, 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68B026-5796-452E-9BB7-1A7F9A8222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97DA69B-C02D-4615-B1EC-D5BA88E018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405996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3811">
          <p15:clr>
            <a:srgbClr val="547EBF"/>
          </p15:clr>
        </p15:guide>
        <p15:guide id="7" orient="horz" pos="3958">
          <p15:clr>
            <a:srgbClr val="547EBF"/>
          </p15:clr>
        </p15:guide>
        <p15:guide id="8" pos="7083">
          <p15:clr>
            <a:srgbClr val="547EB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 slide &#10;client logo" preserve="1" userDrawn="1">
  <p:cSld name="End slide client logo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6" name="Hide background Logo">
            <a:extLst>
              <a:ext uri="{FF2B5EF4-FFF2-40B4-BE49-F238E27FC236}">
                <a16:creationId xmlns:a16="http://schemas.microsoft.com/office/drawing/2014/main" id="{0BBDE0D9-3500-40C6-BF15-2E5F5937AA29}"/>
              </a:ext>
            </a:extLst>
          </p:cNvPr>
          <p:cNvSpPr/>
          <p:nvPr userDrawn="1"/>
        </p:nvSpPr>
        <p:spPr>
          <a:xfrm>
            <a:off x="339600" y="6471000"/>
            <a:ext cx="748800" cy="280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2" name="Grid Decoration">
            <a:extLst>
              <a:ext uri="{FF2B5EF4-FFF2-40B4-BE49-F238E27FC236}">
                <a16:creationId xmlns:a16="http://schemas.microsoft.com/office/drawing/2014/main" id="{8F70B469-5ED5-4570-8D58-BA071F46B914}"/>
              </a:ext>
            </a:extLst>
          </p:cNvPr>
          <p:cNvGrpSpPr/>
          <p:nvPr/>
        </p:nvGrpSpPr>
        <p:grpSpPr bwMode="ltGray">
          <a:xfrm flipH="1">
            <a:off x="0" y="0"/>
            <a:ext cx="12192000" cy="6858000"/>
            <a:chOff x="1200" y="-446400"/>
            <a:chExt cx="12192000" cy="6858000"/>
          </a:xfrm>
        </p:grpSpPr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D60ADC78-9949-4FBB-A175-E501ED9162FB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91860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FBB44016-66B0-4E2E-BCED-C9CE40DE18C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99348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1B955A00-9F62-4DD8-A095-D8BF428B101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106836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AF2CC4B7-89C1-4B8A-BC0D-231CC2EA6BD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11432400" y="-4464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851C1756-0D22-4BF0-97A1-FBE27C9E8B5B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7688400" y="455400"/>
              <a:ext cx="45048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0DBE7224-2A0D-4F58-A43F-748C3E4ECD0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7688400" y="1391400"/>
              <a:ext cx="45048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7EDC6495-C889-47B6-9B12-993370440A8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3944400" y="2326960"/>
              <a:ext cx="0" cy="408464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5246DF58-B7B0-456A-9F6A-B6A27182305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8437200" y="-44596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E40FD560-CBED-401C-9A39-15B1E50E0B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7688400" y="-445520"/>
              <a:ext cx="0" cy="685712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303795F4-52D0-485C-8912-D428ADACEAF7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" y="2327400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Text Placeholder">
            <a:extLst>
              <a:ext uri="{FF2B5EF4-FFF2-40B4-BE49-F238E27FC236}">
                <a16:creationId xmlns:a16="http://schemas.microsoft.com/office/drawing/2014/main" id="{69DD162C-D02B-4608-B9D0-D160456CEF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35837" y="3007799"/>
            <a:ext cx="3006563" cy="3042163"/>
          </a:xfrm>
        </p:spPr>
        <p:txBody>
          <a:bodyPr/>
          <a:lstStyle>
            <a:lvl1pPr>
              <a:defRPr sz="5400" b="1" baseline="0">
                <a:solidFill>
                  <a:schemeClr val="bg1"/>
                </a:solidFill>
              </a:defRPr>
            </a:lvl1pPr>
            <a:lvl2pPr>
              <a:defRPr sz="5400" baseline="0">
                <a:solidFill>
                  <a:schemeClr val="bg1"/>
                </a:solidFill>
              </a:defRPr>
            </a:lvl2pPr>
            <a:lvl3pPr>
              <a:defRPr sz="5400" baseline="0">
                <a:solidFill>
                  <a:schemeClr val="bg1"/>
                </a:solidFill>
              </a:defRPr>
            </a:lvl3pPr>
            <a:lvl4pPr>
              <a:defRPr sz="5400" baseline="0">
                <a:solidFill>
                  <a:schemeClr val="bg1"/>
                </a:solidFill>
              </a:defRPr>
            </a:lvl4pPr>
            <a:lvl5pPr>
              <a:defRPr sz="54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hanks</a:t>
            </a:r>
          </a:p>
          <a:p>
            <a:pPr lvl="1"/>
            <a:endParaRPr lang="en-US"/>
          </a:p>
        </p:txBody>
      </p:sp>
      <p:grpSp>
        <p:nvGrpSpPr>
          <p:cNvPr id="72" name="Graphic 4907">
            <a:extLst>
              <a:ext uri="{FF2B5EF4-FFF2-40B4-BE49-F238E27FC236}">
                <a16:creationId xmlns:a16="http://schemas.microsoft.com/office/drawing/2014/main" id="{0D7CC600-8815-435E-BCE9-8962E8FE1634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black">
          <a:xfrm>
            <a:off x="8711708" y="3175577"/>
            <a:ext cx="332692" cy="465562"/>
            <a:chOff x="24624313" y="3946220"/>
            <a:chExt cx="1065476" cy="1490999"/>
          </a:xfrm>
          <a:solidFill>
            <a:srgbClr val="FFFFFF"/>
          </a:solidFill>
        </p:grpSpPr>
        <p:sp>
          <p:nvSpPr>
            <p:cNvPr id="73" name="Vrije vorm: vorm 4910">
              <a:extLst>
                <a:ext uri="{FF2B5EF4-FFF2-40B4-BE49-F238E27FC236}">
                  <a16:creationId xmlns:a16="http://schemas.microsoft.com/office/drawing/2014/main" id="{4667D4C7-677C-4A3A-B4D1-47086372E6E5}"/>
                </a:ext>
              </a:extLst>
            </p:cNvPr>
            <p:cNvSpPr/>
            <p:nvPr/>
          </p:nvSpPr>
          <p:spPr bwMode="black">
            <a:xfrm>
              <a:off x="24624313" y="3946220"/>
              <a:ext cx="1065476" cy="1490999"/>
            </a:xfrm>
            <a:custGeom>
              <a:avLst/>
              <a:gdLst>
                <a:gd name="connsiteX0" fmla="*/ 967708 w 1065476"/>
                <a:gd name="connsiteY0" fmla="*/ 192139 h 1490999"/>
                <a:gd name="connsiteX1" fmla="*/ 533474 w 1065476"/>
                <a:gd name="connsiteY1" fmla="*/ 0 h 1490999"/>
                <a:gd name="connsiteX2" fmla="*/ 99239 w 1065476"/>
                <a:gd name="connsiteY2" fmla="*/ 192139 h 1490999"/>
                <a:gd name="connsiteX3" fmla="*/ 7012 w 1065476"/>
                <a:gd name="connsiteY3" fmla="*/ 534147 h 1490999"/>
                <a:gd name="connsiteX4" fmla="*/ 506574 w 1065476"/>
                <a:gd name="connsiteY4" fmla="*/ 1452571 h 1490999"/>
                <a:gd name="connsiteX5" fmla="*/ 533474 w 1065476"/>
                <a:gd name="connsiteY5" fmla="*/ 1490999 h 1490999"/>
                <a:gd name="connsiteX6" fmla="*/ 560373 w 1065476"/>
                <a:gd name="connsiteY6" fmla="*/ 1452571 h 1490999"/>
                <a:gd name="connsiteX7" fmla="*/ 1059934 w 1065476"/>
                <a:gd name="connsiteY7" fmla="*/ 534147 h 1490999"/>
                <a:gd name="connsiteX8" fmla="*/ 967708 w 1065476"/>
                <a:gd name="connsiteY8" fmla="*/ 192139 h 1490999"/>
                <a:gd name="connsiteX9" fmla="*/ 994608 w 1065476"/>
                <a:gd name="connsiteY9" fmla="*/ 522618 h 1490999"/>
                <a:gd name="connsiteX10" fmla="*/ 529631 w 1065476"/>
                <a:gd name="connsiteY10" fmla="*/ 1379559 h 1490999"/>
                <a:gd name="connsiteX11" fmla="*/ 68497 w 1065476"/>
                <a:gd name="connsiteY11" fmla="*/ 522618 h 1490999"/>
                <a:gd name="connsiteX12" fmla="*/ 145353 w 1065476"/>
                <a:gd name="connsiteY12" fmla="*/ 230567 h 1490999"/>
                <a:gd name="connsiteX13" fmla="*/ 529631 w 1065476"/>
                <a:gd name="connsiteY13" fmla="*/ 57642 h 1490999"/>
                <a:gd name="connsiteX14" fmla="*/ 913909 w 1065476"/>
                <a:gd name="connsiteY14" fmla="*/ 230567 h 1490999"/>
                <a:gd name="connsiteX15" fmla="*/ 994608 w 1065476"/>
                <a:gd name="connsiteY15" fmla="*/ 522618 h 149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65476" h="1490999">
                  <a:moveTo>
                    <a:pt x="967708" y="192139"/>
                  </a:moveTo>
                  <a:cubicBezTo>
                    <a:pt x="867795" y="73013"/>
                    <a:pt x="702556" y="0"/>
                    <a:pt x="533474" y="0"/>
                  </a:cubicBezTo>
                  <a:cubicBezTo>
                    <a:pt x="364390" y="0"/>
                    <a:pt x="199151" y="73013"/>
                    <a:pt x="99239" y="192139"/>
                  </a:cubicBezTo>
                  <a:cubicBezTo>
                    <a:pt x="18540" y="292051"/>
                    <a:pt x="-16045" y="411178"/>
                    <a:pt x="7012" y="534147"/>
                  </a:cubicBezTo>
                  <a:cubicBezTo>
                    <a:pt x="49283" y="757028"/>
                    <a:pt x="487360" y="1425672"/>
                    <a:pt x="506574" y="1452571"/>
                  </a:cubicBezTo>
                  <a:lnTo>
                    <a:pt x="533474" y="1490999"/>
                  </a:lnTo>
                  <a:lnTo>
                    <a:pt x="560373" y="1452571"/>
                  </a:lnTo>
                  <a:cubicBezTo>
                    <a:pt x="579586" y="1421829"/>
                    <a:pt x="1021506" y="745500"/>
                    <a:pt x="1059934" y="534147"/>
                  </a:cubicBezTo>
                  <a:cubicBezTo>
                    <a:pt x="1079148" y="407335"/>
                    <a:pt x="1048406" y="288209"/>
                    <a:pt x="967708" y="192139"/>
                  </a:cubicBezTo>
                  <a:moveTo>
                    <a:pt x="994608" y="522618"/>
                  </a:moveTo>
                  <a:cubicBezTo>
                    <a:pt x="963865" y="691701"/>
                    <a:pt x="629543" y="1225847"/>
                    <a:pt x="529631" y="1379559"/>
                  </a:cubicBezTo>
                  <a:cubicBezTo>
                    <a:pt x="433561" y="1229690"/>
                    <a:pt x="99239" y="703229"/>
                    <a:pt x="68497" y="522618"/>
                  </a:cubicBezTo>
                  <a:cubicBezTo>
                    <a:pt x="45440" y="388121"/>
                    <a:pt x="95396" y="288209"/>
                    <a:pt x="145353" y="230567"/>
                  </a:cubicBezTo>
                  <a:cubicBezTo>
                    <a:pt x="233736" y="126812"/>
                    <a:pt x="379763" y="57642"/>
                    <a:pt x="529631" y="57642"/>
                  </a:cubicBezTo>
                  <a:cubicBezTo>
                    <a:pt x="679499" y="57642"/>
                    <a:pt x="825524" y="122969"/>
                    <a:pt x="913909" y="230567"/>
                  </a:cubicBezTo>
                  <a:cubicBezTo>
                    <a:pt x="967708" y="288209"/>
                    <a:pt x="1021506" y="388121"/>
                    <a:pt x="994608" y="522618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baseline="0">
                <a:solidFill>
                  <a:schemeClr val="bg1"/>
                </a:solidFill>
              </a:endParaRPr>
            </a:p>
          </p:txBody>
        </p:sp>
        <p:sp>
          <p:nvSpPr>
            <p:cNvPr id="74" name="Vrije vorm: vorm 4911">
              <a:extLst>
                <a:ext uri="{FF2B5EF4-FFF2-40B4-BE49-F238E27FC236}">
                  <a16:creationId xmlns:a16="http://schemas.microsoft.com/office/drawing/2014/main" id="{C2ECB4BC-FB15-4050-BA3E-C622768A7418}"/>
                </a:ext>
              </a:extLst>
            </p:cNvPr>
            <p:cNvSpPr/>
            <p:nvPr/>
          </p:nvSpPr>
          <p:spPr bwMode="black">
            <a:xfrm>
              <a:off x="24877263" y="4161416"/>
              <a:ext cx="561046" cy="561046"/>
            </a:xfrm>
            <a:custGeom>
              <a:avLst/>
              <a:gdLst>
                <a:gd name="connsiteX0" fmla="*/ 280524 w 561046"/>
                <a:gd name="connsiteY0" fmla="*/ 0 h 561046"/>
                <a:gd name="connsiteX1" fmla="*/ 0 w 561046"/>
                <a:gd name="connsiteY1" fmla="*/ 280523 h 561046"/>
                <a:gd name="connsiteX2" fmla="*/ 280524 w 561046"/>
                <a:gd name="connsiteY2" fmla="*/ 561046 h 561046"/>
                <a:gd name="connsiteX3" fmla="*/ 280524 w 561046"/>
                <a:gd name="connsiteY3" fmla="*/ 499562 h 561046"/>
                <a:gd name="connsiteX4" fmla="*/ 61485 w 561046"/>
                <a:gd name="connsiteY4" fmla="*/ 280523 h 561046"/>
                <a:gd name="connsiteX5" fmla="*/ 280524 w 561046"/>
                <a:gd name="connsiteY5" fmla="*/ 61484 h 561046"/>
                <a:gd name="connsiteX6" fmla="*/ 499562 w 561046"/>
                <a:gd name="connsiteY6" fmla="*/ 280523 h 561046"/>
                <a:gd name="connsiteX7" fmla="*/ 561046 w 561046"/>
                <a:gd name="connsiteY7" fmla="*/ 280523 h 561046"/>
                <a:gd name="connsiteX8" fmla="*/ 280524 w 561046"/>
                <a:gd name="connsiteY8" fmla="*/ 0 h 561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1046" h="561046">
                  <a:moveTo>
                    <a:pt x="280524" y="0"/>
                  </a:moveTo>
                  <a:cubicBezTo>
                    <a:pt x="122969" y="0"/>
                    <a:pt x="0" y="122969"/>
                    <a:pt x="0" y="280523"/>
                  </a:cubicBezTo>
                  <a:cubicBezTo>
                    <a:pt x="0" y="438077"/>
                    <a:pt x="122969" y="561046"/>
                    <a:pt x="280524" y="561046"/>
                  </a:cubicBezTo>
                  <a:lnTo>
                    <a:pt x="280524" y="499562"/>
                  </a:lnTo>
                  <a:cubicBezTo>
                    <a:pt x="157554" y="499562"/>
                    <a:pt x="61485" y="403492"/>
                    <a:pt x="61485" y="280523"/>
                  </a:cubicBezTo>
                  <a:cubicBezTo>
                    <a:pt x="61485" y="157554"/>
                    <a:pt x="157554" y="61484"/>
                    <a:pt x="280524" y="61484"/>
                  </a:cubicBezTo>
                  <a:cubicBezTo>
                    <a:pt x="403492" y="61484"/>
                    <a:pt x="499562" y="157554"/>
                    <a:pt x="499562" y="280523"/>
                  </a:cubicBezTo>
                  <a:lnTo>
                    <a:pt x="561046" y="280523"/>
                  </a:lnTo>
                  <a:cubicBezTo>
                    <a:pt x="561046" y="122969"/>
                    <a:pt x="438077" y="0"/>
                    <a:pt x="280524" y="0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baseline="0">
                <a:solidFill>
                  <a:schemeClr val="bg1"/>
                </a:solidFill>
              </a:endParaRPr>
            </a:p>
          </p:txBody>
        </p:sp>
      </p:grpSp>
      <p:grpSp>
        <p:nvGrpSpPr>
          <p:cNvPr id="75" name="Graphic 4907">
            <a:extLst>
              <a:ext uri="{FF2B5EF4-FFF2-40B4-BE49-F238E27FC236}">
                <a16:creationId xmlns:a16="http://schemas.microsoft.com/office/drawing/2014/main" id="{0272150B-3831-463C-86BB-43F6D1C0DDBB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black">
          <a:xfrm>
            <a:off x="4967227" y="3167263"/>
            <a:ext cx="379973" cy="465563"/>
            <a:chOff x="8107365" y="4049975"/>
            <a:chExt cx="1125934" cy="1379558"/>
          </a:xfrm>
          <a:solidFill>
            <a:srgbClr val="FFFFFF"/>
          </a:solidFill>
        </p:grpSpPr>
        <p:sp>
          <p:nvSpPr>
            <p:cNvPr id="76" name="Vrije vorm: vorm 4913">
              <a:extLst>
                <a:ext uri="{FF2B5EF4-FFF2-40B4-BE49-F238E27FC236}">
                  <a16:creationId xmlns:a16="http://schemas.microsoft.com/office/drawing/2014/main" id="{525D3F68-269D-483A-AEB4-A69651138227}"/>
                </a:ext>
              </a:extLst>
            </p:cNvPr>
            <p:cNvSpPr/>
            <p:nvPr/>
          </p:nvSpPr>
          <p:spPr bwMode="black">
            <a:xfrm>
              <a:off x="8295662" y="4049975"/>
              <a:ext cx="753185" cy="753185"/>
            </a:xfrm>
            <a:custGeom>
              <a:avLst/>
              <a:gdLst>
                <a:gd name="connsiteX0" fmla="*/ 376593 w 753185"/>
                <a:gd name="connsiteY0" fmla="*/ 753185 h 753185"/>
                <a:gd name="connsiteX1" fmla="*/ 0 w 753185"/>
                <a:gd name="connsiteY1" fmla="*/ 376593 h 753185"/>
                <a:gd name="connsiteX2" fmla="*/ 376593 w 753185"/>
                <a:gd name="connsiteY2" fmla="*/ 0 h 753185"/>
                <a:gd name="connsiteX3" fmla="*/ 753185 w 753185"/>
                <a:gd name="connsiteY3" fmla="*/ 376593 h 753185"/>
                <a:gd name="connsiteX4" fmla="*/ 376593 w 753185"/>
                <a:gd name="connsiteY4" fmla="*/ 753185 h 753185"/>
                <a:gd name="connsiteX5" fmla="*/ 376593 w 753185"/>
                <a:gd name="connsiteY5" fmla="*/ 65327 h 753185"/>
                <a:gd name="connsiteX6" fmla="*/ 65327 w 753185"/>
                <a:gd name="connsiteY6" fmla="*/ 376593 h 753185"/>
                <a:gd name="connsiteX7" fmla="*/ 376593 w 753185"/>
                <a:gd name="connsiteY7" fmla="*/ 687858 h 753185"/>
                <a:gd name="connsiteX8" fmla="*/ 687858 w 753185"/>
                <a:gd name="connsiteY8" fmla="*/ 376593 h 753185"/>
                <a:gd name="connsiteX9" fmla="*/ 376593 w 753185"/>
                <a:gd name="connsiteY9" fmla="*/ 65327 h 753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53185" h="753185">
                  <a:moveTo>
                    <a:pt x="376593" y="753185"/>
                  </a:moveTo>
                  <a:cubicBezTo>
                    <a:pt x="169082" y="753185"/>
                    <a:pt x="0" y="584103"/>
                    <a:pt x="0" y="376593"/>
                  </a:cubicBezTo>
                  <a:cubicBezTo>
                    <a:pt x="0" y="169082"/>
                    <a:pt x="169082" y="0"/>
                    <a:pt x="376593" y="0"/>
                  </a:cubicBezTo>
                  <a:cubicBezTo>
                    <a:pt x="584103" y="0"/>
                    <a:pt x="753185" y="169082"/>
                    <a:pt x="753185" y="376593"/>
                  </a:cubicBezTo>
                  <a:cubicBezTo>
                    <a:pt x="753185" y="584103"/>
                    <a:pt x="584103" y="753185"/>
                    <a:pt x="376593" y="753185"/>
                  </a:cubicBezTo>
                  <a:moveTo>
                    <a:pt x="376593" y="65327"/>
                  </a:moveTo>
                  <a:cubicBezTo>
                    <a:pt x="203667" y="65327"/>
                    <a:pt x="65327" y="207510"/>
                    <a:pt x="65327" y="376593"/>
                  </a:cubicBezTo>
                  <a:cubicBezTo>
                    <a:pt x="65327" y="549518"/>
                    <a:pt x="207510" y="687858"/>
                    <a:pt x="376593" y="687858"/>
                  </a:cubicBezTo>
                  <a:cubicBezTo>
                    <a:pt x="545675" y="687858"/>
                    <a:pt x="687858" y="545675"/>
                    <a:pt x="687858" y="376593"/>
                  </a:cubicBezTo>
                  <a:cubicBezTo>
                    <a:pt x="687858" y="207510"/>
                    <a:pt x="549518" y="65327"/>
                    <a:pt x="376593" y="65327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77" name="Vrije vorm: vorm 4914">
              <a:extLst>
                <a:ext uri="{FF2B5EF4-FFF2-40B4-BE49-F238E27FC236}">
                  <a16:creationId xmlns:a16="http://schemas.microsoft.com/office/drawing/2014/main" id="{092ED77B-CF3B-48EB-A6B1-DDB90A2417D2}"/>
                </a:ext>
              </a:extLst>
            </p:cNvPr>
            <p:cNvSpPr/>
            <p:nvPr/>
          </p:nvSpPr>
          <p:spPr bwMode="black">
            <a:xfrm>
              <a:off x="8107365" y="4868487"/>
              <a:ext cx="1125934" cy="561046"/>
            </a:xfrm>
            <a:custGeom>
              <a:avLst/>
              <a:gdLst>
                <a:gd name="connsiteX0" fmla="*/ 1125935 w 1125934"/>
                <a:gd name="connsiteY0" fmla="*/ 561046 h 561046"/>
                <a:gd name="connsiteX1" fmla="*/ 1064451 w 1125934"/>
                <a:gd name="connsiteY1" fmla="*/ 561046 h 561046"/>
                <a:gd name="connsiteX2" fmla="*/ 1064451 w 1125934"/>
                <a:gd name="connsiteY2" fmla="*/ 61484 h 561046"/>
                <a:gd name="connsiteX3" fmla="*/ 61485 w 1125934"/>
                <a:gd name="connsiteY3" fmla="*/ 61484 h 561046"/>
                <a:gd name="connsiteX4" fmla="*/ 61485 w 1125934"/>
                <a:gd name="connsiteY4" fmla="*/ 561046 h 561046"/>
                <a:gd name="connsiteX5" fmla="*/ 0 w 1125934"/>
                <a:gd name="connsiteY5" fmla="*/ 561046 h 561046"/>
                <a:gd name="connsiteX6" fmla="*/ 0 w 1125934"/>
                <a:gd name="connsiteY6" fmla="*/ 0 h 561046"/>
                <a:gd name="connsiteX7" fmla="*/ 1125935 w 1125934"/>
                <a:gd name="connsiteY7" fmla="*/ 0 h 561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5934" h="561046">
                  <a:moveTo>
                    <a:pt x="1125935" y="561046"/>
                  </a:moveTo>
                  <a:lnTo>
                    <a:pt x="1064451" y="561046"/>
                  </a:lnTo>
                  <a:lnTo>
                    <a:pt x="1064451" y="61484"/>
                  </a:lnTo>
                  <a:lnTo>
                    <a:pt x="61485" y="61484"/>
                  </a:lnTo>
                  <a:lnTo>
                    <a:pt x="61485" y="561046"/>
                  </a:lnTo>
                  <a:lnTo>
                    <a:pt x="0" y="561046"/>
                  </a:lnTo>
                  <a:lnTo>
                    <a:pt x="0" y="0"/>
                  </a:lnTo>
                  <a:lnTo>
                    <a:pt x="1125935" y="0"/>
                  </a:lnTo>
                  <a:close/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</p:grp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755EAD4-1AE9-430D-9195-B1BDBCDB9274}"/>
              </a:ext>
            </a:extLst>
          </p:cNvPr>
          <p:cNvCxnSpPr>
            <a:cxnSpLocks/>
          </p:cNvCxnSpPr>
          <p:nvPr/>
        </p:nvCxnSpPr>
        <p:spPr>
          <a:xfrm>
            <a:off x="9682933" y="246600"/>
            <a:ext cx="0" cy="8424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MIO_AGENDA_IGNORE_NAVIGATION" hidden="1">
            <a:extLst>
              <a:ext uri="{FF2B5EF4-FFF2-40B4-BE49-F238E27FC236}">
                <a16:creationId xmlns:a16="http://schemas.microsoft.com/office/drawing/2014/main" id="{FCE8ADEB-72DC-48DB-8B77-3DC4FB918EEF}"/>
              </a:ext>
            </a:extLst>
          </p:cNvPr>
          <p:cNvSpPr/>
          <p:nvPr/>
        </p:nvSpPr>
        <p:spPr>
          <a:xfrm>
            <a:off x="1180496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4" name="MIO_AGENDA_IGNORE_CHAPTER_REFERENCE" hidden="1">
            <a:extLst>
              <a:ext uri="{FF2B5EF4-FFF2-40B4-BE49-F238E27FC236}">
                <a16:creationId xmlns:a16="http://schemas.microsoft.com/office/drawing/2014/main" id="{976887AB-5E0A-471B-AFAF-4ACF6D30328F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7" name="MIO_LOGOPLACEHOLDER#Closing" hidden="1">
            <a:extLst>
              <a:ext uri="{FF2B5EF4-FFF2-40B4-BE49-F238E27FC236}">
                <a16:creationId xmlns:a16="http://schemas.microsoft.com/office/drawing/2014/main" id="{2EA46382-E9B6-46AD-9356-4CE8C8139EB1}"/>
              </a:ext>
            </a:extLst>
          </p:cNvPr>
          <p:cNvSpPr/>
          <p:nvPr/>
        </p:nvSpPr>
        <p:spPr>
          <a:xfrm>
            <a:off x="11197200" y="115094"/>
            <a:ext cx="203200" cy="203200"/>
          </a:xfrm>
          <a:prstGeom prst="noSmoking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8" name="MIO_AGENDA_LAST_SLIDE" hidden="1">
            <a:extLst>
              <a:ext uri="{FF2B5EF4-FFF2-40B4-BE49-F238E27FC236}">
                <a16:creationId xmlns:a16="http://schemas.microsoft.com/office/drawing/2014/main" id="{A5ACD32F-853B-4D82-9242-36FD6601B6D6}"/>
              </a:ext>
            </a:extLst>
          </p:cNvPr>
          <p:cNvSpPr/>
          <p:nvPr/>
        </p:nvSpPr>
        <p:spPr>
          <a:xfrm>
            <a:off x="10911760" y="115094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6" name="Logo">
            <a:extLst>
              <a:ext uri="{FF2B5EF4-FFF2-40B4-BE49-F238E27FC236}">
                <a16:creationId xmlns:a16="http://schemas.microsoft.com/office/drawing/2014/main" id="{0281FEA4-9F0E-4A52-BA2D-8F5C196B252E}"/>
              </a:ext>
            </a:extLst>
          </p:cNvPr>
          <p:cNvSpPr>
            <a:spLocks noChangeAspect="1"/>
          </p:cNvSpPr>
          <p:nvPr/>
        </p:nvSpPr>
        <p:spPr bwMode="black">
          <a:xfrm>
            <a:off x="10111908" y="433388"/>
            <a:ext cx="1694330" cy="468412"/>
          </a:xfrm>
          <a:custGeom>
            <a:avLst/>
            <a:gdLst>
              <a:gd name="connsiteX0" fmla="*/ 322580 w 2575560"/>
              <a:gd name="connsiteY0" fmla="*/ 171554 h 719869"/>
              <a:gd name="connsiteX1" fmla="*/ 261620 w 2575560"/>
              <a:gd name="connsiteY1" fmla="*/ 452224 h 719869"/>
              <a:gd name="connsiteX2" fmla="*/ 384810 w 2575560"/>
              <a:gd name="connsiteY2" fmla="*/ 452224 h 719869"/>
              <a:gd name="connsiteX3" fmla="*/ 941070 w 2575560"/>
              <a:gd name="connsiteY3" fmla="*/ 157584 h 719869"/>
              <a:gd name="connsiteX4" fmla="*/ 892810 w 2575560"/>
              <a:gd name="connsiteY4" fmla="*/ 212194 h 719869"/>
              <a:gd name="connsiteX5" fmla="*/ 998220 w 2575560"/>
              <a:gd name="connsiteY5" fmla="*/ 293474 h 719869"/>
              <a:gd name="connsiteX6" fmla="*/ 1195070 w 2575560"/>
              <a:gd name="connsiteY6" fmla="*/ 500484 h 719869"/>
              <a:gd name="connsiteX7" fmla="*/ 1009650 w 2575560"/>
              <a:gd name="connsiteY7" fmla="*/ 703684 h 719869"/>
              <a:gd name="connsiteX8" fmla="*/ 687070 w 2575560"/>
              <a:gd name="connsiteY8" fmla="*/ 671934 h 719869"/>
              <a:gd name="connsiteX9" fmla="*/ 687070 w 2575560"/>
              <a:gd name="connsiteY9" fmla="*/ 506834 h 719869"/>
              <a:gd name="connsiteX10" fmla="*/ 876300 w 2575560"/>
              <a:gd name="connsiteY10" fmla="*/ 577954 h 719869"/>
              <a:gd name="connsiteX11" fmla="*/ 981710 w 2575560"/>
              <a:gd name="connsiteY11" fmla="*/ 500484 h 719869"/>
              <a:gd name="connsiteX12" fmla="*/ 909320 w 2575560"/>
              <a:gd name="connsiteY12" fmla="*/ 420474 h 719869"/>
              <a:gd name="connsiteX13" fmla="*/ 941070 w 2575560"/>
              <a:gd name="connsiteY13" fmla="*/ 157584 h 719869"/>
              <a:gd name="connsiteX14" fmla="*/ 2136140 w 2575560"/>
              <a:gd name="connsiteY14" fmla="*/ 20424 h 719869"/>
              <a:gd name="connsiteX15" fmla="*/ 2321560 w 2575560"/>
              <a:gd name="connsiteY15" fmla="*/ 20424 h 719869"/>
              <a:gd name="connsiteX16" fmla="*/ 2321560 w 2575560"/>
              <a:gd name="connsiteY16" fmla="*/ 562714 h 719869"/>
              <a:gd name="connsiteX17" fmla="*/ 2575560 w 2575560"/>
              <a:gd name="connsiteY17" fmla="*/ 562714 h 719869"/>
              <a:gd name="connsiteX18" fmla="*/ 2575560 w 2575560"/>
              <a:gd name="connsiteY18" fmla="*/ 706224 h 719869"/>
              <a:gd name="connsiteX19" fmla="*/ 2136140 w 2575560"/>
              <a:gd name="connsiteY19" fmla="*/ 706224 h 719869"/>
              <a:gd name="connsiteX20" fmla="*/ 1346200 w 2575560"/>
              <a:gd name="connsiteY20" fmla="*/ 20424 h 719869"/>
              <a:gd name="connsiteX21" fmla="*/ 1551940 w 2575560"/>
              <a:gd name="connsiteY21" fmla="*/ 20424 h 719869"/>
              <a:gd name="connsiteX22" fmla="*/ 1648460 w 2575560"/>
              <a:gd name="connsiteY22" fmla="*/ 431904 h 719869"/>
              <a:gd name="connsiteX23" fmla="*/ 1743710 w 2575560"/>
              <a:gd name="connsiteY23" fmla="*/ 20424 h 719869"/>
              <a:gd name="connsiteX24" fmla="*/ 1950720 w 2575560"/>
              <a:gd name="connsiteY24" fmla="*/ 20424 h 719869"/>
              <a:gd name="connsiteX25" fmla="*/ 2039620 w 2575560"/>
              <a:gd name="connsiteY25" fmla="*/ 706224 h 719869"/>
              <a:gd name="connsiteX26" fmla="*/ 1846580 w 2575560"/>
              <a:gd name="connsiteY26" fmla="*/ 706224 h 719869"/>
              <a:gd name="connsiteX27" fmla="*/ 1813560 w 2575560"/>
              <a:gd name="connsiteY27" fmla="*/ 274424 h 719869"/>
              <a:gd name="connsiteX28" fmla="*/ 1723390 w 2575560"/>
              <a:gd name="connsiteY28" fmla="*/ 706224 h 719869"/>
              <a:gd name="connsiteX29" fmla="*/ 1572260 w 2575560"/>
              <a:gd name="connsiteY29" fmla="*/ 706224 h 719869"/>
              <a:gd name="connsiteX30" fmla="*/ 1483360 w 2575560"/>
              <a:gd name="connsiteY30" fmla="*/ 274424 h 719869"/>
              <a:gd name="connsiteX31" fmla="*/ 1449070 w 2575560"/>
              <a:gd name="connsiteY31" fmla="*/ 706224 h 719869"/>
              <a:gd name="connsiteX32" fmla="*/ 1257300 w 2575560"/>
              <a:gd name="connsiteY32" fmla="*/ 706224 h 719869"/>
              <a:gd name="connsiteX33" fmla="*/ 205740 w 2575560"/>
              <a:gd name="connsiteY33" fmla="*/ 20424 h 719869"/>
              <a:gd name="connsiteX34" fmla="*/ 439420 w 2575560"/>
              <a:gd name="connsiteY34" fmla="*/ 20424 h 719869"/>
              <a:gd name="connsiteX35" fmla="*/ 645160 w 2575560"/>
              <a:gd name="connsiteY35" fmla="*/ 706224 h 719869"/>
              <a:gd name="connsiteX36" fmla="*/ 439420 w 2575560"/>
              <a:gd name="connsiteY36" fmla="*/ 706224 h 719869"/>
              <a:gd name="connsiteX37" fmla="*/ 411480 w 2575560"/>
              <a:gd name="connsiteY37" fmla="*/ 583034 h 719869"/>
              <a:gd name="connsiteX38" fmla="*/ 232410 w 2575560"/>
              <a:gd name="connsiteY38" fmla="*/ 583034 h 719869"/>
              <a:gd name="connsiteX39" fmla="*/ 204470 w 2575560"/>
              <a:gd name="connsiteY39" fmla="*/ 706224 h 719869"/>
              <a:gd name="connsiteX40" fmla="*/ 0 w 2575560"/>
              <a:gd name="connsiteY40" fmla="*/ 706224 h 719869"/>
              <a:gd name="connsiteX41" fmla="*/ 994112 w 2575560"/>
              <a:gd name="connsiteY41" fmla="*/ 422 h 719869"/>
              <a:gd name="connsiteX42" fmla="*/ 1140459 w 2575560"/>
              <a:gd name="connsiteY42" fmla="*/ 34395 h 719869"/>
              <a:gd name="connsiteX43" fmla="*/ 1140459 w 2575560"/>
              <a:gd name="connsiteY43" fmla="*/ 212195 h 719869"/>
              <a:gd name="connsiteX44" fmla="*/ 701040 w 2575560"/>
              <a:gd name="connsiteY44" fmla="*/ 260455 h 719869"/>
              <a:gd name="connsiteX45" fmla="*/ 994112 w 2575560"/>
              <a:gd name="connsiteY45" fmla="*/ 422 h 719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2575560" h="719869">
                <a:moveTo>
                  <a:pt x="322580" y="171554"/>
                </a:moveTo>
                <a:lnTo>
                  <a:pt x="261620" y="452224"/>
                </a:lnTo>
                <a:lnTo>
                  <a:pt x="384810" y="452224"/>
                </a:lnTo>
                <a:close/>
                <a:moveTo>
                  <a:pt x="941070" y="157584"/>
                </a:moveTo>
                <a:cubicBezTo>
                  <a:pt x="900430" y="170284"/>
                  <a:pt x="892810" y="191874"/>
                  <a:pt x="892810" y="212194"/>
                </a:cubicBezTo>
                <a:cubicBezTo>
                  <a:pt x="892810" y="261724"/>
                  <a:pt x="955040" y="276964"/>
                  <a:pt x="998220" y="293474"/>
                </a:cubicBezTo>
                <a:cubicBezTo>
                  <a:pt x="1069340" y="320144"/>
                  <a:pt x="1195070" y="355704"/>
                  <a:pt x="1195070" y="500484"/>
                </a:cubicBezTo>
                <a:cubicBezTo>
                  <a:pt x="1195070" y="589384"/>
                  <a:pt x="1109980" y="673204"/>
                  <a:pt x="1009650" y="703684"/>
                </a:cubicBezTo>
                <a:cubicBezTo>
                  <a:pt x="885190" y="741784"/>
                  <a:pt x="763270" y="704954"/>
                  <a:pt x="687070" y="671934"/>
                </a:cubicBezTo>
                <a:lnTo>
                  <a:pt x="687070" y="506834"/>
                </a:lnTo>
                <a:cubicBezTo>
                  <a:pt x="750570" y="552554"/>
                  <a:pt x="806450" y="576684"/>
                  <a:pt x="876300" y="577954"/>
                </a:cubicBezTo>
                <a:cubicBezTo>
                  <a:pt x="918210" y="579224"/>
                  <a:pt x="981710" y="558904"/>
                  <a:pt x="981710" y="500484"/>
                </a:cubicBezTo>
                <a:cubicBezTo>
                  <a:pt x="981710" y="449684"/>
                  <a:pt x="935990" y="434444"/>
                  <a:pt x="909320" y="420474"/>
                </a:cubicBezTo>
                <a:cubicBezTo>
                  <a:pt x="758190" y="337924"/>
                  <a:pt x="803910" y="171554"/>
                  <a:pt x="941070" y="157584"/>
                </a:cubicBezTo>
                <a:close/>
                <a:moveTo>
                  <a:pt x="2136140" y="20424"/>
                </a:moveTo>
                <a:lnTo>
                  <a:pt x="2321560" y="20424"/>
                </a:lnTo>
                <a:lnTo>
                  <a:pt x="2321560" y="562714"/>
                </a:lnTo>
                <a:lnTo>
                  <a:pt x="2575560" y="562714"/>
                </a:lnTo>
                <a:lnTo>
                  <a:pt x="2575560" y="706224"/>
                </a:lnTo>
                <a:lnTo>
                  <a:pt x="2136140" y="706224"/>
                </a:lnTo>
                <a:close/>
                <a:moveTo>
                  <a:pt x="1346200" y="20424"/>
                </a:moveTo>
                <a:lnTo>
                  <a:pt x="1551940" y="20424"/>
                </a:lnTo>
                <a:lnTo>
                  <a:pt x="1648460" y="431904"/>
                </a:lnTo>
                <a:lnTo>
                  <a:pt x="1743710" y="20424"/>
                </a:lnTo>
                <a:lnTo>
                  <a:pt x="1950720" y="20424"/>
                </a:lnTo>
                <a:lnTo>
                  <a:pt x="2039620" y="706224"/>
                </a:lnTo>
                <a:lnTo>
                  <a:pt x="1846580" y="706224"/>
                </a:lnTo>
                <a:lnTo>
                  <a:pt x="1813560" y="274424"/>
                </a:lnTo>
                <a:lnTo>
                  <a:pt x="1723390" y="706224"/>
                </a:lnTo>
                <a:lnTo>
                  <a:pt x="1572260" y="706224"/>
                </a:lnTo>
                <a:lnTo>
                  <a:pt x="1483360" y="274424"/>
                </a:lnTo>
                <a:lnTo>
                  <a:pt x="1449070" y="706224"/>
                </a:lnTo>
                <a:lnTo>
                  <a:pt x="1257300" y="706224"/>
                </a:lnTo>
                <a:close/>
                <a:moveTo>
                  <a:pt x="205740" y="20424"/>
                </a:moveTo>
                <a:lnTo>
                  <a:pt x="439420" y="20424"/>
                </a:lnTo>
                <a:lnTo>
                  <a:pt x="645160" y="706224"/>
                </a:lnTo>
                <a:lnTo>
                  <a:pt x="439420" y="706224"/>
                </a:lnTo>
                <a:lnTo>
                  <a:pt x="411480" y="583034"/>
                </a:lnTo>
                <a:lnTo>
                  <a:pt x="232410" y="583034"/>
                </a:lnTo>
                <a:lnTo>
                  <a:pt x="204470" y="706224"/>
                </a:lnTo>
                <a:lnTo>
                  <a:pt x="0" y="706224"/>
                </a:lnTo>
                <a:close/>
                <a:moveTo>
                  <a:pt x="994112" y="422"/>
                </a:moveTo>
                <a:cubicBezTo>
                  <a:pt x="1046321" y="2724"/>
                  <a:pt x="1097597" y="14392"/>
                  <a:pt x="1140459" y="34395"/>
                </a:cubicBezTo>
                <a:cubicBezTo>
                  <a:pt x="1143000" y="75035"/>
                  <a:pt x="1146809" y="118215"/>
                  <a:pt x="1140459" y="212195"/>
                </a:cubicBezTo>
                <a:cubicBezTo>
                  <a:pt x="970280" y="63605"/>
                  <a:pt x="703580" y="123295"/>
                  <a:pt x="701040" y="260455"/>
                </a:cubicBezTo>
                <a:cubicBezTo>
                  <a:pt x="672465" y="70907"/>
                  <a:pt x="837486" y="-6483"/>
                  <a:pt x="994112" y="422"/>
                </a:cubicBezTo>
                <a:close/>
              </a:path>
            </a:pathLst>
          </a:custGeom>
          <a:solidFill>
            <a:srgbClr val="FFFFFF"/>
          </a:soli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Firstname Lastname">
            <a:extLst>
              <a:ext uri="{FF2B5EF4-FFF2-40B4-BE49-F238E27FC236}">
                <a16:creationId xmlns:a16="http://schemas.microsoft.com/office/drawing/2014/main" id="{3E9243FA-4C12-4776-9DDA-9DED5F4EE9A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64109" y="3314653"/>
            <a:ext cx="2310293" cy="175433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aseline="0">
                <a:solidFill>
                  <a:schemeClr val="bg1"/>
                </a:solidFill>
              </a:defRPr>
            </a:lvl2pPr>
            <a:lvl3pPr>
              <a:defRPr sz="1200" baseline="0">
                <a:solidFill>
                  <a:schemeClr val="bg1"/>
                </a:solidFill>
              </a:defRPr>
            </a:lvl3pPr>
            <a:lvl4pPr>
              <a:defRPr sz="1200" baseline="0">
                <a:solidFill>
                  <a:schemeClr val="bg1"/>
                </a:solidFill>
              </a:defRPr>
            </a:lvl4pPr>
            <a:lvl5pPr>
              <a:defRPr sz="12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39" name="Position and Title">
            <a:extLst>
              <a:ext uri="{FF2B5EF4-FFF2-40B4-BE49-F238E27FC236}">
                <a16:creationId xmlns:a16="http://schemas.microsoft.com/office/drawing/2014/main" id="{CDD47F99-A71C-4684-9C8A-757F62F4110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65751" y="3495097"/>
            <a:ext cx="2308247" cy="175433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aseline="0">
                <a:solidFill>
                  <a:schemeClr val="bg1"/>
                </a:solidFill>
              </a:defRPr>
            </a:lvl2pPr>
            <a:lvl3pPr>
              <a:defRPr sz="1200" baseline="0">
                <a:solidFill>
                  <a:schemeClr val="bg1"/>
                </a:solidFill>
              </a:defRPr>
            </a:lvl3pPr>
            <a:lvl4pPr>
              <a:defRPr sz="1200" baseline="0">
                <a:solidFill>
                  <a:schemeClr val="bg1"/>
                </a:solidFill>
              </a:defRPr>
            </a:lvl4pPr>
            <a:lvl5pPr>
              <a:defRPr sz="12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osition and Title</a:t>
            </a:r>
          </a:p>
        </p:txBody>
      </p:sp>
      <p:sp>
        <p:nvSpPr>
          <p:cNvPr id="40" name="Telephone">
            <a:extLst>
              <a:ext uri="{FF2B5EF4-FFF2-40B4-BE49-F238E27FC236}">
                <a16:creationId xmlns:a16="http://schemas.microsoft.com/office/drawing/2014/main" id="{A0ED14EA-5B52-4818-A618-8EA9C11CFA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65752" y="4033929"/>
            <a:ext cx="2649894" cy="175434"/>
          </a:xfrm>
        </p:spPr>
        <p:txBody>
          <a:bodyPr/>
          <a:lstStyle>
            <a:lvl1pPr>
              <a:defRPr sz="1200" baseline="0">
                <a:solidFill>
                  <a:schemeClr val="bg1"/>
                </a:solidFill>
              </a:defRPr>
            </a:lvl1pPr>
            <a:lvl2pPr>
              <a:defRPr sz="1200" baseline="0">
                <a:solidFill>
                  <a:schemeClr val="bg1"/>
                </a:solidFill>
              </a:defRPr>
            </a:lvl2pPr>
            <a:lvl3pPr>
              <a:defRPr sz="1200" baseline="0">
                <a:solidFill>
                  <a:schemeClr val="bg1"/>
                </a:solidFill>
              </a:defRPr>
            </a:lvl3pPr>
            <a:lvl4pPr>
              <a:defRPr sz="1200" baseline="0">
                <a:solidFill>
                  <a:schemeClr val="bg1"/>
                </a:solidFill>
              </a:defRPr>
            </a:lvl4pPr>
            <a:lvl5pPr>
              <a:defRPr sz="1200" baseline="0">
                <a:solidFill>
                  <a:schemeClr val="bg1"/>
                </a:solidFill>
              </a:defRPr>
            </a:lvl5pPr>
          </a:lstStyle>
          <a:p>
            <a:pPr lvl="0" defTabSz="374400">
              <a:lnSpc>
                <a:spcPct val="95000"/>
              </a:lnSpc>
              <a:spcAft>
                <a:spcPts val="0"/>
              </a:spcAft>
            </a:pPr>
            <a:r>
              <a:rPr lang="en-US" sz="1200" b="1" baseline="0">
                <a:solidFill>
                  <a:schemeClr val="bg1"/>
                </a:solidFill>
              </a:rPr>
              <a:t>+31 12 3456 7890</a:t>
            </a:r>
          </a:p>
        </p:txBody>
      </p:sp>
      <p:sp>
        <p:nvSpPr>
          <p:cNvPr id="43" name="Email">
            <a:extLst>
              <a:ext uri="{FF2B5EF4-FFF2-40B4-BE49-F238E27FC236}">
                <a16:creationId xmlns:a16="http://schemas.microsoft.com/office/drawing/2014/main" id="{2F4C36B4-9688-4315-86CA-0EA0915517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65751" y="4209364"/>
            <a:ext cx="2649887" cy="202436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="1" i="0" baseline="0">
                <a:solidFill>
                  <a:schemeClr val="bg1"/>
                </a:solidFill>
              </a:defRPr>
            </a:lvl2pPr>
            <a:lvl3pPr>
              <a:defRPr sz="1200" b="1" i="0" baseline="0">
                <a:solidFill>
                  <a:schemeClr val="bg1"/>
                </a:solidFill>
              </a:defRPr>
            </a:lvl3pPr>
            <a:lvl4pPr>
              <a:defRPr sz="1200" b="1" i="0" baseline="0">
                <a:solidFill>
                  <a:schemeClr val="bg1"/>
                </a:solidFill>
              </a:defRPr>
            </a:lvl4pPr>
            <a:lvl5pPr>
              <a:defRPr sz="1200" b="1" i="0" baseline="0">
                <a:solidFill>
                  <a:schemeClr val="bg1"/>
                </a:solidFill>
              </a:defRPr>
            </a:lvl5pPr>
          </a:lstStyle>
          <a:p>
            <a:pPr defTabSz="374400">
              <a:lnSpc>
                <a:spcPct val="95000"/>
              </a:lnSpc>
              <a:spcAft>
                <a:spcPts val="0"/>
              </a:spcAft>
            </a:pPr>
            <a:r>
              <a:rPr lang="en-US" sz="1200" b="1" baseline="0">
                <a:solidFill>
                  <a:schemeClr val="bg1"/>
                </a:solidFill>
              </a:rPr>
              <a:t>firstname.lastname@asml.com</a:t>
            </a:r>
          </a:p>
        </p:txBody>
      </p:sp>
      <p:sp>
        <p:nvSpPr>
          <p:cNvPr id="45" name="Location">
            <a:extLst>
              <a:ext uri="{FF2B5EF4-FFF2-40B4-BE49-F238E27FC236}">
                <a16:creationId xmlns:a16="http://schemas.microsoft.com/office/drawing/2014/main" id="{C0E5E582-CB4C-4554-9A53-74C1E43BF96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93912" y="3316706"/>
            <a:ext cx="2324084" cy="175433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="1" i="0" baseline="0">
                <a:solidFill>
                  <a:schemeClr val="bg1"/>
                </a:solidFill>
              </a:defRPr>
            </a:lvl2pPr>
            <a:lvl3pPr>
              <a:defRPr sz="1200" b="1" i="0" baseline="0">
                <a:solidFill>
                  <a:schemeClr val="bg1"/>
                </a:solidFill>
              </a:defRPr>
            </a:lvl3pPr>
            <a:lvl4pPr>
              <a:defRPr sz="1200" b="1" i="0" baseline="0">
                <a:solidFill>
                  <a:schemeClr val="bg1"/>
                </a:solidFill>
              </a:defRPr>
            </a:lvl4pPr>
            <a:lvl5pPr>
              <a:defRPr sz="1200" b="1" i="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Location</a:t>
            </a:r>
          </a:p>
          <a:p>
            <a:pPr lvl="1"/>
            <a:endParaRPr lang="en-US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24EC8ADC-525E-4679-AFC2-3E71B47EAFAA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fld id="{BD94D0EC-69AD-4209-B306-81122119E786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June 4, 2024</a:t>
            </a:fld>
            <a:endParaRPr lang="en-US"/>
          </a:p>
        </p:txBody>
      </p:sp>
      <p:sp>
        <p:nvSpPr>
          <p:cNvPr id="7" name="Footer Placeholder 6" hidden="1">
            <a:extLst>
              <a:ext uri="{FF2B5EF4-FFF2-40B4-BE49-F238E27FC236}">
                <a16:creationId xmlns:a16="http://schemas.microsoft.com/office/drawing/2014/main" id="{3ABB07B7-3662-4056-81D4-B5989AC29F7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8" name="Slide Number Placeholder 7" hidden="1">
            <a:extLst>
              <a:ext uri="{FF2B5EF4-FFF2-40B4-BE49-F238E27FC236}">
                <a16:creationId xmlns:a16="http://schemas.microsoft.com/office/drawing/2014/main" id="{0BAF792A-C35A-4C28-BA63-0765F6AD1D0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920788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731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 slide" preserve="1">
  <p:cSld name="End slide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8" name="Hide background Logo">
            <a:extLst>
              <a:ext uri="{FF2B5EF4-FFF2-40B4-BE49-F238E27FC236}">
                <a16:creationId xmlns:a16="http://schemas.microsoft.com/office/drawing/2014/main" id="{0C3579B9-3ADA-4588-BB3E-E3EBFB6BF267}"/>
              </a:ext>
            </a:extLst>
          </p:cNvPr>
          <p:cNvSpPr/>
          <p:nvPr userDrawn="1"/>
        </p:nvSpPr>
        <p:spPr>
          <a:xfrm>
            <a:off x="339600" y="6471000"/>
            <a:ext cx="748800" cy="280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noFill/>
            </a:endParaRPr>
          </a:p>
        </p:txBody>
      </p:sp>
      <p:grpSp>
        <p:nvGrpSpPr>
          <p:cNvPr id="42" name="Grid Decoration">
            <a:extLst>
              <a:ext uri="{FF2B5EF4-FFF2-40B4-BE49-F238E27FC236}">
                <a16:creationId xmlns:a16="http://schemas.microsoft.com/office/drawing/2014/main" id="{8F70B469-5ED5-4570-8D58-BA071F46B914}"/>
              </a:ext>
            </a:extLst>
          </p:cNvPr>
          <p:cNvGrpSpPr/>
          <p:nvPr/>
        </p:nvGrpSpPr>
        <p:grpSpPr bwMode="ltGray">
          <a:xfrm flipH="1">
            <a:off x="0" y="0"/>
            <a:ext cx="12192000" cy="6858000"/>
            <a:chOff x="1200" y="-446400"/>
            <a:chExt cx="12192000" cy="6858000"/>
          </a:xfrm>
        </p:grpSpPr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D60ADC78-9949-4FBB-A175-E501ED9162FB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91860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FBB44016-66B0-4E2E-BCED-C9CE40DE18C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99348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1B955A00-9F62-4DD8-A095-D8BF428B101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106836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AF2CC4B7-89C1-4B8A-BC0D-231CC2EA6BD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11432400" y="-4464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851C1756-0D22-4BF0-97A1-FBE27C9E8B5B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944400" y="455400"/>
              <a:ext cx="82488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0DBE7224-2A0D-4F58-A43F-748C3E4ECD0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944400" y="1391400"/>
              <a:ext cx="82488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7EDC6495-C889-47B6-9B12-993370440A8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3944400" y="2326960"/>
              <a:ext cx="0" cy="408464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5246DF58-B7B0-456A-9F6A-B6A27182305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8437200" y="-44596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E40FD560-CBED-401C-9A39-15B1E50E0B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7688400" y="-445520"/>
              <a:ext cx="0" cy="685712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303795F4-52D0-485C-8912-D428ADACEAF7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" y="2327400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B0CD295C-95AB-4825-87D7-B3A7F8DCFDD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6939600" y="-44596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19EA2067-06E6-4FB3-A618-7AA7C1C0111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6190800" y="-44552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9E126F36-B98E-46D3-B603-5E778BC5212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5442000" y="-44508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BC02083-9AF7-4E76-94A4-CD5D9F2E6B8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4693200" y="-44464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13BEE4F6-8A6B-4068-B86D-89DFDC70E62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3944400" y="-4442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Text Placeholder">
            <a:extLst>
              <a:ext uri="{FF2B5EF4-FFF2-40B4-BE49-F238E27FC236}">
                <a16:creationId xmlns:a16="http://schemas.microsoft.com/office/drawing/2014/main" id="{69DD162C-D02B-4608-B9D0-D160456CEF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35837" y="3007799"/>
            <a:ext cx="3006563" cy="3042163"/>
          </a:xfrm>
        </p:spPr>
        <p:txBody>
          <a:bodyPr/>
          <a:lstStyle>
            <a:lvl1pPr>
              <a:defRPr sz="5400" b="1" baseline="0">
                <a:solidFill>
                  <a:schemeClr val="bg1"/>
                </a:solidFill>
              </a:defRPr>
            </a:lvl1pPr>
            <a:lvl2pPr>
              <a:defRPr sz="5400" baseline="0">
                <a:solidFill>
                  <a:schemeClr val="bg1"/>
                </a:solidFill>
              </a:defRPr>
            </a:lvl2pPr>
            <a:lvl3pPr>
              <a:defRPr sz="5400" baseline="0">
                <a:solidFill>
                  <a:schemeClr val="bg1"/>
                </a:solidFill>
              </a:defRPr>
            </a:lvl3pPr>
            <a:lvl4pPr>
              <a:defRPr sz="5400" baseline="0">
                <a:solidFill>
                  <a:schemeClr val="bg1"/>
                </a:solidFill>
              </a:defRPr>
            </a:lvl4pPr>
            <a:lvl5pPr>
              <a:defRPr sz="54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hanks</a:t>
            </a:r>
          </a:p>
          <a:p>
            <a:pPr lvl="1"/>
            <a:endParaRPr lang="en-US"/>
          </a:p>
        </p:txBody>
      </p:sp>
      <p:sp>
        <p:nvSpPr>
          <p:cNvPr id="39" name="MIO_AGENDA_IGNORE_NAVIGATION" hidden="1">
            <a:extLst>
              <a:ext uri="{FF2B5EF4-FFF2-40B4-BE49-F238E27FC236}">
                <a16:creationId xmlns:a16="http://schemas.microsoft.com/office/drawing/2014/main" id="{C3FBE8F4-38D0-493A-A7BB-33E9441676CE}"/>
              </a:ext>
            </a:extLst>
          </p:cNvPr>
          <p:cNvSpPr/>
          <p:nvPr/>
        </p:nvSpPr>
        <p:spPr>
          <a:xfrm>
            <a:off x="1179080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0" name="MIO_AGENDA_IGNORE_CHAPTER_REFERENCE" hidden="1">
            <a:extLst>
              <a:ext uri="{FF2B5EF4-FFF2-40B4-BE49-F238E27FC236}">
                <a16:creationId xmlns:a16="http://schemas.microsoft.com/office/drawing/2014/main" id="{F94A61A7-7AEE-4282-83AB-F464ED2636DA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3" name="MIO_AGENDA_LAST_SLIDE" hidden="1">
            <a:extLst>
              <a:ext uri="{FF2B5EF4-FFF2-40B4-BE49-F238E27FC236}">
                <a16:creationId xmlns:a16="http://schemas.microsoft.com/office/drawing/2014/main" id="{7049BCE7-7BC9-455B-8C84-08F8B9A0FB1E}"/>
              </a:ext>
            </a:extLst>
          </p:cNvPr>
          <p:cNvSpPr/>
          <p:nvPr/>
        </p:nvSpPr>
        <p:spPr>
          <a:xfrm>
            <a:off x="10911760" y="115094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5" name="Logo">
            <a:extLst>
              <a:ext uri="{FF2B5EF4-FFF2-40B4-BE49-F238E27FC236}">
                <a16:creationId xmlns:a16="http://schemas.microsoft.com/office/drawing/2014/main" id="{562F8F28-5BE4-41C6-8A66-09C03AA22E21}"/>
              </a:ext>
            </a:extLst>
          </p:cNvPr>
          <p:cNvSpPr>
            <a:spLocks noChangeAspect="1"/>
          </p:cNvSpPr>
          <p:nvPr/>
        </p:nvSpPr>
        <p:spPr bwMode="black">
          <a:xfrm>
            <a:off x="10111908" y="433388"/>
            <a:ext cx="1694330" cy="468412"/>
          </a:xfrm>
          <a:custGeom>
            <a:avLst/>
            <a:gdLst>
              <a:gd name="connsiteX0" fmla="*/ 322580 w 2575560"/>
              <a:gd name="connsiteY0" fmla="*/ 171554 h 719869"/>
              <a:gd name="connsiteX1" fmla="*/ 261620 w 2575560"/>
              <a:gd name="connsiteY1" fmla="*/ 452224 h 719869"/>
              <a:gd name="connsiteX2" fmla="*/ 384810 w 2575560"/>
              <a:gd name="connsiteY2" fmla="*/ 452224 h 719869"/>
              <a:gd name="connsiteX3" fmla="*/ 941070 w 2575560"/>
              <a:gd name="connsiteY3" fmla="*/ 157584 h 719869"/>
              <a:gd name="connsiteX4" fmla="*/ 892810 w 2575560"/>
              <a:gd name="connsiteY4" fmla="*/ 212194 h 719869"/>
              <a:gd name="connsiteX5" fmla="*/ 998220 w 2575560"/>
              <a:gd name="connsiteY5" fmla="*/ 293474 h 719869"/>
              <a:gd name="connsiteX6" fmla="*/ 1195070 w 2575560"/>
              <a:gd name="connsiteY6" fmla="*/ 500484 h 719869"/>
              <a:gd name="connsiteX7" fmla="*/ 1009650 w 2575560"/>
              <a:gd name="connsiteY7" fmla="*/ 703684 h 719869"/>
              <a:gd name="connsiteX8" fmla="*/ 687070 w 2575560"/>
              <a:gd name="connsiteY8" fmla="*/ 671934 h 719869"/>
              <a:gd name="connsiteX9" fmla="*/ 687070 w 2575560"/>
              <a:gd name="connsiteY9" fmla="*/ 506834 h 719869"/>
              <a:gd name="connsiteX10" fmla="*/ 876300 w 2575560"/>
              <a:gd name="connsiteY10" fmla="*/ 577954 h 719869"/>
              <a:gd name="connsiteX11" fmla="*/ 981710 w 2575560"/>
              <a:gd name="connsiteY11" fmla="*/ 500484 h 719869"/>
              <a:gd name="connsiteX12" fmla="*/ 909320 w 2575560"/>
              <a:gd name="connsiteY12" fmla="*/ 420474 h 719869"/>
              <a:gd name="connsiteX13" fmla="*/ 941070 w 2575560"/>
              <a:gd name="connsiteY13" fmla="*/ 157584 h 719869"/>
              <a:gd name="connsiteX14" fmla="*/ 2136140 w 2575560"/>
              <a:gd name="connsiteY14" fmla="*/ 20424 h 719869"/>
              <a:gd name="connsiteX15" fmla="*/ 2321560 w 2575560"/>
              <a:gd name="connsiteY15" fmla="*/ 20424 h 719869"/>
              <a:gd name="connsiteX16" fmla="*/ 2321560 w 2575560"/>
              <a:gd name="connsiteY16" fmla="*/ 562714 h 719869"/>
              <a:gd name="connsiteX17" fmla="*/ 2575560 w 2575560"/>
              <a:gd name="connsiteY17" fmla="*/ 562714 h 719869"/>
              <a:gd name="connsiteX18" fmla="*/ 2575560 w 2575560"/>
              <a:gd name="connsiteY18" fmla="*/ 706224 h 719869"/>
              <a:gd name="connsiteX19" fmla="*/ 2136140 w 2575560"/>
              <a:gd name="connsiteY19" fmla="*/ 706224 h 719869"/>
              <a:gd name="connsiteX20" fmla="*/ 1346200 w 2575560"/>
              <a:gd name="connsiteY20" fmla="*/ 20424 h 719869"/>
              <a:gd name="connsiteX21" fmla="*/ 1551940 w 2575560"/>
              <a:gd name="connsiteY21" fmla="*/ 20424 h 719869"/>
              <a:gd name="connsiteX22" fmla="*/ 1648460 w 2575560"/>
              <a:gd name="connsiteY22" fmla="*/ 431904 h 719869"/>
              <a:gd name="connsiteX23" fmla="*/ 1743710 w 2575560"/>
              <a:gd name="connsiteY23" fmla="*/ 20424 h 719869"/>
              <a:gd name="connsiteX24" fmla="*/ 1950720 w 2575560"/>
              <a:gd name="connsiteY24" fmla="*/ 20424 h 719869"/>
              <a:gd name="connsiteX25" fmla="*/ 2039620 w 2575560"/>
              <a:gd name="connsiteY25" fmla="*/ 706224 h 719869"/>
              <a:gd name="connsiteX26" fmla="*/ 1846580 w 2575560"/>
              <a:gd name="connsiteY26" fmla="*/ 706224 h 719869"/>
              <a:gd name="connsiteX27" fmla="*/ 1813560 w 2575560"/>
              <a:gd name="connsiteY27" fmla="*/ 274424 h 719869"/>
              <a:gd name="connsiteX28" fmla="*/ 1723390 w 2575560"/>
              <a:gd name="connsiteY28" fmla="*/ 706224 h 719869"/>
              <a:gd name="connsiteX29" fmla="*/ 1572260 w 2575560"/>
              <a:gd name="connsiteY29" fmla="*/ 706224 h 719869"/>
              <a:gd name="connsiteX30" fmla="*/ 1483360 w 2575560"/>
              <a:gd name="connsiteY30" fmla="*/ 274424 h 719869"/>
              <a:gd name="connsiteX31" fmla="*/ 1449070 w 2575560"/>
              <a:gd name="connsiteY31" fmla="*/ 706224 h 719869"/>
              <a:gd name="connsiteX32" fmla="*/ 1257300 w 2575560"/>
              <a:gd name="connsiteY32" fmla="*/ 706224 h 719869"/>
              <a:gd name="connsiteX33" fmla="*/ 205740 w 2575560"/>
              <a:gd name="connsiteY33" fmla="*/ 20424 h 719869"/>
              <a:gd name="connsiteX34" fmla="*/ 439420 w 2575560"/>
              <a:gd name="connsiteY34" fmla="*/ 20424 h 719869"/>
              <a:gd name="connsiteX35" fmla="*/ 645160 w 2575560"/>
              <a:gd name="connsiteY35" fmla="*/ 706224 h 719869"/>
              <a:gd name="connsiteX36" fmla="*/ 439420 w 2575560"/>
              <a:gd name="connsiteY36" fmla="*/ 706224 h 719869"/>
              <a:gd name="connsiteX37" fmla="*/ 411480 w 2575560"/>
              <a:gd name="connsiteY37" fmla="*/ 583034 h 719869"/>
              <a:gd name="connsiteX38" fmla="*/ 232410 w 2575560"/>
              <a:gd name="connsiteY38" fmla="*/ 583034 h 719869"/>
              <a:gd name="connsiteX39" fmla="*/ 204470 w 2575560"/>
              <a:gd name="connsiteY39" fmla="*/ 706224 h 719869"/>
              <a:gd name="connsiteX40" fmla="*/ 0 w 2575560"/>
              <a:gd name="connsiteY40" fmla="*/ 706224 h 719869"/>
              <a:gd name="connsiteX41" fmla="*/ 994112 w 2575560"/>
              <a:gd name="connsiteY41" fmla="*/ 422 h 719869"/>
              <a:gd name="connsiteX42" fmla="*/ 1140459 w 2575560"/>
              <a:gd name="connsiteY42" fmla="*/ 34395 h 719869"/>
              <a:gd name="connsiteX43" fmla="*/ 1140459 w 2575560"/>
              <a:gd name="connsiteY43" fmla="*/ 212195 h 719869"/>
              <a:gd name="connsiteX44" fmla="*/ 701040 w 2575560"/>
              <a:gd name="connsiteY44" fmla="*/ 260455 h 719869"/>
              <a:gd name="connsiteX45" fmla="*/ 994112 w 2575560"/>
              <a:gd name="connsiteY45" fmla="*/ 422 h 719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2575560" h="719869">
                <a:moveTo>
                  <a:pt x="322580" y="171554"/>
                </a:moveTo>
                <a:lnTo>
                  <a:pt x="261620" y="452224"/>
                </a:lnTo>
                <a:lnTo>
                  <a:pt x="384810" y="452224"/>
                </a:lnTo>
                <a:close/>
                <a:moveTo>
                  <a:pt x="941070" y="157584"/>
                </a:moveTo>
                <a:cubicBezTo>
                  <a:pt x="900430" y="170284"/>
                  <a:pt x="892810" y="191874"/>
                  <a:pt x="892810" y="212194"/>
                </a:cubicBezTo>
                <a:cubicBezTo>
                  <a:pt x="892810" y="261724"/>
                  <a:pt x="955040" y="276964"/>
                  <a:pt x="998220" y="293474"/>
                </a:cubicBezTo>
                <a:cubicBezTo>
                  <a:pt x="1069340" y="320144"/>
                  <a:pt x="1195070" y="355704"/>
                  <a:pt x="1195070" y="500484"/>
                </a:cubicBezTo>
                <a:cubicBezTo>
                  <a:pt x="1195070" y="589384"/>
                  <a:pt x="1109980" y="673204"/>
                  <a:pt x="1009650" y="703684"/>
                </a:cubicBezTo>
                <a:cubicBezTo>
                  <a:pt x="885190" y="741784"/>
                  <a:pt x="763270" y="704954"/>
                  <a:pt x="687070" y="671934"/>
                </a:cubicBezTo>
                <a:lnTo>
                  <a:pt x="687070" y="506834"/>
                </a:lnTo>
                <a:cubicBezTo>
                  <a:pt x="750570" y="552554"/>
                  <a:pt x="806450" y="576684"/>
                  <a:pt x="876300" y="577954"/>
                </a:cubicBezTo>
                <a:cubicBezTo>
                  <a:pt x="918210" y="579224"/>
                  <a:pt x="981710" y="558904"/>
                  <a:pt x="981710" y="500484"/>
                </a:cubicBezTo>
                <a:cubicBezTo>
                  <a:pt x="981710" y="449684"/>
                  <a:pt x="935990" y="434444"/>
                  <a:pt x="909320" y="420474"/>
                </a:cubicBezTo>
                <a:cubicBezTo>
                  <a:pt x="758190" y="337924"/>
                  <a:pt x="803910" y="171554"/>
                  <a:pt x="941070" y="157584"/>
                </a:cubicBezTo>
                <a:close/>
                <a:moveTo>
                  <a:pt x="2136140" y="20424"/>
                </a:moveTo>
                <a:lnTo>
                  <a:pt x="2321560" y="20424"/>
                </a:lnTo>
                <a:lnTo>
                  <a:pt x="2321560" y="562714"/>
                </a:lnTo>
                <a:lnTo>
                  <a:pt x="2575560" y="562714"/>
                </a:lnTo>
                <a:lnTo>
                  <a:pt x="2575560" y="706224"/>
                </a:lnTo>
                <a:lnTo>
                  <a:pt x="2136140" y="706224"/>
                </a:lnTo>
                <a:close/>
                <a:moveTo>
                  <a:pt x="1346200" y="20424"/>
                </a:moveTo>
                <a:lnTo>
                  <a:pt x="1551940" y="20424"/>
                </a:lnTo>
                <a:lnTo>
                  <a:pt x="1648460" y="431904"/>
                </a:lnTo>
                <a:lnTo>
                  <a:pt x="1743710" y="20424"/>
                </a:lnTo>
                <a:lnTo>
                  <a:pt x="1950720" y="20424"/>
                </a:lnTo>
                <a:lnTo>
                  <a:pt x="2039620" y="706224"/>
                </a:lnTo>
                <a:lnTo>
                  <a:pt x="1846580" y="706224"/>
                </a:lnTo>
                <a:lnTo>
                  <a:pt x="1813560" y="274424"/>
                </a:lnTo>
                <a:lnTo>
                  <a:pt x="1723390" y="706224"/>
                </a:lnTo>
                <a:lnTo>
                  <a:pt x="1572260" y="706224"/>
                </a:lnTo>
                <a:lnTo>
                  <a:pt x="1483360" y="274424"/>
                </a:lnTo>
                <a:lnTo>
                  <a:pt x="1449070" y="706224"/>
                </a:lnTo>
                <a:lnTo>
                  <a:pt x="1257300" y="706224"/>
                </a:lnTo>
                <a:close/>
                <a:moveTo>
                  <a:pt x="205740" y="20424"/>
                </a:moveTo>
                <a:lnTo>
                  <a:pt x="439420" y="20424"/>
                </a:lnTo>
                <a:lnTo>
                  <a:pt x="645160" y="706224"/>
                </a:lnTo>
                <a:lnTo>
                  <a:pt x="439420" y="706224"/>
                </a:lnTo>
                <a:lnTo>
                  <a:pt x="411480" y="583034"/>
                </a:lnTo>
                <a:lnTo>
                  <a:pt x="232410" y="583034"/>
                </a:lnTo>
                <a:lnTo>
                  <a:pt x="204470" y="706224"/>
                </a:lnTo>
                <a:lnTo>
                  <a:pt x="0" y="706224"/>
                </a:lnTo>
                <a:close/>
                <a:moveTo>
                  <a:pt x="994112" y="422"/>
                </a:moveTo>
                <a:cubicBezTo>
                  <a:pt x="1046321" y="2724"/>
                  <a:pt x="1097597" y="14392"/>
                  <a:pt x="1140459" y="34395"/>
                </a:cubicBezTo>
                <a:cubicBezTo>
                  <a:pt x="1143000" y="75035"/>
                  <a:pt x="1146809" y="118215"/>
                  <a:pt x="1140459" y="212195"/>
                </a:cubicBezTo>
                <a:cubicBezTo>
                  <a:pt x="970280" y="63605"/>
                  <a:pt x="703580" y="123295"/>
                  <a:pt x="701040" y="260455"/>
                </a:cubicBezTo>
                <a:cubicBezTo>
                  <a:pt x="672465" y="70907"/>
                  <a:pt x="837486" y="-6483"/>
                  <a:pt x="994112" y="422"/>
                </a:cubicBezTo>
                <a:close/>
              </a:path>
            </a:pathLst>
          </a:custGeom>
          <a:solidFill>
            <a:srgbClr val="FFFFFF"/>
          </a:soli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6" name="Graphic 4907">
            <a:extLst>
              <a:ext uri="{FF2B5EF4-FFF2-40B4-BE49-F238E27FC236}">
                <a16:creationId xmlns:a16="http://schemas.microsoft.com/office/drawing/2014/main" id="{22AFA129-B012-46CD-AC08-0FE087D39767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black">
          <a:xfrm>
            <a:off x="8711708" y="3175577"/>
            <a:ext cx="332692" cy="465562"/>
            <a:chOff x="24624313" y="3946220"/>
            <a:chExt cx="1065476" cy="1490999"/>
          </a:xfrm>
          <a:solidFill>
            <a:srgbClr val="FFFFFF"/>
          </a:solidFill>
        </p:grpSpPr>
        <p:sp>
          <p:nvSpPr>
            <p:cNvPr id="47" name="Vrije vorm: vorm 4910">
              <a:extLst>
                <a:ext uri="{FF2B5EF4-FFF2-40B4-BE49-F238E27FC236}">
                  <a16:creationId xmlns:a16="http://schemas.microsoft.com/office/drawing/2014/main" id="{FAC3AB7A-2583-4658-9136-BA324BD78711}"/>
                </a:ext>
              </a:extLst>
            </p:cNvPr>
            <p:cNvSpPr/>
            <p:nvPr/>
          </p:nvSpPr>
          <p:spPr bwMode="black">
            <a:xfrm>
              <a:off x="24624313" y="3946220"/>
              <a:ext cx="1065476" cy="1490999"/>
            </a:xfrm>
            <a:custGeom>
              <a:avLst/>
              <a:gdLst>
                <a:gd name="connsiteX0" fmla="*/ 967708 w 1065476"/>
                <a:gd name="connsiteY0" fmla="*/ 192139 h 1490999"/>
                <a:gd name="connsiteX1" fmla="*/ 533474 w 1065476"/>
                <a:gd name="connsiteY1" fmla="*/ 0 h 1490999"/>
                <a:gd name="connsiteX2" fmla="*/ 99239 w 1065476"/>
                <a:gd name="connsiteY2" fmla="*/ 192139 h 1490999"/>
                <a:gd name="connsiteX3" fmla="*/ 7012 w 1065476"/>
                <a:gd name="connsiteY3" fmla="*/ 534147 h 1490999"/>
                <a:gd name="connsiteX4" fmla="*/ 506574 w 1065476"/>
                <a:gd name="connsiteY4" fmla="*/ 1452571 h 1490999"/>
                <a:gd name="connsiteX5" fmla="*/ 533474 w 1065476"/>
                <a:gd name="connsiteY5" fmla="*/ 1490999 h 1490999"/>
                <a:gd name="connsiteX6" fmla="*/ 560373 w 1065476"/>
                <a:gd name="connsiteY6" fmla="*/ 1452571 h 1490999"/>
                <a:gd name="connsiteX7" fmla="*/ 1059934 w 1065476"/>
                <a:gd name="connsiteY7" fmla="*/ 534147 h 1490999"/>
                <a:gd name="connsiteX8" fmla="*/ 967708 w 1065476"/>
                <a:gd name="connsiteY8" fmla="*/ 192139 h 1490999"/>
                <a:gd name="connsiteX9" fmla="*/ 994608 w 1065476"/>
                <a:gd name="connsiteY9" fmla="*/ 522618 h 1490999"/>
                <a:gd name="connsiteX10" fmla="*/ 529631 w 1065476"/>
                <a:gd name="connsiteY10" fmla="*/ 1379559 h 1490999"/>
                <a:gd name="connsiteX11" fmla="*/ 68497 w 1065476"/>
                <a:gd name="connsiteY11" fmla="*/ 522618 h 1490999"/>
                <a:gd name="connsiteX12" fmla="*/ 145353 w 1065476"/>
                <a:gd name="connsiteY12" fmla="*/ 230567 h 1490999"/>
                <a:gd name="connsiteX13" fmla="*/ 529631 w 1065476"/>
                <a:gd name="connsiteY13" fmla="*/ 57642 h 1490999"/>
                <a:gd name="connsiteX14" fmla="*/ 913909 w 1065476"/>
                <a:gd name="connsiteY14" fmla="*/ 230567 h 1490999"/>
                <a:gd name="connsiteX15" fmla="*/ 994608 w 1065476"/>
                <a:gd name="connsiteY15" fmla="*/ 522618 h 149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65476" h="1490999">
                  <a:moveTo>
                    <a:pt x="967708" y="192139"/>
                  </a:moveTo>
                  <a:cubicBezTo>
                    <a:pt x="867795" y="73013"/>
                    <a:pt x="702556" y="0"/>
                    <a:pt x="533474" y="0"/>
                  </a:cubicBezTo>
                  <a:cubicBezTo>
                    <a:pt x="364390" y="0"/>
                    <a:pt x="199151" y="73013"/>
                    <a:pt x="99239" y="192139"/>
                  </a:cubicBezTo>
                  <a:cubicBezTo>
                    <a:pt x="18540" y="292051"/>
                    <a:pt x="-16045" y="411178"/>
                    <a:pt x="7012" y="534147"/>
                  </a:cubicBezTo>
                  <a:cubicBezTo>
                    <a:pt x="49283" y="757028"/>
                    <a:pt x="487360" y="1425672"/>
                    <a:pt x="506574" y="1452571"/>
                  </a:cubicBezTo>
                  <a:lnTo>
                    <a:pt x="533474" y="1490999"/>
                  </a:lnTo>
                  <a:lnTo>
                    <a:pt x="560373" y="1452571"/>
                  </a:lnTo>
                  <a:cubicBezTo>
                    <a:pt x="579586" y="1421829"/>
                    <a:pt x="1021506" y="745500"/>
                    <a:pt x="1059934" y="534147"/>
                  </a:cubicBezTo>
                  <a:cubicBezTo>
                    <a:pt x="1079148" y="407335"/>
                    <a:pt x="1048406" y="288209"/>
                    <a:pt x="967708" y="192139"/>
                  </a:cubicBezTo>
                  <a:moveTo>
                    <a:pt x="994608" y="522618"/>
                  </a:moveTo>
                  <a:cubicBezTo>
                    <a:pt x="963865" y="691701"/>
                    <a:pt x="629543" y="1225847"/>
                    <a:pt x="529631" y="1379559"/>
                  </a:cubicBezTo>
                  <a:cubicBezTo>
                    <a:pt x="433561" y="1229690"/>
                    <a:pt x="99239" y="703229"/>
                    <a:pt x="68497" y="522618"/>
                  </a:cubicBezTo>
                  <a:cubicBezTo>
                    <a:pt x="45440" y="388121"/>
                    <a:pt x="95396" y="288209"/>
                    <a:pt x="145353" y="230567"/>
                  </a:cubicBezTo>
                  <a:cubicBezTo>
                    <a:pt x="233736" y="126812"/>
                    <a:pt x="379763" y="57642"/>
                    <a:pt x="529631" y="57642"/>
                  </a:cubicBezTo>
                  <a:cubicBezTo>
                    <a:pt x="679499" y="57642"/>
                    <a:pt x="825524" y="122969"/>
                    <a:pt x="913909" y="230567"/>
                  </a:cubicBezTo>
                  <a:cubicBezTo>
                    <a:pt x="967708" y="288209"/>
                    <a:pt x="1021506" y="388121"/>
                    <a:pt x="994608" y="522618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baseline="0">
                <a:solidFill>
                  <a:schemeClr val="bg1"/>
                </a:solidFill>
              </a:endParaRPr>
            </a:p>
          </p:txBody>
        </p:sp>
        <p:sp>
          <p:nvSpPr>
            <p:cNvPr id="54" name="Vrije vorm: vorm 4911">
              <a:extLst>
                <a:ext uri="{FF2B5EF4-FFF2-40B4-BE49-F238E27FC236}">
                  <a16:creationId xmlns:a16="http://schemas.microsoft.com/office/drawing/2014/main" id="{C71F4A9C-FE68-45F4-9759-DC7F9D688760}"/>
                </a:ext>
              </a:extLst>
            </p:cNvPr>
            <p:cNvSpPr/>
            <p:nvPr/>
          </p:nvSpPr>
          <p:spPr bwMode="black">
            <a:xfrm>
              <a:off x="24877263" y="4161416"/>
              <a:ext cx="561046" cy="561046"/>
            </a:xfrm>
            <a:custGeom>
              <a:avLst/>
              <a:gdLst>
                <a:gd name="connsiteX0" fmla="*/ 280524 w 561046"/>
                <a:gd name="connsiteY0" fmla="*/ 0 h 561046"/>
                <a:gd name="connsiteX1" fmla="*/ 0 w 561046"/>
                <a:gd name="connsiteY1" fmla="*/ 280523 h 561046"/>
                <a:gd name="connsiteX2" fmla="*/ 280524 w 561046"/>
                <a:gd name="connsiteY2" fmla="*/ 561046 h 561046"/>
                <a:gd name="connsiteX3" fmla="*/ 280524 w 561046"/>
                <a:gd name="connsiteY3" fmla="*/ 499562 h 561046"/>
                <a:gd name="connsiteX4" fmla="*/ 61485 w 561046"/>
                <a:gd name="connsiteY4" fmla="*/ 280523 h 561046"/>
                <a:gd name="connsiteX5" fmla="*/ 280524 w 561046"/>
                <a:gd name="connsiteY5" fmla="*/ 61484 h 561046"/>
                <a:gd name="connsiteX6" fmla="*/ 499562 w 561046"/>
                <a:gd name="connsiteY6" fmla="*/ 280523 h 561046"/>
                <a:gd name="connsiteX7" fmla="*/ 561046 w 561046"/>
                <a:gd name="connsiteY7" fmla="*/ 280523 h 561046"/>
                <a:gd name="connsiteX8" fmla="*/ 280524 w 561046"/>
                <a:gd name="connsiteY8" fmla="*/ 0 h 561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1046" h="561046">
                  <a:moveTo>
                    <a:pt x="280524" y="0"/>
                  </a:moveTo>
                  <a:cubicBezTo>
                    <a:pt x="122969" y="0"/>
                    <a:pt x="0" y="122969"/>
                    <a:pt x="0" y="280523"/>
                  </a:cubicBezTo>
                  <a:cubicBezTo>
                    <a:pt x="0" y="438077"/>
                    <a:pt x="122969" y="561046"/>
                    <a:pt x="280524" y="561046"/>
                  </a:cubicBezTo>
                  <a:lnTo>
                    <a:pt x="280524" y="499562"/>
                  </a:lnTo>
                  <a:cubicBezTo>
                    <a:pt x="157554" y="499562"/>
                    <a:pt x="61485" y="403492"/>
                    <a:pt x="61485" y="280523"/>
                  </a:cubicBezTo>
                  <a:cubicBezTo>
                    <a:pt x="61485" y="157554"/>
                    <a:pt x="157554" y="61484"/>
                    <a:pt x="280524" y="61484"/>
                  </a:cubicBezTo>
                  <a:cubicBezTo>
                    <a:pt x="403492" y="61484"/>
                    <a:pt x="499562" y="157554"/>
                    <a:pt x="499562" y="280523"/>
                  </a:cubicBezTo>
                  <a:lnTo>
                    <a:pt x="561046" y="280523"/>
                  </a:lnTo>
                  <a:cubicBezTo>
                    <a:pt x="561046" y="122969"/>
                    <a:pt x="438077" y="0"/>
                    <a:pt x="280524" y="0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baseline="0">
                <a:solidFill>
                  <a:schemeClr val="bg1"/>
                </a:solidFill>
              </a:endParaRPr>
            </a:p>
          </p:txBody>
        </p:sp>
      </p:grpSp>
      <p:grpSp>
        <p:nvGrpSpPr>
          <p:cNvPr id="55" name="Graphic 4907">
            <a:extLst>
              <a:ext uri="{FF2B5EF4-FFF2-40B4-BE49-F238E27FC236}">
                <a16:creationId xmlns:a16="http://schemas.microsoft.com/office/drawing/2014/main" id="{CB81D5B0-8EBA-4ADA-B97C-1B547263B214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black">
          <a:xfrm>
            <a:off x="4967227" y="3167263"/>
            <a:ext cx="379973" cy="465563"/>
            <a:chOff x="8107365" y="4049975"/>
            <a:chExt cx="1125934" cy="1379558"/>
          </a:xfrm>
          <a:solidFill>
            <a:srgbClr val="FFFFFF"/>
          </a:solidFill>
        </p:grpSpPr>
        <p:sp>
          <p:nvSpPr>
            <p:cNvPr id="56" name="Vrije vorm: vorm 4913">
              <a:extLst>
                <a:ext uri="{FF2B5EF4-FFF2-40B4-BE49-F238E27FC236}">
                  <a16:creationId xmlns:a16="http://schemas.microsoft.com/office/drawing/2014/main" id="{D1255CF1-ACFC-4C77-8569-E24B7172CB4D}"/>
                </a:ext>
              </a:extLst>
            </p:cNvPr>
            <p:cNvSpPr/>
            <p:nvPr/>
          </p:nvSpPr>
          <p:spPr bwMode="black">
            <a:xfrm>
              <a:off x="8295662" y="4049975"/>
              <a:ext cx="753185" cy="753185"/>
            </a:xfrm>
            <a:custGeom>
              <a:avLst/>
              <a:gdLst>
                <a:gd name="connsiteX0" fmla="*/ 376593 w 753185"/>
                <a:gd name="connsiteY0" fmla="*/ 753185 h 753185"/>
                <a:gd name="connsiteX1" fmla="*/ 0 w 753185"/>
                <a:gd name="connsiteY1" fmla="*/ 376593 h 753185"/>
                <a:gd name="connsiteX2" fmla="*/ 376593 w 753185"/>
                <a:gd name="connsiteY2" fmla="*/ 0 h 753185"/>
                <a:gd name="connsiteX3" fmla="*/ 753185 w 753185"/>
                <a:gd name="connsiteY3" fmla="*/ 376593 h 753185"/>
                <a:gd name="connsiteX4" fmla="*/ 376593 w 753185"/>
                <a:gd name="connsiteY4" fmla="*/ 753185 h 753185"/>
                <a:gd name="connsiteX5" fmla="*/ 376593 w 753185"/>
                <a:gd name="connsiteY5" fmla="*/ 65327 h 753185"/>
                <a:gd name="connsiteX6" fmla="*/ 65327 w 753185"/>
                <a:gd name="connsiteY6" fmla="*/ 376593 h 753185"/>
                <a:gd name="connsiteX7" fmla="*/ 376593 w 753185"/>
                <a:gd name="connsiteY7" fmla="*/ 687858 h 753185"/>
                <a:gd name="connsiteX8" fmla="*/ 687858 w 753185"/>
                <a:gd name="connsiteY8" fmla="*/ 376593 h 753185"/>
                <a:gd name="connsiteX9" fmla="*/ 376593 w 753185"/>
                <a:gd name="connsiteY9" fmla="*/ 65327 h 753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53185" h="753185">
                  <a:moveTo>
                    <a:pt x="376593" y="753185"/>
                  </a:moveTo>
                  <a:cubicBezTo>
                    <a:pt x="169082" y="753185"/>
                    <a:pt x="0" y="584103"/>
                    <a:pt x="0" y="376593"/>
                  </a:cubicBezTo>
                  <a:cubicBezTo>
                    <a:pt x="0" y="169082"/>
                    <a:pt x="169082" y="0"/>
                    <a:pt x="376593" y="0"/>
                  </a:cubicBezTo>
                  <a:cubicBezTo>
                    <a:pt x="584103" y="0"/>
                    <a:pt x="753185" y="169082"/>
                    <a:pt x="753185" y="376593"/>
                  </a:cubicBezTo>
                  <a:cubicBezTo>
                    <a:pt x="753185" y="584103"/>
                    <a:pt x="584103" y="753185"/>
                    <a:pt x="376593" y="753185"/>
                  </a:cubicBezTo>
                  <a:moveTo>
                    <a:pt x="376593" y="65327"/>
                  </a:moveTo>
                  <a:cubicBezTo>
                    <a:pt x="203667" y="65327"/>
                    <a:pt x="65327" y="207510"/>
                    <a:pt x="65327" y="376593"/>
                  </a:cubicBezTo>
                  <a:cubicBezTo>
                    <a:pt x="65327" y="549518"/>
                    <a:pt x="207510" y="687858"/>
                    <a:pt x="376593" y="687858"/>
                  </a:cubicBezTo>
                  <a:cubicBezTo>
                    <a:pt x="545675" y="687858"/>
                    <a:pt x="687858" y="545675"/>
                    <a:pt x="687858" y="376593"/>
                  </a:cubicBezTo>
                  <a:cubicBezTo>
                    <a:pt x="687858" y="207510"/>
                    <a:pt x="549518" y="65327"/>
                    <a:pt x="376593" y="65327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57" name="Vrije vorm: vorm 4914">
              <a:extLst>
                <a:ext uri="{FF2B5EF4-FFF2-40B4-BE49-F238E27FC236}">
                  <a16:creationId xmlns:a16="http://schemas.microsoft.com/office/drawing/2014/main" id="{D5E9E5AC-F91B-4A84-8FE5-924686616EF7}"/>
                </a:ext>
              </a:extLst>
            </p:cNvPr>
            <p:cNvSpPr/>
            <p:nvPr/>
          </p:nvSpPr>
          <p:spPr bwMode="black">
            <a:xfrm>
              <a:off x="8107365" y="4868487"/>
              <a:ext cx="1125934" cy="561046"/>
            </a:xfrm>
            <a:custGeom>
              <a:avLst/>
              <a:gdLst>
                <a:gd name="connsiteX0" fmla="*/ 1125935 w 1125934"/>
                <a:gd name="connsiteY0" fmla="*/ 561046 h 561046"/>
                <a:gd name="connsiteX1" fmla="*/ 1064451 w 1125934"/>
                <a:gd name="connsiteY1" fmla="*/ 561046 h 561046"/>
                <a:gd name="connsiteX2" fmla="*/ 1064451 w 1125934"/>
                <a:gd name="connsiteY2" fmla="*/ 61484 h 561046"/>
                <a:gd name="connsiteX3" fmla="*/ 61485 w 1125934"/>
                <a:gd name="connsiteY3" fmla="*/ 61484 h 561046"/>
                <a:gd name="connsiteX4" fmla="*/ 61485 w 1125934"/>
                <a:gd name="connsiteY4" fmla="*/ 561046 h 561046"/>
                <a:gd name="connsiteX5" fmla="*/ 0 w 1125934"/>
                <a:gd name="connsiteY5" fmla="*/ 561046 h 561046"/>
                <a:gd name="connsiteX6" fmla="*/ 0 w 1125934"/>
                <a:gd name="connsiteY6" fmla="*/ 0 h 561046"/>
                <a:gd name="connsiteX7" fmla="*/ 1125935 w 1125934"/>
                <a:gd name="connsiteY7" fmla="*/ 0 h 561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5934" h="561046">
                  <a:moveTo>
                    <a:pt x="1125935" y="561046"/>
                  </a:moveTo>
                  <a:lnTo>
                    <a:pt x="1064451" y="561046"/>
                  </a:lnTo>
                  <a:lnTo>
                    <a:pt x="1064451" y="61484"/>
                  </a:lnTo>
                  <a:lnTo>
                    <a:pt x="61485" y="61484"/>
                  </a:lnTo>
                  <a:lnTo>
                    <a:pt x="61485" y="561046"/>
                  </a:lnTo>
                  <a:lnTo>
                    <a:pt x="0" y="561046"/>
                  </a:lnTo>
                  <a:lnTo>
                    <a:pt x="0" y="0"/>
                  </a:lnTo>
                  <a:lnTo>
                    <a:pt x="1125935" y="0"/>
                  </a:lnTo>
                  <a:close/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</p:grpSp>
      <p:sp>
        <p:nvSpPr>
          <p:cNvPr id="6" name="Firstname Lastname">
            <a:extLst>
              <a:ext uri="{FF2B5EF4-FFF2-40B4-BE49-F238E27FC236}">
                <a16:creationId xmlns:a16="http://schemas.microsoft.com/office/drawing/2014/main" id="{411E9401-EC09-478E-A9B1-7F39EE0E14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64109" y="3314653"/>
            <a:ext cx="2310293" cy="175433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aseline="0">
                <a:solidFill>
                  <a:schemeClr val="bg1"/>
                </a:solidFill>
              </a:defRPr>
            </a:lvl2pPr>
            <a:lvl3pPr>
              <a:defRPr sz="1200" baseline="0">
                <a:solidFill>
                  <a:schemeClr val="bg1"/>
                </a:solidFill>
              </a:defRPr>
            </a:lvl3pPr>
            <a:lvl4pPr>
              <a:defRPr sz="1200" baseline="0">
                <a:solidFill>
                  <a:schemeClr val="bg1"/>
                </a:solidFill>
              </a:defRPr>
            </a:lvl4pPr>
            <a:lvl5pPr>
              <a:defRPr sz="12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8" name="Position and Title">
            <a:extLst>
              <a:ext uri="{FF2B5EF4-FFF2-40B4-BE49-F238E27FC236}">
                <a16:creationId xmlns:a16="http://schemas.microsoft.com/office/drawing/2014/main" id="{AA8E0F45-751A-4330-8A52-962E992533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65751" y="3495097"/>
            <a:ext cx="2308247" cy="175433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aseline="0">
                <a:solidFill>
                  <a:schemeClr val="bg1"/>
                </a:solidFill>
              </a:defRPr>
            </a:lvl2pPr>
            <a:lvl3pPr>
              <a:defRPr sz="1200" baseline="0">
                <a:solidFill>
                  <a:schemeClr val="bg1"/>
                </a:solidFill>
              </a:defRPr>
            </a:lvl3pPr>
            <a:lvl4pPr>
              <a:defRPr sz="1200" baseline="0">
                <a:solidFill>
                  <a:schemeClr val="bg1"/>
                </a:solidFill>
              </a:defRPr>
            </a:lvl4pPr>
            <a:lvl5pPr>
              <a:defRPr sz="12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osition and Title</a:t>
            </a:r>
          </a:p>
        </p:txBody>
      </p:sp>
      <p:sp>
        <p:nvSpPr>
          <p:cNvPr id="10" name="Telephone">
            <a:extLst>
              <a:ext uri="{FF2B5EF4-FFF2-40B4-BE49-F238E27FC236}">
                <a16:creationId xmlns:a16="http://schemas.microsoft.com/office/drawing/2014/main" id="{3D171C7F-54D2-4D60-BCFF-93803838E6A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65752" y="4033929"/>
            <a:ext cx="2649894" cy="175434"/>
          </a:xfrm>
        </p:spPr>
        <p:txBody>
          <a:bodyPr/>
          <a:lstStyle>
            <a:lvl1pPr>
              <a:defRPr sz="1200" baseline="0">
                <a:solidFill>
                  <a:schemeClr val="bg1"/>
                </a:solidFill>
              </a:defRPr>
            </a:lvl1pPr>
            <a:lvl2pPr>
              <a:defRPr sz="1200" baseline="0">
                <a:solidFill>
                  <a:schemeClr val="bg1"/>
                </a:solidFill>
              </a:defRPr>
            </a:lvl2pPr>
            <a:lvl3pPr>
              <a:defRPr sz="1200" baseline="0">
                <a:solidFill>
                  <a:schemeClr val="bg1"/>
                </a:solidFill>
              </a:defRPr>
            </a:lvl3pPr>
            <a:lvl4pPr>
              <a:defRPr sz="1200" baseline="0">
                <a:solidFill>
                  <a:schemeClr val="bg1"/>
                </a:solidFill>
              </a:defRPr>
            </a:lvl4pPr>
            <a:lvl5pPr>
              <a:defRPr sz="1200" baseline="0">
                <a:solidFill>
                  <a:schemeClr val="bg1"/>
                </a:solidFill>
              </a:defRPr>
            </a:lvl5pPr>
          </a:lstStyle>
          <a:p>
            <a:pPr lvl="0" defTabSz="374400">
              <a:lnSpc>
                <a:spcPct val="95000"/>
              </a:lnSpc>
              <a:spcAft>
                <a:spcPts val="0"/>
              </a:spcAft>
            </a:pPr>
            <a:r>
              <a:rPr lang="en-US" sz="1200" b="1" baseline="0">
                <a:solidFill>
                  <a:schemeClr val="bg1"/>
                </a:solidFill>
              </a:rPr>
              <a:t>+31 12 3456 7890</a:t>
            </a:r>
          </a:p>
        </p:txBody>
      </p:sp>
      <p:sp>
        <p:nvSpPr>
          <p:cNvPr id="13" name="Email">
            <a:extLst>
              <a:ext uri="{FF2B5EF4-FFF2-40B4-BE49-F238E27FC236}">
                <a16:creationId xmlns:a16="http://schemas.microsoft.com/office/drawing/2014/main" id="{0D64B803-F1AC-4FE0-A130-F5E7BB46B02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65751" y="4209364"/>
            <a:ext cx="2649887" cy="202436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="1" i="0" baseline="0">
                <a:solidFill>
                  <a:schemeClr val="bg1"/>
                </a:solidFill>
              </a:defRPr>
            </a:lvl2pPr>
            <a:lvl3pPr>
              <a:defRPr sz="1200" b="1" i="0" baseline="0">
                <a:solidFill>
                  <a:schemeClr val="bg1"/>
                </a:solidFill>
              </a:defRPr>
            </a:lvl3pPr>
            <a:lvl4pPr>
              <a:defRPr sz="1200" b="1" i="0" baseline="0">
                <a:solidFill>
                  <a:schemeClr val="bg1"/>
                </a:solidFill>
              </a:defRPr>
            </a:lvl4pPr>
            <a:lvl5pPr>
              <a:defRPr sz="1200" b="1" i="0" baseline="0">
                <a:solidFill>
                  <a:schemeClr val="bg1"/>
                </a:solidFill>
              </a:defRPr>
            </a:lvl5pPr>
          </a:lstStyle>
          <a:p>
            <a:pPr defTabSz="374400">
              <a:lnSpc>
                <a:spcPct val="95000"/>
              </a:lnSpc>
              <a:spcAft>
                <a:spcPts val="0"/>
              </a:spcAft>
            </a:pPr>
            <a:r>
              <a:rPr lang="en-US" sz="1200" b="1" baseline="0">
                <a:solidFill>
                  <a:schemeClr val="bg1"/>
                </a:solidFill>
              </a:rPr>
              <a:t>firstname.lastname@asml.com</a:t>
            </a:r>
          </a:p>
        </p:txBody>
      </p:sp>
      <p:sp>
        <p:nvSpPr>
          <p:cNvPr id="15" name="Location">
            <a:extLst>
              <a:ext uri="{FF2B5EF4-FFF2-40B4-BE49-F238E27FC236}">
                <a16:creationId xmlns:a16="http://schemas.microsoft.com/office/drawing/2014/main" id="{D42C81F4-24AA-4A92-BC47-EAB39A43102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93912" y="3316706"/>
            <a:ext cx="2324084" cy="175433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="1" i="0" baseline="0">
                <a:solidFill>
                  <a:schemeClr val="bg1"/>
                </a:solidFill>
              </a:defRPr>
            </a:lvl2pPr>
            <a:lvl3pPr>
              <a:defRPr sz="1200" b="1" i="0" baseline="0">
                <a:solidFill>
                  <a:schemeClr val="bg1"/>
                </a:solidFill>
              </a:defRPr>
            </a:lvl3pPr>
            <a:lvl4pPr>
              <a:defRPr sz="1200" b="1" i="0" baseline="0">
                <a:solidFill>
                  <a:schemeClr val="bg1"/>
                </a:solidFill>
              </a:defRPr>
            </a:lvl4pPr>
            <a:lvl5pPr>
              <a:defRPr sz="1200" b="1" i="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Location</a:t>
            </a:r>
          </a:p>
          <a:p>
            <a:pPr lvl="1"/>
            <a:endParaRPr lang="en-US"/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D709E070-026E-4274-AAE0-13E74DB36012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fld id="{DB389492-908D-414E-9B10-5FBA9AAE3E0E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June 4, 2024</a:t>
            </a:fld>
            <a:endParaRPr lang="en-US"/>
          </a:p>
        </p:txBody>
      </p:sp>
      <p:sp>
        <p:nvSpPr>
          <p:cNvPr id="7" name="Footer Placeholder 6" hidden="1">
            <a:extLst>
              <a:ext uri="{FF2B5EF4-FFF2-40B4-BE49-F238E27FC236}">
                <a16:creationId xmlns:a16="http://schemas.microsoft.com/office/drawing/2014/main" id="{C805A902-97AB-47D4-B6F2-D811B996FF1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9" name="Slide Number Placeholder 8" hidden="1">
            <a:extLst>
              <a:ext uri="{FF2B5EF4-FFF2-40B4-BE49-F238E27FC236}">
                <a16:creationId xmlns:a16="http://schemas.microsoft.com/office/drawing/2014/main" id="{2C93483A-7A5D-4EC0-B723-E000C7C69E3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fld id="{A2218858-49EA-4BF8-8EFE-B88A4580565A}" type="slidenum">
              <a:rPr lang="en-US"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9028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SML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>
          <a:xfrm>
            <a:off x="11001600" y="1032000"/>
            <a:ext cx="1003200" cy="12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&lt;Date&gt;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1"/>
          </p:nvPr>
        </p:nvSpPr>
        <p:spPr>
          <a:xfrm>
            <a:off x="11001600" y="859200"/>
            <a:ext cx="1003200" cy="12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Slide </a:t>
            </a:r>
            <a:fld id="{1D9B13CD-33A0-446D-8703-F89F9F109F5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2"/>
            <p:custDataLst>
              <p:tags r:id="rId1"/>
            </p:custDataLst>
          </p:nvPr>
        </p:nvSpPr>
        <p:spPr>
          <a:xfrm>
            <a:off x="11002973" y="686400"/>
            <a:ext cx="1002631" cy="12192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ompany-Secret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600" y="144000"/>
            <a:ext cx="10147200" cy="492443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320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ext title, Arial 24pt dark blu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152000"/>
            <a:ext cx="10147200" cy="52800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800"/>
              </a:spcAft>
              <a:buNone/>
              <a:defRPr sz="2400">
                <a:solidFill>
                  <a:schemeClr val="tx2"/>
                </a:solidFill>
              </a:defRPr>
            </a:lvl1pPr>
            <a:lvl2pPr marL="537620" indent="-230712">
              <a:spcBef>
                <a:spcPts val="0"/>
              </a:spcBef>
              <a:spcAft>
                <a:spcPts val="800"/>
              </a:spcAft>
              <a:buFont typeface="Arial" pitchFamily="34" charset="0"/>
              <a:buChar char="•"/>
              <a:tabLst/>
              <a:defRPr sz="2133">
                <a:solidFill>
                  <a:schemeClr val="tx2"/>
                </a:solidFill>
              </a:defRPr>
            </a:lvl2pPr>
            <a:lvl3pPr marL="988459" indent="-230712">
              <a:spcBef>
                <a:spcPts val="0"/>
              </a:spcBef>
              <a:spcAft>
                <a:spcPts val="800"/>
              </a:spcAft>
              <a:defRPr sz="1867">
                <a:solidFill>
                  <a:schemeClr val="tx2"/>
                </a:solidFill>
              </a:defRPr>
            </a:lvl3pPr>
            <a:lvl4pPr marL="1320767" indent="-241294">
              <a:buFont typeface="Arial" pitchFamily="34" charset="0"/>
              <a:buChar char="•"/>
              <a:defRPr sz="1600">
                <a:solidFill>
                  <a:schemeClr val="tx2"/>
                </a:solidFill>
              </a:defRPr>
            </a:lvl4pPr>
            <a:lvl5pPr marL="1549361" indent="-228594">
              <a:buFont typeface="Arial" pitchFamily="34" charset="0"/>
              <a:buChar char="•"/>
              <a:defRPr sz="1333">
                <a:solidFill>
                  <a:schemeClr val="tx2"/>
                </a:solidFill>
              </a:defRPr>
            </a:lvl5pPr>
            <a:lvl6pPr marL="1676358" indent="-126997">
              <a:buFont typeface="Arial" pitchFamily="34" charset="0"/>
              <a:buChar char="•"/>
              <a:defRPr sz="1067">
                <a:solidFill>
                  <a:schemeClr val="tx2"/>
                </a:solidFill>
              </a:defRPr>
            </a:lvl6pPr>
            <a:lvl7pPr marL="1790655" indent="-114297">
              <a:buFont typeface="Arial" pitchFamily="34" charset="0"/>
              <a:buChar char="•"/>
              <a:defRPr sz="800">
                <a:solidFill>
                  <a:schemeClr val="tx2"/>
                </a:solidFill>
              </a:defRPr>
            </a:lvl7pPr>
            <a:lvl8pPr marL="1917652" indent="-126997">
              <a:buFont typeface="Arial" pitchFamily="34" charset="0"/>
              <a:buChar char="•"/>
              <a:defRPr sz="533">
                <a:solidFill>
                  <a:schemeClr val="tx2"/>
                </a:solidFill>
              </a:defRPr>
            </a:lvl8pPr>
            <a:lvl9pPr marL="2031949" indent="-114297">
              <a:buFont typeface="Arial" pitchFamily="34" charset="0"/>
              <a:buChar char="•"/>
              <a:defRPr sz="533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Text, Arial 18pt middle blue</a:t>
            </a:r>
          </a:p>
          <a:p>
            <a:pPr lvl="1"/>
            <a:r>
              <a:rPr lang="en-US" noProof="0"/>
              <a:t>Second level, 16pt middle blue</a:t>
            </a:r>
          </a:p>
          <a:p>
            <a:pPr lvl="2"/>
            <a:r>
              <a:rPr lang="en-US" noProof="0"/>
              <a:t>Third level, 14pt middle blue</a:t>
            </a:r>
          </a:p>
          <a:p>
            <a:pPr lvl="3"/>
            <a:r>
              <a:rPr lang="en-US" noProof="0"/>
              <a:t>Level 4</a:t>
            </a:r>
          </a:p>
          <a:p>
            <a:pPr lvl="4"/>
            <a:r>
              <a:rPr lang="en-US" noProof="0"/>
              <a:t>Level 5</a:t>
            </a:r>
          </a:p>
          <a:p>
            <a:pPr lvl="5"/>
            <a:r>
              <a:rPr lang="en-US" noProof="0"/>
              <a:t>Level 6</a:t>
            </a:r>
          </a:p>
          <a:p>
            <a:pPr lvl="6"/>
            <a:r>
              <a:rPr lang="en-US" noProof="0"/>
              <a:t>Level 7	</a:t>
            </a:r>
          </a:p>
          <a:p>
            <a:pPr lvl="7"/>
            <a:r>
              <a:rPr lang="en-US" noProof="0"/>
              <a:t>Level 8</a:t>
            </a:r>
          </a:p>
          <a:p>
            <a:pPr lvl="8"/>
            <a:r>
              <a:rPr lang="en-US" noProof="0"/>
              <a:t>Level 9</a:t>
            </a:r>
          </a:p>
        </p:txBody>
      </p:sp>
      <p:sp>
        <p:nvSpPr>
          <p:cNvPr id="8" name="Tijdelijke aanduiding voor tekst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648001"/>
            <a:ext cx="10147200" cy="504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400" baseline="0"/>
            </a:lvl1pPr>
          </a:lstStyle>
          <a:p>
            <a:pPr lvl="0"/>
            <a:r>
              <a:rPr lang="nl-NL"/>
              <a:t>Sub </a:t>
            </a:r>
            <a:r>
              <a:rPr lang="nl-NL" err="1"/>
              <a:t>title</a:t>
            </a:r>
            <a:r>
              <a:rPr lang="nl-NL"/>
              <a:t>, </a:t>
            </a:r>
            <a:r>
              <a:rPr lang="nl-NL" err="1"/>
              <a:t>Arial</a:t>
            </a:r>
            <a:r>
              <a:rPr lang="nl-NL"/>
              <a:t> 18pt </a:t>
            </a:r>
            <a:r>
              <a:rPr lang="nl-NL" err="1"/>
              <a:t>dark</a:t>
            </a:r>
            <a:r>
              <a:rPr lang="nl-NL"/>
              <a:t> blue</a:t>
            </a:r>
          </a:p>
        </p:txBody>
      </p:sp>
    </p:spTree>
    <p:extLst>
      <p:ext uri="{BB962C8B-B14F-4D97-AF65-F5344CB8AC3E}">
        <p14:creationId xmlns:p14="http://schemas.microsoft.com/office/powerpoint/2010/main" val="20423854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2" preserve="1" userDrawn="1">
  <p:cSld name="Title Slide 2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1" name="Hide background Logo">
            <a:extLst>
              <a:ext uri="{FF2B5EF4-FFF2-40B4-BE49-F238E27FC236}">
                <a16:creationId xmlns:a16="http://schemas.microsoft.com/office/drawing/2014/main" id="{78140037-05AE-4719-ADE1-27B81AE5C796}"/>
              </a:ext>
            </a:extLst>
          </p:cNvPr>
          <p:cNvSpPr/>
          <p:nvPr userDrawn="1"/>
        </p:nvSpPr>
        <p:spPr>
          <a:xfrm>
            <a:off x="339600" y="6471000"/>
            <a:ext cx="748800" cy="280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ooter Placeholder (hidden)">
            <a:extLst>
              <a:ext uri="{FF2B5EF4-FFF2-40B4-BE49-F238E27FC236}">
                <a16:creationId xmlns:a16="http://schemas.microsoft.com/office/drawing/2014/main" id="{E59104A9-6371-4B6E-ADB0-1BC485D2DE73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12182947" y="6848947"/>
            <a:ext cx="0" cy="0"/>
          </a:xfrm>
          <a:prstGeom prst="rect">
            <a:avLst/>
          </a:prstGeom>
        </p:spPr>
        <p:txBody>
          <a:bodyPr/>
          <a:lstStyle>
            <a:lvl1pPr algn="r">
              <a:defRPr>
                <a:noFill/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10" name="Slide Number Placeholder (hidden)">
            <a:extLst>
              <a:ext uri="{FF2B5EF4-FFF2-40B4-BE49-F238E27FC236}">
                <a16:creationId xmlns:a16="http://schemas.microsoft.com/office/drawing/2014/main" id="{03B6870E-CF8C-4EED-BB0D-66F9991BDBC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2182947" y="6848947"/>
            <a:ext cx="0" cy="0"/>
          </a:xfrm>
          <a:prstGeom prst="rect">
            <a:avLst/>
          </a:prstGeom>
        </p:spPr>
        <p:txBody>
          <a:bodyPr/>
          <a:lstStyle>
            <a:lvl1pPr algn="r">
              <a:defRPr>
                <a:noFill/>
              </a:defRPr>
            </a:lvl1pPr>
          </a:lstStyle>
          <a:p>
            <a:fld id="{A2218858-49EA-4BF8-8EFE-B88A4580565A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60" name="Picture Placeholder 59">
            <a:extLst>
              <a:ext uri="{FF2B5EF4-FFF2-40B4-BE49-F238E27FC236}">
                <a16:creationId xmlns:a16="http://schemas.microsoft.com/office/drawing/2014/main" id="{28724634-FC2F-49E4-BF14-FA465D8DEE7B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8067950 w 12192000"/>
              <a:gd name="connsiteY0" fmla="*/ 5120150 h 6858000"/>
              <a:gd name="connsiteX1" fmla="*/ 12192000 w 12192000"/>
              <a:gd name="connsiteY1" fmla="*/ 5120150 h 6858000"/>
              <a:gd name="connsiteX2" fmla="*/ 12192000 w 12192000"/>
              <a:gd name="connsiteY2" fmla="*/ 6858000 h 6858000"/>
              <a:gd name="connsiteX3" fmla="*/ 8067950 w 12192000"/>
              <a:gd name="connsiteY3" fmla="*/ 6858000 h 6858000"/>
              <a:gd name="connsiteX4" fmla="*/ 0 w 12192000"/>
              <a:gd name="connsiteY4" fmla="*/ 5120150 h 6858000"/>
              <a:gd name="connsiteX5" fmla="*/ 8061600 w 12192000"/>
              <a:gd name="connsiteY5" fmla="*/ 5120150 h 6858000"/>
              <a:gd name="connsiteX6" fmla="*/ 8061600 w 12192000"/>
              <a:gd name="connsiteY6" fmla="*/ 6858000 h 6858000"/>
              <a:gd name="connsiteX7" fmla="*/ 0 w 12192000"/>
              <a:gd name="connsiteY7" fmla="*/ 6858000 h 6858000"/>
              <a:gd name="connsiteX8" fmla="*/ 806795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5113800 h 6858000"/>
              <a:gd name="connsiteX11" fmla="*/ 8067950 w 12192000"/>
              <a:gd name="connsiteY11" fmla="*/ 5113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8067950" y="5120150"/>
                </a:moveTo>
                <a:lnTo>
                  <a:pt x="12192000" y="5120150"/>
                </a:lnTo>
                <a:lnTo>
                  <a:pt x="12192000" y="6858000"/>
                </a:lnTo>
                <a:lnTo>
                  <a:pt x="8067950" y="6858000"/>
                </a:lnTo>
                <a:close/>
                <a:moveTo>
                  <a:pt x="0" y="5120150"/>
                </a:moveTo>
                <a:lnTo>
                  <a:pt x="8061600" y="5120150"/>
                </a:lnTo>
                <a:lnTo>
                  <a:pt x="8061600" y="6858000"/>
                </a:lnTo>
                <a:lnTo>
                  <a:pt x="0" y="6858000"/>
                </a:lnTo>
                <a:close/>
                <a:moveTo>
                  <a:pt x="8067950" y="0"/>
                </a:moveTo>
                <a:lnTo>
                  <a:pt x="12192000" y="0"/>
                </a:lnTo>
                <a:lnTo>
                  <a:pt x="12192000" y="5113800"/>
                </a:lnTo>
                <a:lnTo>
                  <a:pt x="8067950" y="5113800"/>
                </a:lnTo>
                <a:close/>
              </a:path>
            </a:pathLst>
          </a:custGeom>
          <a:noFill/>
        </p:spPr>
        <p:txBody>
          <a:bodyPr vert="horz" wrap="square" lIns="396000" tIns="0" rIns="396000" bIns="468000" rtlCol="0" anchor="ctr" anchorCtr="0">
            <a:noAutofit/>
          </a:bodyPr>
          <a:lstStyle>
            <a:lvl1pPr algn="r">
              <a:defRPr lang="en-US" sz="1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on area to add picture</a:t>
            </a:r>
          </a:p>
        </p:txBody>
      </p:sp>
      <p:grpSp>
        <p:nvGrpSpPr>
          <p:cNvPr id="104" name="Grid Decoration">
            <a:extLst>
              <a:ext uri="{FF2B5EF4-FFF2-40B4-BE49-F238E27FC236}">
                <a16:creationId xmlns:a16="http://schemas.microsoft.com/office/drawing/2014/main" id="{477C5741-C323-4904-A7E4-C6EE7E7C36B1}"/>
              </a:ext>
            </a:extLst>
          </p:cNvPr>
          <p:cNvGrpSpPr/>
          <p:nvPr/>
        </p:nvGrpSpPr>
        <p:grpSpPr bwMode="ltGray">
          <a:xfrm flipH="1">
            <a:off x="0" y="-12600"/>
            <a:ext cx="12192525" cy="6870600"/>
            <a:chOff x="-525" y="-12600"/>
            <a:chExt cx="12192525" cy="6870600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791930DD-37F9-4E5C-AF98-367271E48F65}"/>
                </a:ext>
              </a:extLst>
            </p:cNvPr>
            <p:cNvCxnSpPr/>
            <p:nvPr userDrawn="1"/>
          </p:nvCxnSpPr>
          <p:spPr bwMode="ltGray">
            <a:xfrm>
              <a:off x="0" y="5113338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E4BECD12-13FA-465C-A5C9-F74D5C72FF8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0" y="5348288"/>
              <a:ext cx="4130675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17E3B37-8AD5-4342-A01B-490894F5538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5582750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8FFCDC22-4C05-4409-A1A2-BA40843B63B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5817212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42442ECD-8E60-46BA-93E9-034AD2F2952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-525" y="6049963"/>
              <a:ext cx="4131200" cy="1712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F262152-E536-45B3-B42E-FF64534BE76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6286136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93DE0786-0311-432C-BF1C-0FC4484EB54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6520598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11A26A46-5A23-4E71-86B8-D42B8AE213D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-525" y="6751638"/>
              <a:ext cx="4131200" cy="3422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3932711A-14CB-4B7E-897F-0F43D5E5EA85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4130400" y="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50FFE11-2228-4095-8213-B7DF694B07B1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071200" y="-126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6976BF9B-BA80-4535-9BEE-4C96B17589F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0" y="2539800"/>
              <a:ext cx="4118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2973A65C-8424-4A10-A797-3CD4EB372522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258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F9D055B9-1151-4A29-8BC8-F226B88C224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884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8FC626A0-B95A-4A60-90B8-04C99A492EE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445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1D2E554C-FE97-4D2B-BCC1-AB142412B25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632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7F3C16FC-5417-4C75-B329-3F86AA17A1A7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820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F75E7C3B-12AE-4BB8-BBB5-6BDED40828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007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368D9680-1780-4095-A6A5-2D3C993B814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194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BF97DB5B-2E43-4A4E-8C59-51F0966A413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381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87ACA9E8-0A0A-4BEC-B611-67DE5E820C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568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103294FB-D050-4427-B3A7-7AB40551D4A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756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6F44C384-B751-406C-BE7A-68C3296941E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943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Straight Connector 101">
              <a:extLst>
                <a:ext uri="{FF2B5EF4-FFF2-40B4-BE49-F238E27FC236}">
                  <a16:creationId xmlns:a16="http://schemas.microsoft.com/office/drawing/2014/main" id="{575287CC-10F4-4756-ACFF-FC235CC31B94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696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102">
              <a:extLst>
                <a:ext uri="{FF2B5EF4-FFF2-40B4-BE49-F238E27FC236}">
                  <a16:creationId xmlns:a16="http://schemas.microsoft.com/office/drawing/2014/main" id="{EBBA423D-CED0-4685-B301-48162C9D196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509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103">
              <a:extLst>
                <a:ext uri="{FF2B5EF4-FFF2-40B4-BE49-F238E27FC236}">
                  <a16:creationId xmlns:a16="http://schemas.microsoft.com/office/drawing/2014/main" id="{EF37AE5F-737F-47BB-8C7C-73008137DF0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322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6AB332B4-661E-480F-B3A7-03A1659F61C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135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8B801BD6-B64D-436A-A2C8-FE764D59FA3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948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82BFCE8B-EFDD-4BF9-8236-5088DA0366C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760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C131BE53-9ED4-46DB-8379-0EAF4BA536F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573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096AB21B-7279-46BA-BE0B-765FFC84504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D078673B-947B-4697-BE71-880F0EEF3245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99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D75BB555-162A-44B2-96BD-4FB1C1A4B68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86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3" name="Logo">
            <a:extLst>
              <a:ext uri="{FF2B5EF4-FFF2-40B4-BE49-F238E27FC236}">
                <a16:creationId xmlns:a16="http://schemas.microsoft.com/office/drawing/2014/main" id="{66B4BCD1-6E4A-40C1-85DC-38A5A7EEA082}"/>
              </a:ext>
            </a:extLst>
          </p:cNvPr>
          <p:cNvSpPr>
            <a:spLocks noChangeAspect="1"/>
          </p:cNvSpPr>
          <p:nvPr/>
        </p:nvSpPr>
        <p:spPr bwMode="black">
          <a:xfrm>
            <a:off x="5992870" y="433388"/>
            <a:ext cx="1694330" cy="468412"/>
          </a:xfrm>
          <a:custGeom>
            <a:avLst/>
            <a:gdLst>
              <a:gd name="connsiteX0" fmla="*/ 322580 w 2575560"/>
              <a:gd name="connsiteY0" fmla="*/ 171554 h 719869"/>
              <a:gd name="connsiteX1" fmla="*/ 261620 w 2575560"/>
              <a:gd name="connsiteY1" fmla="*/ 452224 h 719869"/>
              <a:gd name="connsiteX2" fmla="*/ 384810 w 2575560"/>
              <a:gd name="connsiteY2" fmla="*/ 452224 h 719869"/>
              <a:gd name="connsiteX3" fmla="*/ 941070 w 2575560"/>
              <a:gd name="connsiteY3" fmla="*/ 157584 h 719869"/>
              <a:gd name="connsiteX4" fmla="*/ 892810 w 2575560"/>
              <a:gd name="connsiteY4" fmla="*/ 212194 h 719869"/>
              <a:gd name="connsiteX5" fmla="*/ 998220 w 2575560"/>
              <a:gd name="connsiteY5" fmla="*/ 293474 h 719869"/>
              <a:gd name="connsiteX6" fmla="*/ 1195070 w 2575560"/>
              <a:gd name="connsiteY6" fmla="*/ 500484 h 719869"/>
              <a:gd name="connsiteX7" fmla="*/ 1009650 w 2575560"/>
              <a:gd name="connsiteY7" fmla="*/ 703684 h 719869"/>
              <a:gd name="connsiteX8" fmla="*/ 687070 w 2575560"/>
              <a:gd name="connsiteY8" fmla="*/ 671934 h 719869"/>
              <a:gd name="connsiteX9" fmla="*/ 687070 w 2575560"/>
              <a:gd name="connsiteY9" fmla="*/ 506834 h 719869"/>
              <a:gd name="connsiteX10" fmla="*/ 876300 w 2575560"/>
              <a:gd name="connsiteY10" fmla="*/ 577954 h 719869"/>
              <a:gd name="connsiteX11" fmla="*/ 981710 w 2575560"/>
              <a:gd name="connsiteY11" fmla="*/ 500484 h 719869"/>
              <a:gd name="connsiteX12" fmla="*/ 909320 w 2575560"/>
              <a:gd name="connsiteY12" fmla="*/ 420474 h 719869"/>
              <a:gd name="connsiteX13" fmla="*/ 941070 w 2575560"/>
              <a:gd name="connsiteY13" fmla="*/ 157584 h 719869"/>
              <a:gd name="connsiteX14" fmla="*/ 2136140 w 2575560"/>
              <a:gd name="connsiteY14" fmla="*/ 20424 h 719869"/>
              <a:gd name="connsiteX15" fmla="*/ 2321560 w 2575560"/>
              <a:gd name="connsiteY15" fmla="*/ 20424 h 719869"/>
              <a:gd name="connsiteX16" fmla="*/ 2321560 w 2575560"/>
              <a:gd name="connsiteY16" fmla="*/ 562714 h 719869"/>
              <a:gd name="connsiteX17" fmla="*/ 2575560 w 2575560"/>
              <a:gd name="connsiteY17" fmla="*/ 562714 h 719869"/>
              <a:gd name="connsiteX18" fmla="*/ 2575560 w 2575560"/>
              <a:gd name="connsiteY18" fmla="*/ 706224 h 719869"/>
              <a:gd name="connsiteX19" fmla="*/ 2136140 w 2575560"/>
              <a:gd name="connsiteY19" fmla="*/ 706224 h 719869"/>
              <a:gd name="connsiteX20" fmla="*/ 1346200 w 2575560"/>
              <a:gd name="connsiteY20" fmla="*/ 20424 h 719869"/>
              <a:gd name="connsiteX21" fmla="*/ 1551940 w 2575560"/>
              <a:gd name="connsiteY21" fmla="*/ 20424 h 719869"/>
              <a:gd name="connsiteX22" fmla="*/ 1648460 w 2575560"/>
              <a:gd name="connsiteY22" fmla="*/ 431904 h 719869"/>
              <a:gd name="connsiteX23" fmla="*/ 1743710 w 2575560"/>
              <a:gd name="connsiteY23" fmla="*/ 20424 h 719869"/>
              <a:gd name="connsiteX24" fmla="*/ 1950720 w 2575560"/>
              <a:gd name="connsiteY24" fmla="*/ 20424 h 719869"/>
              <a:gd name="connsiteX25" fmla="*/ 2039620 w 2575560"/>
              <a:gd name="connsiteY25" fmla="*/ 706224 h 719869"/>
              <a:gd name="connsiteX26" fmla="*/ 1846580 w 2575560"/>
              <a:gd name="connsiteY26" fmla="*/ 706224 h 719869"/>
              <a:gd name="connsiteX27" fmla="*/ 1813560 w 2575560"/>
              <a:gd name="connsiteY27" fmla="*/ 274424 h 719869"/>
              <a:gd name="connsiteX28" fmla="*/ 1723390 w 2575560"/>
              <a:gd name="connsiteY28" fmla="*/ 706224 h 719869"/>
              <a:gd name="connsiteX29" fmla="*/ 1572260 w 2575560"/>
              <a:gd name="connsiteY29" fmla="*/ 706224 h 719869"/>
              <a:gd name="connsiteX30" fmla="*/ 1483360 w 2575560"/>
              <a:gd name="connsiteY30" fmla="*/ 274424 h 719869"/>
              <a:gd name="connsiteX31" fmla="*/ 1449070 w 2575560"/>
              <a:gd name="connsiteY31" fmla="*/ 706224 h 719869"/>
              <a:gd name="connsiteX32" fmla="*/ 1257300 w 2575560"/>
              <a:gd name="connsiteY32" fmla="*/ 706224 h 719869"/>
              <a:gd name="connsiteX33" fmla="*/ 205740 w 2575560"/>
              <a:gd name="connsiteY33" fmla="*/ 20424 h 719869"/>
              <a:gd name="connsiteX34" fmla="*/ 439420 w 2575560"/>
              <a:gd name="connsiteY34" fmla="*/ 20424 h 719869"/>
              <a:gd name="connsiteX35" fmla="*/ 645160 w 2575560"/>
              <a:gd name="connsiteY35" fmla="*/ 706224 h 719869"/>
              <a:gd name="connsiteX36" fmla="*/ 439420 w 2575560"/>
              <a:gd name="connsiteY36" fmla="*/ 706224 h 719869"/>
              <a:gd name="connsiteX37" fmla="*/ 411480 w 2575560"/>
              <a:gd name="connsiteY37" fmla="*/ 583034 h 719869"/>
              <a:gd name="connsiteX38" fmla="*/ 232410 w 2575560"/>
              <a:gd name="connsiteY38" fmla="*/ 583034 h 719869"/>
              <a:gd name="connsiteX39" fmla="*/ 204470 w 2575560"/>
              <a:gd name="connsiteY39" fmla="*/ 706224 h 719869"/>
              <a:gd name="connsiteX40" fmla="*/ 0 w 2575560"/>
              <a:gd name="connsiteY40" fmla="*/ 706224 h 719869"/>
              <a:gd name="connsiteX41" fmla="*/ 994112 w 2575560"/>
              <a:gd name="connsiteY41" fmla="*/ 422 h 719869"/>
              <a:gd name="connsiteX42" fmla="*/ 1140459 w 2575560"/>
              <a:gd name="connsiteY42" fmla="*/ 34395 h 719869"/>
              <a:gd name="connsiteX43" fmla="*/ 1140459 w 2575560"/>
              <a:gd name="connsiteY43" fmla="*/ 212195 h 719869"/>
              <a:gd name="connsiteX44" fmla="*/ 701040 w 2575560"/>
              <a:gd name="connsiteY44" fmla="*/ 260455 h 719869"/>
              <a:gd name="connsiteX45" fmla="*/ 994112 w 2575560"/>
              <a:gd name="connsiteY45" fmla="*/ 422 h 719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2575560" h="719869">
                <a:moveTo>
                  <a:pt x="322580" y="171554"/>
                </a:moveTo>
                <a:lnTo>
                  <a:pt x="261620" y="452224"/>
                </a:lnTo>
                <a:lnTo>
                  <a:pt x="384810" y="452224"/>
                </a:lnTo>
                <a:close/>
                <a:moveTo>
                  <a:pt x="941070" y="157584"/>
                </a:moveTo>
                <a:cubicBezTo>
                  <a:pt x="900430" y="170284"/>
                  <a:pt x="892810" y="191874"/>
                  <a:pt x="892810" y="212194"/>
                </a:cubicBezTo>
                <a:cubicBezTo>
                  <a:pt x="892810" y="261724"/>
                  <a:pt x="955040" y="276964"/>
                  <a:pt x="998220" y="293474"/>
                </a:cubicBezTo>
                <a:cubicBezTo>
                  <a:pt x="1069340" y="320144"/>
                  <a:pt x="1195070" y="355704"/>
                  <a:pt x="1195070" y="500484"/>
                </a:cubicBezTo>
                <a:cubicBezTo>
                  <a:pt x="1195070" y="589384"/>
                  <a:pt x="1109980" y="673204"/>
                  <a:pt x="1009650" y="703684"/>
                </a:cubicBezTo>
                <a:cubicBezTo>
                  <a:pt x="885190" y="741784"/>
                  <a:pt x="763270" y="704954"/>
                  <a:pt x="687070" y="671934"/>
                </a:cubicBezTo>
                <a:lnTo>
                  <a:pt x="687070" y="506834"/>
                </a:lnTo>
                <a:cubicBezTo>
                  <a:pt x="750570" y="552554"/>
                  <a:pt x="806450" y="576684"/>
                  <a:pt x="876300" y="577954"/>
                </a:cubicBezTo>
                <a:cubicBezTo>
                  <a:pt x="918210" y="579224"/>
                  <a:pt x="981710" y="558904"/>
                  <a:pt x="981710" y="500484"/>
                </a:cubicBezTo>
                <a:cubicBezTo>
                  <a:pt x="981710" y="449684"/>
                  <a:pt x="935990" y="434444"/>
                  <a:pt x="909320" y="420474"/>
                </a:cubicBezTo>
                <a:cubicBezTo>
                  <a:pt x="758190" y="337924"/>
                  <a:pt x="803910" y="171554"/>
                  <a:pt x="941070" y="157584"/>
                </a:cubicBezTo>
                <a:close/>
                <a:moveTo>
                  <a:pt x="2136140" y="20424"/>
                </a:moveTo>
                <a:lnTo>
                  <a:pt x="2321560" y="20424"/>
                </a:lnTo>
                <a:lnTo>
                  <a:pt x="2321560" y="562714"/>
                </a:lnTo>
                <a:lnTo>
                  <a:pt x="2575560" y="562714"/>
                </a:lnTo>
                <a:lnTo>
                  <a:pt x="2575560" y="706224"/>
                </a:lnTo>
                <a:lnTo>
                  <a:pt x="2136140" y="706224"/>
                </a:lnTo>
                <a:close/>
                <a:moveTo>
                  <a:pt x="1346200" y="20424"/>
                </a:moveTo>
                <a:lnTo>
                  <a:pt x="1551940" y="20424"/>
                </a:lnTo>
                <a:lnTo>
                  <a:pt x="1648460" y="431904"/>
                </a:lnTo>
                <a:lnTo>
                  <a:pt x="1743710" y="20424"/>
                </a:lnTo>
                <a:lnTo>
                  <a:pt x="1950720" y="20424"/>
                </a:lnTo>
                <a:lnTo>
                  <a:pt x="2039620" y="706224"/>
                </a:lnTo>
                <a:lnTo>
                  <a:pt x="1846580" y="706224"/>
                </a:lnTo>
                <a:lnTo>
                  <a:pt x="1813560" y="274424"/>
                </a:lnTo>
                <a:lnTo>
                  <a:pt x="1723390" y="706224"/>
                </a:lnTo>
                <a:lnTo>
                  <a:pt x="1572260" y="706224"/>
                </a:lnTo>
                <a:lnTo>
                  <a:pt x="1483360" y="274424"/>
                </a:lnTo>
                <a:lnTo>
                  <a:pt x="1449070" y="706224"/>
                </a:lnTo>
                <a:lnTo>
                  <a:pt x="1257300" y="706224"/>
                </a:lnTo>
                <a:close/>
                <a:moveTo>
                  <a:pt x="205740" y="20424"/>
                </a:moveTo>
                <a:lnTo>
                  <a:pt x="439420" y="20424"/>
                </a:lnTo>
                <a:lnTo>
                  <a:pt x="645160" y="706224"/>
                </a:lnTo>
                <a:lnTo>
                  <a:pt x="439420" y="706224"/>
                </a:lnTo>
                <a:lnTo>
                  <a:pt x="411480" y="583034"/>
                </a:lnTo>
                <a:lnTo>
                  <a:pt x="232410" y="583034"/>
                </a:lnTo>
                <a:lnTo>
                  <a:pt x="204470" y="706224"/>
                </a:lnTo>
                <a:lnTo>
                  <a:pt x="0" y="706224"/>
                </a:lnTo>
                <a:close/>
                <a:moveTo>
                  <a:pt x="994112" y="422"/>
                </a:moveTo>
                <a:cubicBezTo>
                  <a:pt x="1046321" y="2724"/>
                  <a:pt x="1097597" y="14392"/>
                  <a:pt x="1140459" y="34395"/>
                </a:cubicBezTo>
                <a:cubicBezTo>
                  <a:pt x="1143000" y="75035"/>
                  <a:pt x="1146809" y="118215"/>
                  <a:pt x="1140459" y="212195"/>
                </a:cubicBezTo>
                <a:cubicBezTo>
                  <a:pt x="970280" y="63605"/>
                  <a:pt x="703580" y="123295"/>
                  <a:pt x="701040" y="260455"/>
                </a:cubicBezTo>
                <a:cubicBezTo>
                  <a:pt x="672465" y="70907"/>
                  <a:pt x="837486" y="-6483"/>
                  <a:pt x="994112" y="422"/>
                </a:cubicBezTo>
                <a:close/>
              </a:path>
            </a:pathLst>
          </a:custGeom>
          <a:solidFill>
            <a:srgbClr val="FFFFFF"/>
          </a:soli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MIO_AGENDA_IGNORE_NAVIGATION" hidden="1">
            <a:extLst>
              <a:ext uri="{FF2B5EF4-FFF2-40B4-BE49-F238E27FC236}">
                <a16:creationId xmlns:a16="http://schemas.microsoft.com/office/drawing/2014/main" id="{FDC5ACF3-2095-4CCB-B69B-BAAD8356247F}"/>
              </a:ext>
            </a:extLst>
          </p:cNvPr>
          <p:cNvSpPr/>
          <p:nvPr/>
        </p:nvSpPr>
        <p:spPr>
          <a:xfrm>
            <a:off x="1180496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9" name="MIO_AGENDA_IGNORE_CHAPTER_REFERENCE" hidden="1">
            <a:extLst>
              <a:ext uri="{FF2B5EF4-FFF2-40B4-BE49-F238E27FC236}">
                <a16:creationId xmlns:a16="http://schemas.microsoft.com/office/drawing/2014/main" id="{C759E26B-7FE4-470B-BFA8-6BC2F2DCC023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0" name="Date Placeholder">
            <a:extLst>
              <a:ext uri="{FF2B5EF4-FFF2-40B4-BE49-F238E27FC236}">
                <a16:creationId xmlns:a16="http://schemas.microsoft.com/office/drawing/2014/main" id="{647B78B9-A503-40FD-AF98-15AB8F88095A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386926" y="3614462"/>
            <a:ext cx="5849475" cy="422938"/>
          </a:xfrm>
        </p:spPr>
        <p:txBody>
          <a:bodyPr wrap="square" anchor="b">
            <a:spAutoFit/>
          </a:bodyPr>
          <a:lstStyle>
            <a:lvl1pPr algn="l" defTabSz="374400">
              <a:lnSpc>
                <a:spcPct val="95000"/>
              </a:lnSpc>
              <a:spcAft>
                <a:spcPts val="737"/>
              </a:spcAft>
              <a:defRPr sz="1600" b="0" baseline="0">
                <a:solidFill>
                  <a:schemeClr val="bg1"/>
                </a:solidFill>
              </a:defRPr>
            </a:lvl1pPr>
          </a:lstStyle>
          <a:p>
            <a:fld id="{C66D73C7-993F-4C03-B710-2144807F30C5}" type="datetime4">
              <a:rPr lang="en-US"/>
              <a:pPr/>
              <a:t>June 4, 2024</a:t>
            </a:fld>
            <a:endParaRPr lang="en-US"/>
          </a:p>
        </p:txBody>
      </p:sp>
      <p:sp>
        <p:nvSpPr>
          <p:cNvPr id="56" name="Title">
            <a:extLst>
              <a:ext uri="{FF2B5EF4-FFF2-40B4-BE49-F238E27FC236}">
                <a16:creationId xmlns:a16="http://schemas.microsoft.com/office/drawing/2014/main" id="{C6842291-ECA2-419F-9FDE-5F0D1C885C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6926" y="2025000"/>
            <a:ext cx="5849475" cy="467820"/>
          </a:xfrm>
        </p:spPr>
        <p:txBody>
          <a:bodyPr tIns="0" bIns="0" anchor="b"/>
          <a:lstStyle>
            <a:lvl1pPr algn="l" defTabSz="374400">
              <a:lnSpc>
                <a:spcPct val="95000"/>
              </a:lnSpc>
              <a:spcAft>
                <a:spcPts val="0"/>
              </a:spcAft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heading</a:t>
            </a:r>
          </a:p>
        </p:txBody>
      </p:sp>
      <p:sp>
        <p:nvSpPr>
          <p:cNvPr id="57" name="Subtitle">
            <a:extLst>
              <a:ext uri="{FF2B5EF4-FFF2-40B4-BE49-F238E27FC236}">
                <a16:creationId xmlns:a16="http://schemas.microsoft.com/office/drawing/2014/main" id="{2F1235BC-9462-4616-91F5-2C03AA42946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6926" y="2492819"/>
            <a:ext cx="5849475" cy="371784"/>
          </a:xfrm>
        </p:spPr>
        <p:txBody>
          <a:bodyPr wrap="square" tIns="3600">
            <a:noAutofit/>
          </a:bodyPr>
          <a:lstStyle>
            <a:lvl1pPr>
              <a:defRPr sz="2400" b="1" baseline="0">
                <a:solidFill>
                  <a:schemeClr val="bg1"/>
                </a:solidFill>
              </a:defRPr>
            </a:lvl1pPr>
            <a:lvl2pPr>
              <a:defRPr sz="2400" baseline="0"/>
            </a:lvl2pPr>
            <a:lvl3pPr>
              <a:defRPr sz="2400" baseline="0"/>
            </a:lvl3pPr>
            <a:lvl4pPr>
              <a:defRPr sz="2400" baseline="0"/>
            </a:lvl4pPr>
            <a:lvl5pPr>
              <a:defRPr sz="2400" baseline="0"/>
            </a:lvl5pPr>
            <a:lvl6pPr>
              <a:defRPr sz="2400" baseline="0"/>
            </a:lvl6pPr>
            <a:lvl7pPr>
              <a:defRPr sz="2400" baseline="0"/>
            </a:lvl7pPr>
            <a:lvl8pPr>
              <a:defRPr sz="2400" baseline="0"/>
            </a:lvl8pPr>
            <a:lvl9pPr>
              <a:defRPr sz="2400" baseline="0"/>
            </a:lvl9pPr>
          </a:lstStyle>
          <a:p>
            <a:r>
              <a:rPr lang="en-US"/>
              <a:t>Click to edit subheading</a:t>
            </a:r>
          </a:p>
        </p:txBody>
      </p:sp>
      <p:sp>
        <p:nvSpPr>
          <p:cNvPr id="58" name="Firstname Lastname">
            <a:extLst>
              <a:ext uri="{FF2B5EF4-FFF2-40B4-BE49-F238E27FC236}">
                <a16:creationId xmlns:a16="http://schemas.microsoft.com/office/drawing/2014/main" id="{65DFEF20-E93B-4E47-9759-0A3251D2E56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86400" y="3101490"/>
            <a:ext cx="5850000" cy="2312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First name Last name</a:t>
            </a:r>
          </a:p>
        </p:txBody>
      </p:sp>
      <p:sp>
        <p:nvSpPr>
          <p:cNvPr id="59" name="Position and Title">
            <a:extLst>
              <a:ext uri="{FF2B5EF4-FFF2-40B4-BE49-F238E27FC236}">
                <a16:creationId xmlns:a16="http://schemas.microsoft.com/office/drawing/2014/main" id="{EDD67CC3-05DB-42F1-8C06-E35E36F16A1E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86400" y="3335400"/>
            <a:ext cx="5850000" cy="23391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osition and Title</a:t>
            </a:r>
          </a:p>
        </p:txBody>
      </p:sp>
      <p:sp>
        <p:nvSpPr>
          <p:cNvPr id="61" name="Location">
            <a:extLst>
              <a:ext uri="{FF2B5EF4-FFF2-40B4-BE49-F238E27FC236}">
                <a16:creationId xmlns:a16="http://schemas.microsoft.com/office/drawing/2014/main" id="{C42A08FB-7D66-4F1F-B6EE-667DA0F0E6F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86400" y="4037400"/>
            <a:ext cx="5850000" cy="23391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Location</a:t>
            </a:r>
          </a:p>
        </p:txBody>
      </p:sp>
      <p:sp>
        <p:nvSpPr>
          <p:cNvPr id="62" name="Version">
            <a:extLst>
              <a:ext uri="{FF2B5EF4-FFF2-40B4-BE49-F238E27FC236}">
                <a16:creationId xmlns:a16="http://schemas.microsoft.com/office/drawing/2014/main" id="{0A2C16C9-903A-4D1F-8880-2E77A8AEC44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86400" y="4645800"/>
            <a:ext cx="4867200" cy="280800"/>
          </a:xfrm>
          <a:noFill/>
        </p:spPr>
        <p:txBody>
          <a:bodyPr wrap="square" lIns="0" tIns="0" rIns="0" bIns="0" rtlCol="0" anchor="ctr" anchorCtr="0">
            <a:noAutofit/>
          </a:bodyPr>
          <a:lstStyle>
            <a:lvl1pPr>
              <a:defRPr lang="en-US" sz="1200" b="0" cap="all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05000"/>
              </a:lnSpc>
            </a:pPr>
            <a:r>
              <a:rPr lang="en-US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38437116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3958">
          <p15:clr>
            <a:srgbClr val="FFFFFF"/>
          </p15:clr>
        </p15:guide>
        <p15:guide id="2" orient="horz" pos="1276">
          <p15:clr>
            <a:srgbClr val="FFFFFF"/>
          </p15:clr>
        </p15:guide>
        <p15:guide id="3" orient="horz" pos="1570">
          <p15:clr>
            <a:srgbClr val="FFFFFF"/>
          </p15:clr>
        </p15:guide>
        <p15:guide id="4" orient="horz" pos="1806">
          <p15:clr>
            <a:srgbClr val="FFFFFF"/>
          </p15:clr>
        </p15:guide>
        <p15:guide id="5" pos="243">
          <p15:clr>
            <a:srgbClr val="FFFFF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Slide 1" type="secHead" preserve="1">
  <p:cSld name="Chapter Slide 1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3" name="Hide background Logo">
            <a:extLst>
              <a:ext uri="{FF2B5EF4-FFF2-40B4-BE49-F238E27FC236}">
                <a16:creationId xmlns:a16="http://schemas.microsoft.com/office/drawing/2014/main" id="{9AA93AB3-0D1A-4E84-9AA9-73865D3A1A0A}"/>
              </a:ext>
            </a:extLst>
          </p:cNvPr>
          <p:cNvSpPr/>
          <p:nvPr userDrawn="1"/>
        </p:nvSpPr>
        <p:spPr>
          <a:xfrm>
            <a:off x="339600" y="6471000"/>
            <a:ext cx="748800" cy="280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3" name="Grid Decoration">
            <a:extLst>
              <a:ext uri="{FF2B5EF4-FFF2-40B4-BE49-F238E27FC236}">
                <a16:creationId xmlns:a16="http://schemas.microsoft.com/office/drawing/2014/main" id="{AA8971F8-FB52-454C-8FDB-52AF1FBCDC2C}"/>
              </a:ext>
            </a:extLst>
          </p:cNvPr>
          <p:cNvGrpSpPr/>
          <p:nvPr/>
        </p:nvGrpSpPr>
        <p:grpSpPr bwMode="ltGray">
          <a:xfrm>
            <a:off x="0" y="0"/>
            <a:ext cx="12193200" cy="6858000"/>
            <a:chOff x="0" y="-446400"/>
            <a:chExt cx="12193200" cy="6858000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FB5F9863-5AFE-41E7-97DE-F8984FA81B3A}"/>
                </a:ext>
              </a:extLst>
            </p:cNvPr>
            <p:cNvCxnSpPr/>
            <p:nvPr userDrawn="1"/>
          </p:nvCxnSpPr>
          <p:spPr bwMode="ltGray">
            <a:xfrm>
              <a:off x="0" y="5135400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C39978D1-DDDD-4B98-8B62-CD7AFBC9268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48792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4C6F4663-484C-4091-BF2B-5993DC37AFC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0" y="923400"/>
              <a:ext cx="12193200" cy="44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0CCEB45F-2DFA-4DEE-886F-2A49F60354D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525" y="-4464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FB12F43-F9BE-495F-8E87-6419F3D8D31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93720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528D14B7-E4FD-4544-BC13-85FDAC80DF12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04952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4C9BB5AC-7E27-4FA3-AFD0-423C6C67B3B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16184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A78D70B9-1884-4F5C-AAF6-E95D6758120D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800" y="2326960"/>
              <a:ext cx="3944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97C9EAFD-D2AE-464C-B65C-978465C1EB2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800" y="3730520"/>
              <a:ext cx="3944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512D9B27-7620-4033-B8DC-DCFE3B066C8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5096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7" name="Picture Placeholder 31">
            <a:extLst>
              <a:ext uri="{FF2B5EF4-FFF2-40B4-BE49-F238E27FC236}">
                <a16:creationId xmlns:a16="http://schemas.microsoft.com/office/drawing/2014/main" id="{CDAA5588-47AD-4287-ACF7-E2D3E17343F3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8248800" y="0"/>
            <a:ext cx="3943200" cy="5581800"/>
          </a:xfrm>
          <a:noFill/>
        </p:spPr>
        <p:txBody>
          <a:bodyPr vert="horz" wrap="square" lIns="0" tIns="0" rIns="0" bIns="684000" rtlCol="0" anchor="ctr" anchorCtr="1">
            <a:noAutofit/>
          </a:bodyPr>
          <a:lstStyle>
            <a:lvl1pPr>
              <a:defRPr lang="en-US" sz="1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15B99960-ED2E-41BF-9A5D-86E1F78D50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62" y="808200"/>
            <a:ext cx="7488638" cy="1965600"/>
          </a:xfrm>
        </p:spPr>
        <p:txBody>
          <a:bodyPr>
            <a:noAutofit/>
          </a:bodyPr>
          <a:lstStyle>
            <a:lvl1pPr>
              <a:lnSpc>
                <a:spcPct val="86000"/>
              </a:lnSpc>
              <a:defRPr sz="54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98BA9AF1-DB99-4BFC-9C64-16E4CFA001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6400" y="2773800"/>
            <a:ext cx="7488000" cy="1404000"/>
          </a:xfrm>
        </p:spPr>
        <p:txBody>
          <a:bodyPr tIns="3600"/>
          <a:lstStyle>
            <a:lvl1pPr>
              <a:lnSpc>
                <a:spcPct val="86000"/>
              </a:lnSpc>
              <a:defRPr sz="5400" baseline="0">
                <a:solidFill>
                  <a:schemeClr val="bg1"/>
                </a:solidFill>
              </a:defRPr>
            </a:lvl1pPr>
            <a:lvl2pPr>
              <a:defRPr sz="2400" baseline="0"/>
            </a:lvl2pPr>
            <a:lvl3pPr>
              <a:defRPr sz="2400" baseline="0"/>
            </a:lvl3pPr>
            <a:lvl4pPr>
              <a:defRPr sz="2400" baseline="0"/>
            </a:lvl4pPr>
            <a:lvl5pPr>
              <a:defRPr sz="2400" baseline="0"/>
            </a:lvl5pPr>
            <a:lvl6pPr>
              <a:defRPr sz="2400" baseline="0"/>
            </a:lvl6pPr>
            <a:lvl7pPr>
              <a:defRPr sz="2400" baseline="0"/>
            </a:lvl7pPr>
            <a:lvl8pPr>
              <a:defRPr sz="2400" baseline="0"/>
            </a:lvl8pPr>
            <a:lvl9pPr>
              <a:defRPr sz="2400" baseline="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24" name="MIO_AGENDA_IGNORE_NAVIGATION" hidden="1">
            <a:extLst>
              <a:ext uri="{FF2B5EF4-FFF2-40B4-BE49-F238E27FC236}">
                <a16:creationId xmlns:a16="http://schemas.microsoft.com/office/drawing/2014/main" id="{88860927-13CA-4929-8F7F-EB0BA3BEB9A3}"/>
              </a:ext>
            </a:extLst>
          </p:cNvPr>
          <p:cNvSpPr/>
          <p:nvPr/>
        </p:nvSpPr>
        <p:spPr>
          <a:xfrm>
            <a:off x="1180496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5" name="MIO_AGENDA_IGNORE_CHAPTER_REFERENCE" hidden="1">
            <a:extLst>
              <a:ext uri="{FF2B5EF4-FFF2-40B4-BE49-F238E27FC236}">
                <a16:creationId xmlns:a16="http://schemas.microsoft.com/office/drawing/2014/main" id="{3F8F58E6-264F-49BF-B46C-3E566C1C4182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2" name="Logo">
            <a:extLst>
              <a:ext uri="{FF2B5EF4-FFF2-40B4-BE49-F238E27FC236}">
                <a16:creationId xmlns:a16="http://schemas.microsoft.com/office/drawing/2014/main" id="{5307DD17-86A9-4B5C-B16C-3B30F4057276}"/>
              </a:ext>
            </a:extLst>
          </p:cNvPr>
          <p:cNvSpPr>
            <a:spLocks/>
          </p:cNvSpPr>
          <p:nvPr userDrawn="1"/>
        </p:nvSpPr>
        <p:spPr bwMode="black">
          <a:xfrm>
            <a:off x="385763" y="6512963"/>
            <a:ext cx="538161" cy="150809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chemeClr val="bg1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2400" baseline="0">
              <a:latin typeface="+mn-lt"/>
              <a:cs typeface="+mn-cs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A08120-FAE8-4FF8-8A74-A6392B5F43E4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fld id="{4FE53AA8-8205-44C6-AA7D-3538EAC0F1CD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June 4, 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6AF603-2E05-4A18-BD07-01E2B59E61BF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B2B88A-C108-43E1-99A0-51A5C6561ABA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057699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orient="horz" pos="509">
          <p15:clr>
            <a:srgbClr val="FFFFFF"/>
          </p15:clr>
        </p15:guide>
        <p15:guide id="2" pos="243">
          <p15:clr>
            <a:srgbClr val="FFFFFF"/>
          </p15:clr>
        </p15:guide>
        <p15:guide id="3" pos="4960">
          <p15:clr>
            <a:srgbClr val="FFFFFF"/>
          </p15:clr>
        </p15:guide>
        <p15:guide id="4" orient="horz" pos="1747">
          <p15:clr>
            <a:srgbClr val="FFFFFF"/>
          </p15:clr>
        </p15:guide>
        <p15:guide id="5" orient="horz" pos="2632">
          <p15:clr>
            <a:srgbClr val="FFFFF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Slide 2 &#10;light picture" preserve="1" userDrawn="1">
  <p:cSld name="Chapt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id Decoration">
            <a:extLst>
              <a:ext uri="{FF2B5EF4-FFF2-40B4-BE49-F238E27FC236}">
                <a16:creationId xmlns:a16="http://schemas.microsoft.com/office/drawing/2014/main" id="{774E18E1-C992-4162-B1EC-0650D0B80336}"/>
              </a:ext>
            </a:extLst>
          </p:cNvPr>
          <p:cNvGrpSpPr/>
          <p:nvPr/>
        </p:nvGrpSpPr>
        <p:grpSpPr bwMode="ltGray">
          <a:xfrm>
            <a:off x="0" y="0"/>
            <a:ext cx="12193200" cy="6858000"/>
            <a:chOff x="0" y="-446400"/>
            <a:chExt cx="12193200" cy="6858000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706B1598-EDE8-474C-8616-E3E2BC9D0CB7}"/>
                </a:ext>
              </a:extLst>
            </p:cNvPr>
            <p:cNvCxnSpPr/>
            <p:nvPr userDrawn="1"/>
          </p:nvCxnSpPr>
          <p:spPr bwMode="ltGray">
            <a:xfrm>
              <a:off x="0" y="5135400"/>
              <a:ext cx="12192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DAA6FC05-D72B-4CDF-9B4A-9BE92C162CE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4879200" y="-446400"/>
              <a:ext cx="0" cy="55818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6D5A539-C0D0-42F3-A3B4-8CEC0599119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0" y="923400"/>
              <a:ext cx="12193200" cy="44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E6FB3BC4-9371-4632-BD28-7EC33F31679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525" y="-446400"/>
              <a:ext cx="0" cy="685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3001F0BA-4780-4F20-803F-796D2E3378D5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9372000" y="-446400"/>
              <a:ext cx="0" cy="55818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AAB56068-0BA8-4D06-A50F-762DBC25FB2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0495200" y="-446400"/>
              <a:ext cx="0" cy="55818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3E28C3A0-91EB-4D53-81C1-DD748B4B349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1618400" y="-446400"/>
              <a:ext cx="0" cy="55818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63CBFA43-A9E2-41D1-87ED-6D96CE297E41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800" y="2326960"/>
              <a:ext cx="39444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EF9E1E8C-89B5-43FC-BFAD-F6B7083D66BD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800" y="3730520"/>
              <a:ext cx="39444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7866AB9E-A9F5-4723-8306-82FCCE684AE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509600" y="-446400"/>
              <a:ext cx="0" cy="55818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6A8B8685-B671-45FF-BA2F-31E0A8223500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 bwMode="ltGray">
          <a:xfrm>
            <a:off x="0" y="0"/>
            <a:ext cx="12192000" cy="6858000"/>
          </a:xfrm>
          <a:custGeom>
            <a:avLst/>
            <a:gdLst>
              <a:gd name="connsiteX0" fmla="*/ 453507 w 12192000"/>
              <a:gd name="connsiteY0" fmla="*/ 6548544 h 6858000"/>
              <a:gd name="connsiteX1" fmla="*/ 466171 w 12192000"/>
              <a:gd name="connsiteY1" fmla="*/ 6607426 h 6858000"/>
              <a:gd name="connsiteX2" fmla="*/ 440212 w 12192000"/>
              <a:gd name="connsiteY2" fmla="*/ 6607426 h 6858000"/>
              <a:gd name="connsiteX3" fmla="*/ 582667 w 12192000"/>
              <a:gd name="connsiteY3" fmla="*/ 6546012 h 6858000"/>
              <a:gd name="connsiteX4" fmla="*/ 576335 w 12192000"/>
              <a:gd name="connsiteY4" fmla="*/ 6601094 h 6858000"/>
              <a:gd name="connsiteX5" fmla="*/ 591531 w 12192000"/>
              <a:gd name="connsiteY5" fmla="*/ 6617556 h 6858000"/>
              <a:gd name="connsiteX6" fmla="*/ 569371 w 12192000"/>
              <a:gd name="connsiteY6" fmla="*/ 6634017 h 6858000"/>
              <a:gd name="connsiteX7" fmla="*/ 529483 w 12192000"/>
              <a:gd name="connsiteY7" fmla="*/ 6619455 h 6858000"/>
              <a:gd name="connsiteX8" fmla="*/ 529483 w 12192000"/>
              <a:gd name="connsiteY8" fmla="*/ 6653645 h 6858000"/>
              <a:gd name="connsiteX9" fmla="*/ 596596 w 12192000"/>
              <a:gd name="connsiteY9" fmla="*/ 6660609 h 6858000"/>
              <a:gd name="connsiteX10" fmla="*/ 635217 w 12192000"/>
              <a:gd name="connsiteY10" fmla="*/ 6618189 h 6858000"/>
              <a:gd name="connsiteX11" fmla="*/ 594696 w 12192000"/>
              <a:gd name="connsiteY11" fmla="*/ 6574503 h 6858000"/>
              <a:gd name="connsiteX12" fmla="*/ 572537 w 12192000"/>
              <a:gd name="connsiteY12" fmla="*/ 6557408 h 6858000"/>
              <a:gd name="connsiteX13" fmla="*/ 582667 w 12192000"/>
              <a:gd name="connsiteY13" fmla="*/ 6546012 h 6858000"/>
              <a:gd name="connsiteX14" fmla="*/ 832120 w 12192000"/>
              <a:gd name="connsiteY14" fmla="*/ 6517521 h 6858000"/>
              <a:gd name="connsiteX15" fmla="*/ 832120 w 12192000"/>
              <a:gd name="connsiteY15" fmla="*/ 6660609 h 6858000"/>
              <a:gd name="connsiteX16" fmla="*/ 923924 w 12192000"/>
              <a:gd name="connsiteY16" fmla="*/ 6660609 h 6858000"/>
              <a:gd name="connsiteX17" fmla="*/ 923924 w 12192000"/>
              <a:gd name="connsiteY17" fmla="*/ 6630852 h 6858000"/>
              <a:gd name="connsiteX18" fmla="*/ 871374 w 12192000"/>
              <a:gd name="connsiteY18" fmla="*/ 6630852 h 6858000"/>
              <a:gd name="connsiteX19" fmla="*/ 871374 w 12192000"/>
              <a:gd name="connsiteY19" fmla="*/ 6517521 h 6858000"/>
              <a:gd name="connsiteX20" fmla="*/ 667506 w 12192000"/>
              <a:gd name="connsiteY20" fmla="*/ 6517521 h 6858000"/>
              <a:gd name="connsiteX21" fmla="*/ 648513 w 12192000"/>
              <a:gd name="connsiteY21" fmla="*/ 6660609 h 6858000"/>
              <a:gd name="connsiteX22" fmla="*/ 689033 w 12192000"/>
              <a:gd name="connsiteY22" fmla="*/ 6660609 h 6858000"/>
              <a:gd name="connsiteX23" fmla="*/ 695997 w 12192000"/>
              <a:gd name="connsiteY23" fmla="*/ 6570071 h 6858000"/>
              <a:gd name="connsiteX24" fmla="*/ 714358 w 12192000"/>
              <a:gd name="connsiteY24" fmla="*/ 6660609 h 6858000"/>
              <a:gd name="connsiteX25" fmla="*/ 746014 w 12192000"/>
              <a:gd name="connsiteY25" fmla="*/ 6660609 h 6858000"/>
              <a:gd name="connsiteX26" fmla="*/ 765009 w 12192000"/>
              <a:gd name="connsiteY26" fmla="*/ 6570071 h 6858000"/>
              <a:gd name="connsiteX27" fmla="*/ 771973 w 12192000"/>
              <a:gd name="connsiteY27" fmla="*/ 6660609 h 6858000"/>
              <a:gd name="connsiteX28" fmla="*/ 812493 w 12192000"/>
              <a:gd name="connsiteY28" fmla="*/ 6660609 h 6858000"/>
              <a:gd name="connsiteX29" fmla="*/ 793500 w 12192000"/>
              <a:gd name="connsiteY29" fmla="*/ 6517521 h 6858000"/>
              <a:gd name="connsiteX30" fmla="*/ 750446 w 12192000"/>
              <a:gd name="connsiteY30" fmla="*/ 6517521 h 6858000"/>
              <a:gd name="connsiteX31" fmla="*/ 730187 w 12192000"/>
              <a:gd name="connsiteY31" fmla="*/ 6603627 h 6858000"/>
              <a:gd name="connsiteX32" fmla="*/ 710559 w 12192000"/>
              <a:gd name="connsiteY32" fmla="*/ 6517521 h 6858000"/>
              <a:gd name="connsiteX33" fmla="*/ 428816 w 12192000"/>
              <a:gd name="connsiteY33" fmla="*/ 6517521 h 6858000"/>
              <a:gd name="connsiteX34" fmla="*/ 385763 w 12192000"/>
              <a:gd name="connsiteY34" fmla="*/ 6660609 h 6858000"/>
              <a:gd name="connsiteX35" fmla="*/ 428816 w 12192000"/>
              <a:gd name="connsiteY35" fmla="*/ 6660609 h 6858000"/>
              <a:gd name="connsiteX36" fmla="*/ 434514 w 12192000"/>
              <a:gd name="connsiteY36" fmla="*/ 6634651 h 6858000"/>
              <a:gd name="connsiteX37" fmla="*/ 471869 w 12192000"/>
              <a:gd name="connsiteY37" fmla="*/ 6634651 h 6858000"/>
              <a:gd name="connsiteX38" fmla="*/ 477567 w 12192000"/>
              <a:gd name="connsiteY38" fmla="*/ 6660609 h 6858000"/>
              <a:gd name="connsiteX39" fmla="*/ 520620 w 12192000"/>
              <a:gd name="connsiteY39" fmla="*/ 6660609 h 6858000"/>
              <a:gd name="connsiteX40" fmla="*/ 477567 w 12192000"/>
              <a:gd name="connsiteY40" fmla="*/ 6517521 h 6858000"/>
              <a:gd name="connsiteX41" fmla="*/ 593728 w 12192000"/>
              <a:gd name="connsiteY41" fmla="*/ 6513050 h 6858000"/>
              <a:gd name="connsiteX42" fmla="*/ 532650 w 12192000"/>
              <a:gd name="connsiteY42" fmla="*/ 6567538 h 6858000"/>
              <a:gd name="connsiteX43" fmla="*/ 624454 w 12192000"/>
              <a:gd name="connsiteY43" fmla="*/ 6557409 h 6858000"/>
              <a:gd name="connsiteX44" fmla="*/ 624454 w 12192000"/>
              <a:gd name="connsiteY44" fmla="*/ 6520054 h 6858000"/>
              <a:gd name="connsiteX45" fmla="*/ 593728 w 12192000"/>
              <a:gd name="connsiteY45" fmla="*/ 6513050 h 6858000"/>
              <a:gd name="connsiteX46" fmla="*/ 8248799 w 12192000"/>
              <a:gd name="connsiteY46" fmla="*/ 5588150 h 6858000"/>
              <a:gd name="connsiteX47" fmla="*/ 12192000 w 12192000"/>
              <a:gd name="connsiteY47" fmla="*/ 5588150 h 6858000"/>
              <a:gd name="connsiteX48" fmla="*/ 12192000 w 12192000"/>
              <a:gd name="connsiteY48" fmla="*/ 6858000 h 6858000"/>
              <a:gd name="connsiteX49" fmla="*/ 8248799 w 12192000"/>
              <a:gd name="connsiteY49" fmla="*/ 6858000 h 6858000"/>
              <a:gd name="connsiteX50" fmla="*/ 0 w 12192000"/>
              <a:gd name="connsiteY50" fmla="*/ 5588150 h 6858000"/>
              <a:gd name="connsiteX51" fmla="*/ 8242449 w 12192000"/>
              <a:gd name="connsiteY51" fmla="*/ 5588150 h 6858000"/>
              <a:gd name="connsiteX52" fmla="*/ 8242449 w 12192000"/>
              <a:gd name="connsiteY52" fmla="*/ 6858000 h 6858000"/>
              <a:gd name="connsiteX53" fmla="*/ 0 w 12192000"/>
              <a:gd name="connsiteY53" fmla="*/ 6858000 h 6858000"/>
              <a:gd name="connsiteX54" fmla="*/ 8248799 w 12192000"/>
              <a:gd name="connsiteY54" fmla="*/ 0 h 6858000"/>
              <a:gd name="connsiteX55" fmla="*/ 12192000 w 12192000"/>
              <a:gd name="connsiteY55" fmla="*/ 0 h 6858000"/>
              <a:gd name="connsiteX56" fmla="*/ 12192000 w 12192000"/>
              <a:gd name="connsiteY56" fmla="*/ 5581800 h 6858000"/>
              <a:gd name="connsiteX57" fmla="*/ 8248799 w 12192000"/>
              <a:gd name="connsiteY57" fmla="*/ 5581800 h 6858000"/>
              <a:gd name="connsiteX58" fmla="*/ 0 w 12192000"/>
              <a:gd name="connsiteY58" fmla="*/ 0 h 6858000"/>
              <a:gd name="connsiteX59" fmla="*/ 8242449 w 12192000"/>
              <a:gd name="connsiteY59" fmla="*/ 0 h 6858000"/>
              <a:gd name="connsiteX60" fmla="*/ 8242449 w 12192000"/>
              <a:gd name="connsiteY60" fmla="*/ 5581800 h 6858000"/>
              <a:gd name="connsiteX61" fmla="*/ 0 w 12192000"/>
              <a:gd name="connsiteY61" fmla="*/ 5581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12192000" h="6858000">
                <a:moveTo>
                  <a:pt x="453507" y="6548544"/>
                </a:moveTo>
                <a:lnTo>
                  <a:pt x="466171" y="6607426"/>
                </a:lnTo>
                <a:lnTo>
                  <a:pt x="440212" y="6607426"/>
                </a:lnTo>
                <a:close/>
                <a:moveTo>
                  <a:pt x="582667" y="6546012"/>
                </a:moveTo>
                <a:cubicBezTo>
                  <a:pt x="554176" y="6549177"/>
                  <a:pt x="544679" y="6584000"/>
                  <a:pt x="576335" y="6601094"/>
                </a:cubicBezTo>
                <a:cubicBezTo>
                  <a:pt x="582034" y="6604260"/>
                  <a:pt x="591531" y="6607426"/>
                  <a:pt x="591531" y="6617556"/>
                </a:cubicBezTo>
                <a:cubicBezTo>
                  <a:pt x="591531" y="6629585"/>
                  <a:pt x="578235" y="6634017"/>
                  <a:pt x="569371" y="6634017"/>
                </a:cubicBezTo>
                <a:cubicBezTo>
                  <a:pt x="554809" y="6634017"/>
                  <a:pt x="542780" y="6628319"/>
                  <a:pt x="529483" y="6619455"/>
                </a:cubicBezTo>
                <a:lnTo>
                  <a:pt x="529483" y="6653645"/>
                </a:lnTo>
                <a:cubicBezTo>
                  <a:pt x="545312" y="6660609"/>
                  <a:pt x="571271" y="6668207"/>
                  <a:pt x="596596" y="6660609"/>
                </a:cubicBezTo>
                <a:cubicBezTo>
                  <a:pt x="617489" y="6654277"/>
                  <a:pt x="635217" y="6636550"/>
                  <a:pt x="635217" y="6618189"/>
                </a:cubicBezTo>
                <a:cubicBezTo>
                  <a:pt x="635851" y="6587165"/>
                  <a:pt x="609258" y="6580201"/>
                  <a:pt x="594696" y="6574503"/>
                </a:cubicBezTo>
                <a:cubicBezTo>
                  <a:pt x="585832" y="6570704"/>
                  <a:pt x="572537" y="6567538"/>
                  <a:pt x="572537" y="6557408"/>
                </a:cubicBezTo>
                <a:cubicBezTo>
                  <a:pt x="572537" y="6552976"/>
                  <a:pt x="574436" y="6548544"/>
                  <a:pt x="582667" y="6546012"/>
                </a:cubicBezTo>
                <a:close/>
                <a:moveTo>
                  <a:pt x="832120" y="6517521"/>
                </a:moveTo>
                <a:lnTo>
                  <a:pt x="832120" y="6660609"/>
                </a:lnTo>
                <a:lnTo>
                  <a:pt x="923924" y="6660609"/>
                </a:lnTo>
                <a:lnTo>
                  <a:pt x="923924" y="6630852"/>
                </a:lnTo>
                <a:lnTo>
                  <a:pt x="871374" y="6630852"/>
                </a:lnTo>
                <a:lnTo>
                  <a:pt x="871374" y="6517521"/>
                </a:lnTo>
                <a:close/>
                <a:moveTo>
                  <a:pt x="667506" y="6517521"/>
                </a:moveTo>
                <a:lnTo>
                  <a:pt x="648513" y="6660609"/>
                </a:lnTo>
                <a:lnTo>
                  <a:pt x="689033" y="6660609"/>
                </a:lnTo>
                <a:lnTo>
                  <a:pt x="695997" y="6570071"/>
                </a:lnTo>
                <a:lnTo>
                  <a:pt x="714358" y="6660609"/>
                </a:lnTo>
                <a:lnTo>
                  <a:pt x="746014" y="6660609"/>
                </a:lnTo>
                <a:lnTo>
                  <a:pt x="765009" y="6570071"/>
                </a:lnTo>
                <a:lnTo>
                  <a:pt x="771973" y="6660609"/>
                </a:lnTo>
                <a:lnTo>
                  <a:pt x="812493" y="6660609"/>
                </a:lnTo>
                <a:lnTo>
                  <a:pt x="793500" y="6517521"/>
                </a:lnTo>
                <a:lnTo>
                  <a:pt x="750446" y="6517521"/>
                </a:lnTo>
                <a:lnTo>
                  <a:pt x="730187" y="6603627"/>
                </a:lnTo>
                <a:lnTo>
                  <a:pt x="710559" y="6517521"/>
                </a:lnTo>
                <a:close/>
                <a:moveTo>
                  <a:pt x="428816" y="6517521"/>
                </a:moveTo>
                <a:lnTo>
                  <a:pt x="385763" y="6660609"/>
                </a:lnTo>
                <a:lnTo>
                  <a:pt x="428816" y="6660609"/>
                </a:lnTo>
                <a:lnTo>
                  <a:pt x="434514" y="6634651"/>
                </a:lnTo>
                <a:lnTo>
                  <a:pt x="471869" y="6634651"/>
                </a:lnTo>
                <a:lnTo>
                  <a:pt x="477567" y="6660609"/>
                </a:lnTo>
                <a:lnTo>
                  <a:pt x="520620" y="6660609"/>
                </a:lnTo>
                <a:lnTo>
                  <a:pt x="477567" y="6517521"/>
                </a:lnTo>
                <a:close/>
                <a:moveTo>
                  <a:pt x="593728" y="6513050"/>
                </a:moveTo>
                <a:cubicBezTo>
                  <a:pt x="560904" y="6511625"/>
                  <a:pt x="526477" y="6527651"/>
                  <a:pt x="532650" y="6567538"/>
                </a:cubicBezTo>
                <a:cubicBezTo>
                  <a:pt x="533283" y="6539048"/>
                  <a:pt x="588999" y="6526385"/>
                  <a:pt x="624454" y="6557409"/>
                </a:cubicBezTo>
                <a:cubicBezTo>
                  <a:pt x="625720" y="6537781"/>
                  <a:pt x="625087" y="6528917"/>
                  <a:pt x="624454" y="6520054"/>
                </a:cubicBezTo>
                <a:cubicBezTo>
                  <a:pt x="615433" y="6515938"/>
                  <a:pt x="604669" y="6513524"/>
                  <a:pt x="593728" y="6513050"/>
                </a:cubicBezTo>
                <a:close/>
                <a:moveTo>
                  <a:pt x="8248799" y="5588150"/>
                </a:moveTo>
                <a:lnTo>
                  <a:pt x="12192000" y="5588150"/>
                </a:lnTo>
                <a:lnTo>
                  <a:pt x="12192000" y="6858000"/>
                </a:lnTo>
                <a:lnTo>
                  <a:pt x="8248799" y="6858000"/>
                </a:lnTo>
                <a:close/>
                <a:moveTo>
                  <a:pt x="0" y="5588150"/>
                </a:moveTo>
                <a:lnTo>
                  <a:pt x="8242449" y="5588150"/>
                </a:lnTo>
                <a:lnTo>
                  <a:pt x="8242449" y="6858000"/>
                </a:lnTo>
                <a:lnTo>
                  <a:pt x="0" y="6858000"/>
                </a:lnTo>
                <a:close/>
                <a:moveTo>
                  <a:pt x="8248799" y="0"/>
                </a:moveTo>
                <a:lnTo>
                  <a:pt x="12192000" y="0"/>
                </a:lnTo>
                <a:lnTo>
                  <a:pt x="12192000" y="5581800"/>
                </a:lnTo>
                <a:lnTo>
                  <a:pt x="8248799" y="5581800"/>
                </a:lnTo>
                <a:close/>
                <a:moveTo>
                  <a:pt x="0" y="0"/>
                </a:moveTo>
                <a:lnTo>
                  <a:pt x="8242449" y="0"/>
                </a:lnTo>
                <a:lnTo>
                  <a:pt x="8242449" y="5581800"/>
                </a:lnTo>
                <a:lnTo>
                  <a:pt x="0" y="5581800"/>
                </a:lnTo>
                <a:close/>
              </a:path>
            </a:pathLst>
          </a:custGeom>
          <a:solidFill>
            <a:schemeClr val="bg1">
              <a:alpha val="75000"/>
            </a:schemeClr>
          </a:solidFill>
          <a:effectLst>
            <a:innerShdw dist="6858000" dir="16200000">
              <a:schemeClr val="bg1">
                <a:alpha val="75000"/>
              </a:schemeClr>
            </a:innerShdw>
          </a:effectLst>
        </p:spPr>
        <p:txBody>
          <a:bodyPr vert="horz" wrap="square" lIns="0" tIns="0" rIns="396000" bIns="0" rtlCol="0" anchor="ctr" anchorCtr="0">
            <a:noAutofit/>
          </a:bodyPr>
          <a:lstStyle>
            <a:lvl1pPr algn="r">
              <a:defRPr lang="en-US" sz="1200" dirty="0">
                <a:ln>
                  <a:noFill/>
                </a:ln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on area to insert picture</a:t>
            </a:r>
          </a:p>
        </p:txBody>
      </p:sp>
      <p:sp>
        <p:nvSpPr>
          <p:cNvPr id="31" name="Subtitle">
            <a:extLst>
              <a:ext uri="{FF2B5EF4-FFF2-40B4-BE49-F238E27FC236}">
                <a16:creationId xmlns:a16="http://schemas.microsoft.com/office/drawing/2014/main" id="{31C5EDE2-43DD-43B3-BB7A-D62CA86A44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6400" y="2773800"/>
            <a:ext cx="7488000" cy="1404500"/>
          </a:xfrm>
          <a:custGeom>
            <a:avLst/>
            <a:gdLst>
              <a:gd name="connsiteX0" fmla="*/ 0 w 7488000"/>
              <a:gd name="connsiteY0" fmla="*/ 0 h 1404000"/>
              <a:gd name="connsiteX1" fmla="*/ 7488000 w 7488000"/>
              <a:gd name="connsiteY1" fmla="*/ 0 h 1404000"/>
              <a:gd name="connsiteX2" fmla="*/ 7488000 w 7488000"/>
              <a:gd name="connsiteY2" fmla="*/ 1404000 h 1404000"/>
              <a:gd name="connsiteX3" fmla="*/ 0 w 7488000"/>
              <a:gd name="connsiteY3" fmla="*/ 1404000 h 14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88000" h="1404000">
                <a:moveTo>
                  <a:pt x="0" y="0"/>
                </a:moveTo>
                <a:lnTo>
                  <a:pt x="7488000" y="0"/>
                </a:lnTo>
                <a:lnTo>
                  <a:pt x="7488000" y="1404000"/>
                </a:lnTo>
                <a:lnTo>
                  <a:pt x="0" y="1404000"/>
                </a:lnTo>
                <a:close/>
              </a:path>
            </a:pathLst>
          </a:custGeom>
        </p:spPr>
        <p:txBody>
          <a:bodyPr wrap="square" tIns="3600">
            <a:noAutofit/>
          </a:bodyPr>
          <a:lstStyle>
            <a:lvl1pPr>
              <a:lnSpc>
                <a:spcPct val="86000"/>
              </a:lnSpc>
              <a:defRPr sz="5400" baseline="0">
                <a:solidFill>
                  <a:schemeClr val="accent1"/>
                </a:solidFill>
              </a:defRPr>
            </a:lvl1pPr>
            <a:lvl2pPr>
              <a:defRPr sz="2400" baseline="0"/>
            </a:lvl2pPr>
            <a:lvl3pPr>
              <a:defRPr sz="2400" baseline="0"/>
            </a:lvl3pPr>
            <a:lvl4pPr>
              <a:defRPr sz="2400" baseline="0"/>
            </a:lvl4pPr>
            <a:lvl5pPr>
              <a:defRPr sz="2400" baseline="0"/>
            </a:lvl5pPr>
            <a:lvl6pPr>
              <a:defRPr sz="2400" baseline="0"/>
            </a:lvl6pPr>
            <a:lvl7pPr>
              <a:defRPr sz="2400" baseline="0"/>
            </a:lvl7pPr>
            <a:lvl8pPr>
              <a:defRPr sz="2400" baseline="0"/>
            </a:lvl8pPr>
            <a:lvl9pPr>
              <a:defRPr sz="2400" baseline="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15B99960-ED2E-41BF-9A5D-86E1F78D50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62" y="808200"/>
            <a:ext cx="7488638" cy="1965600"/>
          </a:xfrm>
        </p:spPr>
        <p:txBody>
          <a:bodyPr>
            <a:noAutofit/>
          </a:bodyPr>
          <a:lstStyle>
            <a:lvl1pPr>
              <a:lnSpc>
                <a:spcPct val="86000"/>
              </a:lnSpc>
              <a:defRPr sz="540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2" name="MIO_AGENDA_IGNORE_NAVIGATION" hidden="1">
            <a:extLst>
              <a:ext uri="{FF2B5EF4-FFF2-40B4-BE49-F238E27FC236}">
                <a16:creationId xmlns:a16="http://schemas.microsoft.com/office/drawing/2014/main" id="{7436A9C2-752F-4995-A51D-AE91EE48A611}"/>
              </a:ext>
            </a:extLst>
          </p:cNvPr>
          <p:cNvSpPr/>
          <p:nvPr/>
        </p:nvSpPr>
        <p:spPr>
          <a:xfrm>
            <a:off x="1180496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3" name="MIO_AGENDA_IGNORE_CHAPTER_REFERENCE" hidden="1">
            <a:extLst>
              <a:ext uri="{FF2B5EF4-FFF2-40B4-BE49-F238E27FC236}">
                <a16:creationId xmlns:a16="http://schemas.microsoft.com/office/drawing/2014/main" id="{11E14894-3CE6-409D-A8A1-D4A67320ADD6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4E082-E024-4765-9547-F36CE94FD081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2E854DC7-FAAD-4AD7-A72A-54622E503044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June 4, 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50B8736-DAE3-4494-A952-94C6F86E5DD5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21F97BD-6511-40C2-9E6E-92C21C046012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8476747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4960">
          <p15:clr>
            <a:srgbClr val="547EBF"/>
          </p15:clr>
        </p15:guide>
        <p15:guide id="2" orient="horz" pos="509">
          <p15:clr>
            <a:srgbClr val="547EBF"/>
          </p15:clr>
        </p15:guide>
        <p15:guide id="3" pos="243">
          <p15:clr>
            <a:srgbClr val="547EBF"/>
          </p15:clr>
        </p15:guide>
        <p15:guide id="4" orient="horz" pos="1747">
          <p15:clr>
            <a:srgbClr val="547EBF"/>
          </p15:clr>
        </p15:guide>
        <p15:guide id="5" orient="horz" pos="2632">
          <p15:clr>
            <a:srgbClr val="547EB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Slide 4" preserve="1">
  <p:cSld name="Chapter Slide 4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2" name="Hide background Logo">
            <a:extLst>
              <a:ext uri="{FF2B5EF4-FFF2-40B4-BE49-F238E27FC236}">
                <a16:creationId xmlns:a16="http://schemas.microsoft.com/office/drawing/2014/main" id="{4136C739-EC55-45E2-B880-3847C17CF8BB}"/>
              </a:ext>
            </a:extLst>
          </p:cNvPr>
          <p:cNvSpPr/>
          <p:nvPr userDrawn="1"/>
        </p:nvSpPr>
        <p:spPr>
          <a:xfrm>
            <a:off x="339600" y="6471000"/>
            <a:ext cx="748800" cy="280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3" name="Grid Decoration">
            <a:extLst>
              <a:ext uri="{FF2B5EF4-FFF2-40B4-BE49-F238E27FC236}">
                <a16:creationId xmlns:a16="http://schemas.microsoft.com/office/drawing/2014/main" id="{AA8971F8-FB52-454C-8FDB-52AF1FBCDC2C}"/>
              </a:ext>
            </a:extLst>
          </p:cNvPr>
          <p:cNvGrpSpPr/>
          <p:nvPr/>
        </p:nvGrpSpPr>
        <p:grpSpPr bwMode="ltGray">
          <a:xfrm flipH="1">
            <a:off x="0" y="0"/>
            <a:ext cx="12193200" cy="6858000"/>
            <a:chOff x="0" y="-446400"/>
            <a:chExt cx="12193200" cy="6858000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FB5F9863-5AFE-41E7-97DE-F8984FA81B3A}"/>
                </a:ext>
              </a:extLst>
            </p:cNvPr>
            <p:cNvCxnSpPr/>
            <p:nvPr userDrawn="1"/>
          </p:nvCxnSpPr>
          <p:spPr bwMode="ltGray">
            <a:xfrm>
              <a:off x="0" y="5135400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C39978D1-DDDD-4B98-8B62-CD7AFBC9268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46932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4C6F4663-484C-4091-BF2B-5993DC37AFC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0" y="923400"/>
              <a:ext cx="12193200" cy="44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0CCEB45F-2DFA-4DEE-886F-2A49F60354D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062800" y="-4464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FB12F43-F9BE-495F-8E87-6419F3D8D31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91860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528D14B7-E4FD-4544-BC13-85FDAC80DF12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03560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4C9BB5AC-7E27-4FA3-AFD0-423C6C67B3B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14792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A78D70B9-1884-4F5C-AAF6-E95D6758120D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062800" y="2326960"/>
              <a:ext cx="4130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97C9EAFD-D2AE-464C-B65C-978465C1EB2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062800" y="3730520"/>
              <a:ext cx="4130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DF4DDF64-5C69-4AFA-9635-10096106A64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3236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7" name="Picture Placeholder 31">
            <a:extLst>
              <a:ext uri="{FF2B5EF4-FFF2-40B4-BE49-F238E27FC236}">
                <a16:creationId xmlns:a16="http://schemas.microsoft.com/office/drawing/2014/main" id="{CDAA5588-47AD-4287-ACF7-E2D3E17343F3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0" y="0"/>
            <a:ext cx="4130400" cy="5581800"/>
          </a:xfrm>
          <a:noFill/>
        </p:spPr>
        <p:txBody>
          <a:bodyPr vert="horz" wrap="square" lIns="0" tIns="0" rIns="0" bIns="684000" rtlCol="0" anchor="ctr" anchorCtr="1">
            <a:noAutofit/>
          </a:bodyPr>
          <a:lstStyle>
            <a:lvl1pPr>
              <a:defRPr lang="en-US" sz="1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15B99960-ED2E-41BF-9A5D-86E1F78D50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5325" y="808200"/>
            <a:ext cx="7113588" cy="1965600"/>
          </a:xfrm>
        </p:spPr>
        <p:txBody>
          <a:bodyPr>
            <a:noAutofit/>
          </a:bodyPr>
          <a:lstStyle>
            <a:lvl1pPr>
              <a:lnSpc>
                <a:spcPct val="86000"/>
              </a:lnSpc>
              <a:defRPr sz="54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98BA9AF1-DB99-4BFC-9C64-16E4CFA001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05325" y="2773800"/>
            <a:ext cx="7113588" cy="1404000"/>
          </a:xfrm>
        </p:spPr>
        <p:txBody>
          <a:bodyPr tIns="3600"/>
          <a:lstStyle>
            <a:lvl1pPr>
              <a:lnSpc>
                <a:spcPct val="86000"/>
              </a:lnSpc>
              <a:defRPr sz="5400" baseline="0">
                <a:solidFill>
                  <a:schemeClr val="bg1"/>
                </a:solidFill>
              </a:defRPr>
            </a:lvl1pPr>
            <a:lvl2pPr>
              <a:defRPr sz="2400" baseline="0"/>
            </a:lvl2pPr>
            <a:lvl3pPr>
              <a:defRPr sz="2400" baseline="0"/>
            </a:lvl3pPr>
            <a:lvl4pPr>
              <a:defRPr sz="2400" baseline="0"/>
            </a:lvl4pPr>
            <a:lvl5pPr>
              <a:defRPr sz="2400" baseline="0"/>
            </a:lvl5pPr>
            <a:lvl6pPr>
              <a:defRPr sz="2400" baseline="0"/>
            </a:lvl6pPr>
            <a:lvl7pPr>
              <a:defRPr sz="2400" baseline="0"/>
            </a:lvl7pPr>
            <a:lvl8pPr>
              <a:defRPr sz="2400" baseline="0"/>
            </a:lvl8pPr>
            <a:lvl9pPr>
              <a:defRPr sz="2400" baseline="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24" name="MIO_AGENDA_IGNORE_NAVIGATION" hidden="1">
            <a:extLst>
              <a:ext uri="{FF2B5EF4-FFF2-40B4-BE49-F238E27FC236}">
                <a16:creationId xmlns:a16="http://schemas.microsoft.com/office/drawing/2014/main" id="{5169554C-ED38-41F8-830C-EF173FD80926}"/>
              </a:ext>
            </a:extLst>
          </p:cNvPr>
          <p:cNvSpPr/>
          <p:nvPr/>
        </p:nvSpPr>
        <p:spPr>
          <a:xfrm>
            <a:off x="1180496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5" name="MIO_AGENDA_IGNORE_CHAPTER_REFERENCE" hidden="1">
            <a:extLst>
              <a:ext uri="{FF2B5EF4-FFF2-40B4-BE49-F238E27FC236}">
                <a16:creationId xmlns:a16="http://schemas.microsoft.com/office/drawing/2014/main" id="{F0815C98-6F33-481C-B400-1F08952FA7B4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3" name="Logo">
            <a:extLst>
              <a:ext uri="{FF2B5EF4-FFF2-40B4-BE49-F238E27FC236}">
                <a16:creationId xmlns:a16="http://schemas.microsoft.com/office/drawing/2014/main" id="{364DBF74-98A0-4E0A-A943-3BF4DFA456E1}"/>
              </a:ext>
            </a:extLst>
          </p:cNvPr>
          <p:cNvSpPr>
            <a:spLocks/>
          </p:cNvSpPr>
          <p:nvPr userDrawn="1"/>
        </p:nvSpPr>
        <p:spPr bwMode="black">
          <a:xfrm>
            <a:off x="385763" y="6512963"/>
            <a:ext cx="538161" cy="150809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chemeClr val="bg1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2400" baseline="0">
              <a:latin typeface="+mn-lt"/>
              <a:cs typeface="+mn-cs"/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B22322-7498-40F8-BEAB-2B540EAD49E7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fld id="{41C53B78-E616-423D-9CC7-E40543DBA806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June 4, 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C1F0FCF-AFC4-4BF8-A68B-2DC81BF170EB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AC8B372-2A1E-4510-B277-0C385ECF8798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48474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2838">
          <p15:clr>
            <a:srgbClr val="FFFFFF"/>
          </p15:clr>
        </p15:guide>
        <p15:guide id="2" pos="7319">
          <p15:clr>
            <a:srgbClr val="FFFFFF"/>
          </p15:clr>
        </p15:guide>
        <p15:guide id="3" orient="horz" pos="509">
          <p15:clr>
            <a:srgbClr val="FFFFFF"/>
          </p15:clr>
        </p15:guide>
        <p15:guide id="4" orient="horz" pos="1747">
          <p15:clr>
            <a:srgbClr val="FFFFFF"/>
          </p15:clr>
        </p15:guide>
        <p15:guide id="5" orient="horz" pos="2632">
          <p15:clr>
            <a:srgbClr val="FFFFF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2 Contents" type="twoObj" preserve="1">
  <p:cSld name="Title 2 Conten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11" name="Content Placeholder left">
            <a:extLst>
              <a:ext uri="{FF2B5EF4-FFF2-40B4-BE49-F238E27FC236}">
                <a16:creationId xmlns:a16="http://schemas.microsoft.com/office/drawing/2014/main" id="{0CAC78B5-1779-4709-AF35-4B8166EA2A81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400" y="1369799"/>
            <a:ext cx="5241288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right">
            <a:extLst>
              <a:ext uri="{FF2B5EF4-FFF2-40B4-BE49-F238E27FC236}">
                <a16:creationId xmlns:a16="http://schemas.microsoft.com/office/drawing/2014/main" id="{E89E6773-5B9E-4C7D-B1BE-54C5F7F48326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002399" y="1369799"/>
            <a:ext cx="5241863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FAB5EB7-FEDE-4F62-8CA4-FA996173ABEA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71A1833-FAE1-44C3-9B0A-EE1B16BE8780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June 4, 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69CD819-C2C1-4105-A401-FB1FCBF4F692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416AC08-326C-4149-9875-2CE49F374AC7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94313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3811">
          <p15:clr>
            <a:srgbClr val="547EBF"/>
          </p15:clr>
        </p15:guide>
        <p15:guide id="8" orient="horz" pos="3958">
          <p15:clr>
            <a:srgbClr val="547EBF"/>
          </p15:clr>
        </p15:guide>
        <p15:guide id="9" pos="3545">
          <p15:clr>
            <a:srgbClr val="547EBF"/>
          </p15:clr>
        </p15:guide>
        <p15:guide id="10" pos="3781">
          <p15:clr>
            <a:srgbClr val="547EB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3 Contents" type="objAndTwoObj" preserve="1">
  <p:cSld name="Title 3 Conten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11" name="Content Placeholder left">
            <a:extLst>
              <a:ext uri="{FF2B5EF4-FFF2-40B4-BE49-F238E27FC236}">
                <a16:creationId xmlns:a16="http://schemas.microsoft.com/office/drawing/2014/main" id="{F5838B5B-8D44-4948-9685-83EA5B4F67BE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399" y="1369799"/>
            <a:ext cx="3369625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center">
            <a:extLst>
              <a:ext uri="{FF2B5EF4-FFF2-40B4-BE49-F238E27FC236}">
                <a16:creationId xmlns:a16="http://schemas.microsoft.com/office/drawing/2014/main" id="{32BB11D2-EA02-41A0-9EE7-358732E361F5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130400" y="1369799"/>
            <a:ext cx="3368950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right">
            <a:extLst>
              <a:ext uri="{FF2B5EF4-FFF2-40B4-BE49-F238E27FC236}">
                <a16:creationId xmlns:a16="http://schemas.microsoft.com/office/drawing/2014/main" id="{CF21524C-67FC-4C50-BAB0-4B436AB19D3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7874399" y="1369799"/>
            <a:ext cx="3369863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DF283F9-9BAE-49C1-8215-98BC764F262D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DF8F69ED-2428-4A80-94E8-54798B345288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June 4, 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085F4D-A4CF-4983-9CA8-23B010115B4D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982CEB6-3AF0-4ED5-B22D-724138DD0855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74173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pos="7083">
          <p15:clr>
            <a:srgbClr val="547EBF"/>
          </p15:clr>
        </p15:guide>
        <p15:guide id="3" orient="horz" pos="27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3811">
          <p15:clr>
            <a:srgbClr val="547EBF"/>
          </p15:clr>
        </p15:guide>
        <p15:guide id="8" orient="horz" pos="3958">
          <p15:clr>
            <a:srgbClr val="547EBF"/>
          </p15:clr>
        </p15:guide>
        <p15:guide id="9" pos="2366">
          <p15:clr>
            <a:srgbClr val="547EBF"/>
          </p15:clr>
        </p15:guide>
        <p15:guide id="10" pos="2602">
          <p15:clr>
            <a:srgbClr val="547EBF"/>
          </p15:clr>
        </p15:guide>
        <p15:guide id="11" pos="4724">
          <p15:clr>
            <a:srgbClr val="547EBF"/>
          </p15:clr>
        </p15:guide>
        <p15:guide id="12" pos="4960">
          <p15:clr>
            <a:srgbClr val="547EB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" name="Logo">
            <a:extLst>
              <a:ext uri="{FF2B5EF4-FFF2-40B4-BE49-F238E27FC236}">
                <a16:creationId xmlns:a16="http://schemas.microsoft.com/office/drawing/2014/main" id="{3C2628D1-2C4E-466C-8ED2-0BBF936C9D6A}"/>
              </a:ext>
            </a:extLst>
          </p:cNvPr>
          <p:cNvSpPr>
            <a:spLocks/>
          </p:cNvSpPr>
          <p:nvPr/>
        </p:nvSpPr>
        <p:spPr bwMode="black">
          <a:xfrm>
            <a:off x="385763" y="6512963"/>
            <a:ext cx="538161" cy="150809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rgbClr val="10069F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2400" baseline="0">
              <a:latin typeface="+mn-lt"/>
              <a:cs typeface="+mn-cs"/>
            </a:endParaRPr>
          </a:p>
        </p:txBody>
      </p:sp>
      <p:grpSp>
        <p:nvGrpSpPr>
          <p:cNvPr id="5" name="Supporting lines">
            <a:extLst>
              <a:ext uri="{FF2B5EF4-FFF2-40B4-BE49-F238E27FC236}">
                <a16:creationId xmlns:a16="http://schemas.microsoft.com/office/drawing/2014/main" id="{9FB53A73-69D2-4671-A9D6-A17A4290BC4E}"/>
              </a:ext>
            </a:extLst>
          </p:cNvPr>
          <p:cNvGrpSpPr/>
          <p:nvPr/>
        </p:nvGrpSpPr>
        <p:grpSpPr>
          <a:xfrm>
            <a:off x="-128400" y="-127800"/>
            <a:ext cx="12121200" cy="6832800"/>
            <a:chOff x="-128400" y="-127800"/>
            <a:chExt cx="12121200" cy="6832800"/>
          </a:xfrm>
        </p:grpSpPr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02E4C7E6-3387-41F8-9EAD-E47B5A9ECA17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2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D90A978A-7BAF-49DB-BABC-A990A0088049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86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286BBF64-B330-4470-9A1F-E5A4734EF75B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60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537A0477-93D8-48A8-A035-9D98267DCD7B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135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031A1A94-C93E-49F0-B200-89371B610371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509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26AAF536-9BA6-4AFE-9100-FE58B83D2361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884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4151686A-15C4-4FFA-961B-4F76D94DB438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2258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62E777-8C52-479C-AC60-2C9D5D43FE19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2632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53D75036-1DD3-4854-B5B9-6595551F2416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007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C7957112-40AF-4ACF-B51F-4C590B37387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381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D4AEF7E8-D2DC-4C57-88BD-3553A56B07D6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756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2534FF11-DBBB-413C-8314-F1C8439500EA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4130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51914CF2-B9C8-42DF-AF06-9236BFFE9C7B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4504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46975562-75F0-4BD4-A751-F473B6A1432C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4879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617830BB-D9CA-42CE-99C6-66622F1AA11E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5253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Straight Connector 159">
              <a:extLst>
                <a:ext uri="{FF2B5EF4-FFF2-40B4-BE49-F238E27FC236}">
                  <a16:creationId xmlns:a16="http://schemas.microsoft.com/office/drawing/2014/main" id="{779AC6A6-E6E5-4285-A4EA-35CABC76674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5628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1" name="Straight Connector 160">
              <a:extLst>
                <a:ext uri="{FF2B5EF4-FFF2-40B4-BE49-F238E27FC236}">
                  <a16:creationId xmlns:a16="http://schemas.microsoft.com/office/drawing/2014/main" id="{DCB627BA-14B2-4460-BD26-FBBD93F039A1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6002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Straight Connector 161">
              <a:extLst>
                <a:ext uri="{FF2B5EF4-FFF2-40B4-BE49-F238E27FC236}">
                  <a16:creationId xmlns:a16="http://schemas.microsoft.com/office/drawing/2014/main" id="{2B23F7E5-6F7C-4F74-863A-A62D2D396A28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6376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Straight Connector 162">
              <a:extLst>
                <a:ext uri="{FF2B5EF4-FFF2-40B4-BE49-F238E27FC236}">
                  <a16:creationId xmlns:a16="http://schemas.microsoft.com/office/drawing/2014/main" id="{0A36211D-106F-4F9D-9F9F-CA0674A5A8C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6751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Straight Connector 163">
              <a:extLst>
                <a:ext uri="{FF2B5EF4-FFF2-40B4-BE49-F238E27FC236}">
                  <a16:creationId xmlns:a16="http://schemas.microsoft.com/office/drawing/2014/main" id="{C2CABEE8-FAF4-4440-AF4B-22004B9C277A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125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Straight Connector 164">
              <a:extLst>
                <a:ext uri="{FF2B5EF4-FFF2-40B4-BE49-F238E27FC236}">
                  <a16:creationId xmlns:a16="http://schemas.microsoft.com/office/drawing/2014/main" id="{BF0A0087-F3D5-4F3B-A1DF-5B2789DD55A7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500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Straight Connector 165">
              <a:extLst>
                <a:ext uri="{FF2B5EF4-FFF2-40B4-BE49-F238E27FC236}">
                  <a16:creationId xmlns:a16="http://schemas.microsoft.com/office/drawing/2014/main" id="{8677234F-1CE8-4B48-955E-1245838A1E0A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874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7" name="Straight Connector 166">
              <a:extLst>
                <a:ext uri="{FF2B5EF4-FFF2-40B4-BE49-F238E27FC236}">
                  <a16:creationId xmlns:a16="http://schemas.microsoft.com/office/drawing/2014/main" id="{671F9C2D-8377-4DE3-BFFF-118ACDB8F39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8248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8" name="Straight Connector 167">
              <a:extLst>
                <a:ext uri="{FF2B5EF4-FFF2-40B4-BE49-F238E27FC236}">
                  <a16:creationId xmlns:a16="http://schemas.microsoft.com/office/drawing/2014/main" id="{B0AA66E6-ABA6-4C8F-84CE-FEED5DC95B27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8623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Straight Connector 168">
              <a:extLst>
                <a:ext uri="{FF2B5EF4-FFF2-40B4-BE49-F238E27FC236}">
                  <a16:creationId xmlns:a16="http://schemas.microsoft.com/office/drawing/2014/main" id="{7C38C08E-3768-4D40-B253-1BE54C53BB8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8997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Straight Connector 169">
              <a:extLst>
                <a:ext uri="{FF2B5EF4-FFF2-40B4-BE49-F238E27FC236}">
                  <a16:creationId xmlns:a16="http://schemas.microsoft.com/office/drawing/2014/main" id="{B46208E7-BDF9-42EE-8F8E-364F4231B305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9372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Straight Connector 170">
              <a:extLst>
                <a:ext uri="{FF2B5EF4-FFF2-40B4-BE49-F238E27FC236}">
                  <a16:creationId xmlns:a16="http://schemas.microsoft.com/office/drawing/2014/main" id="{24644024-66E6-49F2-B6F2-53D748DA91D4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9746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Straight Connector 171">
              <a:extLst>
                <a:ext uri="{FF2B5EF4-FFF2-40B4-BE49-F238E27FC236}">
                  <a16:creationId xmlns:a16="http://schemas.microsoft.com/office/drawing/2014/main" id="{2B410132-405B-4ABA-A92D-420B11E0E179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120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Straight Connector 172">
              <a:extLst>
                <a:ext uri="{FF2B5EF4-FFF2-40B4-BE49-F238E27FC236}">
                  <a16:creationId xmlns:a16="http://schemas.microsoft.com/office/drawing/2014/main" id="{F50FE52E-B465-485B-A2FD-F5D406407B6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495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Straight Connector 173">
              <a:extLst>
                <a:ext uri="{FF2B5EF4-FFF2-40B4-BE49-F238E27FC236}">
                  <a16:creationId xmlns:a16="http://schemas.microsoft.com/office/drawing/2014/main" id="{8D24ADCC-0F7F-4654-87EF-EC655FCE31D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869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Straight Connector 174">
              <a:extLst>
                <a:ext uri="{FF2B5EF4-FFF2-40B4-BE49-F238E27FC236}">
                  <a16:creationId xmlns:a16="http://schemas.microsoft.com/office/drawing/2014/main" id="{1CF4FD21-530C-4ACC-9F46-27D654CF920F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1244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Straight Connector 175">
              <a:extLst>
                <a:ext uri="{FF2B5EF4-FFF2-40B4-BE49-F238E27FC236}">
                  <a16:creationId xmlns:a16="http://schemas.microsoft.com/office/drawing/2014/main" id="{AD797CB6-894E-4FCA-881E-5BC1BF9B953C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1618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Straight Connector 176">
              <a:extLst>
                <a:ext uri="{FF2B5EF4-FFF2-40B4-BE49-F238E27FC236}">
                  <a16:creationId xmlns:a16="http://schemas.microsoft.com/office/drawing/2014/main" id="{E89FFA9F-0A14-4344-BF56-120CBB213BC7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1992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Straight Connector 177">
              <a:extLst>
                <a:ext uri="{FF2B5EF4-FFF2-40B4-BE49-F238E27FC236}">
                  <a16:creationId xmlns:a16="http://schemas.microsoft.com/office/drawing/2014/main" id="{DA3A1F9D-5070-4758-AEA3-63BFA2645D9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4338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Straight Connector 178">
              <a:extLst>
                <a:ext uri="{FF2B5EF4-FFF2-40B4-BE49-F238E27FC236}">
                  <a16:creationId xmlns:a16="http://schemas.microsoft.com/office/drawing/2014/main" id="{FC12C6A6-7BD2-467A-8763-05F4FA05509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8082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Straight Connector 179">
              <a:extLst>
                <a:ext uri="{FF2B5EF4-FFF2-40B4-BE49-F238E27FC236}">
                  <a16:creationId xmlns:a16="http://schemas.microsoft.com/office/drawing/2014/main" id="{C8D367F6-6242-48A1-81AC-25136EA76ED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11826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1" name="Straight Connector 180">
              <a:extLst>
                <a:ext uri="{FF2B5EF4-FFF2-40B4-BE49-F238E27FC236}">
                  <a16:creationId xmlns:a16="http://schemas.microsoft.com/office/drawing/2014/main" id="{B203129A-3612-420D-BC50-908283471DD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13698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2" name="Straight Connector 181">
              <a:extLst>
                <a:ext uri="{FF2B5EF4-FFF2-40B4-BE49-F238E27FC236}">
                  <a16:creationId xmlns:a16="http://schemas.microsoft.com/office/drawing/2014/main" id="{47B300CA-A1A7-4367-9576-17557304AF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60498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3" name="Straight Connector 182">
              <a:extLst>
                <a:ext uri="{FF2B5EF4-FFF2-40B4-BE49-F238E27FC236}">
                  <a16:creationId xmlns:a16="http://schemas.microsoft.com/office/drawing/2014/main" id="{AF0368B5-E16D-49D8-82F1-7825D0F2F6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62838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Straight Connector 183">
              <a:extLst>
                <a:ext uri="{FF2B5EF4-FFF2-40B4-BE49-F238E27FC236}">
                  <a16:creationId xmlns:a16="http://schemas.microsoft.com/office/drawing/2014/main" id="{5E5AD53C-5B62-499E-8A20-3700DE0EDF5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65178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Straight Connector 184">
              <a:extLst>
                <a:ext uri="{FF2B5EF4-FFF2-40B4-BE49-F238E27FC236}">
                  <a16:creationId xmlns:a16="http://schemas.microsoft.com/office/drawing/2014/main" id="{F1863D99-0BC1-4BDB-8690-56085CBD796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67050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8" name="Content Grid" hidden="1">
            <a:extLst>
              <a:ext uri="{FF2B5EF4-FFF2-40B4-BE49-F238E27FC236}">
                <a16:creationId xmlns:a16="http://schemas.microsoft.com/office/drawing/2014/main" id="{016A9DD2-7240-460D-8F15-EB07954CC749}"/>
              </a:ext>
            </a:extLst>
          </p:cNvPr>
          <p:cNvGrpSpPr>
            <a:grpSpLocks/>
          </p:cNvGrpSpPr>
          <p:nvPr>
            <p:custDataLst>
              <p:tags r:id="rId32"/>
            </p:custDataLst>
          </p:nvPr>
        </p:nvGrpSpPr>
        <p:grpSpPr>
          <a:xfrm>
            <a:off x="386400" y="1369800"/>
            <a:ext cx="10872000" cy="4680163"/>
            <a:chOff x="386400" y="1369800"/>
            <a:chExt cx="10872000" cy="4680163"/>
          </a:xfrm>
        </p:grpSpPr>
        <p:cxnSp>
          <p:nvCxnSpPr>
            <p:cNvPr id="90" name="Straight Connector 89" hidden="1">
              <a:extLst>
                <a:ext uri="{FF2B5EF4-FFF2-40B4-BE49-F238E27FC236}">
                  <a16:creationId xmlns:a16="http://schemas.microsoft.com/office/drawing/2014/main" id="{82832892-2597-4AE7-96D4-621BF4776E1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024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4" name="Straight Connector 113" hidden="1">
              <a:extLst>
                <a:ext uri="{FF2B5EF4-FFF2-40B4-BE49-F238E27FC236}">
                  <a16:creationId xmlns:a16="http://schemas.microsoft.com/office/drawing/2014/main" id="{B19210E7-8435-44B0-8CC5-E71D6BDDD76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2773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5" name="Straight Connector 114" hidden="1">
              <a:extLst>
                <a:ext uri="{FF2B5EF4-FFF2-40B4-BE49-F238E27FC236}">
                  <a16:creationId xmlns:a16="http://schemas.microsoft.com/office/drawing/2014/main" id="{39233C6B-DFD3-4832-8671-4D56EE3A8A0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2305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6" name="Straight Connector 115" hidden="1">
              <a:extLst>
                <a:ext uri="{FF2B5EF4-FFF2-40B4-BE49-F238E27FC236}">
                  <a16:creationId xmlns:a16="http://schemas.microsoft.com/office/drawing/2014/main" id="{13C16988-56C0-4781-B480-F5CF0F46E9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1837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7" name="Straight Connector 116" hidden="1">
              <a:extLst>
                <a:ext uri="{FF2B5EF4-FFF2-40B4-BE49-F238E27FC236}">
                  <a16:creationId xmlns:a16="http://schemas.microsoft.com/office/drawing/2014/main" id="{E3D5CB83-557E-41D9-A7E7-CFA309C57AB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1369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1" name="Straight Connector 120" hidden="1">
              <a:extLst>
                <a:ext uri="{FF2B5EF4-FFF2-40B4-BE49-F238E27FC236}">
                  <a16:creationId xmlns:a16="http://schemas.microsoft.com/office/drawing/2014/main" id="{F4B3DCB7-9BA6-446D-B8B7-A43198EFA51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3241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2" name="Straight Connector 121" hidden="1">
              <a:extLst>
                <a:ext uri="{FF2B5EF4-FFF2-40B4-BE49-F238E27FC236}">
                  <a16:creationId xmlns:a16="http://schemas.microsoft.com/office/drawing/2014/main" id="{11E9F8A6-9BF4-4D3E-8089-DD140A8AF6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3709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3" name="Straight Connector 122" hidden="1">
              <a:extLst>
                <a:ext uri="{FF2B5EF4-FFF2-40B4-BE49-F238E27FC236}">
                  <a16:creationId xmlns:a16="http://schemas.microsoft.com/office/drawing/2014/main" id="{57CB75BD-D2D9-4256-B5E7-32F489A938B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4177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4" name="Straight Connector 123" hidden="1">
              <a:extLst>
                <a:ext uri="{FF2B5EF4-FFF2-40B4-BE49-F238E27FC236}">
                  <a16:creationId xmlns:a16="http://schemas.microsoft.com/office/drawing/2014/main" id="{540868F0-DB12-4E17-B1DB-A3FFD300EDB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4645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5" name="Straight Connector 124" hidden="1">
              <a:extLst>
                <a:ext uri="{FF2B5EF4-FFF2-40B4-BE49-F238E27FC236}">
                  <a16:creationId xmlns:a16="http://schemas.microsoft.com/office/drawing/2014/main" id="{A7DD42A3-FD09-4C13-8866-B56B9607FFE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5113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6" name="Straight Connector 125" hidden="1">
              <a:extLst>
                <a:ext uri="{FF2B5EF4-FFF2-40B4-BE49-F238E27FC236}">
                  <a16:creationId xmlns:a16="http://schemas.microsoft.com/office/drawing/2014/main" id="{6FBC1860-5818-42EB-AE1A-9B6D4BA0325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5581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7" name="Straight Connector 126" hidden="1">
              <a:extLst>
                <a:ext uri="{FF2B5EF4-FFF2-40B4-BE49-F238E27FC236}">
                  <a16:creationId xmlns:a16="http://schemas.microsoft.com/office/drawing/2014/main" id="{982A4B0E-EF82-4FCD-B19A-D6995ACD305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6049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9" name="Straight Connector 128" hidden="1">
              <a:extLst>
                <a:ext uri="{FF2B5EF4-FFF2-40B4-BE49-F238E27FC236}">
                  <a16:creationId xmlns:a16="http://schemas.microsoft.com/office/drawing/2014/main" id="{B29B5915-F6DB-40AA-B721-690E01F8333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376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0" name="Straight Connector 129" hidden="1">
              <a:extLst>
                <a:ext uri="{FF2B5EF4-FFF2-40B4-BE49-F238E27FC236}">
                  <a16:creationId xmlns:a16="http://schemas.microsoft.com/office/drawing/2014/main" id="{2A880744-6C30-4956-9500-51EBB5086C8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751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1" name="Straight Connector 130" hidden="1">
              <a:extLst>
                <a:ext uri="{FF2B5EF4-FFF2-40B4-BE49-F238E27FC236}">
                  <a16:creationId xmlns:a16="http://schemas.microsoft.com/office/drawing/2014/main" id="{900AD28B-C92E-4F85-8046-E6126B7173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25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2" name="Straight Connector 131" hidden="1">
              <a:extLst>
                <a:ext uri="{FF2B5EF4-FFF2-40B4-BE49-F238E27FC236}">
                  <a16:creationId xmlns:a16="http://schemas.microsoft.com/office/drawing/2014/main" id="{34C33EBF-AD8E-45EA-9B82-65E12E1A2A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500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3" name="Straight Connector 132" hidden="1">
              <a:extLst>
                <a:ext uri="{FF2B5EF4-FFF2-40B4-BE49-F238E27FC236}">
                  <a16:creationId xmlns:a16="http://schemas.microsoft.com/office/drawing/2014/main" id="{3C413DF0-6EC9-487B-B6EF-2769C7D5F03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874400" y="1370013"/>
              <a:ext cx="0" cy="467995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4" name="Straight Connector 133" hidden="1">
              <a:extLst>
                <a:ext uri="{FF2B5EF4-FFF2-40B4-BE49-F238E27FC236}">
                  <a16:creationId xmlns:a16="http://schemas.microsoft.com/office/drawing/2014/main" id="{A4E2AA63-CE89-4893-A45D-7811709C5D1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248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5" name="Straight Connector 134" hidden="1">
              <a:extLst>
                <a:ext uri="{FF2B5EF4-FFF2-40B4-BE49-F238E27FC236}">
                  <a16:creationId xmlns:a16="http://schemas.microsoft.com/office/drawing/2014/main" id="{F631F5B1-A6ED-49B4-91D2-E3947FCBF48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623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6" name="Straight Connector 135" hidden="1">
              <a:extLst>
                <a:ext uri="{FF2B5EF4-FFF2-40B4-BE49-F238E27FC236}">
                  <a16:creationId xmlns:a16="http://schemas.microsoft.com/office/drawing/2014/main" id="{E84F6276-880E-4D15-8DAF-05D51455ADF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997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7" name="Straight Connector 136" hidden="1">
              <a:extLst>
                <a:ext uri="{FF2B5EF4-FFF2-40B4-BE49-F238E27FC236}">
                  <a16:creationId xmlns:a16="http://schemas.microsoft.com/office/drawing/2014/main" id="{626022CA-9F72-4133-B7B9-3E52699C0E4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372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8" name="Straight Connector 137" hidden="1">
              <a:extLst>
                <a:ext uri="{FF2B5EF4-FFF2-40B4-BE49-F238E27FC236}">
                  <a16:creationId xmlns:a16="http://schemas.microsoft.com/office/drawing/2014/main" id="{42343559-BFBA-4C3E-9209-D9CAF681526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7464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9" name="Straight Connector 138" hidden="1">
              <a:extLst>
                <a:ext uri="{FF2B5EF4-FFF2-40B4-BE49-F238E27FC236}">
                  <a16:creationId xmlns:a16="http://schemas.microsoft.com/office/drawing/2014/main" id="{D52F67DD-E6B8-4BCD-A1DB-A1D4A8DE8F0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120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0" name="Straight Connector 139" hidden="1">
              <a:extLst>
                <a:ext uri="{FF2B5EF4-FFF2-40B4-BE49-F238E27FC236}">
                  <a16:creationId xmlns:a16="http://schemas.microsoft.com/office/drawing/2014/main" id="{3172709B-D69F-47C4-AC8D-DEF42B156F1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495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1" name="Straight Connector 140" hidden="1">
              <a:extLst>
                <a:ext uri="{FF2B5EF4-FFF2-40B4-BE49-F238E27FC236}">
                  <a16:creationId xmlns:a16="http://schemas.microsoft.com/office/drawing/2014/main" id="{D26E2B03-97E1-48ED-B853-A22EDAE34F6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869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2" name="Straight Connector 141" hidden="1">
              <a:extLst>
                <a:ext uri="{FF2B5EF4-FFF2-40B4-BE49-F238E27FC236}">
                  <a16:creationId xmlns:a16="http://schemas.microsoft.com/office/drawing/2014/main" id="{81F0634A-F5A3-423C-AF13-71056C6024E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244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5" name="Straight Connector 144" hidden="1">
              <a:extLst>
                <a:ext uri="{FF2B5EF4-FFF2-40B4-BE49-F238E27FC236}">
                  <a16:creationId xmlns:a16="http://schemas.microsoft.com/office/drawing/2014/main" id="{1811074E-FE7B-487A-9DC9-998D7A519FC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628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6" name="Straight Connector 145" hidden="1">
              <a:extLst>
                <a:ext uri="{FF2B5EF4-FFF2-40B4-BE49-F238E27FC236}">
                  <a16:creationId xmlns:a16="http://schemas.microsoft.com/office/drawing/2014/main" id="{4B4651AB-0BCF-47DC-ACA4-AFF3274E361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253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7" name="Straight Connector 146" hidden="1">
              <a:extLst>
                <a:ext uri="{FF2B5EF4-FFF2-40B4-BE49-F238E27FC236}">
                  <a16:creationId xmlns:a16="http://schemas.microsoft.com/office/drawing/2014/main" id="{BBAF41AC-94C0-4628-831A-7CC54CABA3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879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8" name="Straight Connector 147" hidden="1">
              <a:extLst>
                <a:ext uri="{FF2B5EF4-FFF2-40B4-BE49-F238E27FC236}">
                  <a16:creationId xmlns:a16="http://schemas.microsoft.com/office/drawing/2014/main" id="{FD5FFD6B-DCBB-4D3F-8A11-8EF149657B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504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9" name="Straight Connector 148" hidden="1">
              <a:extLst>
                <a:ext uri="{FF2B5EF4-FFF2-40B4-BE49-F238E27FC236}">
                  <a16:creationId xmlns:a16="http://schemas.microsoft.com/office/drawing/2014/main" id="{DDCD2B4B-B680-4E86-BF3C-ED9D58EF6D1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1304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0" name="Straight Connector 149" hidden="1">
              <a:extLst>
                <a:ext uri="{FF2B5EF4-FFF2-40B4-BE49-F238E27FC236}">
                  <a16:creationId xmlns:a16="http://schemas.microsoft.com/office/drawing/2014/main" id="{330D0CD6-750F-4A2A-84CA-61391B3AD5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756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1" name="Straight Connector 150" hidden="1">
              <a:extLst>
                <a:ext uri="{FF2B5EF4-FFF2-40B4-BE49-F238E27FC236}">
                  <a16:creationId xmlns:a16="http://schemas.microsoft.com/office/drawing/2014/main" id="{7FB36FAA-D5F8-4B20-AB85-A027356E9D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381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2" name="Straight Connector 151" hidden="1">
              <a:extLst>
                <a:ext uri="{FF2B5EF4-FFF2-40B4-BE49-F238E27FC236}">
                  <a16:creationId xmlns:a16="http://schemas.microsoft.com/office/drawing/2014/main" id="{5E7272A0-3079-4441-B0E3-1B296C406C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007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3" name="Straight Connector 152" hidden="1">
              <a:extLst>
                <a:ext uri="{FF2B5EF4-FFF2-40B4-BE49-F238E27FC236}">
                  <a16:creationId xmlns:a16="http://schemas.microsoft.com/office/drawing/2014/main" id="{4D6D0597-C4A4-4018-BCE6-4E5755711CB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632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4" name="Straight Connector 153" hidden="1">
              <a:extLst>
                <a:ext uri="{FF2B5EF4-FFF2-40B4-BE49-F238E27FC236}">
                  <a16:creationId xmlns:a16="http://schemas.microsoft.com/office/drawing/2014/main" id="{DFC43681-DD86-42EE-AEBF-C399327C0EC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2584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5" name="Straight Connector 154" hidden="1">
              <a:extLst>
                <a:ext uri="{FF2B5EF4-FFF2-40B4-BE49-F238E27FC236}">
                  <a16:creationId xmlns:a16="http://schemas.microsoft.com/office/drawing/2014/main" id="{75986A3B-7D6F-4591-BFB5-C2B58A01300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884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6" name="Straight Connector 155" hidden="1">
              <a:extLst>
                <a:ext uri="{FF2B5EF4-FFF2-40B4-BE49-F238E27FC236}">
                  <a16:creationId xmlns:a16="http://schemas.microsoft.com/office/drawing/2014/main" id="{77AF5D60-6A2E-4B7A-B95B-196ED827D67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509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7" name="Straight Connector 156" hidden="1">
              <a:extLst>
                <a:ext uri="{FF2B5EF4-FFF2-40B4-BE49-F238E27FC236}">
                  <a16:creationId xmlns:a16="http://schemas.microsoft.com/office/drawing/2014/main" id="{FB14D75C-3FC5-49E5-93C7-1E5C8D7EC31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35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8" name="Straight Connector 157" hidden="1">
              <a:extLst>
                <a:ext uri="{FF2B5EF4-FFF2-40B4-BE49-F238E27FC236}">
                  <a16:creationId xmlns:a16="http://schemas.microsoft.com/office/drawing/2014/main" id="{FA9A6FE9-C426-43BE-B7B1-1A8389C7D74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60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9" name="Straight Connector 158" hidden="1">
              <a:extLst>
                <a:ext uri="{FF2B5EF4-FFF2-40B4-BE49-F238E27FC236}">
                  <a16:creationId xmlns:a16="http://schemas.microsoft.com/office/drawing/2014/main" id="{CA6FCDE4-C28E-402D-A221-89799E3B2B9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300" name="Full Grid" hidden="1">
            <a:extLst>
              <a:ext uri="{FF2B5EF4-FFF2-40B4-BE49-F238E27FC236}">
                <a16:creationId xmlns:a16="http://schemas.microsoft.com/office/drawing/2014/main" id="{EAA655A0-4017-4B47-BA09-845E572DCC48}"/>
              </a:ext>
            </a:extLst>
          </p:cNvPr>
          <p:cNvGrpSpPr/>
          <p:nvPr>
            <p:custDataLst>
              <p:tags r:id="rId33"/>
            </p:custDataLst>
          </p:nvPr>
        </p:nvGrpSpPr>
        <p:grpSpPr>
          <a:xfrm>
            <a:off x="0" y="-70200"/>
            <a:ext cx="12367200" cy="7056000"/>
            <a:chOff x="0" y="-70200"/>
            <a:chExt cx="12367200" cy="7056000"/>
          </a:xfrm>
        </p:grpSpPr>
        <p:cxnSp>
          <p:nvCxnSpPr>
            <p:cNvPr id="301" name="Straight Connector 300" hidden="1">
              <a:extLst>
                <a:ext uri="{FF2B5EF4-FFF2-40B4-BE49-F238E27FC236}">
                  <a16:creationId xmlns:a16="http://schemas.microsoft.com/office/drawing/2014/main" id="{48218EBF-9171-4D8F-A33A-30D1A5E6E3C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3241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2" name="Straight Connector 301" hidden="1">
              <a:extLst>
                <a:ext uri="{FF2B5EF4-FFF2-40B4-BE49-F238E27FC236}">
                  <a16:creationId xmlns:a16="http://schemas.microsoft.com/office/drawing/2014/main" id="{6737577C-398F-4B4C-BAB6-A13B2C2B585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02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3" name="Straight Connector 302" hidden="1">
              <a:extLst>
                <a:ext uri="{FF2B5EF4-FFF2-40B4-BE49-F238E27FC236}">
                  <a16:creationId xmlns:a16="http://schemas.microsoft.com/office/drawing/2014/main" id="{61F3BB77-6340-46D7-AAC4-E788714E876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2773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4" name="Straight Connector 303" hidden="1">
              <a:extLst>
                <a:ext uri="{FF2B5EF4-FFF2-40B4-BE49-F238E27FC236}">
                  <a16:creationId xmlns:a16="http://schemas.microsoft.com/office/drawing/2014/main" id="{C32394F9-1C60-48EC-98D6-BA6D5ED17B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2305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5" name="Straight Connector 304" hidden="1">
              <a:extLst>
                <a:ext uri="{FF2B5EF4-FFF2-40B4-BE49-F238E27FC236}">
                  <a16:creationId xmlns:a16="http://schemas.microsoft.com/office/drawing/2014/main" id="{D2147D71-1001-4518-8300-83716520503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1837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6" name="Straight Connector 305" hidden="1">
              <a:extLst>
                <a:ext uri="{FF2B5EF4-FFF2-40B4-BE49-F238E27FC236}">
                  <a16:creationId xmlns:a16="http://schemas.microsoft.com/office/drawing/2014/main" id="{B52B5DD3-B80E-46A0-9CDD-F9D40A5CCB0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1369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7" name="Straight Connector 306" hidden="1">
              <a:extLst>
                <a:ext uri="{FF2B5EF4-FFF2-40B4-BE49-F238E27FC236}">
                  <a16:creationId xmlns:a16="http://schemas.microsoft.com/office/drawing/2014/main" id="{DA719995-0220-4BB2-8CE9-727CB2069D4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901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8" name="Straight Connector 307" hidden="1">
              <a:extLst>
                <a:ext uri="{FF2B5EF4-FFF2-40B4-BE49-F238E27FC236}">
                  <a16:creationId xmlns:a16="http://schemas.microsoft.com/office/drawing/2014/main" id="{CB93CB15-9DE5-4A05-ACB3-BD91B4568D3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433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9" name="Straight Connector 308" hidden="1">
              <a:extLst>
                <a:ext uri="{FF2B5EF4-FFF2-40B4-BE49-F238E27FC236}">
                  <a16:creationId xmlns:a16="http://schemas.microsoft.com/office/drawing/2014/main" id="{D4F309E9-DB74-430C-A0E2-5F8AE956D99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-342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0" name="Straight Connector 309" hidden="1">
              <a:extLst>
                <a:ext uri="{FF2B5EF4-FFF2-40B4-BE49-F238E27FC236}">
                  <a16:creationId xmlns:a16="http://schemas.microsoft.com/office/drawing/2014/main" id="{A8873914-8F40-4E54-9099-FB5894910A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3241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1" name="Straight Connector 310" hidden="1">
              <a:extLst>
                <a:ext uri="{FF2B5EF4-FFF2-40B4-BE49-F238E27FC236}">
                  <a16:creationId xmlns:a16="http://schemas.microsoft.com/office/drawing/2014/main" id="{324289DE-E0F8-4EDF-8B72-39BDB17E125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3709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2" name="Straight Connector 311" hidden="1">
              <a:extLst>
                <a:ext uri="{FF2B5EF4-FFF2-40B4-BE49-F238E27FC236}">
                  <a16:creationId xmlns:a16="http://schemas.microsoft.com/office/drawing/2014/main" id="{48D09DFF-3AC1-4238-A369-3803F5127C4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4177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3" name="Straight Connector 312" hidden="1">
              <a:extLst>
                <a:ext uri="{FF2B5EF4-FFF2-40B4-BE49-F238E27FC236}">
                  <a16:creationId xmlns:a16="http://schemas.microsoft.com/office/drawing/2014/main" id="{5FBC1CD0-5D1F-458C-86D1-49C908FDF4A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4645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4" name="Straight Connector 313" hidden="1">
              <a:extLst>
                <a:ext uri="{FF2B5EF4-FFF2-40B4-BE49-F238E27FC236}">
                  <a16:creationId xmlns:a16="http://schemas.microsoft.com/office/drawing/2014/main" id="{817E8046-BB5A-4AAF-BB94-F80CBF2CBC8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5113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5" name="Straight Connector 314" hidden="1">
              <a:extLst>
                <a:ext uri="{FF2B5EF4-FFF2-40B4-BE49-F238E27FC236}">
                  <a16:creationId xmlns:a16="http://schemas.microsoft.com/office/drawing/2014/main" id="{E58CCB74-4B3A-4398-8878-75D153D312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5581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6" name="Straight Connector 315" hidden="1">
              <a:extLst>
                <a:ext uri="{FF2B5EF4-FFF2-40B4-BE49-F238E27FC236}">
                  <a16:creationId xmlns:a16="http://schemas.microsoft.com/office/drawing/2014/main" id="{033D2289-FEDB-4F0D-8850-03176839BBD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6049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7" name="Straight Connector 316" hidden="1">
              <a:extLst>
                <a:ext uri="{FF2B5EF4-FFF2-40B4-BE49-F238E27FC236}">
                  <a16:creationId xmlns:a16="http://schemas.microsoft.com/office/drawing/2014/main" id="{6FA0C498-337E-4BE4-86D5-0B5AA7FDAFE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6517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8" name="Straight Connector 317" hidden="1">
              <a:extLst>
                <a:ext uri="{FF2B5EF4-FFF2-40B4-BE49-F238E27FC236}">
                  <a16:creationId xmlns:a16="http://schemas.microsoft.com/office/drawing/2014/main" id="{511FCAB4-B04C-4B4F-8C2C-3777519DA7F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376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9" name="Straight Connector 318" hidden="1">
              <a:extLst>
                <a:ext uri="{FF2B5EF4-FFF2-40B4-BE49-F238E27FC236}">
                  <a16:creationId xmlns:a16="http://schemas.microsoft.com/office/drawing/2014/main" id="{540E4E6F-888E-47F6-A35B-46E6BDB233D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751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0" name="Straight Connector 319" hidden="1">
              <a:extLst>
                <a:ext uri="{FF2B5EF4-FFF2-40B4-BE49-F238E27FC236}">
                  <a16:creationId xmlns:a16="http://schemas.microsoft.com/office/drawing/2014/main" id="{8D783BB6-4F64-4BA0-8CB5-576365009A5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25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1" name="Straight Connector 320" hidden="1">
              <a:extLst>
                <a:ext uri="{FF2B5EF4-FFF2-40B4-BE49-F238E27FC236}">
                  <a16:creationId xmlns:a16="http://schemas.microsoft.com/office/drawing/2014/main" id="{2FB8091E-B86B-40C7-B438-5A8DAF3F373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500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2" name="Straight Connector 321" hidden="1">
              <a:extLst>
                <a:ext uri="{FF2B5EF4-FFF2-40B4-BE49-F238E27FC236}">
                  <a16:creationId xmlns:a16="http://schemas.microsoft.com/office/drawing/2014/main" id="{1C622E4C-DE1D-4D72-950C-F6F7F503C7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874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3" name="Straight Connector 322" hidden="1">
              <a:extLst>
                <a:ext uri="{FF2B5EF4-FFF2-40B4-BE49-F238E27FC236}">
                  <a16:creationId xmlns:a16="http://schemas.microsoft.com/office/drawing/2014/main" id="{E85C9C77-EDDE-4053-851F-97775DB15B3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248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4" name="Straight Connector 323" hidden="1">
              <a:extLst>
                <a:ext uri="{FF2B5EF4-FFF2-40B4-BE49-F238E27FC236}">
                  <a16:creationId xmlns:a16="http://schemas.microsoft.com/office/drawing/2014/main" id="{EDE7F48D-D148-4BD3-9B5A-E9082189498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623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5" name="Straight Connector 324" hidden="1">
              <a:extLst>
                <a:ext uri="{FF2B5EF4-FFF2-40B4-BE49-F238E27FC236}">
                  <a16:creationId xmlns:a16="http://schemas.microsoft.com/office/drawing/2014/main" id="{8119006E-21FF-40D5-AD9A-E735C49E71D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997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6" name="Straight Connector 325" hidden="1">
              <a:extLst>
                <a:ext uri="{FF2B5EF4-FFF2-40B4-BE49-F238E27FC236}">
                  <a16:creationId xmlns:a16="http://schemas.microsoft.com/office/drawing/2014/main" id="{FF71DEC0-BA85-47AC-9B05-C43CBFEA95E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372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7" name="Straight Connector 326" hidden="1">
              <a:extLst>
                <a:ext uri="{FF2B5EF4-FFF2-40B4-BE49-F238E27FC236}">
                  <a16:creationId xmlns:a16="http://schemas.microsoft.com/office/drawing/2014/main" id="{4995F406-2D81-4563-A04C-156ED742829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746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8" name="Straight Connector 327" hidden="1">
              <a:extLst>
                <a:ext uri="{FF2B5EF4-FFF2-40B4-BE49-F238E27FC236}">
                  <a16:creationId xmlns:a16="http://schemas.microsoft.com/office/drawing/2014/main" id="{71FB6C91-9BEA-4E57-B92F-4BE3DAC3BD6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120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9" name="Straight Connector 328" hidden="1">
              <a:extLst>
                <a:ext uri="{FF2B5EF4-FFF2-40B4-BE49-F238E27FC236}">
                  <a16:creationId xmlns:a16="http://schemas.microsoft.com/office/drawing/2014/main" id="{AAF24AF1-EEAD-4D90-965C-9AE126504AD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495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0" name="Straight Connector 329" hidden="1">
              <a:extLst>
                <a:ext uri="{FF2B5EF4-FFF2-40B4-BE49-F238E27FC236}">
                  <a16:creationId xmlns:a16="http://schemas.microsoft.com/office/drawing/2014/main" id="{2BE91DA1-C8BE-44DC-8452-324FE5B3870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869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1" name="Straight Connector 330" hidden="1">
              <a:extLst>
                <a:ext uri="{FF2B5EF4-FFF2-40B4-BE49-F238E27FC236}">
                  <a16:creationId xmlns:a16="http://schemas.microsoft.com/office/drawing/2014/main" id="{B57928EE-5A2E-47A4-86C8-8E08B795D6E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244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2" name="Straight Connector 331" hidden="1">
              <a:extLst>
                <a:ext uri="{FF2B5EF4-FFF2-40B4-BE49-F238E27FC236}">
                  <a16:creationId xmlns:a16="http://schemas.microsoft.com/office/drawing/2014/main" id="{90817F6C-93C7-4A2F-844D-EEC0864B493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618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3" name="Straight Connector 332" hidden="1">
              <a:extLst>
                <a:ext uri="{FF2B5EF4-FFF2-40B4-BE49-F238E27FC236}">
                  <a16:creationId xmlns:a16="http://schemas.microsoft.com/office/drawing/2014/main" id="{A824F516-3C62-4A83-8A2F-C597C14585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992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4" name="Straight Connector 333" hidden="1">
              <a:extLst>
                <a:ext uri="{FF2B5EF4-FFF2-40B4-BE49-F238E27FC236}">
                  <a16:creationId xmlns:a16="http://schemas.microsoft.com/office/drawing/2014/main" id="{575C7B0F-53E6-404C-A096-E20F0508EB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628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5" name="Straight Connector 334" hidden="1">
              <a:extLst>
                <a:ext uri="{FF2B5EF4-FFF2-40B4-BE49-F238E27FC236}">
                  <a16:creationId xmlns:a16="http://schemas.microsoft.com/office/drawing/2014/main" id="{EEBDA4A6-D35F-4D08-87C9-B93A6EAF403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253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6" name="Straight Connector 335" hidden="1">
              <a:extLst>
                <a:ext uri="{FF2B5EF4-FFF2-40B4-BE49-F238E27FC236}">
                  <a16:creationId xmlns:a16="http://schemas.microsoft.com/office/drawing/2014/main" id="{627F72B9-76BF-4391-9BC9-E3B85369D8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879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7" name="Straight Connector 336" hidden="1">
              <a:extLst>
                <a:ext uri="{FF2B5EF4-FFF2-40B4-BE49-F238E27FC236}">
                  <a16:creationId xmlns:a16="http://schemas.microsoft.com/office/drawing/2014/main" id="{F31F1370-C081-4B29-83D7-DB2A4E73AC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504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8" name="Straight Connector 337" hidden="1">
              <a:extLst>
                <a:ext uri="{FF2B5EF4-FFF2-40B4-BE49-F238E27FC236}">
                  <a16:creationId xmlns:a16="http://schemas.microsoft.com/office/drawing/2014/main" id="{DB23C504-C3EB-442F-81C4-06CEFB43D03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130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9" name="Straight Connector 338" hidden="1">
              <a:extLst>
                <a:ext uri="{FF2B5EF4-FFF2-40B4-BE49-F238E27FC236}">
                  <a16:creationId xmlns:a16="http://schemas.microsoft.com/office/drawing/2014/main" id="{8F2E88F4-224A-4DF8-A1AD-E99EE2D28BE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756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0" name="Straight Connector 339" hidden="1">
              <a:extLst>
                <a:ext uri="{FF2B5EF4-FFF2-40B4-BE49-F238E27FC236}">
                  <a16:creationId xmlns:a16="http://schemas.microsoft.com/office/drawing/2014/main" id="{C5EAE255-8630-4283-BDD8-6EE7C540D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381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1" name="Straight Connector 340" hidden="1">
              <a:extLst>
                <a:ext uri="{FF2B5EF4-FFF2-40B4-BE49-F238E27FC236}">
                  <a16:creationId xmlns:a16="http://schemas.microsoft.com/office/drawing/2014/main" id="{A561162D-47AF-4E01-B81F-CD78A03E1BD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007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2" name="Straight Connector 341" hidden="1">
              <a:extLst>
                <a:ext uri="{FF2B5EF4-FFF2-40B4-BE49-F238E27FC236}">
                  <a16:creationId xmlns:a16="http://schemas.microsoft.com/office/drawing/2014/main" id="{2C20074D-4C49-46CB-9931-819778D38C5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632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3" name="Straight Connector 342" hidden="1">
              <a:extLst>
                <a:ext uri="{FF2B5EF4-FFF2-40B4-BE49-F238E27FC236}">
                  <a16:creationId xmlns:a16="http://schemas.microsoft.com/office/drawing/2014/main" id="{062FA2EE-A4D8-4A37-BB39-9A8A23ABE25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258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4" name="Straight Connector 343" hidden="1">
              <a:extLst>
                <a:ext uri="{FF2B5EF4-FFF2-40B4-BE49-F238E27FC236}">
                  <a16:creationId xmlns:a16="http://schemas.microsoft.com/office/drawing/2014/main" id="{6C661B57-DBAB-41A7-B2AC-C814132D30E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884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5" name="Straight Connector 344" hidden="1">
              <a:extLst>
                <a:ext uri="{FF2B5EF4-FFF2-40B4-BE49-F238E27FC236}">
                  <a16:creationId xmlns:a16="http://schemas.microsoft.com/office/drawing/2014/main" id="{209F4A46-4D75-4F8F-88B9-BE8F6A463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509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6" name="Straight Connector 345" hidden="1">
              <a:extLst>
                <a:ext uri="{FF2B5EF4-FFF2-40B4-BE49-F238E27FC236}">
                  <a16:creationId xmlns:a16="http://schemas.microsoft.com/office/drawing/2014/main" id="{01FB4020-8697-49A5-812E-93760AA24DB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35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7" name="Straight Connector 346" hidden="1">
              <a:extLst>
                <a:ext uri="{FF2B5EF4-FFF2-40B4-BE49-F238E27FC236}">
                  <a16:creationId xmlns:a16="http://schemas.microsoft.com/office/drawing/2014/main" id="{AB981469-9BFE-432D-A134-6F34C8ECD1A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60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8" name="Straight Connector 347" hidden="1">
              <a:extLst>
                <a:ext uri="{FF2B5EF4-FFF2-40B4-BE49-F238E27FC236}">
                  <a16:creationId xmlns:a16="http://schemas.microsoft.com/office/drawing/2014/main" id="{64F910DD-E3AB-4094-BD87-390D194861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9" name="Straight Connector 348" hidden="1">
              <a:extLst>
                <a:ext uri="{FF2B5EF4-FFF2-40B4-BE49-F238E27FC236}">
                  <a16:creationId xmlns:a16="http://schemas.microsoft.com/office/drawing/2014/main" id="{8172B6B2-B6E9-42F2-9E21-D99612FECB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67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50" name="Straight Connector 349" hidden="1">
              <a:extLst>
                <a:ext uri="{FF2B5EF4-FFF2-40B4-BE49-F238E27FC236}">
                  <a16:creationId xmlns:a16="http://schemas.microsoft.com/office/drawing/2014/main" id="{FF9B3914-70C1-4B52-B02C-76628BFC9B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51" name="Straight Connector 350" hidden="1">
              <a:extLst>
                <a:ext uri="{FF2B5EF4-FFF2-40B4-BE49-F238E27FC236}">
                  <a16:creationId xmlns:a16="http://schemas.microsoft.com/office/drawing/2014/main" id="{FFD30D47-D357-4EF4-A460-4DCBFC957D2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6985800"/>
              <a:ext cx="123672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 useBgFill="1">
        <p:nvSpPr>
          <p:cNvPr id="3" name="Title Placeholder">
            <a:extLst>
              <a:ext uri="{FF2B5EF4-FFF2-40B4-BE49-F238E27FC236}">
                <a16:creationId xmlns:a16="http://schemas.microsoft.com/office/drawing/2014/main" id="{6204A2EB-1C19-4C64-81DC-1BDFEC05E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764" y="433388"/>
            <a:ext cx="10858500" cy="372967"/>
          </a:xfrm>
          <a:prstGeom prst="rect">
            <a:avLst/>
          </a:prstGeom>
        </p:spPr>
        <p:txBody>
          <a:bodyPr vert="horz" wrap="square" lIns="0" tIns="360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Text Placeholder">
            <a:extLst>
              <a:ext uri="{FF2B5EF4-FFF2-40B4-BE49-F238E27FC236}">
                <a16:creationId xmlns:a16="http://schemas.microsoft.com/office/drawing/2014/main" id="{EDC0CEFE-B93D-446C-A98D-4EBC1C91F3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5764" y="1370012"/>
            <a:ext cx="10858500" cy="467995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">
            <a:extLst>
              <a:ext uri="{FF2B5EF4-FFF2-40B4-BE49-F238E27FC236}">
                <a16:creationId xmlns:a16="http://schemas.microsoft.com/office/drawing/2014/main" id="{A27FC136-A26A-487A-91EC-E1BE2A7C6D4D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1135064" y="6518273"/>
            <a:ext cx="1076536" cy="139926"/>
          </a:xfrm>
          <a:prstGeom prst="rect">
            <a:avLst/>
          </a:prstGeom>
        </p:spPr>
        <p:txBody>
          <a:bodyPr vert="horz" lIns="0" tIns="187200" rIns="0" bIns="0" rtlCol="0" anchor="b"/>
          <a:lstStyle>
            <a:lvl1pPr>
              <a:defRPr lang="en-US" sz="700"/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fld id="{DDEC559E-07BB-4B63-8C94-01E860D56791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June 4, 2024</a:t>
            </a:fld>
            <a:endParaRPr lang="en-US"/>
          </a:p>
        </p:txBody>
      </p:sp>
      <p:sp>
        <p:nvSpPr>
          <p:cNvPr id="102" name="empower - DO NOT DELETE!!!" hidden="1">
            <a:extLst>
              <a:ext uri="{FF2B5EF4-FFF2-40B4-BE49-F238E27FC236}">
                <a16:creationId xmlns:a16="http://schemas.microsoft.com/office/drawing/2014/main" id="{FED25113-06BE-4303-8C56-C7ECFD0C1D96}"/>
              </a:ext>
            </a:extLst>
          </p:cNvPr>
          <p:cNvSpPr/>
          <p:nvPr>
            <p:custDataLst>
              <p:tags r:id="rId34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03" name="Note Footer" hidden="1">
            <a:extLst>
              <a:ext uri="{FF2B5EF4-FFF2-40B4-BE49-F238E27FC236}">
                <a16:creationId xmlns:a16="http://schemas.microsoft.com/office/drawing/2014/main" id="{874FC37C-0743-4F3A-A2FA-52CD313C8FD2}"/>
              </a:ext>
            </a:extLst>
          </p:cNvPr>
          <p:cNvSpPr/>
          <p:nvPr>
            <p:custDataLst>
              <p:tags r:id="rId35"/>
            </p:custDataLst>
          </p:nvPr>
        </p:nvSpPr>
        <p:spPr>
          <a:xfrm>
            <a:off x="-3170400" y="22636"/>
            <a:ext cx="2901600" cy="2376764"/>
          </a:xfrm>
          <a:prstGeom prst="rect">
            <a:avLst/>
          </a:prstGeom>
          <a:gradFill flip="none" rotWithShape="1">
            <a:gsLst>
              <a:gs pos="1000">
                <a:srgbClr val="0D26AC"/>
              </a:gs>
              <a:gs pos="99000">
                <a:srgbClr val="009FDE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288000" rIns="288000" bIns="288000" rtlCol="0" anchor="t"/>
          <a:lstStyle/>
          <a:p>
            <a:pPr algn="l"/>
            <a:r>
              <a:rPr lang="en-US" sz="1200" b="1"/>
              <a:t>Add image</a:t>
            </a:r>
          </a:p>
          <a:p>
            <a:pPr algn="l"/>
            <a:r>
              <a:rPr lang="en-US" sz="1200"/>
              <a:t>To add an image to this slide you can drag an image to the slide. Or click the icon to select the image.</a:t>
            </a:r>
          </a:p>
          <a:p>
            <a:pPr algn="l"/>
            <a:r>
              <a:rPr lang="en-US" sz="1200"/>
              <a:t>If you want to reposition the image right click it and select Crop. Now you can use the round handles to change the size or drag the image to reposition it.</a:t>
            </a:r>
          </a:p>
        </p:txBody>
      </p:sp>
      <p:sp>
        <p:nvSpPr>
          <p:cNvPr id="104" name="Note Image" hidden="1">
            <a:extLst>
              <a:ext uri="{FF2B5EF4-FFF2-40B4-BE49-F238E27FC236}">
                <a16:creationId xmlns:a16="http://schemas.microsoft.com/office/drawing/2014/main" id="{490EDF33-79D6-42D6-A539-7968E42924EA}"/>
              </a:ext>
            </a:extLst>
          </p:cNvPr>
          <p:cNvSpPr/>
          <p:nvPr>
            <p:custDataLst>
              <p:tags r:id="rId36"/>
            </p:custDataLst>
          </p:nvPr>
        </p:nvSpPr>
        <p:spPr>
          <a:xfrm>
            <a:off x="-3170400" y="4892400"/>
            <a:ext cx="2901600" cy="1965600"/>
          </a:xfrm>
          <a:prstGeom prst="rect">
            <a:avLst/>
          </a:prstGeom>
          <a:gradFill flip="none" rotWithShape="1">
            <a:gsLst>
              <a:gs pos="1000">
                <a:srgbClr val="0D26AC"/>
              </a:gs>
              <a:gs pos="99000">
                <a:srgbClr val="009FDE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288000" rIns="288000" bIns="288000" rtlCol="0" anchor="ctr"/>
          <a:lstStyle/>
          <a:p>
            <a:pPr algn="l"/>
            <a:r>
              <a:rPr lang="en-US" sz="1200" b="1"/>
              <a:t>Add footer</a:t>
            </a:r>
          </a:p>
          <a:p>
            <a:pPr algn="l"/>
            <a:r>
              <a:rPr lang="en-US" sz="1200"/>
              <a:t>You can edit the footer (e.g. presentation description, date) using the slide via the </a:t>
            </a:r>
            <a:r>
              <a:rPr lang="en-US" sz="1200" b="1"/>
              <a:t>empower(R) presentation settings.</a:t>
            </a:r>
          </a:p>
          <a:p>
            <a:pPr algn="l"/>
            <a:r>
              <a:rPr lang="en-US" sz="1200"/>
              <a:t>Select and set the elements you want to show on either one or all slides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AF629C-9AF9-4125-871F-9B52510058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58400" y="6518277"/>
            <a:ext cx="8985600" cy="139924"/>
          </a:xfrm>
          <a:prstGeom prst="rect">
            <a:avLst/>
          </a:prstGeom>
        </p:spPr>
        <p:txBody>
          <a:bodyPr vert="horz" lIns="0" tIns="187200" rIns="0" bIns="0" rtlCol="0" anchor="b"/>
          <a:lstStyle>
            <a:lvl1pPr>
              <a:defRPr lang="en-US" sz="700"/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F6BB2D-86F7-7E0E-51F4-AD7D39854F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 b="0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80AA4FC3-2611-470F-8F65-3665378A6692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22E5671-4501-013D-6313-4B5797954F30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1888788" y="6687820"/>
            <a:ext cx="265112" cy="1066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7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blic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60" r:id="rId2"/>
    <p:sldLayoutId id="2147483679" r:id="rId3"/>
    <p:sldLayoutId id="2147483659" r:id="rId4"/>
    <p:sldLayoutId id="2147483653" r:id="rId5"/>
    <p:sldLayoutId id="2147483672" r:id="rId6"/>
    <p:sldLayoutId id="2147483674" r:id="rId7"/>
    <p:sldLayoutId id="2147483683" r:id="rId8"/>
    <p:sldLayoutId id="2147483682" r:id="rId9"/>
    <p:sldLayoutId id="2147483681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90" r:id="rId17"/>
    <p:sldLayoutId id="2147483691" r:id="rId18"/>
    <p:sldLayoutId id="2147483692" r:id="rId19"/>
    <p:sldLayoutId id="2147483693" r:id="rId20"/>
    <p:sldLayoutId id="2147483694" r:id="rId21"/>
    <p:sldLayoutId id="2147483695" r:id="rId22"/>
    <p:sldLayoutId id="2147483696" r:id="rId23"/>
    <p:sldLayoutId id="2147483697" r:id="rId24"/>
    <p:sldLayoutId id="2147483698" r:id="rId25"/>
    <p:sldLayoutId id="2147483699" r:id="rId26"/>
    <p:sldLayoutId id="2147483671" r:id="rId27"/>
    <p:sldLayoutId id="2147483678" r:id="rId28"/>
    <p:sldLayoutId id="2147483680" r:id="rId29"/>
    <p:sldLayoutId id="2147483700" r:id="rId30"/>
  </p:sldLayoutIdLst>
  <p:hf hdr="0"/>
  <p:txStyles>
    <p:titleStyle>
      <a:lvl1pPr algn="l" defTabSz="374400" rtl="0" eaLnBrk="1" latinLnBrk="0" hangingPunct="1">
        <a:lnSpc>
          <a:spcPct val="100000"/>
        </a:lnSpc>
        <a:spcBef>
          <a:spcPct val="0"/>
        </a:spcBef>
        <a:spcAft>
          <a:spcPts val="737"/>
        </a:spcAft>
        <a:buNone/>
        <a:defRPr sz="2400" b="1" kern="120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39725" indent="-339725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b="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568325" indent="-22860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11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8532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1376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SzPct val="90000"/>
        <a:buFont typeface="Arial" panose="020B0604020202020204" pitchFamily="34" charset="0"/>
        <a:buChar char="•"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4220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Font typeface="Arial" panose="020B0604020202020204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7064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Font typeface="Arial" panose="020B0604020202020204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9908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Font typeface="Arial" panose="020B0604020202020204" pitchFamily="34" charset="0"/>
        <a:buChar char="•"/>
        <a:defRPr sz="7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85750" indent="-28575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b="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5688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11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8532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1376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SzPct val="90000"/>
        <a:buFont typeface="Arial" panose="020B0604020202020204" pitchFamily="34" charset="0"/>
        <a:buChar char="•"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4220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Font typeface="Arial" panose="020B0604020202020204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7064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Font typeface="Arial" panose="020B0604020202020204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9908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Font typeface="Arial" panose="020B0604020202020204" pitchFamily="34" charset="0"/>
        <a:buChar char="•"/>
        <a:defRPr sz="7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40.png"/><Relationship Id="rId18" Type="http://schemas.openxmlformats.org/officeDocument/2006/relationships/image" Target="../media/image45.png"/><Relationship Id="rId26" Type="http://schemas.openxmlformats.org/officeDocument/2006/relationships/image" Target="../media/image53.png"/><Relationship Id="rId39" Type="http://schemas.openxmlformats.org/officeDocument/2006/relationships/image" Target="../media/image66.png"/><Relationship Id="rId3" Type="http://schemas.openxmlformats.org/officeDocument/2006/relationships/image" Target="../media/image30.jpeg"/><Relationship Id="rId21" Type="http://schemas.openxmlformats.org/officeDocument/2006/relationships/image" Target="../media/image48.png"/><Relationship Id="rId34" Type="http://schemas.openxmlformats.org/officeDocument/2006/relationships/image" Target="../media/image61.png"/><Relationship Id="rId7" Type="http://schemas.openxmlformats.org/officeDocument/2006/relationships/image" Target="../media/image34.png"/><Relationship Id="rId12" Type="http://schemas.openxmlformats.org/officeDocument/2006/relationships/image" Target="../media/image39.png"/><Relationship Id="rId17" Type="http://schemas.openxmlformats.org/officeDocument/2006/relationships/image" Target="../media/image44.png"/><Relationship Id="rId25" Type="http://schemas.openxmlformats.org/officeDocument/2006/relationships/image" Target="../media/image52.png"/><Relationship Id="rId33" Type="http://schemas.openxmlformats.org/officeDocument/2006/relationships/image" Target="../media/image60.png"/><Relationship Id="rId38" Type="http://schemas.openxmlformats.org/officeDocument/2006/relationships/image" Target="../media/image65.png"/><Relationship Id="rId2" Type="http://schemas.openxmlformats.org/officeDocument/2006/relationships/notesSlide" Target="../notesSlides/notesSlide13.xml"/><Relationship Id="rId16" Type="http://schemas.openxmlformats.org/officeDocument/2006/relationships/image" Target="../media/image43.png"/><Relationship Id="rId20" Type="http://schemas.openxmlformats.org/officeDocument/2006/relationships/image" Target="../media/image47.png"/><Relationship Id="rId29" Type="http://schemas.openxmlformats.org/officeDocument/2006/relationships/image" Target="../media/image56.png"/><Relationship Id="rId41" Type="http://schemas.openxmlformats.org/officeDocument/2006/relationships/image" Target="../media/image6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png"/><Relationship Id="rId11" Type="http://schemas.openxmlformats.org/officeDocument/2006/relationships/image" Target="../media/image38.png"/><Relationship Id="rId24" Type="http://schemas.openxmlformats.org/officeDocument/2006/relationships/image" Target="../media/image51.png"/><Relationship Id="rId32" Type="http://schemas.openxmlformats.org/officeDocument/2006/relationships/image" Target="../media/image59.png"/><Relationship Id="rId37" Type="http://schemas.openxmlformats.org/officeDocument/2006/relationships/image" Target="../media/image64.png"/><Relationship Id="rId40" Type="http://schemas.openxmlformats.org/officeDocument/2006/relationships/image" Target="../media/image67.png"/><Relationship Id="rId5" Type="http://schemas.openxmlformats.org/officeDocument/2006/relationships/image" Target="../media/image32.png"/><Relationship Id="rId15" Type="http://schemas.openxmlformats.org/officeDocument/2006/relationships/image" Target="../media/image42.png"/><Relationship Id="rId23" Type="http://schemas.openxmlformats.org/officeDocument/2006/relationships/image" Target="../media/image50.jpeg"/><Relationship Id="rId28" Type="http://schemas.openxmlformats.org/officeDocument/2006/relationships/image" Target="../media/image55.png"/><Relationship Id="rId36" Type="http://schemas.openxmlformats.org/officeDocument/2006/relationships/image" Target="../media/image63.png"/><Relationship Id="rId10" Type="http://schemas.openxmlformats.org/officeDocument/2006/relationships/image" Target="../media/image37.png"/><Relationship Id="rId19" Type="http://schemas.openxmlformats.org/officeDocument/2006/relationships/image" Target="../media/image46.png"/><Relationship Id="rId31" Type="http://schemas.openxmlformats.org/officeDocument/2006/relationships/image" Target="../media/image58.png"/><Relationship Id="rId4" Type="http://schemas.openxmlformats.org/officeDocument/2006/relationships/image" Target="../media/image31.jpeg"/><Relationship Id="rId9" Type="http://schemas.openxmlformats.org/officeDocument/2006/relationships/image" Target="../media/image36.jpeg"/><Relationship Id="rId14" Type="http://schemas.openxmlformats.org/officeDocument/2006/relationships/image" Target="../media/image41.png"/><Relationship Id="rId22" Type="http://schemas.openxmlformats.org/officeDocument/2006/relationships/image" Target="../media/image49.png"/><Relationship Id="rId27" Type="http://schemas.openxmlformats.org/officeDocument/2006/relationships/image" Target="../media/image54.png"/><Relationship Id="rId30" Type="http://schemas.openxmlformats.org/officeDocument/2006/relationships/image" Target="../media/image57.png"/><Relationship Id="rId35" Type="http://schemas.openxmlformats.org/officeDocument/2006/relationships/image" Target="../media/image6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3" Type="http://schemas.openxmlformats.org/officeDocument/2006/relationships/tags" Target="../tags/tag24.xml"/><Relationship Id="rId7" Type="http://schemas.openxmlformats.org/officeDocument/2006/relationships/notesSlide" Target="../notesSlides/notesSlide15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slideLayout" Target="../slideLayouts/slideLayout27.xml"/><Relationship Id="rId5" Type="http://schemas.openxmlformats.org/officeDocument/2006/relationships/tags" Target="../tags/tag26.xml"/><Relationship Id="rId4" Type="http://schemas.openxmlformats.org/officeDocument/2006/relationships/tags" Target="../tags/tag25.xml"/><Relationship Id="rId9" Type="http://schemas.openxmlformats.org/officeDocument/2006/relationships/image" Target="../media/image71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openzipkin/brave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micrometer-metrics/tracing/wiki/Spring-Cloud-Sleuth-3.1-Migration-Guide" TargetMode="Externa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png"/><Relationship Id="rId3" Type="http://schemas.openxmlformats.org/officeDocument/2006/relationships/tags" Target="../tags/tag29.xml"/><Relationship Id="rId7" Type="http://schemas.openxmlformats.org/officeDocument/2006/relationships/image" Target="../media/image75.jpe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notesSlide" Target="../notesSlides/notesSlide2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0.xml"/><Relationship Id="rId9" Type="http://schemas.openxmlformats.org/officeDocument/2006/relationships/image" Target="../media/image77.sv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8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e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e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e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e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e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e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e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e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spring-projects/spring-boot/wiki/Spring-Boot-3.0-Migration-Guide#apache-httpclient-in-resttemplate" TargetMode="External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79.jpe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jpe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1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jpe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spring-projects/spring-framework/blob/v6.0.7/spring-web/src/main/java/org/springframework/http/client/HttpComponentsClientHttpRequestFactory.java#L152" TargetMode="External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2.jpeg"/><Relationship Id="rId4" Type="http://schemas.openxmlformats.org/officeDocument/2006/relationships/hyperlink" Target="https://github.com/spring-projects/spring-boot/blob/v3.0.5/spring-boot-project/spring-boot/src/main/java/org/springframework/boot/web/client/ClientHttpRequestFactories.java#L151" TargetMode="Externa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spring-projects/spring-framework/blob/v6.0.7/spring-web/src/main/java/org/springframework/http/client/HttpComponentsClientHttpRequestFactory.java#L257" TargetMode="External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2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tags" Target="../tags/tag14.xml"/><Relationship Id="rId7" Type="http://schemas.openxmlformats.org/officeDocument/2006/relationships/image" Target="../media/image10.png"/><Relationship Id="rId12" Type="http://schemas.openxmlformats.org/officeDocument/2006/relationships/image" Target="../media/image15.sv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notesSlide" Target="../notesSlides/notesSlide4.xml"/><Relationship Id="rId11" Type="http://schemas.openxmlformats.org/officeDocument/2006/relationships/image" Target="../media/image14.png"/><Relationship Id="rId5" Type="http://schemas.openxmlformats.org/officeDocument/2006/relationships/slideLayout" Target="../slideLayouts/slideLayout27.xml"/><Relationship Id="rId10" Type="http://schemas.openxmlformats.org/officeDocument/2006/relationships/image" Target="../media/image13.svg"/><Relationship Id="rId4" Type="http://schemas.openxmlformats.org/officeDocument/2006/relationships/tags" Target="../tags/tag15.xml"/><Relationship Id="rId9" Type="http://schemas.openxmlformats.org/officeDocument/2006/relationships/image" Target="../media/image12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jpe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jpe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spring-projects/spring-boot/wiki/Spring-Boot-3.0-Migration-Guide#jakarta-ee" TargetMode="External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3.png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jpeg"/><Relationship Id="rId1" Type="http://schemas.openxmlformats.org/officeDocument/2006/relationships/slideLayout" Target="../slideLayouts/slideLayout11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jpe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11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6.png"/><Relationship Id="rId4" Type="http://schemas.openxmlformats.org/officeDocument/2006/relationships/notesSlide" Target="../notesSlides/notesSlide5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spring-projects/spring-boot/wiki/Spring-Boot-3.0-Migration-Guide#updated-phases-for-graceful-shutdown" TargetMode="External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hyperlink" Target="https://testcontainers.com/" TargetMode="External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9.jpe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jpe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1.xml"/><Relationship Id="rId5" Type="http://schemas.openxmlformats.org/officeDocument/2006/relationships/image" Target="../media/image91.png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18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19.xml"/><Relationship Id="rId4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20.xml"/><Relationship Id="rId4" Type="http://schemas.openxmlformats.org/officeDocument/2006/relationships/image" Target="../media/image21.gi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24.jpeg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21.xml"/><Relationship Id="rId6" Type="http://schemas.openxmlformats.org/officeDocument/2006/relationships/image" Target="../media/image23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26.gi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00BF2D59-6832-12BF-C904-9C0939C3ABFF}"/>
              </a:ext>
            </a:extLst>
          </p:cNvPr>
          <p:cNvPicPr>
            <a:picLocks noGrp="1" noChangeAspect="1"/>
          </p:cNvPicPr>
          <p:nvPr>
            <p:ph sz="quarter" idx="23"/>
          </p:nvPr>
        </p:nvPicPr>
        <p:blipFill>
          <a:blip r:embed="rId3"/>
          <a:stretch>
            <a:fillRect/>
          </a:stretch>
        </p:blipFill>
        <p:spPr>
          <a:xfrm>
            <a:off x="947736" y="0"/>
            <a:ext cx="11253500" cy="685800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809C9C7-2FC4-17C4-FD81-4EC6BF87BC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201236" cy="1111631"/>
          </a:xfrm>
          <a:solidFill>
            <a:schemeClr val="bg1"/>
          </a:solidFill>
        </p:spPr>
        <p:txBody>
          <a:bodyPr/>
          <a:lstStyle/>
          <a:p>
            <a:pPr algn="ctr"/>
            <a:br>
              <a:rPr lang="en-US" sz="2400"/>
            </a:br>
            <a:r>
              <a:rPr lang="en-US" sz="2400"/>
              <a:t>   Unveiling the path to Spring Boot 3 at </a:t>
            </a:r>
            <a:br>
              <a:rPr lang="en-US" sz="2400"/>
            </a:br>
            <a:r>
              <a:rPr lang="en-US" sz="2400"/>
              <a:t>the most important tech company you've never heard of</a:t>
            </a: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F369C23-8771-2B2E-2F31-1634DD89DF91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9" name="Text Placeholder 22">
            <a:extLst>
              <a:ext uri="{FF2B5EF4-FFF2-40B4-BE49-F238E27FC236}">
                <a16:creationId xmlns:a16="http://schemas.microsoft.com/office/drawing/2014/main" id="{2A2C7E2A-7448-2AB3-EDE5-C3C2264AD312}"/>
              </a:ext>
            </a:extLst>
          </p:cNvPr>
          <p:cNvSpPr txBox="1">
            <a:spLocks/>
          </p:cNvSpPr>
          <p:nvPr/>
        </p:nvSpPr>
        <p:spPr>
          <a:xfrm>
            <a:off x="9652166" y="5375241"/>
            <a:ext cx="5850000" cy="231201"/>
          </a:xfrm>
          <a:prstGeom prst="rect">
            <a:avLst/>
          </a:prstGeom>
        </p:spPr>
        <p:txBody>
          <a:bodyPr/>
          <a:lstStyle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9725" indent="-339725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325" indent="-2286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>
                <a:solidFill>
                  <a:schemeClr val="accent1"/>
                </a:solidFill>
              </a:rPr>
              <a:t>Laurentiu Marinescu</a:t>
            </a:r>
          </a:p>
          <a:p>
            <a:endParaRPr lang="en-US"/>
          </a:p>
        </p:txBody>
      </p:sp>
      <p:sp>
        <p:nvSpPr>
          <p:cNvPr id="10" name="Text Placeholder 23">
            <a:extLst>
              <a:ext uri="{FF2B5EF4-FFF2-40B4-BE49-F238E27FC236}">
                <a16:creationId xmlns:a16="http://schemas.microsoft.com/office/drawing/2014/main" id="{1EFFDA89-AEEE-FE63-8BCA-6E2977926041}"/>
              </a:ext>
            </a:extLst>
          </p:cNvPr>
          <p:cNvSpPr txBox="1">
            <a:spLocks/>
          </p:cNvSpPr>
          <p:nvPr/>
        </p:nvSpPr>
        <p:spPr>
          <a:xfrm>
            <a:off x="9685160" y="5711491"/>
            <a:ext cx="5850000" cy="233910"/>
          </a:xfrm>
          <a:prstGeom prst="rect">
            <a:avLst/>
          </a:prstGeom>
        </p:spPr>
        <p:txBody>
          <a:bodyPr/>
          <a:lstStyle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9725" indent="-339725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325" indent="-2286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accent1"/>
                </a:solidFill>
              </a:rPr>
              <a:t>Senior Software Engineer</a:t>
            </a:r>
          </a:p>
        </p:txBody>
      </p:sp>
    </p:spTree>
    <p:extLst>
      <p:ext uri="{BB962C8B-B14F-4D97-AF65-F5344CB8AC3E}">
        <p14:creationId xmlns:p14="http://schemas.microsoft.com/office/powerpoint/2010/main" val="24885187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06B6798-5CDE-BD7F-A4C4-CFC6F76C79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43400" y="0"/>
            <a:ext cx="7848600" cy="6854134"/>
          </a:xfrm>
          <a:prstGeom prst="rect">
            <a:avLst/>
          </a:prstGeom>
        </p:spPr>
      </p:pic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AA28E0E-9628-9035-889A-697BC5A52DB1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D17E5EC-7298-A0F9-AD9E-8E9E93167D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ully air gapped platform</a:t>
            </a:r>
          </a:p>
        </p:txBody>
      </p:sp>
      <p:sp>
        <p:nvSpPr>
          <p:cNvPr id="2" name="Slide Number Placeholder 6">
            <a:extLst>
              <a:ext uri="{FF2B5EF4-FFF2-40B4-BE49-F238E27FC236}">
                <a16:creationId xmlns:a16="http://schemas.microsoft.com/office/drawing/2014/main" id="{4284CABC-4103-F3DC-A801-9AAD1E5528BF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811000" y="6518276"/>
            <a:ext cx="381000" cy="339724"/>
          </a:xfrm>
          <a:noFill/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fld id="{A2218858-49EA-4BF8-8EFE-B88A4580565A}" type="slidenum">
              <a:rPr sz="800" smtClean="0"/>
              <a:pPr algn="r">
                <a:lnSpc>
                  <a:spcPct val="110000"/>
                </a:lnSpc>
                <a:spcAft>
                  <a:spcPts val="0"/>
                </a:spcAft>
              </a:pPr>
              <a:t>10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40306199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6" name="Picture 4" descr="Let's Learn About Bubbles, 53% OFF | eccosis.com.co">
            <a:extLst>
              <a:ext uri="{FF2B5EF4-FFF2-40B4-BE49-F238E27FC236}">
                <a16:creationId xmlns:a16="http://schemas.microsoft.com/office/drawing/2014/main" id="{19432586-C195-6362-61FA-0426D87FCF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0624" y="0"/>
            <a:ext cx="11001375" cy="6894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AA28E0E-9628-9035-889A-697BC5A52DB1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D17E5EC-7298-A0F9-AD9E-8E9E93167D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53378" y="484146"/>
            <a:ext cx="10858500" cy="742299"/>
          </a:xfrm>
        </p:spPr>
        <p:txBody>
          <a:bodyPr/>
          <a:lstStyle/>
          <a:p>
            <a:r>
              <a:rPr lang="en-US"/>
              <a:t>Rolling upgrades in </a:t>
            </a:r>
            <a:br>
              <a:rPr lang="en-US"/>
            </a:br>
            <a:r>
              <a:rPr lang="en-US"/>
              <a:t>a closed environment</a:t>
            </a:r>
          </a:p>
        </p:txBody>
      </p:sp>
      <p:sp>
        <p:nvSpPr>
          <p:cNvPr id="2" name="Slide Number Placeholder 6">
            <a:extLst>
              <a:ext uri="{FF2B5EF4-FFF2-40B4-BE49-F238E27FC236}">
                <a16:creationId xmlns:a16="http://schemas.microsoft.com/office/drawing/2014/main" id="{3227DDD0-AB9E-866C-C936-9FFE8B8DE875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811000" y="6518276"/>
            <a:ext cx="381000" cy="339724"/>
          </a:xfrm>
          <a:noFill/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fld id="{A2218858-49EA-4BF8-8EFE-B88A4580565A}" type="slidenum">
              <a:rPr sz="800" smtClean="0"/>
              <a:pPr algn="r">
                <a:lnSpc>
                  <a:spcPct val="110000"/>
                </a:lnSpc>
                <a:spcAft>
                  <a:spcPts val="0"/>
                </a:spcAft>
              </a:pPr>
              <a:t>11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38786284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Trains on empty subway platform">
            <a:extLst>
              <a:ext uri="{FF2B5EF4-FFF2-40B4-BE49-F238E27FC236}">
                <a16:creationId xmlns:a16="http://schemas.microsoft.com/office/drawing/2014/main" id="{A12F7A22-FFC5-E923-65A4-7C40207C9F4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5800" y="0"/>
            <a:ext cx="7696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C3D654C-49EE-940D-2790-72ED50ADCD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our platform?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B2A1D15-730E-44E3-5E18-C9038526860D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5763" y="1088918"/>
            <a:ext cx="10857863" cy="4680163"/>
          </a:xfrm>
        </p:spPr>
        <p:txBody>
          <a:bodyPr/>
          <a:lstStyle>
            <a:lvl1pPr>
              <a:buFont typeface="Arial" panose="020B0604020202020204" pitchFamily="34" charset="0"/>
              <a:buChar char="•"/>
            </a:lvl1pPr>
            <a:lvl2pPr>
              <a:buFont typeface="Arial" panose="020B0604020202020204" pitchFamily="34" charset="0"/>
              <a:buChar char="•"/>
            </a:lvl2pPr>
            <a:lvl3pPr>
              <a:buSzPct val="110000"/>
              <a:buFont typeface="Arial" panose="020B0604020202020204" pitchFamily="34" charset="0"/>
              <a:buChar char="•"/>
            </a:lvl3pPr>
            <a:lvl4pPr>
              <a:buSzPct val="100000"/>
              <a:buFont typeface="Arial" panose="020B0604020202020204" pitchFamily="34" charset="0"/>
              <a:buChar char="•"/>
            </a:lvl4pPr>
            <a:lvl5pPr>
              <a:buSzPct val="90000"/>
              <a:buFont typeface="Arial" panose="020B0604020202020204" pitchFamily="34" charset="0"/>
              <a:buChar char="•"/>
            </a:lvl5pPr>
            <a:lvl6pPr>
              <a:buFont typeface="Arial" panose="020B0604020202020204" pitchFamily="34" charset="0"/>
              <a:buChar char="•"/>
            </a:lvl6pPr>
            <a:lvl7pPr>
              <a:buFont typeface="Arial" panose="020B0604020202020204" pitchFamily="34" charset="0"/>
              <a:buChar char="•"/>
            </a:lvl7pPr>
            <a:lvl8pPr>
              <a:buFont typeface="Arial" panose="020B0604020202020204" pitchFamily="34" charset="0"/>
              <a:buChar char="•"/>
            </a:lvl8pPr>
            <a:lvl9pPr/>
          </a:lstStyle>
          <a:p>
            <a:pPr>
              <a:buNone/>
            </a:pPr>
            <a:endParaRPr lang="en-US" dirty="0"/>
          </a:p>
          <a:p>
            <a:pPr marL="285750" indent="-285750"/>
            <a:r>
              <a:rPr lang="en-US" dirty="0"/>
              <a:t>Highly scalable</a:t>
            </a:r>
          </a:p>
          <a:p>
            <a:pPr>
              <a:buNone/>
            </a:pPr>
            <a:endParaRPr lang="en-US" dirty="0"/>
          </a:p>
          <a:p>
            <a:pPr marL="285750" indent="-285750"/>
            <a:r>
              <a:rPr lang="en-US" dirty="0"/>
              <a:t>Highly available</a:t>
            </a:r>
          </a:p>
          <a:p>
            <a:pPr marL="285750" indent="-285750"/>
            <a:endParaRPr lang="en-US" dirty="0"/>
          </a:p>
          <a:p>
            <a:pPr marL="285750" indent="-285750"/>
            <a:r>
              <a:rPr lang="en-US" dirty="0"/>
              <a:t>Zero downtime</a:t>
            </a:r>
          </a:p>
          <a:p>
            <a:pPr>
              <a:buNone/>
            </a:pPr>
            <a:endParaRPr lang="en-US" dirty="0"/>
          </a:p>
          <a:p>
            <a:pPr marL="285750" indent="-285750"/>
            <a:r>
              <a:rPr lang="en-US" dirty="0"/>
              <a:t>Secure</a:t>
            </a:r>
          </a:p>
          <a:p>
            <a:pPr marL="285750" indent="-285750"/>
            <a:endParaRPr lang="en-US" dirty="0"/>
          </a:p>
          <a:p>
            <a:pPr marL="285750" indent="-285750"/>
            <a:r>
              <a:rPr lang="en-US" dirty="0"/>
              <a:t>Monitoring</a:t>
            </a:r>
          </a:p>
          <a:p>
            <a:pPr marL="285750" indent="-285750"/>
            <a:endParaRPr lang="en-US" dirty="0"/>
          </a:p>
          <a:p>
            <a:pPr marL="285750" indent="-285750"/>
            <a:r>
              <a:rPr lang="en-US" dirty="0"/>
              <a:t>For large volumes of data</a:t>
            </a:r>
          </a:p>
          <a:p>
            <a:pPr marL="285750" indent="-285750"/>
            <a:endParaRPr lang="en-US" dirty="0"/>
          </a:p>
          <a:p>
            <a:pPr marL="285750" indent="-285750"/>
            <a:r>
              <a:rPr lang="en-US" dirty="0"/>
              <a:t>For computing intensive applications</a:t>
            </a:r>
          </a:p>
          <a:p>
            <a:pPr>
              <a:buNone/>
            </a:pPr>
            <a:endParaRPr lang="en-US" dirty="0"/>
          </a:p>
          <a:p>
            <a:pPr marL="285750" indent="-285750"/>
            <a:r>
              <a:rPr lang="en-US" dirty="0"/>
              <a:t>Based on Open (and de-facto) standards</a:t>
            </a:r>
          </a:p>
          <a:p>
            <a:pPr marL="285750" indent="-285750"/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4A0D945-CC37-9B34-EF83-C2B6B1A38C63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7E405A5C-9E9D-55F5-2580-9639B0D614A0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811000" y="6518276"/>
            <a:ext cx="381000" cy="339724"/>
          </a:xfrm>
          <a:noFill/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 dirty="0"/>
              <a:t> </a:t>
            </a:r>
            <a:fld id="{A2218858-49EA-4BF8-8EFE-B88A4580565A}" type="slidenum">
              <a:rPr sz="800" smtClean="0"/>
              <a:pPr algn="r">
                <a:lnSpc>
                  <a:spcPct val="110000"/>
                </a:lnSpc>
                <a:spcAft>
                  <a:spcPts val="0"/>
                </a:spcAft>
              </a:pPr>
              <a:t>12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7463319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B47FF1-870D-267A-C923-D72EB345F4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763" y="317858"/>
            <a:ext cx="10858500" cy="372967"/>
          </a:xfrm>
        </p:spPr>
        <p:txBody>
          <a:bodyPr/>
          <a:lstStyle/>
          <a:p>
            <a:r>
              <a:rPr lang="en-US"/>
              <a:t>Technologie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AA28E0E-9628-9035-889A-697BC5A52DB1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pic>
        <p:nvPicPr>
          <p:cNvPr id="23554" name="Picture 2" descr="Red Hat Enterprise Linux 8.4 arriveert – TEQnation – Platform">
            <a:extLst>
              <a:ext uri="{FF2B5EF4-FFF2-40B4-BE49-F238E27FC236}">
                <a16:creationId xmlns:a16="http://schemas.microsoft.com/office/drawing/2014/main" id="{8F2D9F01-1668-0DE0-84D0-F76D32C4C8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7801" y="4156727"/>
            <a:ext cx="805787" cy="5376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558" name="Picture 6" descr="HDFS Operations. The main objective of this article is… | by Ahmet Okan  YILMAZ | Medium">
            <a:extLst>
              <a:ext uri="{FF2B5EF4-FFF2-40B4-BE49-F238E27FC236}">
                <a16:creationId xmlns:a16="http://schemas.microsoft.com/office/drawing/2014/main" id="{9E067FB7-957F-0CD5-CA59-C3067649B5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6984" y="4230847"/>
            <a:ext cx="1084578" cy="509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560" name="Picture 8" descr="Announcing AMQ Streams: Apache Kafka on OpenShift | Red Hat Developer">
            <a:extLst>
              <a:ext uri="{FF2B5EF4-FFF2-40B4-BE49-F238E27FC236}">
                <a16:creationId xmlns:a16="http://schemas.microsoft.com/office/drawing/2014/main" id="{1FAC3BB6-F8C2-1C43-398F-8AD5BC4C48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5260" y="3140400"/>
            <a:ext cx="902654" cy="4513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562" name="Picture 10" descr="Spark Series (1): Installing Apache Spark 3.2.1 on macOS &amp; Running your  first Spark program in Python on a dataset with 25 million rows | by Hao  Lin | Medium">
            <a:extLst>
              <a:ext uri="{FF2B5EF4-FFF2-40B4-BE49-F238E27FC236}">
                <a16:creationId xmlns:a16="http://schemas.microsoft.com/office/drawing/2014/main" id="{D88204CD-487B-1D64-F043-BFC48C7D49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38" y="4244038"/>
            <a:ext cx="1350673" cy="446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566" name="Picture 14" descr="Hello, World: Neo4j, Inc.">
            <a:extLst>
              <a:ext uri="{FF2B5EF4-FFF2-40B4-BE49-F238E27FC236}">
                <a16:creationId xmlns:a16="http://schemas.microsoft.com/office/drawing/2014/main" id="{6A1E3E19-1E8A-280C-A7FC-F986FFCF77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3941" y="4330546"/>
            <a:ext cx="827463" cy="4137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568" name="Picture 16" descr="Getting Started with Ansible - Knoldus Blogs">
            <a:extLst>
              <a:ext uri="{FF2B5EF4-FFF2-40B4-BE49-F238E27FC236}">
                <a16:creationId xmlns:a16="http://schemas.microsoft.com/office/drawing/2014/main" id="{7E663179-D953-E34A-8E27-C9021CC1D1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66587" y="2110560"/>
            <a:ext cx="1651266" cy="4715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570" name="Picture 18" descr="Open Source Kubernetes on DC/OS: An Introduction | D2iQ | D2iQ">
            <a:extLst>
              <a:ext uri="{FF2B5EF4-FFF2-40B4-BE49-F238E27FC236}">
                <a16:creationId xmlns:a16="http://schemas.microsoft.com/office/drawing/2014/main" id="{CDA16248-056B-4FBF-CB01-CA3DAE7329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2782" y="2988744"/>
            <a:ext cx="1187372" cy="6678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BDC0A5D-D02E-7DE6-BF07-4F5967E792D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932397" y="3203327"/>
            <a:ext cx="1088432" cy="377871"/>
          </a:xfrm>
          <a:prstGeom prst="rect">
            <a:avLst/>
          </a:prstGeom>
        </p:spPr>
      </p:pic>
      <p:pic>
        <p:nvPicPr>
          <p:cNvPr id="23574" name="Picture 22" descr="HAProxy - Wikipedia">
            <a:extLst>
              <a:ext uri="{FF2B5EF4-FFF2-40B4-BE49-F238E27FC236}">
                <a16:creationId xmlns:a16="http://schemas.microsoft.com/office/drawing/2014/main" id="{7E0F8A72-D5D5-6CC4-F14C-1A3ED13E37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7125" y="2133613"/>
            <a:ext cx="734771" cy="577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576" name="Picture 24" descr="How to get started with MongoDB in 10 minutes | by Navindu Jayatilake |  Medium">
            <a:extLst>
              <a:ext uri="{FF2B5EF4-FFF2-40B4-BE49-F238E27FC236}">
                <a16:creationId xmlns:a16="http://schemas.microsoft.com/office/drawing/2014/main" id="{25C76278-9644-4A14-1BF0-8790655585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9837" y="4169454"/>
            <a:ext cx="575818" cy="575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57D7356-BE84-EF47-F43E-F0C23D9EDD8A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471567" y="2115317"/>
            <a:ext cx="453941" cy="45413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EBF34BC-6062-DE4C-4D2A-EDD245AE6527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736869" y="1836497"/>
            <a:ext cx="365659" cy="668851"/>
          </a:xfrm>
          <a:prstGeom prst="rect">
            <a:avLst/>
          </a:prstGeom>
        </p:spPr>
      </p:pic>
      <p:pic>
        <p:nvPicPr>
          <p:cNvPr id="23582" name="Picture 30" descr="Python (programmeertaal) - Wikipedia">
            <a:extLst>
              <a:ext uri="{FF2B5EF4-FFF2-40B4-BE49-F238E27FC236}">
                <a16:creationId xmlns:a16="http://schemas.microsoft.com/office/drawing/2014/main" id="{FC75AC89-7974-FCBB-6067-364FF77B0A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396" y="3128310"/>
            <a:ext cx="427900" cy="468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584" name="Picture 32" descr="Microsoft Azure - Wikipedia">
            <a:extLst>
              <a:ext uri="{FF2B5EF4-FFF2-40B4-BE49-F238E27FC236}">
                <a16:creationId xmlns:a16="http://schemas.microsoft.com/office/drawing/2014/main" id="{C1E76B78-8D0E-4110-1BD8-9301F1B0E7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1720" y="3109360"/>
            <a:ext cx="426666" cy="426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586" name="Picture 34" descr="Atlassian">
            <a:extLst>
              <a:ext uri="{FF2B5EF4-FFF2-40B4-BE49-F238E27FC236}">
                <a16:creationId xmlns:a16="http://schemas.microsoft.com/office/drawing/2014/main" id="{183A03B2-9FF7-0469-02EA-CED92263BD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36428" y="4181036"/>
            <a:ext cx="498540" cy="4985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C1D603F4-E97E-9B3B-7821-EEA0C1EAAC9C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8276855" y="2055845"/>
            <a:ext cx="657434" cy="657434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2BB87D7-EE6E-7185-672B-2ACEC0548B74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3601893" y="2008458"/>
            <a:ext cx="501802" cy="501802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F2ADDE00-0D31-780A-8D04-72283B589300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5564059" y="2100620"/>
            <a:ext cx="501802" cy="45413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3045BE5C-2BE2-5E29-8EED-C421FDFB9D6E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1326616" y="2096306"/>
            <a:ext cx="1030647" cy="309590"/>
          </a:xfrm>
          <a:prstGeom prst="rect">
            <a:avLst/>
          </a:prstGeom>
        </p:spPr>
      </p:pic>
      <p:pic>
        <p:nvPicPr>
          <p:cNvPr id="23594" name="Picture 42" descr="Getting started with Terraform in DevOps - Aviator Blog">
            <a:extLst>
              <a:ext uri="{FF2B5EF4-FFF2-40B4-BE49-F238E27FC236}">
                <a16:creationId xmlns:a16="http://schemas.microsoft.com/office/drawing/2014/main" id="{CEB5F3CD-796E-E897-39BA-180334270D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9523" y="4156915"/>
            <a:ext cx="767488" cy="575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598" name="Picture 46" descr="Bildergebnis für docker java">
            <a:extLst>
              <a:ext uri="{FF2B5EF4-FFF2-40B4-BE49-F238E27FC236}">
                <a16:creationId xmlns:a16="http://schemas.microsoft.com/office/drawing/2014/main" id="{281ED80B-DD6E-ACA8-D0B6-4B8EC866C5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3605" y="2030486"/>
            <a:ext cx="624687" cy="481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F8F33A5C-C5F0-466A-96F1-E5A222B5C0AB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5984383" y="3263803"/>
            <a:ext cx="974368" cy="287362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1C4CF581-99F1-DEDB-E416-9B10D065427D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18773218" y="2741091"/>
            <a:ext cx="122376" cy="61188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E0B96D1A-E6BB-8F9A-CC24-FC12E9EAB75F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9296998" y="2148004"/>
            <a:ext cx="439529" cy="435866"/>
          </a:xfrm>
          <a:prstGeom prst="rect">
            <a:avLst/>
          </a:prstGeom>
        </p:spPr>
      </p:pic>
      <p:pic>
        <p:nvPicPr>
          <p:cNvPr id="23600" name="Picture 48" descr="OpenTelemetry | Drupal.org">
            <a:extLst>
              <a:ext uri="{FF2B5EF4-FFF2-40B4-BE49-F238E27FC236}">
                <a16:creationId xmlns:a16="http://schemas.microsoft.com/office/drawing/2014/main" id="{44A2F614-1B54-0FBD-DDCA-134B4F0480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8076" y="3112988"/>
            <a:ext cx="809670" cy="423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604" name="Picture 52" descr="Keycloak SSO: Advantages, installation, protips and the real cost - Pretius">
            <a:extLst>
              <a:ext uri="{FF2B5EF4-FFF2-40B4-BE49-F238E27FC236}">
                <a16:creationId xmlns:a16="http://schemas.microsoft.com/office/drawing/2014/main" id="{3BFE7DA1-55BB-462E-0E58-156ADA516E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4385" y="4176649"/>
            <a:ext cx="826527" cy="5510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606" name="Picture 54" descr="Kubernetes | Technologies | JOSHMARTIN">
            <a:extLst>
              <a:ext uri="{FF2B5EF4-FFF2-40B4-BE49-F238E27FC236}">
                <a16:creationId xmlns:a16="http://schemas.microsoft.com/office/drawing/2014/main" id="{B810B788-71A8-C0A6-192D-EFFA4152D2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763" y="1981200"/>
            <a:ext cx="504533" cy="4890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D5EFB5D5-A4ED-5BD2-DF0E-27C15351938D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10348821" y="3103080"/>
            <a:ext cx="551018" cy="551018"/>
          </a:xfrm>
          <a:prstGeom prst="rect">
            <a:avLst/>
          </a:prstGeom>
        </p:spPr>
      </p:pic>
      <p:pic>
        <p:nvPicPr>
          <p:cNvPr id="23608" name="Picture 56" descr="Apache HBase — a Brief Introduction | by Wei Wang | Medium">
            <a:extLst>
              <a:ext uri="{FF2B5EF4-FFF2-40B4-BE49-F238E27FC236}">
                <a16:creationId xmlns:a16="http://schemas.microsoft.com/office/drawing/2014/main" id="{F014B3BA-467B-AC49-3006-E5BF9D8E9C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6585" y="4250501"/>
            <a:ext cx="1263235" cy="388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610" name="Picture 58" descr="Karate Framework Tutorial: Automated API Testing With Karate">
            <a:extLst>
              <a:ext uri="{FF2B5EF4-FFF2-40B4-BE49-F238E27FC236}">
                <a16:creationId xmlns:a16="http://schemas.microsoft.com/office/drawing/2014/main" id="{237F182A-3DA0-44A5-776D-8CEC845B09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08566" y="4169454"/>
            <a:ext cx="571816" cy="4673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94F3FE46-08AA-5B00-66FF-988AB8AB33D4}"/>
              </a:ext>
            </a:extLst>
          </p:cNvPr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11111082" y="3209441"/>
            <a:ext cx="427800" cy="42780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4528A2C3-6D5B-8ADF-C016-25B146C6F18E}"/>
              </a:ext>
            </a:extLst>
          </p:cNvPr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2824497" y="4322179"/>
            <a:ext cx="399869" cy="412364"/>
          </a:xfrm>
          <a:prstGeom prst="rect">
            <a:avLst/>
          </a:prstGeom>
        </p:spPr>
      </p:pic>
      <p:pic>
        <p:nvPicPr>
          <p:cNvPr id="23552" name="Picture 23551">
            <a:extLst>
              <a:ext uri="{FF2B5EF4-FFF2-40B4-BE49-F238E27FC236}">
                <a16:creationId xmlns:a16="http://schemas.microsoft.com/office/drawing/2014/main" id="{D15BE823-2B32-56F2-93E5-A425CC3FDAEE}"/>
              </a:ext>
            </a:extLst>
          </p:cNvPr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1218941" y="3103473"/>
            <a:ext cx="536473" cy="468684"/>
          </a:xfrm>
          <a:prstGeom prst="rect">
            <a:avLst/>
          </a:prstGeom>
        </p:spPr>
      </p:pic>
      <p:pic>
        <p:nvPicPr>
          <p:cNvPr id="23553" name="Picture 23552">
            <a:extLst>
              <a:ext uri="{FF2B5EF4-FFF2-40B4-BE49-F238E27FC236}">
                <a16:creationId xmlns:a16="http://schemas.microsoft.com/office/drawing/2014/main" id="{4797BEEE-ECD7-5298-57EE-C5D59CCAC5B4}"/>
              </a:ext>
            </a:extLst>
          </p:cNvPr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7362905" y="2091480"/>
            <a:ext cx="501803" cy="501803"/>
          </a:xfrm>
          <a:prstGeom prst="rect">
            <a:avLst/>
          </a:prstGeom>
        </p:spPr>
      </p:pic>
      <p:pic>
        <p:nvPicPr>
          <p:cNvPr id="23557" name="Picture 23556">
            <a:extLst>
              <a:ext uri="{FF2B5EF4-FFF2-40B4-BE49-F238E27FC236}">
                <a16:creationId xmlns:a16="http://schemas.microsoft.com/office/drawing/2014/main" id="{6E4CA21A-6447-3506-2C8A-186368E325DA}"/>
              </a:ext>
            </a:extLst>
          </p:cNvPr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8151089" y="3113273"/>
            <a:ext cx="865379" cy="467925"/>
          </a:xfrm>
          <a:prstGeom prst="rect">
            <a:avLst/>
          </a:prstGeom>
        </p:spPr>
      </p:pic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54D53BD4-0FA4-8851-877D-F046CB5187EF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811000" y="6518276"/>
            <a:ext cx="381000" cy="339724"/>
          </a:xfrm>
          <a:solidFill>
            <a:schemeClr val="bg1"/>
          </a:solidFill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fld id="{A2218858-49EA-4BF8-8EFE-B88A4580565A}" type="slidenum">
              <a:rPr sz="800" smtClean="0"/>
              <a:pPr algn="r">
                <a:lnSpc>
                  <a:spcPct val="110000"/>
                </a:lnSpc>
                <a:spcAft>
                  <a:spcPts val="0"/>
                </a:spcAft>
              </a:pPr>
              <a:t>13</a:t>
            </a:fld>
            <a:endParaRPr lang="en-US" sz="800"/>
          </a:p>
        </p:txBody>
      </p:sp>
      <p:pic>
        <p:nvPicPr>
          <p:cNvPr id="3" name="Picture 2" descr="A logo with colorful dots&#10;&#10;Description automatically generated">
            <a:extLst>
              <a:ext uri="{FF2B5EF4-FFF2-40B4-BE49-F238E27FC236}">
                <a16:creationId xmlns:a16="http://schemas.microsoft.com/office/drawing/2014/main" id="{9AC383C8-BF36-09C7-8B11-BED09E410E1A}"/>
              </a:ext>
            </a:extLst>
          </p:cNvPr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380136" y="4363748"/>
            <a:ext cx="763732" cy="370322"/>
          </a:xfrm>
          <a:prstGeom prst="rect">
            <a:avLst/>
          </a:prstGeom>
        </p:spPr>
      </p:pic>
      <p:pic>
        <p:nvPicPr>
          <p:cNvPr id="5" name="Picture 4" descr="vmware-logo | Mastering VMware">
            <a:extLst>
              <a:ext uri="{FF2B5EF4-FFF2-40B4-BE49-F238E27FC236}">
                <a16:creationId xmlns:a16="http://schemas.microsoft.com/office/drawing/2014/main" id="{070A32F8-5522-9283-C757-3DE34561931A}"/>
              </a:ext>
            </a:extLst>
          </p:cNvPr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5971307" y="4096200"/>
            <a:ext cx="803565" cy="582144"/>
          </a:xfrm>
          <a:prstGeom prst="rect">
            <a:avLst/>
          </a:prstGeom>
        </p:spPr>
      </p:pic>
      <p:pic>
        <p:nvPicPr>
          <p:cNvPr id="1026" name="Picture 2" descr="Building with Open Policy Agent (OPA) for better policy as code">
            <a:extLst>
              <a:ext uri="{FF2B5EF4-FFF2-40B4-BE49-F238E27FC236}">
                <a16:creationId xmlns:a16="http://schemas.microsoft.com/office/drawing/2014/main" id="{2E06D275-EB3E-4CDB-3182-1D7C4ADC1C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5144" y="4156727"/>
            <a:ext cx="676692" cy="507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Go Logo PNG Vector (SVG) Free Download">
            <a:extLst>
              <a:ext uri="{FF2B5EF4-FFF2-40B4-BE49-F238E27FC236}">
                <a16:creationId xmlns:a16="http://schemas.microsoft.com/office/drawing/2014/main" id="{1C5E5388-731F-106D-874E-9F42AA5C46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4196" y="3070912"/>
            <a:ext cx="380152" cy="5160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2369034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892402C-DA14-9EEC-E5E5-21DA8E7B6700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14CD3A7-9E40-46FB-A41D-9CC29415685D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June 4, 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2C0197-6AC0-3670-591C-B87722A6C342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936F093-8D40-A4F5-410B-2B4FC8F1F4FB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14</a:t>
            </a:fld>
            <a:endParaRPr lang="en-US"/>
          </a:p>
        </p:txBody>
      </p:sp>
      <p:pic>
        <p:nvPicPr>
          <p:cNvPr id="9" name="Picture 8" descr="Aerial top view container ship">
            <a:extLst>
              <a:ext uri="{FF2B5EF4-FFF2-40B4-BE49-F238E27FC236}">
                <a16:creationId xmlns:a16="http://schemas.microsoft.com/office/drawing/2014/main" id="{127F39B9-B4BC-A05E-56CB-01A736569DC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" y="0"/>
            <a:ext cx="12191551" cy="6858000"/>
          </a:xfrm>
          <a:prstGeom prst="rect">
            <a:avLst/>
          </a:prstGeom>
        </p:spPr>
      </p:pic>
      <p:sp>
        <p:nvSpPr>
          <p:cNvPr id="2" name="Slide Number Placeholder 6">
            <a:extLst>
              <a:ext uri="{FF2B5EF4-FFF2-40B4-BE49-F238E27FC236}">
                <a16:creationId xmlns:a16="http://schemas.microsoft.com/office/drawing/2014/main" id="{29757762-BB78-DC12-452E-433B36DC6B7C}"/>
              </a:ext>
            </a:extLst>
          </p:cNvPr>
          <p:cNvSpPr txBox="1">
            <a:spLocks/>
          </p:cNvSpPr>
          <p:nvPr/>
        </p:nvSpPr>
        <p:spPr>
          <a:xfrm>
            <a:off x="11811000" y="6518276"/>
            <a:ext cx="381000" cy="339724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indent="0" algn="r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7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fld id="{A2218858-49EA-4BF8-8EFE-B88A4580565A}" type="slidenum">
              <a:rPr sz="800" smtClean="0"/>
              <a:pPr>
                <a:lnSpc>
                  <a:spcPct val="110000"/>
                </a:lnSpc>
                <a:spcAft>
                  <a:spcPts val="0"/>
                </a:spcAft>
              </a:pPr>
              <a:t>14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354630771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94766977-F033-4680-8FF2-8CFEC68A638E}"/>
              </a:ext>
            </a:extLst>
          </p:cNvPr>
          <p:cNvGrpSpPr/>
          <p:nvPr/>
        </p:nvGrpSpPr>
        <p:grpSpPr>
          <a:xfrm>
            <a:off x="383991" y="3231292"/>
            <a:ext cx="2735469" cy="2889533"/>
            <a:chOff x="385763" y="4272274"/>
            <a:chExt cx="2735468" cy="1544567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F5E94FD0-FCE6-4511-BF9B-96CCEECCEB53}"/>
                </a:ext>
              </a:extLst>
            </p:cNvPr>
            <p:cNvSpPr>
              <a:spLocks/>
            </p:cNvSpPr>
            <p:nvPr/>
          </p:nvSpPr>
          <p:spPr>
            <a:xfrm>
              <a:off x="385764" y="4521824"/>
              <a:ext cx="2735467" cy="1295017"/>
            </a:xfrm>
            <a:prstGeom prst="rect">
              <a:avLst/>
            </a:prstGeom>
            <a:solidFill>
              <a:schemeClr val="bg2"/>
            </a:solidFill>
            <a:ln w="19050" cap="flat" cmpd="sng" algn="ctr">
              <a:noFill/>
              <a:prstDash val="solid"/>
              <a:miter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accent1"/>
                  </a:solidFill>
                  <a:prstDash val="solid"/>
                  <a:miter/>
                </a14:hiddenLine>
              </a:ext>
            </a:extLst>
          </p:spPr>
          <p:style>
            <a:lnRef idx="2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rtlCol="0" anchor="t"/>
            <a:lstStyle/>
            <a:p>
              <a:r>
                <a:rPr lang="en-US" sz="1000" dirty="0">
                  <a:solidFill>
                    <a:schemeClr val="dk1"/>
                  </a:solidFill>
                  <a:cs typeface="Poppins" pitchFamily="2" charset="77"/>
                </a:rPr>
                <a:t>Baseline.</a:t>
              </a:r>
            </a:p>
            <a:p>
              <a:endParaRPr lang="en-US" sz="1000" dirty="0">
                <a:solidFill>
                  <a:schemeClr val="dk1"/>
                </a:solidFill>
                <a:cs typeface="Poppins" pitchFamily="2" charset="77"/>
              </a:endParaRPr>
            </a:p>
            <a:p>
              <a:r>
                <a:rPr lang="en-US" sz="1000" dirty="0">
                  <a:solidFill>
                    <a:schemeClr val="dk1"/>
                  </a:solidFill>
                  <a:cs typeface="Poppins" pitchFamily="2" charset="77"/>
                </a:rPr>
                <a:t>Intermediate steps:</a:t>
              </a:r>
            </a:p>
            <a:p>
              <a:r>
                <a:rPr lang="en-US" sz="1000" dirty="0">
                  <a:solidFill>
                    <a:schemeClr val="dk1"/>
                  </a:solidFill>
                  <a:cs typeface="Poppins" pitchFamily="2" charset="77"/>
                </a:rPr>
                <a:t>Spring Boot 2.3</a:t>
              </a:r>
            </a:p>
            <a:p>
              <a:r>
                <a:rPr lang="en-US" sz="1000" dirty="0">
                  <a:solidFill>
                    <a:schemeClr val="dk1"/>
                  </a:solidFill>
                  <a:cs typeface="Poppins" pitchFamily="2" charset="77"/>
                </a:rPr>
                <a:t>                    2.4</a:t>
              </a:r>
            </a:p>
            <a:p>
              <a:r>
                <a:rPr lang="en-US" sz="1000" dirty="0">
                  <a:solidFill>
                    <a:schemeClr val="dk1"/>
                  </a:solidFill>
                  <a:cs typeface="Poppins" pitchFamily="2" charset="77"/>
                </a:rPr>
                <a:t>                    2.5</a:t>
              </a:r>
            </a:p>
            <a:p>
              <a:r>
                <a:rPr lang="en-US" sz="1000" dirty="0">
                  <a:solidFill>
                    <a:schemeClr val="dk1"/>
                  </a:solidFill>
                  <a:cs typeface="Poppins" pitchFamily="2" charset="77"/>
                </a:rPr>
                <a:t>                    2.6</a:t>
              </a:r>
            </a:p>
            <a:p>
              <a:endParaRPr lang="en-US" sz="1000" dirty="0">
                <a:solidFill>
                  <a:schemeClr val="dk1"/>
                </a:solidFill>
                <a:cs typeface="Poppins" pitchFamily="2" charset="77"/>
              </a:endParaRPr>
            </a:p>
            <a:p>
              <a:r>
                <a:rPr lang="en-US" sz="1000" dirty="0">
                  <a:solidFill>
                    <a:schemeClr val="dk1"/>
                  </a:solidFill>
                  <a:cs typeface="Poppins" pitchFamily="2" charset="77"/>
                </a:rPr>
                <a:t>Java 8 + Spring Boot 2.7</a:t>
              </a:r>
            </a:p>
            <a:p>
              <a:pPr algn="ctr"/>
              <a:endParaRPr lang="en-US" dirty="0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CB89C85A-227B-49D6-95E3-19D3B5FC7E06}"/>
                </a:ext>
              </a:extLst>
            </p:cNvPr>
            <p:cNvSpPr>
              <a:spLocks/>
            </p:cNvSpPr>
            <p:nvPr/>
          </p:nvSpPr>
          <p:spPr>
            <a:xfrm>
              <a:off x="385763" y="4272274"/>
              <a:ext cx="2735468" cy="249552"/>
            </a:xfrm>
            <a:prstGeom prst="rect">
              <a:avLst/>
            </a:prstGeom>
            <a:solidFill>
              <a:schemeClr val="accent1"/>
            </a:solidFill>
            <a:ln w="19050" cap="flat" cmpd="sng" algn="ctr">
              <a:noFill/>
              <a:prstDash val="solid"/>
              <a:miter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accent1"/>
                  </a:solidFill>
                  <a:prstDash val="solid"/>
                  <a:miter/>
                </a14:hiddenLine>
              </a:ext>
            </a:extLst>
          </p:spPr>
          <p:style>
            <a:lnRef idx="2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dirty="0"/>
                <a:t>Java 8 + Spring Boot 2.2</a:t>
              </a:r>
            </a:p>
          </p:txBody>
        </p:sp>
      </p:grpSp>
      <p:sp>
        <p:nvSpPr>
          <p:cNvPr id="20" name="Title 19">
            <a:extLst>
              <a:ext uri="{FF2B5EF4-FFF2-40B4-BE49-F238E27FC236}">
                <a16:creationId xmlns:a16="http://schemas.microsoft.com/office/drawing/2014/main" id="{40CE2970-2A19-407E-A328-5ACE527E3B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764" y="433388"/>
            <a:ext cx="10858500" cy="372967"/>
          </a:xfrm>
        </p:spPr>
        <p:txBody>
          <a:bodyPr/>
          <a:lstStyle/>
          <a:p>
            <a:r>
              <a:rPr lang="en-US"/>
              <a:t>Migration Journey </a:t>
            </a:r>
          </a:p>
        </p:txBody>
      </p:sp>
      <p:sp>
        <p:nvSpPr>
          <p:cNvPr id="22" name="Right Arrow 1">
            <a:extLst>
              <a:ext uri="{FF2B5EF4-FFF2-40B4-BE49-F238E27FC236}">
                <a16:creationId xmlns:a16="http://schemas.microsoft.com/office/drawing/2014/main" id="{4C61240F-0ABA-4C67-8E6A-10B6DE22D293}"/>
              </a:ext>
            </a:extLst>
          </p:cNvPr>
          <p:cNvSpPr/>
          <p:nvPr/>
        </p:nvSpPr>
        <p:spPr>
          <a:xfrm>
            <a:off x="385764" y="1182688"/>
            <a:ext cx="10858500" cy="466853"/>
          </a:xfrm>
          <a:prstGeom prst="rightArrow">
            <a:avLst>
              <a:gd name="adj1" fmla="val 100000"/>
              <a:gd name="adj2" fmla="val 55970"/>
            </a:avLst>
          </a:prstGeom>
          <a:solidFill>
            <a:schemeClr val="l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37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737"/>
              </a:spcAft>
              <a:buFontTx/>
              <a:buNone/>
              <a:defRPr sz="16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0" indent="0" algn="l" defTabSz="37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737"/>
              </a:spcAft>
              <a:buFontTx/>
              <a:buNone/>
              <a:defRPr sz="1600" b="1" kern="1200" baseline="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37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737"/>
              </a:spcAft>
              <a:buSzPct val="110000"/>
              <a:buFont typeface="Arial" panose="020B0604020202020204" pitchFamily="34" charset="0"/>
              <a:buChar char="•"/>
              <a:defRPr sz="16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468000" indent="-234000" algn="l" defTabSz="37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737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702000" indent="-234000" algn="l" defTabSz="37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737"/>
              </a:spcAft>
              <a:buSzPct val="90000"/>
              <a:buFont typeface="Arial" panose="020B0604020202020204" pitchFamily="34" charset="0"/>
              <a:buChar char="•"/>
              <a:defRPr sz="16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0" indent="-234000" algn="l" defTabSz="37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737"/>
              </a:spcAft>
              <a:buFont typeface="+mj-lt"/>
              <a:buAutoNum type="arabicPeriod"/>
              <a:defRPr sz="16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68000" indent="-234000" algn="l" defTabSz="37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737"/>
              </a:spcAft>
              <a:buFont typeface="+mj-lt"/>
              <a:buAutoNum type="romanLcPeriod"/>
              <a:defRPr sz="16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0" indent="0" algn="l" defTabSz="37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737"/>
              </a:spcAft>
              <a:buFontTx/>
              <a:buNone/>
              <a:defRPr sz="12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737"/>
              </a:spcAft>
              <a:buFontTx/>
              <a:buNone/>
              <a:defRPr sz="1000" kern="10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900"/>
          </a:p>
        </p:txBody>
      </p:sp>
      <p:sp>
        <p:nvSpPr>
          <p:cNvPr id="24" name="Traan 14">
            <a:extLst>
              <a:ext uri="{FF2B5EF4-FFF2-40B4-BE49-F238E27FC236}">
                <a16:creationId xmlns:a16="http://schemas.microsoft.com/office/drawing/2014/main" id="{6FE87E0F-6DE7-4F5D-B23D-DCB7BD3FD780}"/>
              </a:ext>
            </a:extLst>
          </p:cNvPr>
          <p:cNvSpPr/>
          <p:nvPr/>
        </p:nvSpPr>
        <p:spPr>
          <a:xfrm rot="8100000">
            <a:off x="1126676" y="840045"/>
            <a:ext cx="1170000" cy="1184400"/>
          </a:xfrm>
          <a:prstGeom prst="teardrop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5" name="Ovaal 15">
            <a:extLst>
              <a:ext uri="{FF2B5EF4-FFF2-40B4-BE49-F238E27FC236}">
                <a16:creationId xmlns:a16="http://schemas.microsoft.com/office/drawing/2014/main" id="{BCB96134-5485-4271-97E6-24A4A7121AEF}"/>
              </a:ext>
            </a:extLst>
          </p:cNvPr>
          <p:cNvSpPr>
            <a:spLocks noChangeAspect="1"/>
          </p:cNvSpPr>
          <p:nvPr/>
        </p:nvSpPr>
        <p:spPr>
          <a:xfrm>
            <a:off x="1245476" y="961318"/>
            <a:ext cx="932400" cy="932400"/>
          </a:xfrm>
          <a:prstGeom prst="ellipse">
            <a:avLst/>
          </a:prstGeom>
          <a:solidFill>
            <a:schemeClr val="bg1"/>
          </a:solidFill>
          <a:ln w="19050" cap="flat" cmpd="sng" algn="ctr">
            <a:noFill/>
            <a:prstDash val="solid"/>
            <a:miter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/>
                </a:solidFill>
                <a:prstDash val="solid"/>
                <a:miter/>
              </a14:hiddenLine>
            </a:ext>
          </a:ex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C98B3262-EDB2-4997-B826-F4D197E4FCC0}"/>
              </a:ext>
            </a:extLst>
          </p:cNvPr>
          <p:cNvGrpSpPr/>
          <p:nvPr/>
        </p:nvGrpSpPr>
        <p:grpSpPr>
          <a:xfrm>
            <a:off x="3119462" y="3231291"/>
            <a:ext cx="2898567" cy="2864370"/>
            <a:chOff x="3120666" y="4272274"/>
            <a:chExt cx="2898567" cy="1531117"/>
          </a:xfrm>
        </p:grpSpPr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6F80A57D-E41D-4FA3-B7F6-02CBE6A8A746}"/>
                </a:ext>
              </a:extLst>
            </p:cNvPr>
            <p:cNvSpPr>
              <a:spLocks/>
            </p:cNvSpPr>
            <p:nvPr/>
          </p:nvSpPr>
          <p:spPr>
            <a:xfrm>
              <a:off x="3120666" y="4272274"/>
              <a:ext cx="2898567" cy="249551"/>
            </a:xfrm>
            <a:prstGeom prst="rect">
              <a:avLst/>
            </a:prstGeom>
            <a:solidFill>
              <a:schemeClr val="tx2"/>
            </a:solidFill>
            <a:ln w="19050" cap="flat" cmpd="sng" algn="ctr">
              <a:noFill/>
              <a:prstDash val="solid"/>
              <a:miter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tx2"/>
                  </a:solidFill>
                  <a:prstDash val="solid"/>
                  <a:miter/>
                </a14:hiddenLine>
              </a:ext>
            </a:extLst>
          </p:spPr>
          <p:style>
            <a:lnRef idx="2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1800" dirty="0"/>
                <a:t>Java 17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7636EA59-0932-4B3B-AFAF-3FA2235226E8}"/>
                </a:ext>
              </a:extLst>
            </p:cNvPr>
            <p:cNvSpPr>
              <a:spLocks/>
            </p:cNvSpPr>
            <p:nvPr/>
          </p:nvSpPr>
          <p:spPr>
            <a:xfrm>
              <a:off x="3120667" y="4521825"/>
              <a:ext cx="2898563" cy="1281566"/>
            </a:xfrm>
            <a:prstGeom prst="rect">
              <a:avLst/>
            </a:prstGeom>
            <a:solidFill>
              <a:schemeClr val="bg2"/>
            </a:solidFill>
            <a:ln w="19050" cap="flat" cmpd="sng" algn="ctr">
              <a:noFill/>
              <a:prstDash val="solid"/>
              <a:miter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accent1"/>
                  </a:solidFill>
                  <a:prstDash val="solid"/>
                  <a:miter/>
                </a14:hiddenLine>
              </a:ext>
            </a:extLst>
          </p:spPr>
          <p:style>
            <a:lnRef idx="2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rtlCol="0" anchor="t"/>
            <a:lstStyle/>
            <a:p>
              <a:r>
                <a:rPr lang="en-US" sz="1000" dirty="0">
                  <a:solidFill>
                    <a:schemeClr val="dk1"/>
                  </a:solidFill>
                  <a:cs typeface="Poppins" pitchFamily="2" charset="77"/>
                </a:rPr>
                <a:t>Intermediate step: Java 11</a:t>
              </a:r>
            </a:p>
            <a:p>
              <a:endParaRPr lang="en-US" sz="1000" dirty="0">
                <a:solidFill>
                  <a:schemeClr val="dk1"/>
                </a:solidFill>
                <a:cs typeface="Poppins" pitchFamily="2" charset="77"/>
              </a:endParaRPr>
            </a:p>
            <a:p>
              <a:r>
                <a:rPr lang="en-US" sz="1000" dirty="0">
                  <a:solidFill>
                    <a:schemeClr val="dk1"/>
                  </a:solidFill>
                  <a:cs typeface="Poppins" pitchFamily="2" charset="77"/>
                </a:rPr>
                <a:t>Performance improvement</a:t>
              </a:r>
            </a:p>
            <a:p>
              <a:r>
                <a:rPr lang="en-US" sz="1000" dirty="0">
                  <a:solidFill>
                    <a:schemeClr val="dk1"/>
                  </a:solidFill>
                  <a:cs typeface="Poppins" pitchFamily="2" charset="77"/>
                </a:rPr>
                <a:t>Default garbage collector G1</a:t>
              </a:r>
            </a:p>
            <a:p>
              <a:r>
                <a:rPr lang="en-US" sz="1000" dirty="0">
                  <a:solidFill>
                    <a:schemeClr val="dk1"/>
                  </a:solidFill>
                  <a:cs typeface="Poppins" pitchFamily="2" charset="77"/>
                </a:rPr>
                <a:t>Container awareness</a:t>
              </a:r>
            </a:p>
            <a:p>
              <a:endParaRPr lang="en-US" sz="1000" dirty="0">
                <a:solidFill>
                  <a:schemeClr val="dk1"/>
                </a:solidFill>
                <a:cs typeface="Poppins" pitchFamily="2" charset="77"/>
              </a:endParaRPr>
            </a:p>
            <a:p>
              <a:endParaRPr lang="en-US" sz="1000" dirty="0">
                <a:solidFill>
                  <a:schemeClr val="dk1"/>
                </a:solidFill>
                <a:cs typeface="Poppins" pitchFamily="2" charset="77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AFFD2820-C708-48EE-8FD6-674D81A07D59}"/>
              </a:ext>
            </a:extLst>
          </p:cNvPr>
          <p:cNvGrpSpPr/>
          <p:nvPr/>
        </p:nvGrpSpPr>
        <p:grpSpPr>
          <a:xfrm>
            <a:off x="6018028" y="3231375"/>
            <a:ext cx="2651825" cy="2864286"/>
            <a:chOff x="5851675" y="4254181"/>
            <a:chExt cx="2651825" cy="2864286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40389F90-D19D-4073-86DF-BD7B87F5ACB8}"/>
                </a:ext>
              </a:extLst>
            </p:cNvPr>
            <p:cNvSpPr>
              <a:spLocks/>
            </p:cNvSpPr>
            <p:nvPr/>
          </p:nvSpPr>
          <p:spPr>
            <a:xfrm>
              <a:off x="5851675" y="4254181"/>
              <a:ext cx="2651825" cy="466769"/>
            </a:xfrm>
            <a:prstGeom prst="rect">
              <a:avLst/>
            </a:prstGeom>
            <a:solidFill>
              <a:schemeClr val="accent4"/>
            </a:solidFill>
            <a:ln w="19050" cap="flat" cmpd="sng" algn="ctr">
              <a:noFill/>
              <a:prstDash val="solid"/>
              <a:miter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accent4"/>
                  </a:solidFill>
                  <a:prstDash val="solid"/>
                  <a:miter/>
                </a14:hiddenLine>
              </a:ext>
            </a:extLst>
          </p:spPr>
          <p:style>
            <a:lnRef idx="2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dirty="0"/>
                <a:t>Spring Boot 3.0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869DB562-7B0A-457C-A34B-F45E29F0C073}"/>
                </a:ext>
              </a:extLst>
            </p:cNvPr>
            <p:cNvSpPr>
              <a:spLocks/>
            </p:cNvSpPr>
            <p:nvPr/>
          </p:nvSpPr>
          <p:spPr>
            <a:xfrm>
              <a:off x="5851675" y="4720947"/>
              <a:ext cx="2651825" cy="2397520"/>
            </a:xfrm>
            <a:prstGeom prst="rect">
              <a:avLst/>
            </a:prstGeom>
            <a:solidFill>
              <a:schemeClr val="bg2"/>
            </a:solidFill>
            <a:ln w="19050" cap="flat" cmpd="sng" algn="ctr">
              <a:noFill/>
              <a:prstDash val="solid"/>
              <a:miter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accent1"/>
                  </a:solidFill>
                  <a:prstDash val="solid"/>
                  <a:miter/>
                </a14:hiddenLine>
              </a:ext>
            </a:extLst>
          </p:spPr>
          <p:style>
            <a:lnRef idx="2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rtlCol="0" anchor="t"/>
            <a:lstStyle/>
            <a:p>
              <a:r>
                <a:rPr lang="en-US" sz="1000" dirty="0">
                  <a:solidFill>
                    <a:schemeClr val="dk1"/>
                  </a:solidFill>
                  <a:cs typeface="Poppins" pitchFamily="2" charset="77"/>
                </a:rPr>
                <a:t>First solution with Spring Boot 3</a:t>
              </a:r>
            </a:p>
            <a:p>
              <a:endParaRPr lang="en-US" sz="1000" dirty="0">
                <a:solidFill>
                  <a:schemeClr val="dk1"/>
                </a:solidFill>
                <a:cs typeface="Poppins" pitchFamily="2" charset="77"/>
              </a:endParaRPr>
            </a:p>
            <a:p>
              <a:r>
                <a:rPr lang="en-US" sz="1000" dirty="0">
                  <a:solidFill>
                    <a:schemeClr val="dk1"/>
                  </a:solidFill>
                  <a:cs typeface="Poppins" pitchFamily="2" charset="77"/>
                </a:rPr>
                <a:t>Faster start up time</a:t>
              </a:r>
            </a:p>
            <a:p>
              <a:r>
                <a:rPr lang="en-US" sz="1000" dirty="0">
                  <a:solidFill>
                    <a:schemeClr val="dk1"/>
                  </a:solidFill>
                  <a:cs typeface="Poppins" pitchFamily="2" charset="77"/>
                </a:rPr>
                <a:t>AOT</a:t>
              </a:r>
            </a:p>
            <a:p>
              <a:r>
                <a:rPr lang="en-US" sz="1000" dirty="0">
                  <a:solidFill>
                    <a:schemeClr val="dk1"/>
                  </a:solidFill>
                  <a:cs typeface="Poppins" pitchFamily="2" charset="77"/>
                </a:rPr>
                <a:t>Observability</a:t>
              </a:r>
            </a:p>
            <a:p>
              <a:br>
                <a:rPr lang="en-US" sz="1000" dirty="0">
                  <a:solidFill>
                    <a:schemeClr val="dk1"/>
                  </a:solidFill>
                  <a:cs typeface="Poppins" pitchFamily="2" charset="77"/>
                </a:rPr>
              </a:br>
              <a:endParaRPr lang="en-US" sz="1000" dirty="0">
                <a:solidFill>
                  <a:schemeClr val="dk1"/>
                </a:solidFill>
                <a:cs typeface="Poppins" pitchFamily="2" charset="77"/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C62A6926-9910-4C64-AE99-04B0D7630563}"/>
              </a:ext>
            </a:extLst>
          </p:cNvPr>
          <p:cNvGrpSpPr/>
          <p:nvPr/>
        </p:nvGrpSpPr>
        <p:grpSpPr>
          <a:xfrm>
            <a:off x="8669854" y="3231453"/>
            <a:ext cx="2651826" cy="2864207"/>
            <a:chOff x="8592174" y="4272273"/>
            <a:chExt cx="2651826" cy="1531104"/>
          </a:xfrm>
        </p:grpSpPr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DBE614A2-5F8B-4182-8E00-3F4F469490B4}"/>
                </a:ext>
              </a:extLst>
            </p:cNvPr>
            <p:cNvSpPr>
              <a:spLocks/>
            </p:cNvSpPr>
            <p:nvPr/>
          </p:nvSpPr>
          <p:spPr>
            <a:xfrm>
              <a:off x="8592174" y="4272273"/>
              <a:ext cx="2651825" cy="249477"/>
            </a:xfrm>
            <a:prstGeom prst="rect">
              <a:avLst/>
            </a:prstGeom>
            <a:solidFill>
              <a:srgbClr val="C4D600"/>
            </a:solidFill>
            <a:ln w="19050" cap="flat" cmpd="sng" algn="ctr">
              <a:noFill/>
              <a:prstDash val="solid"/>
              <a:miter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rgbClr val="C4D600"/>
                  </a:solidFill>
                  <a:prstDash val="solid"/>
                  <a:miter/>
                </a14:hiddenLine>
              </a:ext>
            </a:extLst>
          </p:spPr>
          <p:style>
            <a:lnRef idx="2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/>
                <a:t>Java 21 + Spring Boot 3.2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40CBA7CA-298E-44DA-A376-DA54D9B45E0F}"/>
                </a:ext>
              </a:extLst>
            </p:cNvPr>
            <p:cNvSpPr>
              <a:spLocks/>
            </p:cNvSpPr>
            <p:nvPr/>
          </p:nvSpPr>
          <p:spPr>
            <a:xfrm>
              <a:off x="8592175" y="4521747"/>
              <a:ext cx="2651825" cy="1281630"/>
            </a:xfrm>
            <a:prstGeom prst="rect">
              <a:avLst/>
            </a:prstGeom>
            <a:solidFill>
              <a:schemeClr val="bg2"/>
            </a:solidFill>
            <a:ln w="19050" cap="flat" cmpd="sng" algn="ctr">
              <a:noFill/>
              <a:prstDash val="solid"/>
              <a:miter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accent1"/>
                  </a:solidFill>
                  <a:prstDash val="solid"/>
                  <a:miter/>
                </a14:hiddenLine>
              </a:ext>
            </a:extLst>
          </p:spPr>
          <p:style>
            <a:lnRef idx="2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rtlCol="0" anchor="t"/>
            <a:lstStyle/>
            <a:p>
              <a:r>
                <a:rPr lang="en-US" sz="1000" dirty="0">
                  <a:solidFill>
                    <a:schemeClr val="dk1"/>
                  </a:solidFill>
                  <a:cs typeface="Poppins" pitchFamily="2" charset="77"/>
                </a:rPr>
                <a:t>Intermediate steps: Spring boot 3.1</a:t>
              </a:r>
            </a:p>
            <a:p>
              <a:endParaRPr lang="en-US" sz="1000" dirty="0">
                <a:solidFill>
                  <a:schemeClr val="dk1"/>
                </a:solidFill>
                <a:cs typeface="Poppins" pitchFamily="2" charset="77"/>
              </a:endParaRPr>
            </a:p>
            <a:p>
              <a:r>
                <a:rPr lang="en-US" sz="1000" dirty="0">
                  <a:solidFill>
                    <a:schemeClr val="dk1"/>
                  </a:solidFill>
                  <a:cs typeface="Poppins" pitchFamily="2" charset="77"/>
                </a:rPr>
                <a:t>Improved performance</a:t>
              </a:r>
            </a:p>
            <a:p>
              <a:r>
                <a:rPr lang="en-US" sz="1000" dirty="0">
                  <a:solidFill>
                    <a:schemeClr val="dk1"/>
                  </a:solidFill>
                  <a:cs typeface="Poppins" pitchFamily="2" charset="77"/>
                </a:rPr>
                <a:t>Virtual threads</a:t>
              </a:r>
            </a:p>
            <a:p>
              <a:r>
                <a:rPr lang="en-US" sz="1000" dirty="0" err="1">
                  <a:solidFill>
                    <a:schemeClr val="dk1"/>
                  </a:solidFill>
                  <a:cs typeface="Poppins" pitchFamily="2" charset="77"/>
                </a:rPr>
                <a:t>CRaC</a:t>
              </a:r>
              <a:endParaRPr lang="en-US" sz="1000" dirty="0">
                <a:solidFill>
                  <a:schemeClr val="dk1"/>
                </a:solidFill>
                <a:cs typeface="Poppins" pitchFamily="2" charset="77"/>
              </a:endParaRPr>
            </a:p>
            <a:p>
              <a:endParaRPr lang="en-US" sz="1000" dirty="0">
                <a:solidFill>
                  <a:schemeClr val="dk1"/>
                </a:solidFill>
                <a:cs typeface="Poppins" pitchFamily="2" charset="77"/>
              </a:endParaRPr>
            </a:p>
          </p:txBody>
        </p:sp>
      </p:grpSp>
      <p:sp>
        <p:nvSpPr>
          <p:cNvPr id="71" name="Traan 14">
            <a:extLst>
              <a:ext uri="{FF2B5EF4-FFF2-40B4-BE49-F238E27FC236}">
                <a16:creationId xmlns:a16="http://schemas.microsoft.com/office/drawing/2014/main" id="{57CFA120-B52F-4C6D-868A-D44B17E239AE}"/>
              </a:ext>
            </a:extLst>
          </p:cNvPr>
          <p:cNvSpPr/>
          <p:nvPr/>
        </p:nvSpPr>
        <p:spPr>
          <a:xfrm rot="8100000">
            <a:off x="3862146" y="840045"/>
            <a:ext cx="1170000" cy="1184400"/>
          </a:xfrm>
          <a:prstGeom prst="teardrop">
            <a:avLst/>
          </a:prstGeom>
          <a:solidFill>
            <a:schemeClr val="dk2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dk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2" name="Ovaal 15">
            <a:extLst>
              <a:ext uri="{FF2B5EF4-FFF2-40B4-BE49-F238E27FC236}">
                <a16:creationId xmlns:a16="http://schemas.microsoft.com/office/drawing/2014/main" id="{E909003D-BF62-41E1-B716-5E76853811FD}"/>
              </a:ext>
            </a:extLst>
          </p:cNvPr>
          <p:cNvSpPr>
            <a:spLocks noChangeAspect="1"/>
          </p:cNvSpPr>
          <p:nvPr/>
        </p:nvSpPr>
        <p:spPr>
          <a:xfrm>
            <a:off x="3980946" y="961318"/>
            <a:ext cx="932400" cy="932400"/>
          </a:xfrm>
          <a:prstGeom prst="ellipse">
            <a:avLst/>
          </a:prstGeom>
          <a:solidFill>
            <a:schemeClr val="bg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dk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5" name="Traan 14">
            <a:extLst>
              <a:ext uri="{FF2B5EF4-FFF2-40B4-BE49-F238E27FC236}">
                <a16:creationId xmlns:a16="http://schemas.microsoft.com/office/drawing/2014/main" id="{2B5AF417-59E6-4AEF-85CD-D4A38058600D}"/>
              </a:ext>
            </a:extLst>
          </p:cNvPr>
          <p:cNvSpPr/>
          <p:nvPr/>
        </p:nvSpPr>
        <p:spPr>
          <a:xfrm rot="8100000">
            <a:off x="6597616" y="840045"/>
            <a:ext cx="1170000" cy="1184400"/>
          </a:xfrm>
          <a:prstGeom prst="teardrop">
            <a:avLst/>
          </a:prstGeom>
          <a:solidFill>
            <a:schemeClr val="accent4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4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6" name="Ovaal 15">
            <a:extLst>
              <a:ext uri="{FF2B5EF4-FFF2-40B4-BE49-F238E27FC236}">
                <a16:creationId xmlns:a16="http://schemas.microsoft.com/office/drawing/2014/main" id="{7480B813-E727-456F-8D69-762AEEFD3BC9}"/>
              </a:ext>
            </a:extLst>
          </p:cNvPr>
          <p:cNvSpPr>
            <a:spLocks noChangeAspect="1"/>
          </p:cNvSpPr>
          <p:nvPr/>
        </p:nvSpPr>
        <p:spPr>
          <a:xfrm>
            <a:off x="6716416" y="961318"/>
            <a:ext cx="932400" cy="932400"/>
          </a:xfrm>
          <a:prstGeom prst="ellipse">
            <a:avLst/>
          </a:prstGeom>
          <a:solidFill>
            <a:schemeClr val="bg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4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9" name="Traan 14">
            <a:extLst>
              <a:ext uri="{FF2B5EF4-FFF2-40B4-BE49-F238E27FC236}">
                <a16:creationId xmlns:a16="http://schemas.microsoft.com/office/drawing/2014/main" id="{B72852E9-E16C-47C3-AAAB-E45117744405}"/>
              </a:ext>
            </a:extLst>
          </p:cNvPr>
          <p:cNvSpPr/>
          <p:nvPr/>
        </p:nvSpPr>
        <p:spPr>
          <a:xfrm rot="8100000">
            <a:off x="9333087" y="840045"/>
            <a:ext cx="1170000" cy="1184400"/>
          </a:xfrm>
          <a:prstGeom prst="teardrop">
            <a:avLst/>
          </a:prstGeom>
          <a:solidFill>
            <a:srgbClr val="C4D600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rgbClr val="C4D6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0" name="Ovaal 15">
            <a:extLst>
              <a:ext uri="{FF2B5EF4-FFF2-40B4-BE49-F238E27FC236}">
                <a16:creationId xmlns:a16="http://schemas.microsoft.com/office/drawing/2014/main" id="{FAE53A45-5B01-4041-A5A3-E2A87A97AE0C}"/>
              </a:ext>
            </a:extLst>
          </p:cNvPr>
          <p:cNvSpPr>
            <a:spLocks noChangeAspect="1"/>
          </p:cNvSpPr>
          <p:nvPr/>
        </p:nvSpPr>
        <p:spPr>
          <a:xfrm>
            <a:off x="9451887" y="961318"/>
            <a:ext cx="932400" cy="932400"/>
          </a:xfrm>
          <a:prstGeom prst="ellipse">
            <a:avLst/>
          </a:prstGeom>
          <a:solidFill>
            <a:schemeClr val="bg1"/>
          </a:solidFill>
          <a:ln w="19050" cap="flat" cmpd="sng" algn="ctr">
            <a:noFill/>
            <a:prstDash val="solid"/>
            <a:miter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/>
                </a:solidFill>
                <a:prstDash val="solid"/>
                <a:miter/>
              </a14:hiddenLine>
            </a:ext>
          </a:ex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36" name="Tech startup" descr="Climbing outline">
            <a:extLst>
              <a:ext uri="{FF2B5EF4-FFF2-40B4-BE49-F238E27FC236}">
                <a16:creationId xmlns:a16="http://schemas.microsoft.com/office/drawing/2014/main" id="{C2A3B178-D873-AF4D-83C1-C064973184B6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1407476" y="1111914"/>
            <a:ext cx="608400" cy="608400"/>
          </a:xfrm>
          <a:prstGeom prst="rect">
            <a:avLst/>
          </a:prstGeom>
        </p:spPr>
      </p:pic>
      <p:pic>
        <p:nvPicPr>
          <p:cNvPr id="37" name="Tech startup" descr="Climbing outline">
            <a:extLst>
              <a:ext uri="{FF2B5EF4-FFF2-40B4-BE49-F238E27FC236}">
                <a16:creationId xmlns:a16="http://schemas.microsoft.com/office/drawing/2014/main" id="{C306453A-F493-3542-91B9-8E440DB9881B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4142946" y="1111914"/>
            <a:ext cx="608400" cy="608400"/>
          </a:xfrm>
          <a:prstGeom prst="rect">
            <a:avLst/>
          </a:prstGeom>
        </p:spPr>
      </p:pic>
      <p:pic>
        <p:nvPicPr>
          <p:cNvPr id="38" name="Tech startup" descr="Climbing outline">
            <a:extLst>
              <a:ext uri="{FF2B5EF4-FFF2-40B4-BE49-F238E27FC236}">
                <a16:creationId xmlns:a16="http://schemas.microsoft.com/office/drawing/2014/main" id="{4ED6BE7B-27C3-A247-992B-E963399E93DD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6878416" y="1111914"/>
            <a:ext cx="608400" cy="608400"/>
          </a:xfrm>
          <a:prstGeom prst="rect">
            <a:avLst/>
          </a:prstGeom>
        </p:spPr>
      </p:pic>
      <p:pic>
        <p:nvPicPr>
          <p:cNvPr id="39" name="Tech startup" descr="Climbing outline">
            <a:extLst>
              <a:ext uri="{FF2B5EF4-FFF2-40B4-BE49-F238E27FC236}">
                <a16:creationId xmlns:a16="http://schemas.microsoft.com/office/drawing/2014/main" id="{7373283E-1F38-BE4B-BAA7-5AAB28634337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9613887" y="1111914"/>
            <a:ext cx="608400" cy="6084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3D11DE-9E80-701D-6A08-B4CBFBC002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58400" y="5639796"/>
            <a:ext cx="8985600" cy="139924"/>
          </a:xfrm>
        </p:spPr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0729BCF-3484-40A3-4EE9-6701F2F2AA9C}"/>
              </a:ext>
            </a:extLst>
          </p:cNvPr>
          <p:cNvSpPr txBox="1"/>
          <p:nvPr/>
        </p:nvSpPr>
        <p:spPr>
          <a:xfrm>
            <a:off x="4000389" y="2616342"/>
            <a:ext cx="3371346" cy="2339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>
                <a:solidFill>
                  <a:schemeClr val="accent1"/>
                </a:solidFill>
              </a:rPr>
              <a:t>Step upgrades – Rinse and repeat</a:t>
            </a:r>
          </a:p>
        </p:txBody>
      </p:sp>
      <p:sp>
        <p:nvSpPr>
          <p:cNvPr id="3" name="Slide Number Placeholder 6">
            <a:extLst>
              <a:ext uri="{FF2B5EF4-FFF2-40B4-BE49-F238E27FC236}">
                <a16:creationId xmlns:a16="http://schemas.microsoft.com/office/drawing/2014/main" id="{A207FF42-9727-6C19-3796-EEBDDD9B7269}"/>
              </a:ext>
            </a:extLst>
          </p:cNvPr>
          <p:cNvSpPr txBox="1">
            <a:spLocks/>
          </p:cNvSpPr>
          <p:nvPr/>
        </p:nvSpPr>
        <p:spPr>
          <a:xfrm>
            <a:off x="11811000" y="6518276"/>
            <a:ext cx="381000" cy="339724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n-US"/>
            </a:defPPr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fld id="{A2218858-49EA-4BF8-8EFE-B88A4580565A}" type="slidenum">
              <a:rPr sz="800" smtClean="0"/>
              <a:pPr algn="r">
                <a:lnSpc>
                  <a:spcPct val="110000"/>
                </a:lnSpc>
                <a:spcAft>
                  <a:spcPts val="0"/>
                </a:spcAft>
              </a:pPr>
              <a:t>15</a:t>
            </a:fld>
            <a:endParaRPr lang="en-US" sz="80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52128777"/>
      </p:ext>
    </p:extLst>
  </p:cSld>
  <p:clrMapOvr>
    <a:masterClrMapping/>
  </p:clrMapOvr>
  <p:transition spd="slow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4DB8EB-B9FC-9147-AA43-B84F7359A2AD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B7FABE38-C5C0-3F8F-7C76-F3744C69A8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583" y="2286000"/>
            <a:ext cx="10858500" cy="742299"/>
          </a:xfrm>
        </p:spPr>
        <p:txBody>
          <a:bodyPr/>
          <a:lstStyle/>
          <a:p>
            <a:r>
              <a:rPr lang="en-US"/>
              <a:t>Migration</a:t>
            </a:r>
            <a:br>
              <a:rPr lang="en-US"/>
            </a:br>
            <a:r>
              <a:rPr lang="en-US"/>
              <a:t>Challenges</a:t>
            </a:r>
          </a:p>
        </p:txBody>
      </p:sp>
      <p:pic>
        <p:nvPicPr>
          <p:cNvPr id="23" name="Content Placeholder 22" descr="Woman climbing rock face">
            <a:extLst>
              <a:ext uri="{FF2B5EF4-FFF2-40B4-BE49-F238E27FC236}">
                <a16:creationId xmlns:a16="http://schemas.microsoft.com/office/drawing/2014/main" id="{3A27F3F4-EA89-CCEE-1FFA-CA63B6F86550}"/>
              </a:ext>
            </a:extLst>
          </p:cNvPr>
          <p:cNvPicPr>
            <a:picLocks noGrp="1" noChangeAspect="1"/>
          </p:cNvPicPr>
          <p:nvPr>
            <p:ph sz="quarter" idx="2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1799" y="-23191"/>
            <a:ext cx="9237679" cy="6881191"/>
          </a:xfrm>
        </p:spPr>
      </p:pic>
      <p:sp>
        <p:nvSpPr>
          <p:cNvPr id="3" name="Slide Number Placeholder 6">
            <a:extLst>
              <a:ext uri="{FF2B5EF4-FFF2-40B4-BE49-F238E27FC236}">
                <a16:creationId xmlns:a16="http://schemas.microsoft.com/office/drawing/2014/main" id="{FA8DD448-AC1F-35EC-6682-2E6E0CC66E51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811000" y="6518276"/>
            <a:ext cx="381000" cy="339724"/>
          </a:xfrm>
          <a:noFill/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fld id="{A2218858-49EA-4BF8-8EFE-B88A4580565A}" type="slidenum">
              <a:rPr sz="800" smtClean="0"/>
              <a:pPr algn="r">
                <a:lnSpc>
                  <a:spcPct val="110000"/>
                </a:lnSpc>
                <a:spcAft>
                  <a:spcPts val="0"/>
                </a:spcAft>
              </a:pPr>
              <a:t>16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51317577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141E0E-16C6-E816-64E9-1FDB0586EF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500" y="1981200"/>
            <a:ext cx="10858500" cy="1111631"/>
          </a:xfrm>
        </p:spPr>
        <p:txBody>
          <a:bodyPr/>
          <a:lstStyle/>
          <a:p>
            <a:br>
              <a:rPr lang="en-US"/>
            </a:br>
            <a:r>
              <a:rPr lang="en-US"/>
              <a:t>Distributed </a:t>
            </a:r>
            <a:br>
              <a:rPr lang="en-US"/>
            </a:br>
            <a:r>
              <a:rPr lang="en-US"/>
              <a:t>tracing </a:t>
            </a:r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86A59FD9-F2BC-1329-B0C6-62FE55F5CD98}"/>
              </a:ext>
            </a:extLst>
          </p:cNvPr>
          <p:cNvPicPr>
            <a:picLocks noGrp="1" noChangeAspect="1"/>
          </p:cNvPicPr>
          <p:nvPr>
            <p:ph sz="quarter" idx="23"/>
          </p:nvPr>
        </p:nvPicPr>
        <p:blipFill>
          <a:blip r:embed="rId3"/>
          <a:stretch>
            <a:fillRect/>
          </a:stretch>
        </p:blipFill>
        <p:spPr>
          <a:xfrm>
            <a:off x="2616756" y="0"/>
            <a:ext cx="9555147" cy="6858000"/>
          </a:xfrm>
        </p:spPr>
      </p:pic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4DB8EB-B9FC-9147-AA43-B84F7359A2AD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5E7692-9359-11B2-B951-72A160C07A95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811000" y="6518276"/>
            <a:ext cx="381000" cy="339724"/>
          </a:xfrm>
          <a:noFill/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fld id="{A2218858-49EA-4BF8-8EFE-B88A4580565A}" type="slidenum">
              <a:rPr sz="800" smtClean="0"/>
              <a:pPr algn="r">
                <a:lnSpc>
                  <a:spcPct val="110000"/>
                </a:lnSpc>
                <a:spcAft>
                  <a:spcPts val="0"/>
                </a:spcAft>
              </a:pPr>
              <a:t>17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61465367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141E0E-16C6-E816-64E9-1FDB0586EF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764" y="433388"/>
            <a:ext cx="10858500" cy="372967"/>
          </a:xfrm>
        </p:spPr>
        <p:txBody>
          <a:bodyPr wrap="square" anchor="t">
            <a:normAutofit/>
          </a:bodyPr>
          <a:lstStyle/>
          <a:p>
            <a:r>
              <a:rPr lang="en-US"/>
              <a:t>Spring boot 2.x - Spring cloud sleuth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09AF40-A510-231A-F449-77C8AE4EE7C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5763" y="1370013"/>
            <a:ext cx="5634037" cy="3230562"/>
          </a:xfrm>
        </p:spPr>
        <p:txBody>
          <a:bodyPr>
            <a:normAutofit/>
          </a:bodyPr>
          <a:lstStyle>
            <a:lvl1pPr>
              <a:buFont typeface="Arial" panose="020B0604020202020204" pitchFamily="34" charset="0"/>
              <a:buChar char="•"/>
            </a:lvl1pPr>
            <a:lvl2pPr>
              <a:buFont typeface="Arial" panose="020B0604020202020204" pitchFamily="34" charset="0"/>
              <a:buChar char="•"/>
            </a:lvl2pPr>
            <a:lvl3pPr>
              <a:buSzPct val="110000"/>
              <a:buFont typeface="Arial" panose="020B0604020202020204" pitchFamily="34" charset="0"/>
              <a:buChar char="•"/>
            </a:lvl3pPr>
            <a:lvl4pPr>
              <a:buSzPct val="100000"/>
              <a:buFont typeface="Arial" panose="020B0604020202020204" pitchFamily="34" charset="0"/>
              <a:buChar char="•"/>
            </a:lvl4pPr>
            <a:lvl5pPr>
              <a:buSzPct val="90000"/>
              <a:buFont typeface="Arial" panose="020B0604020202020204" pitchFamily="34" charset="0"/>
              <a:buChar char="•"/>
            </a:lvl5pPr>
            <a:lvl6pPr>
              <a:buFont typeface="Arial" panose="020B0604020202020204" pitchFamily="34" charset="0"/>
              <a:buChar char="•"/>
            </a:lvl6pPr>
            <a:lvl7pPr>
              <a:buFont typeface="Arial" panose="020B0604020202020204" pitchFamily="34" charset="0"/>
              <a:buChar char="•"/>
            </a:lvl7pPr>
            <a:lvl8pPr>
              <a:buFont typeface="Arial" panose="020B0604020202020204" pitchFamily="34" charset="0"/>
              <a:buChar char="•"/>
            </a:lvl8pPr>
            <a:lvl9pPr/>
          </a:lstStyle>
          <a:p>
            <a:pPr>
              <a:lnSpc>
                <a:spcPct val="90000"/>
              </a:lnSpc>
              <a:buNone/>
            </a:pPr>
            <a:endParaRPr lang="en-US"/>
          </a:p>
          <a:p>
            <a:pPr>
              <a:lnSpc>
                <a:spcPct val="90000"/>
              </a:lnSpc>
              <a:buNone/>
            </a:pPr>
            <a:endParaRPr lang="en-US"/>
          </a:p>
          <a:p>
            <a:pPr>
              <a:lnSpc>
                <a:spcPct val="90000"/>
              </a:lnSpc>
              <a:buNone/>
            </a:pPr>
            <a:endParaRPr lang="en-US"/>
          </a:p>
          <a:p>
            <a:pPr marL="285750" indent="-285750">
              <a:lnSpc>
                <a:spcPct val="90000"/>
              </a:lnSpc>
            </a:pPr>
            <a:r>
              <a:rPr lang="en-US"/>
              <a:t>Spring cloud sleuth is the tracing layer over </a:t>
            </a:r>
            <a:r>
              <a:rPr lang="en-US">
                <a:hlinkClick r:id="rId3"/>
              </a:rPr>
              <a:t>Brave</a:t>
            </a:r>
            <a:r>
              <a:rPr lang="en-US"/>
              <a:t> (</a:t>
            </a:r>
            <a:r>
              <a:rPr lang="en-US" err="1"/>
              <a:t>openzipkin</a:t>
            </a:r>
            <a:r>
              <a:rPr lang="en-US"/>
              <a:t> standard) tracing library.</a:t>
            </a:r>
          </a:p>
          <a:p>
            <a:pPr>
              <a:lnSpc>
                <a:spcPct val="90000"/>
              </a:lnSpc>
              <a:buNone/>
            </a:pPr>
            <a:endParaRPr lang="en-US"/>
          </a:p>
          <a:p>
            <a:pPr marL="285750" indent="-285750">
              <a:lnSpc>
                <a:spcPct val="90000"/>
              </a:lnSpc>
            </a:pPr>
            <a:r>
              <a:rPr lang="en-US"/>
              <a:t>The default observability format is </a:t>
            </a:r>
            <a:r>
              <a:rPr lang="en-US" b="1"/>
              <a:t>B3.</a:t>
            </a:r>
            <a:endParaRPr lang="en-US"/>
          </a:p>
          <a:p>
            <a:pPr>
              <a:lnSpc>
                <a:spcPct val="90000"/>
              </a:lnSpc>
              <a:buNone/>
            </a:pPr>
            <a:endParaRPr lang="en-US"/>
          </a:p>
          <a:p>
            <a:pPr>
              <a:lnSpc>
                <a:spcPct val="90000"/>
              </a:lnSpc>
              <a:buNone/>
            </a:pPr>
            <a:endParaRPr lang="en-US"/>
          </a:p>
          <a:p>
            <a:pPr>
              <a:lnSpc>
                <a:spcPct val="90000"/>
              </a:lnSpc>
              <a:buNone/>
            </a:pPr>
            <a:endParaRPr lang="en-US"/>
          </a:p>
          <a:p>
            <a:pPr>
              <a:lnSpc>
                <a:spcPct val="90000"/>
              </a:lnSpc>
              <a:buNone/>
            </a:pPr>
            <a:endParaRPr lang="en-US"/>
          </a:p>
          <a:p>
            <a:pPr>
              <a:lnSpc>
                <a:spcPct val="90000"/>
              </a:lnSpc>
              <a:buNone/>
            </a:pP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4DB8EB-B9FC-9147-AA43-B84F7359A2AD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>
          <a:xfrm>
            <a:off x="2258400" y="6518277"/>
            <a:ext cx="8985600" cy="139924"/>
          </a:xfrm>
        </p:spPr>
        <p:txBody>
          <a:bodyPr anchor="b">
            <a:normAutofit fontScale="25000" lnSpcReduction="20000"/>
          </a:bodyPr>
          <a:lstStyle/>
          <a:p>
            <a:pPr>
              <a:lnSpc>
                <a:spcPct val="90000"/>
              </a:lnSpc>
            </a:pPr>
            <a:r>
              <a:rPr lang="en-US" sz="200"/>
              <a:t>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F30962D-F982-A2F5-8F16-67C5054F6F7B}"/>
              </a:ext>
            </a:extLst>
          </p:cNvPr>
          <p:cNvSpPr txBox="1">
            <a:spLocks/>
          </p:cNvSpPr>
          <p:nvPr/>
        </p:nvSpPr>
        <p:spPr>
          <a:xfrm>
            <a:off x="11811000" y="6518276"/>
            <a:ext cx="381000" cy="339724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n-US"/>
            </a:defPPr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fld id="{A2218858-49EA-4BF8-8EFE-B88A4580565A}" type="slidenum">
              <a:rPr sz="800" smtClean="0"/>
              <a:pPr algn="r">
                <a:lnSpc>
                  <a:spcPct val="110000"/>
                </a:lnSpc>
                <a:spcAft>
                  <a:spcPts val="0"/>
                </a:spcAft>
              </a:pPr>
              <a:t>18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2269483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141E0E-16C6-E816-64E9-1FDB0586EF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764" y="433388"/>
            <a:ext cx="10858500" cy="372967"/>
          </a:xfrm>
        </p:spPr>
        <p:txBody>
          <a:bodyPr wrap="square" anchor="t">
            <a:normAutofit/>
          </a:bodyPr>
          <a:lstStyle/>
          <a:p>
            <a:r>
              <a:rPr lang="en-US"/>
              <a:t>Spring boot 3.x - Micrometer tracing</a:t>
            </a:r>
          </a:p>
        </p:txBody>
      </p:sp>
      <p:sp>
        <p:nvSpPr>
          <p:cNvPr id="20" name="Content Placeholder 8">
            <a:extLst>
              <a:ext uri="{FF2B5EF4-FFF2-40B4-BE49-F238E27FC236}">
                <a16:creationId xmlns:a16="http://schemas.microsoft.com/office/drawing/2014/main" id="{F56CD8FA-2288-5D1A-E94C-06C4E260680D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5763" y="1295400"/>
            <a:ext cx="5241288" cy="4680163"/>
          </a:xfrm>
        </p:spPr>
        <p:txBody>
          <a:bodyPr>
            <a:normAutofit/>
          </a:bodyPr>
          <a:lstStyle>
            <a:lvl1pPr>
              <a:buFont typeface="Arial" panose="020B0604020202020204" pitchFamily="34" charset="0"/>
              <a:buChar char="•"/>
            </a:lvl1pPr>
            <a:lvl2pPr>
              <a:buFont typeface="Arial" panose="020B0604020202020204" pitchFamily="34" charset="0"/>
              <a:buChar char="•"/>
            </a:lvl2pPr>
            <a:lvl3pPr>
              <a:buSzPct val="110000"/>
              <a:buFont typeface="Arial" panose="020B0604020202020204" pitchFamily="34" charset="0"/>
              <a:buChar char="•"/>
            </a:lvl3pPr>
            <a:lvl4pPr>
              <a:buSzPct val="100000"/>
              <a:buFont typeface="Arial" panose="020B0604020202020204" pitchFamily="34" charset="0"/>
              <a:buChar char="•"/>
            </a:lvl4pPr>
            <a:lvl5pPr>
              <a:buSzPct val="90000"/>
              <a:buFont typeface="Arial" panose="020B0604020202020204" pitchFamily="34" charset="0"/>
              <a:buChar char="•"/>
            </a:lvl5pPr>
            <a:lvl6pPr>
              <a:buFont typeface="Arial" panose="020B0604020202020204" pitchFamily="34" charset="0"/>
              <a:buChar char="•"/>
            </a:lvl6pPr>
            <a:lvl7pPr>
              <a:buFont typeface="Arial" panose="020B0604020202020204" pitchFamily="34" charset="0"/>
              <a:buChar char="•"/>
            </a:lvl7pPr>
            <a:lvl8pPr>
              <a:buFont typeface="Arial" panose="020B0604020202020204" pitchFamily="34" charset="0"/>
              <a:buChar char="•"/>
            </a:lvl8pPr>
            <a:lvl9pPr/>
          </a:lstStyle>
          <a:p>
            <a:pPr>
              <a:buNone/>
            </a:pPr>
            <a:endParaRPr lang="en-US" dirty="0"/>
          </a:p>
          <a:p>
            <a:pPr>
              <a:buNone/>
            </a:pPr>
            <a:endParaRPr lang="en-US" dirty="0"/>
          </a:p>
          <a:p>
            <a:pPr>
              <a:buNone/>
            </a:pPr>
            <a:endParaRPr lang="en-US" dirty="0"/>
          </a:p>
          <a:p>
            <a:pPr marL="285750" indent="-285750"/>
            <a:r>
              <a:rPr lang="en-US" dirty="0"/>
              <a:t>Spring Cloud Sleuth is no longer supported by Spring Boot v3, see </a:t>
            </a:r>
            <a:r>
              <a:rPr lang="en-US" dirty="0">
                <a:hlinkClick r:id="rId3"/>
              </a:rPr>
              <a:t>official migration guide</a:t>
            </a:r>
            <a:r>
              <a:rPr lang="en-US" dirty="0"/>
              <a:t>.</a:t>
            </a:r>
          </a:p>
          <a:p>
            <a:pPr>
              <a:buNone/>
            </a:pPr>
            <a:endParaRPr lang="en-US" dirty="0"/>
          </a:p>
          <a:p>
            <a:pPr marL="285750" indent="-285750"/>
            <a:r>
              <a:rPr lang="en-US" dirty="0"/>
              <a:t>Replaced with Micrometer Tracing. </a:t>
            </a:r>
          </a:p>
          <a:p>
            <a:pPr>
              <a:buNone/>
            </a:pPr>
            <a:endParaRPr lang="en-US" dirty="0"/>
          </a:p>
          <a:p>
            <a:pPr marL="285750" indent="-285750"/>
            <a:r>
              <a:rPr lang="en-US" dirty="0"/>
              <a:t>Facade tracer library over the </a:t>
            </a:r>
            <a:r>
              <a:rPr lang="en-US" b="1" dirty="0"/>
              <a:t>Brave</a:t>
            </a:r>
            <a:r>
              <a:rPr lang="en-US" dirty="0"/>
              <a:t> and </a:t>
            </a:r>
            <a:r>
              <a:rPr lang="en-US" b="1" dirty="0" err="1"/>
              <a:t>OpenTelemetry</a:t>
            </a:r>
            <a:r>
              <a:rPr lang="en-US" b="1" dirty="0"/>
              <a:t> </a:t>
            </a:r>
            <a:r>
              <a:rPr lang="en-US" dirty="0"/>
              <a:t>tracers.</a:t>
            </a:r>
          </a:p>
          <a:p>
            <a:pPr>
              <a:buNone/>
            </a:pPr>
            <a:endParaRPr lang="en-US" dirty="0"/>
          </a:p>
          <a:p>
            <a:pPr marL="285750" indent="-285750"/>
            <a:r>
              <a:rPr lang="en-US" dirty="0"/>
              <a:t>The default propagation format for OTEL is </a:t>
            </a:r>
            <a:r>
              <a:rPr lang="en-US" b="1" dirty="0"/>
              <a:t>W3C</a:t>
            </a:r>
            <a:r>
              <a:rPr lang="en-US" dirty="0"/>
              <a:t>.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4DB8EB-B9FC-9147-AA43-B84F7359A2AD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2258400" y="6518277"/>
            <a:ext cx="8985600" cy="139924"/>
          </a:xfrm>
        </p:spPr>
        <p:txBody>
          <a:bodyPr anchor="b">
            <a:normAutofit fontScale="25000" lnSpcReduction="20000"/>
          </a:bodyPr>
          <a:lstStyle/>
          <a:p>
            <a:pPr>
              <a:lnSpc>
                <a:spcPct val="90000"/>
              </a:lnSpc>
            </a:pPr>
            <a:r>
              <a:rPr lang="en-US" sz="200"/>
              <a:t> </a:t>
            </a: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77A03C53-B6C8-ECE3-B245-05A3C022DEDD}"/>
              </a:ext>
            </a:extLst>
          </p:cNvPr>
          <p:cNvSpPr txBox="1">
            <a:spLocks/>
          </p:cNvSpPr>
          <p:nvPr/>
        </p:nvSpPr>
        <p:spPr>
          <a:xfrm>
            <a:off x="11811000" y="6518276"/>
            <a:ext cx="381000" cy="339724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n-US"/>
            </a:defPPr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fld id="{A2218858-49EA-4BF8-8EFE-B88A4580565A}" type="slidenum">
              <a:rPr sz="800" smtClean="0"/>
              <a:pPr algn="r">
                <a:lnSpc>
                  <a:spcPct val="110000"/>
                </a:lnSpc>
                <a:spcAft>
                  <a:spcPts val="0"/>
                </a:spcAft>
              </a:pPr>
              <a:t>19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2908412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8FCBB98F-3AF8-BBC9-4F8F-9FA52B2649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764" y="433388"/>
            <a:ext cx="10858500" cy="372967"/>
          </a:xfrm>
        </p:spPr>
        <p:txBody>
          <a:bodyPr wrap="square" anchor="t">
            <a:normAutofit/>
          </a:bodyPr>
          <a:lstStyle/>
          <a:p>
            <a:r>
              <a:rPr lang="en-US"/>
              <a:t>Goals for this talk 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17292F9-4BC6-C4ED-8CDB-653D5FFA990F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>
          <a:xfrm>
            <a:off x="2258400" y="6518277"/>
            <a:ext cx="8985600" cy="139924"/>
          </a:xfrm>
        </p:spPr>
        <p:txBody>
          <a:bodyPr anchor="b">
            <a:normAutofit fontScale="25000" lnSpcReduction="20000"/>
          </a:bodyPr>
          <a:lstStyle/>
          <a:p>
            <a:pPr>
              <a:lnSpc>
                <a:spcPct val="90000"/>
              </a:lnSpc>
            </a:pPr>
            <a:r>
              <a:rPr lang="en-US" sz="200"/>
              <a:t> </a:t>
            </a:r>
          </a:p>
        </p:txBody>
      </p:sp>
      <p:graphicFrame>
        <p:nvGraphicFramePr>
          <p:cNvPr id="21" name="Text Placeholder 11">
            <a:extLst>
              <a:ext uri="{FF2B5EF4-FFF2-40B4-BE49-F238E27FC236}">
                <a16:creationId xmlns:a16="http://schemas.microsoft.com/office/drawing/2014/main" id="{852893DB-6056-0D9D-0505-265A706F3F97}"/>
              </a:ext>
            </a:extLst>
          </p:cNvPr>
          <p:cNvGraphicFramePr>
            <a:graphicFrameLocks noGrp="1"/>
          </p:cNvGraphicFramePr>
          <p:nvPr>
            <p:ph sz="quarter" idx="23"/>
            <p:extLst>
              <p:ext uri="{D42A27DB-BD31-4B8C-83A1-F6EECF244321}">
                <p14:modId xmlns:p14="http://schemas.microsoft.com/office/powerpoint/2010/main" val="3661239584"/>
              </p:ext>
            </p:extLst>
          </p:nvPr>
        </p:nvGraphicFramePr>
        <p:xfrm>
          <a:off x="386399" y="1369799"/>
          <a:ext cx="10857863" cy="46801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Slide Number Placeholder 6">
            <a:extLst>
              <a:ext uri="{FF2B5EF4-FFF2-40B4-BE49-F238E27FC236}">
                <a16:creationId xmlns:a16="http://schemas.microsoft.com/office/drawing/2014/main" id="{F7C3036D-2FDA-6159-7BF7-421F88FB7187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811000" y="6518276"/>
            <a:ext cx="381000" cy="339724"/>
          </a:xfrm>
          <a:solidFill>
            <a:schemeClr val="bg1"/>
          </a:solidFill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fld id="{A2218858-49EA-4BF8-8EFE-B88A4580565A}" type="slidenum">
              <a:rPr sz="800" smtClean="0"/>
              <a:pPr algn="r">
                <a:lnSpc>
                  <a:spcPct val="110000"/>
                </a:lnSpc>
                <a:spcAft>
                  <a:spcPts val="0"/>
                </a:spcAft>
              </a:pPr>
              <a:t>2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07873115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141E0E-16C6-E816-64E9-1FDB0586EF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square" anchor="t">
            <a:normAutofit/>
          </a:bodyPr>
          <a:lstStyle/>
          <a:p>
            <a:r>
              <a:rPr lang="en-US"/>
              <a:t>Micrometer tracing</a:t>
            </a:r>
          </a:p>
        </p:txBody>
      </p:sp>
      <p:sp>
        <p:nvSpPr>
          <p:cNvPr id="20" name="Content Placeholder 8">
            <a:extLst>
              <a:ext uri="{FF2B5EF4-FFF2-40B4-BE49-F238E27FC236}">
                <a16:creationId xmlns:a16="http://schemas.microsoft.com/office/drawing/2014/main" id="{F56CD8FA-2288-5D1A-E94C-06C4E260680D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5763" y="1370014"/>
            <a:ext cx="10857863" cy="4679950"/>
          </a:xfrm>
        </p:spPr>
        <p:txBody>
          <a:bodyPr/>
          <a:lstStyle>
            <a:lvl1pPr>
              <a:buFont typeface="Arial" panose="020B0604020202020204" pitchFamily="34" charset="0"/>
              <a:buChar char="•"/>
            </a:lvl1pPr>
            <a:lvl2pPr>
              <a:buFont typeface="Arial" panose="020B0604020202020204" pitchFamily="34" charset="0"/>
              <a:buChar char="•"/>
            </a:lvl2pPr>
            <a:lvl3pPr>
              <a:buSzPct val="110000"/>
              <a:buFont typeface="Arial" panose="020B0604020202020204" pitchFamily="34" charset="0"/>
              <a:buChar char="•"/>
            </a:lvl3pPr>
            <a:lvl4pPr>
              <a:buSzPct val="100000"/>
              <a:buFont typeface="Arial" panose="020B0604020202020204" pitchFamily="34" charset="0"/>
              <a:buChar char="•"/>
            </a:lvl4pPr>
            <a:lvl5pPr>
              <a:buSzPct val="90000"/>
              <a:buFont typeface="Arial" panose="020B0604020202020204" pitchFamily="34" charset="0"/>
              <a:buChar char="•"/>
            </a:lvl5pPr>
            <a:lvl6pPr>
              <a:buFont typeface="Arial" panose="020B0604020202020204" pitchFamily="34" charset="0"/>
              <a:buChar char="•"/>
            </a:lvl6pPr>
            <a:lvl7pPr>
              <a:buFont typeface="Arial" panose="020B0604020202020204" pitchFamily="34" charset="0"/>
              <a:buChar char="•"/>
            </a:lvl7pPr>
            <a:lvl8pPr>
              <a:buFont typeface="Arial" panose="020B0604020202020204" pitchFamily="34" charset="0"/>
              <a:buChar char="•"/>
            </a:lvl8pPr>
            <a:lvl9pPr/>
          </a:lstStyle>
          <a:p>
            <a:pPr>
              <a:lnSpc>
                <a:spcPct val="90000"/>
              </a:lnSpc>
              <a:buNone/>
            </a:pPr>
            <a:endParaRPr lang="en-US" dirty="0"/>
          </a:p>
          <a:p>
            <a:pPr>
              <a:lnSpc>
                <a:spcPct val="90000"/>
              </a:lnSpc>
              <a:buNone/>
            </a:pPr>
            <a:endParaRPr lang="en-US" dirty="0"/>
          </a:p>
          <a:p>
            <a:pPr>
              <a:lnSpc>
                <a:spcPct val="90000"/>
              </a:lnSpc>
              <a:buNone/>
            </a:pPr>
            <a:endParaRPr lang="en-US" dirty="0"/>
          </a:p>
          <a:p>
            <a:pPr marL="285750" indent="-285750">
              <a:lnSpc>
                <a:spcPct val="90000"/>
              </a:lnSpc>
            </a:pPr>
            <a:r>
              <a:rPr lang="en-US" dirty="0"/>
              <a:t>Joined spans no longer supported.</a:t>
            </a:r>
          </a:p>
          <a:p>
            <a:pPr>
              <a:lnSpc>
                <a:spcPct val="90000"/>
              </a:lnSpc>
              <a:buNone/>
            </a:pPr>
            <a:endParaRPr lang="en-US" dirty="0"/>
          </a:p>
          <a:p>
            <a:pPr marL="285750" indent="-285750">
              <a:lnSpc>
                <a:spcPct val="90000"/>
              </a:lnSpc>
            </a:pPr>
            <a:r>
              <a:rPr lang="en-US" dirty="0"/>
              <a:t>Multiple context propagation types were not supported.</a:t>
            </a:r>
          </a:p>
          <a:p>
            <a:pPr marL="285750" indent="-285750">
              <a:lnSpc>
                <a:spcPct val="90000"/>
              </a:lnSpc>
            </a:pPr>
            <a:endParaRPr lang="en-US" dirty="0"/>
          </a:p>
          <a:p>
            <a:pPr marL="285750" indent="-285750">
              <a:lnSpc>
                <a:spcPct val="90000"/>
              </a:lnSpc>
            </a:pPr>
            <a:r>
              <a:rPr lang="en-US" dirty="0"/>
              <a:t>The logging pattern that contains trace and span IDs is no longer autoconfigured.</a:t>
            </a:r>
          </a:p>
          <a:p>
            <a:pPr marL="285750" indent="-285750">
              <a:lnSpc>
                <a:spcPct val="90000"/>
              </a:lnSpc>
            </a:pPr>
            <a:endParaRPr lang="en-US" dirty="0"/>
          </a:p>
          <a:p>
            <a:pPr marL="285750" indent="-285750">
              <a:lnSpc>
                <a:spcPct val="90000"/>
              </a:lnSpc>
            </a:pPr>
            <a:r>
              <a:rPr lang="en-US" dirty="0"/>
              <a:t>Executor and executor service instrumentations (e.g. `</a:t>
            </a:r>
            <a:r>
              <a:rPr lang="en-US" i="1" dirty="0" err="1"/>
              <a:t>LazyTraceExecutor</a:t>
            </a:r>
            <a:r>
              <a:rPr lang="en-US" dirty="0"/>
              <a:t>`) that would propagate the tracing context  together with a creation of a span are no longer available.</a:t>
            </a:r>
          </a:p>
          <a:p>
            <a:pPr>
              <a:buNone/>
            </a:pP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4DB8EB-B9FC-9147-AA43-B84F7359A2AD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 anchor="b">
            <a:normAutofit fontScale="25000" lnSpcReduction="20000"/>
          </a:bodyPr>
          <a:lstStyle/>
          <a:p>
            <a:pPr>
              <a:lnSpc>
                <a:spcPct val="90000"/>
              </a:lnSpc>
            </a:pPr>
            <a:r>
              <a:rPr lang="en-US" sz="200"/>
              <a:t> </a:t>
            </a: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95A8C373-9E12-CB2B-24AF-629083750485}"/>
              </a:ext>
            </a:extLst>
          </p:cNvPr>
          <p:cNvSpPr txBox="1">
            <a:spLocks/>
          </p:cNvSpPr>
          <p:nvPr/>
        </p:nvSpPr>
        <p:spPr>
          <a:xfrm>
            <a:off x="11811000" y="6518276"/>
            <a:ext cx="381000" cy="339724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n-US"/>
            </a:defPPr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fld id="{A2218858-49EA-4BF8-8EFE-B88A4580565A}" type="slidenum">
              <a:rPr sz="800" smtClean="0"/>
              <a:pPr algn="r">
                <a:lnSpc>
                  <a:spcPct val="110000"/>
                </a:lnSpc>
                <a:spcAft>
                  <a:spcPts val="0"/>
                </a:spcAft>
              </a:pPr>
              <a:t>20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618711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Rock climber scaling a rock face">
            <a:extLst>
              <a:ext uri="{FF2B5EF4-FFF2-40B4-BE49-F238E27FC236}">
                <a16:creationId xmlns:a16="http://schemas.microsoft.com/office/drawing/2014/main" id="{2ECC20B2-728D-B7ED-1DE9-967446F0E52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735" y="0"/>
            <a:ext cx="11244265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E141E0E-16C6-E816-64E9-1FDB0586EF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158" y="339725"/>
            <a:ext cx="10858500" cy="936625"/>
          </a:xfrm>
        </p:spPr>
        <p:txBody>
          <a:bodyPr wrap="square" anchor="t">
            <a:normAutofit fontScale="90000"/>
          </a:bodyPr>
          <a:lstStyle/>
          <a:p>
            <a:r>
              <a:rPr lang="en-US"/>
              <a:t>Spring cloud sleuth </a:t>
            </a:r>
            <a:br>
              <a:rPr lang="en-US"/>
            </a:br>
            <a:r>
              <a:rPr lang="en-US"/>
              <a:t>vs </a:t>
            </a:r>
            <a:br>
              <a:rPr lang="en-US"/>
            </a:br>
            <a:r>
              <a:rPr lang="en-US"/>
              <a:t>Micrometer tracing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FF58D26-8C8F-D6EE-B30A-1BB5B436A1D3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 anchor="b">
            <a:normAutofit fontScale="25000" lnSpcReduction="20000"/>
          </a:bodyPr>
          <a:lstStyle/>
          <a:p>
            <a:pPr>
              <a:lnSpc>
                <a:spcPct val="90000"/>
              </a:lnSpc>
            </a:pPr>
            <a:fld id="{C14CD3A7-9E40-46FB-A41D-9CC29415685D}" type="datetime4">
              <a:rPr lang="en-US" sz="200" smtClean="0"/>
              <a:pPr>
                <a:lnSpc>
                  <a:spcPct val="90000"/>
                </a:lnSpc>
              </a:pPr>
              <a:t>June 4, 2024</a:t>
            </a:fld>
            <a:endParaRPr lang="en-US" sz="20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4DB8EB-B9FC-9147-AA43-B84F7359A2AD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 anchor="b">
            <a:normAutofit fontScale="25000" lnSpcReduction="20000"/>
          </a:bodyPr>
          <a:lstStyle/>
          <a:p>
            <a:pPr>
              <a:lnSpc>
                <a:spcPct val="90000"/>
              </a:lnSpc>
            </a:pPr>
            <a:r>
              <a:rPr lang="en-US" sz="200"/>
              <a:t> </a:t>
            </a:r>
          </a:p>
        </p:txBody>
      </p:sp>
      <p:sp>
        <p:nvSpPr>
          <p:cNvPr id="27" name="Subtitle 2">
            <a:extLst>
              <a:ext uri="{FF2B5EF4-FFF2-40B4-BE49-F238E27FC236}">
                <a16:creationId xmlns:a16="http://schemas.microsoft.com/office/drawing/2014/main" id="{8A9B57AD-1EE2-7819-A732-17A9CA5070BB}"/>
              </a:ext>
            </a:extLst>
          </p:cNvPr>
          <p:cNvSpPr txBox="1">
            <a:spLocks/>
          </p:cNvSpPr>
          <p:nvPr/>
        </p:nvSpPr>
        <p:spPr>
          <a:xfrm>
            <a:off x="1295400" y="3054350"/>
            <a:ext cx="3615491" cy="374650"/>
          </a:xfrm>
          <a:prstGeom prst="rect">
            <a:avLst/>
          </a:prstGeom>
        </p:spPr>
        <p:txBody>
          <a:bodyPr vert="horz" lIns="0" tIns="3600" rIns="0" bIns="0" rtlCol="0">
            <a:noAutofit/>
          </a:bodyPr>
          <a:lstStyle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000" kern="120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39725" indent="-339725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325" indent="-2286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/>
              <a:t>What NOW?</a:t>
            </a:r>
          </a:p>
        </p:txBody>
      </p:sp>
      <p:sp>
        <p:nvSpPr>
          <p:cNvPr id="3" name="Slide Number Placeholder 6">
            <a:extLst>
              <a:ext uri="{FF2B5EF4-FFF2-40B4-BE49-F238E27FC236}">
                <a16:creationId xmlns:a16="http://schemas.microsoft.com/office/drawing/2014/main" id="{69240EC1-A970-CFBA-8A35-BE4A2E0477E2}"/>
              </a:ext>
            </a:extLst>
          </p:cNvPr>
          <p:cNvSpPr txBox="1">
            <a:spLocks/>
          </p:cNvSpPr>
          <p:nvPr/>
        </p:nvSpPr>
        <p:spPr>
          <a:xfrm>
            <a:off x="11811000" y="6518276"/>
            <a:ext cx="381000" cy="339724"/>
          </a:xfrm>
          <a:prstGeom prst="rect">
            <a:avLst/>
          </a:prstGeom>
          <a:noFill/>
        </p:spPr>
        <p:txBody>
          <a:bodyPr/>
          <a:lstStyle>
            <a:defPPr>
              <a:defRPr lang="en-US"/>
            </a:defPPr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fld id="{A2218858-49EA-4BF8-8EFE-B88A4580565A}" type="slidenum">
              <a:rPr sz="800" smtClean="0"/>
              <a:pPr algn="r">
                <a:lnSpc>
                  <a:spcPct val="110000"/>
                </a:lnSpc>
                <a:spcAft>
                  <a:spcPts val="0"/>
                </a:spcAft>
              </a:pPr>
              <a:t>21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201130193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Incandescent light bulb">
            <a:extLst>
              <a:ext uri="{FF2B5EF4-FFF2-40B4-BE49-F238E27FC236}">
                <a16:creationId xmlns:a16="http://schemas.microsoft.com/office/drawing/2014/main" id="{79F2E032-65A1-6228-C0F6-2634C26B5D8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878" y="0"/>
            <a:ext cx="469822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E141E0E-16C6-E816-64E9-1FDB0586EF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9600" y="411259"/>
            <a:ext cx="10858500" cy="372967"/>
          </a:xfrm>
        </p:spPr>
        <p:txBody>
          <a:bodyPr/>
          <a:lstStyle/>
          <a:p>
            <a:r>
              <a:rPr lang="en-US"/>
              <a:t>First let’s have a look at B3 vs W3C propagation format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09AF40-A510-231A-F449-77C8AE4EE7CC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>
            <a:lvl1pPr>
              <a:buFont typeface="Arial" panose="020B0604020202020204" pitchFamily="34" charset="0"/>
              <a:buChar char="•"/>
            </a:lvl1pPr>
            <a:lvl2pPr>
              <a:buFont typeface="Arial" panose="020B0604020202020204" pitchFamily="34" charset="0"/>
              <a:buChar char="•"/>
            </a:lvl2pPr>
            <a:lvl3pPr>
              <a:buSzPct val="110000"/>
              <a:buFont typeface="Arial" panose="020B0604020202020204" pitchFamily="34" charset="0"/>
              <a:buChar char="•"/>
            </a:lvl3pPr>
            <a:lvl4pPr>
              <a:buSzPct val="100000"/>
              <a:buFont typeface="Arial" panose="020B0604020202020204" pitchFamily="34" charset="0"/>
              <a:buChar char="•"/>
            </a:lvl4pPr>
            <a:lvl5pPr>
              <a:buSzPct val="90000"/>
              <a:buFont typeface="Arial" panose="020B0604020202020204" pitchFamily="34" charset="0"/>
              <a:buChar char="•"/>
            </a:lvl5pPr>
            <a:lvl6pPr>
              <a:buFont typeface="Arial" panose="020B0604020202020204" pitchFamily="34" charset="0"/>
              <a:buChar char="•"/>
            </a:lvl6pPr>
            <a:lvl7pPr>
              <a:buFont typeface="Arial" panose="020B0604020202020204" pitchFamily="34" charset="0"/>
              <a:buChar char="•"/>
            </a:lvl7pPr>
            <a:lvl8pPr>
              <a:buFont typeface="Arial" panose="020B0604020202020204" pitchFamily="34" charset="0"/>
              <a:buChar char="•"/>
            </a:lvl8pPr>
            <a:lvl9pPr/>
          </a:lstStyle>
          <a:p>
            <a:pPr>
              <a:buNone/>
            </a:pPr>
            <a:endParaRPr lang="en-US" b="1"/>
          </a:p>
          <a:p>
            <a:pPr>
              <a:buNone/>
            </a:pPr>
            <a:br>
              <a:rPr lang="en-US"/>
            </a:br>
            <a:endParaRPr lang="en-US"/>
          </a:p>
          <a:p>
            <a:pPr>
              <a:buNone/>
            </a:pPr>
            <a:endParaRPr lang="en-US"/>
          </a:p>
          <a:p>
            <a:pPr>
              <a:buNone/>
            </a:pPr>
            <a:endParaRPr lang="en-US"/>
          </a:p>
          <a:p>
            <a:pPr>
              <a:buNone/>
            </a:pP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4DB8EB-B9FC-9147-AA43-B84F7359A2AD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F42A524-EBCB-FD87-E704-E55F0C31FD7E}"/>
              </a:ext>
            </a:extLst>
          </p:cNvPr>
          <p:cNvSpPr txBox="1">
            <a:spLocks/>
          </p:cNvSpPr>
          <p:nvPr/>
        </p:nvSpPr>
        <p:spPr>
          <a:xfrm>
            <a:off x="5943600" y="2206322"/>
            <a:ext cx="3581400" cy="1066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9725" indent="-339725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325" indent="-2286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AutoNum type="arabicPeriod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AutoNum type="romanLcPeriod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rgbClr val="3C444D"/>
                </a:solidFill>
                <a:latin typeface="Splunk Platform Mono"/>
              </a:rPr>
              <a:t>X-B3-TraceId=</a:t>
            </a:r>
            <a:r>
              <a:rPr lang="en-US" sz="1200">
                <a:solidFill>
                  <a:srgbClr val="FD8B57"/>
                </a:solidFill>
                <a:latin typeface="Splunk Platform Mono"/>
              </a:rPr>
              <a:t>7eec982f91d07bc0</a:t>
            </a:r>
          </a:p>
          <a:p>
            <a:r>
              <a:rPr lang="en-US" sz="1200">
                <a:solidFill>
                  <a:srgbClr val="3C444D"/>
                </a:solidFill>
                <a:latin typeface="Splunk Platform Mono"/>
              </a:rPr>
              <a:t>X-B3-SpanId=</a:t>
            </a:r>
            <a:r>
              <a:rPr lang="en-US" sz="1200">
                <a:solidFill>
                  <a:srgbClr val="A473BE"/>
                </a:solidFill>
                <a:latin typeface="Splunk Platform Mono"/>
              </a:rPr>
              <a:t>dec6914f49e4ea19</a:t>
            </a:r>
          </a:p>
          <a:p>
            <a:r>
              <a:rPr lang="en-US" sz="1200">
                <a:solidFill>
                  <a:srgbClr val="3C444D"/>
                </a:solidFill>
                <a:latin typeface="Splunk Platform Mono"/>
              </a:rPr>
              <a:t>X-B3-Sampled=</a:t>
            </a:r>
            <a:r>
              <a:rPr lang="en-US" sz="1200">
                <a:solidFill>
                  <a:srgbClr val="199D97"/>
                </a:solidFill>
                <a:latin typeface="Splunk Platform Mono"/>
              </a:rPr>
              <a:t>1</a:t>
            </a:r>
          </a:p>
          <a:p>
            <a:r>
              <a:rPr lang="en-US" sz="1200">
                <a:solidFill>
                  <a:srgbClr val="3C444D"/>
                </a:solidFill>
                <a:latin typeface="Splunk Platform Mono"/>
              </a:rPr>
              <a:t>X-B3-ParentSpanId=</a:t>
            </a:r>
            <a:r>
              <a:rPr lang="en-US" sz="1200">
                <a:solidFill>
                  <a:srgbClr val="1D8E29"/>
                </a:solidFill>
                <a:latin typeface="Splunk Platform Mono"/>
              </a:rPr>
              <a:t>e94e0323539e6c64</a:t>
            </a:r>
          </a:p>
          <a:p>
            <a:endParaRPr lang="en-US" sz="1200">
              <a:solidFill>
                <a:srgbClr val="3C444D"/>
              </a:solidFill>
              <a:latin typeface="Splunk Platform Mono"/>
            </a:endParaRPr>
          </a:p>
          <a:p>
            <a:endParaRPr lang="en-US">
              <a:solidFill>
                <a:srgbClr val="3C444D"/>
              </a:solidFill>
              <a:latin typeface="Splunk Platform Mono"/>
            </a:endParaRPr>
          </a:p>
          <a:p>
            <a:endParaRPr lang="en-US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00567A99-AEB1-801C-63C7-460869B8FDCF}"/>
              </a:ext>
            </a:extLst>
          </p:cNvPr>
          <p:cNvSpPr txBox="1">
            <a:spLocks/>
          </p:cNvSpPr>
          <p:nvPr/>
        </p:nvSpPr>
        <p:spPr>
          <a:xfrm>
            <a:off x="5943599" y="4130171"/>
            <a:ext cx="6014401" cy="3746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9725" indent="-339725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325" indent="-2286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AutoNum type="arabicPeriod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AutoNum type="romanLcPeriod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rgbClr val="3C444D"/>
                </a:solidFill>
                <a:latin typeface="Splunk Platform Mono"/>
              </a:rPr>
              <a:t> </a:t>
            </a:r>
            <a:r>
              <a:rPr lang="en-US" sz="1200" err="1">
                <a:solidFill>
                  <a:srgbClr val="3C444D"/>
                </a:solidFill>
                <a:latin typeface="Splunk Platform Mono"/>
              </a:rPr>
              <a:t>traceparent</a:t>
            </a:r>
            <a:r>
              <a:rPr lang="en-US" sz="1200">
                <a:solidFill>
                  <a:srgbClr val="3C444D"/>
                </a:solidFill>
                <a:latin typeface="Splunk Platform Mono"/>
              </a:rPr>
              <a:t> = 00-</a:t>
            </a:r>
            <a:r>
              <a:rPr lang="en-US" sz="1200">
                <a:solidFill>
                  <a:srgbClr val="FD8B57"/>
                </a:solidFill>
                <a:latin typeface="Splunk Platform Mono"/>
              </a:rPr>
              <a:t>75f201975500a8e4640d93340eb309ee</a:t>
            </a:r>
            <a:r>
              <a:rPr lang="en-US" sz="1200">
                <a:solidFill>
                  <a:srgbClr val="3C444D"/>
                </a:solidFill>
                <a:latin typeface="Splunk Platform Mono"/>
              </a:rPr>
              <a:t>-</a:t>
            </a:r>
            <a:r>
              <a:rPr lang="en-US" sz="1200">
                <a:solidFill>
                  <a:srgbClr val="A473BE"/>
                </a:solidFill>
                <a:latin typeface="Splunk Platform Mono"/>
              </a:rPr>
              <a:t>dec6914f49e4ea19</a:t>
            </a:r>
            <a:r>
              <a:rPr lang="en-US" sz="1200">
                <a:solidFill>
                  <a:srgbClr val="3C444D"/>
                </a:solidFill>
                <a:latin typeface="Splunk Platform Mono"/>
              </a:rPr>
              <a:t>-</a:t>
            </a:r>
            <a:r>
              <a:rPr lang="en-US" sz="1200">
                <a:solidFill>
                  <a:srgbClr val="199D97"/>
                </a:solidFill>
                <a:latin typeface="Splunk Platform Mono"/>
              </a:rPr>
              <a:t>01</a:t>
            </a:r>
            <a:endParaRPr lang="en-US" sz="1200">
              <a:solidFill>
                <a:srgbClr val="3C444D"/>
              </a:solidFill>
              <a:latin typeface="Splunk Platform Mono"/>
            </a:endParaRPr>
          </a:p>
          <a:p>
            <a:endParaRPr lang="en-US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B36EBD02-44D5-8F7C-F1CB-7F5F409FB585}"/>
              </a:ext>
            </a:extLst>
          </p:cNvPr>
          <p:cNvSpPr txBox="1">
            <a:spLocks/>
          </p:cNvSpPr>
          <p:nvPr/>
        </p:nvSpPr>
        <p:spPr>
          <a:xfrm>
            <a:off x="5943600" y="1428158"/>
            <a:ext cx="6014401" cy="3746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9725" indent="-339725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325" indent="-2286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AutoNum type="arabicPeriod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AutoNum type="romanLcPeriod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rgbClr val="3C444D"/>
                </a:solidFill>
                <a:latin typeface="Splunk Platform Mono"/>
              </a:rPr>
              <a:t>b3 = </a:t>
            </a:r>
            <a:r>
              <a:rPr lang="en-US" sz="1200">
                <a:solidFill>
                  <a:srgbClr val="FD8B57"/>
                </a:solidFill>
                <a:latin typeface="Splunk Platform Mono"/>
              </a:rPr>
              <a:t>7eec982f91d07bc0</a:t>
            </a:r>
            <a:r>
              <a:rPr lang="en-US" sz="1200">
                <a:solidFill>
                  <a:srgbClr val="3C444D"/>
                </a:solidFill>
                <a:latin typeface="Splunk Platform Mono"/>
              </a:rPr>
              <a:t>-</a:t>
            </a:r>
            <a:r>
              <a:rPr lang="en-US" sz="1200">
                <a:solidFill>
                  <a:srgbClr val="A473BE"/>
                </a:solidFill>
                <a:latin typeface="Splunk Platform Mono"/>
              </a:rPr>
              <a:t>dec6914f49e4ea19</a:t>
            </a:r>
            <a:r>
              <a:rPr lang="en-US" sz="1200">
                <a:solidFill>
                  <a:srgbClr val="3C444D"/>
                </a:solidFill>
                <a:latin typeface="Splunk Platform Mono"/>
              </a:rPr>
              <a:t>-</a:t>
            </a:r>
            <a:r>
              <a:rPr lang="en-US" sz="1200">
                <a:solidFill>
                  <a:srgbClr val="199D97"/>
                </a:solidFill>
                <a:latin typeface="Splunk Platform Mono"/>
              </a:rPr>
              <a:t>1</a:t>
            </a:r>
            <a:r>
              <a:rPr lang="en-US" sz="1200">
                <a:solidFill>
                  <a:srgbClr val="3C444D"/>
                </a:solidFill>
                <a:latin typeface="Splunk Platform Mono"/>
              </a:rPr>
              <a:t>-</a:t>
            </a:r>
            <a:r>
              <a:rPr lang="en-US" sz="1200">
                <a:solidFill>
                  <a:srgbClr val="1D8E29"/>
                </a:solidFill>
                <a:latin typeface="Splunk Platform Mono"/>
              </a:rPr>
              <a:t>e94e0323539e6c64</a:t>
            </a:r>
          </a:p>
          <a:p>
            <a:endParaRPr lang="en-US" sz="1200">
              <a:solidFill>
                <a:srgbClr val="3C444D"/>
              </a:solidFill>
              <a:latin typeface="Splunk Platform Mono"/>
            </a:endParaRPr>
          </a:p>
          <a:p>
            <a:endParaRPr lang="en-US"/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8F7915FE-FBFF-C908-BE50-6685DFA76576}"/>
              </a:ext>
            </a:extLst>
          </p:cNvPr>
          <p:cNvSpPr txBox="1">
            <a:spLocks/>
          </p:cNvSpPr>
          <p:nvPr/>
        </p:nvSpPr>
        <p:spPr>
          <a:xfrm>
            <a:off x="11811000" y="6518276"/>
            <a:ext cx="381000" cy="339724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n-US"/>
            </a:defPPr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 dirty="0"/>
              <a:t> </a:t>
            </a:r>
            <a:fld id="{A2218858-49EA-4BF8-8EFE-B88A4580565A}" type="slidenum">
              <a:rPr sz="800" smtClean="0"/>
              <a:pPr algn="r">
                <a:lnSpc>
                  <a:spcPct val="110000"/>
                </a:lnSpc>
                <a:spcAft>
                  <a:spcPts val="0"/>
                </a:spcAft>
              </a:pPr>
              <a:t>22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27166595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Incandescent light bulb">
            <a:extLst>
              <a:ext uri="{FF2B5EF4-FFF2-40B4-BE49-F238E27FC236}">
                <a16:creationId xmlns:a16="http://schemas.microsoft.com/office/drawing/2014/main" id="{50A51222-A4E9-A5FD-4B1D-493D9F592549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878" y="0"/>
            <a:ext cx="469822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E141E0E-16C6-E816-64E9-1FDB0586EF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7700" y="380592"/>
            <a:ext cx="10858500" cy="372967"/>
          </a:xfrm>
        </p:spPr>
        <p:txBody>
          <a:bodyPr/>
          <a:lstStyle/>
          <a:p>
            <a:r>
              <a:rPr lang="en-US"/>
              <a:t>Micrometer tracing + OpenTelemetry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4DB8EB-B9FC-9147-AA43-B84F7359A2AD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7AFF6D4-8393-FE25-16F5-FFC3A3997158}"/>
              </a:ext>
            </a:extLst>
          </p:cNvPr>
          <p:cNvSpPr/>
          <p:nvPr/>
        </p:nvSpPr>
        <p:spPr>
          <a:xfrm>
            <a:off x="5562600" y="2545554"/>
            <a:ext cx="1275853" cy="55049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ervice 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3FF3794-7708-B181-7B68-ABD207E20998}"/>
              </a:ext>
            </a:extLst>
          </p:cNvPr>
          <p:cNvSpPr/>
          <p:nvPr/>
        </p:nvSpPr>
        <p:spPr>
          <a:xfrm>
            <a:off x="7925715" y="3058814"/>
            <a:ext cx="1441938" cy="82746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Hero Service</a:t>
            </a:r>
          </a:p>
          <a:p>
            <a:pPr algn="ctr"/>
            <a:r>
              <a:rPr lang="en-US"/>
              <a:t>(micrometer + </a:t>
            </a:r>
            <a:r>
              <a:rPr lang="en-US" err="1"/>
              <a:t>otel</a:t>
            </a:r>
            <a:r>
              <a:rPr lang="en-US"/>
              <a:t>)</a:t>
            </a:r>
          </a:p>
        </p:txBody>
      </p:sp>
      <p:pic>
        <p:nvPicPr>
          <p:cNvPr id="12" name="Arrow long right">
            <a:extLst>
              <a:ext uri="{FF2B5EF4-FFF2-40B4-BE49-F238E27FC236}">
                <a16:creationId xmlns:a16="http://schemas.microsoft.com/office/drawing/2014/main" id="{FC5F5E22-357B-DE4F-4D45-0A44CE5BE307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2008566">
            <a:off x="6851697" y="2432703"/>
            <a:ext cx="923884" cy="92388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2F5C0D5-D741-B329-DE07-248ACD73A23F}"/>
              </a:ext>
            </a:extLst>
          </p:cNvPr>
          <p:cNvSpPr txBox="1"/>
          <p:nvPr/>
        </p:nvSpPr>
        <p:spPr>
          <a:xfrm>
            <a:off x="7233998" y="2560777"/>
            <a:ext cx="451344" cy="2339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/>
              <a:t>b3</a:t>
            </a:r>
          </a:p>
        </p:txBody>
      </p:sp>
      <p:pic>
        <p:nvPicPr>
          <p:cNvPr id="15" name="Arrow long right">
            <a:extLst>
              <a:ext uri="{FF2B5EF4-FFF2-40B4-BE49-F238E27FC236}">
                <a16:creationId xmlns:a16="http://schemas.microsoft.com/office/drawing/2014/main" id="{6F8CD391-5A57-C8B1-258C-46647E6602E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606361">
            <a:off x="9473009" y="3440667"/>
            <a:ext cx="923883" cy="923883"/>
          </a:xfrm>
          <a:prstGeom prst="rect">
            <a:avLst/>
          </a:prstGeom>
        </p:spPr>
      </p:pic>
      <p:pic>
        <p:nvPicPr>
          <p:cNvPr id="16" name="Arrow long right">
            <a:extLst>
              <a:ext uri="{FF2B5EF4-FFF2-40B4-BE49-F238E27FC236}">
                <a16:creationId xmlns:a16="http://schemas.microsoft.com/office/drawing/2014/main" id="{18DE2B1C-CE7F-0D4B-EAB6-4A7D821C11D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20657970">
            <a:off x="9408435" y="2764194"/>
            <a:ext cx="923883" cy="923883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02532913-418E-6AB4-42DD-2140FCE5A81F}"/>
              </a:ext>
            </a:extLst>
          </p:cNvPr>
          <p:cNvSpPr txBox="1"/>
          <p:nvPr/>
        </p:nvSpPr>
        <p:spPr>
          <a:xfrm>
            <a:off x="9617447" y="2894645"/>
            <a:ext cx="451344" cy="2339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/>
              <a:t>b3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D2D5F83-66ED-1FDC-9785-8292C45CE0CB}"/>
              </a:ext>
            </a:extLst>
          </p:cNvPr>
          <p:cNvSpPr txBox="1"/>
          <p:nvPr/>
        </p:nvSpPr>
        <p:spPr>
          <a:xfrm>
            <a:off x="9673327" y="3585360"/>
            <a:ext cx="451344" cy="2339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/>
              <a:t>w3c</a:t>
            </a:r>
          </a:p>
        </p:txBody>
      </p:sp>
      <p:pic>
        <p:nvPicPr>
          <p:cNvPr id="19" name="Arrow long right">
            <a:extLst>
              <a:ext uri="{FF2B5EF4-FFF2-40B4-BE49-F238E27FC236}">
                <a16:creationId xmlns:a16="http://schemas.microsoft.com/office/drawing/2014/main" id="{69A02D5D-5F90-24EA-C853-3CD9C209FEB2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20837415">
            <a:off x="6912901" y="3494545"/>
            <a:ext cx="923883" cy="923883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9ACCE333-BAC1-813E-8A3B-565FD867B5AF}"/>
              </a:ext>
            </a:extLst>
          </p:cNvPr>
          <p:cNvSpPr txBox="1"/>
          <p:nvPr/>
        </p:nvSpPr>
        <p:spPr>
          <a:xfrm>
            <a:off x="7081324" y="3665288"/>
            <a:ext cx="451344" cy="2339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/>
              <a:t>w3c</a:t>
            </a:r>
            <a:endParaRPr lang="en-US" sz="1600"/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1DDDB9AC-78F2-03FE-C18D-C900EE81B392}"/>
              </a:ext>
            </a:extLst>
          </p:cNvPr>
          <p:cNvSpPr txBox="1">
            <a:spLocks/>
          </p:cNvSpPr>
          <p:nvPr/>
        </p:nvSpPr>
        <p:spPr>
          <a:xfrm>
            <a:off x="11811000" y="6518276"/>
            <a:ext cx="381000" cy="339724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n-US"/>
            </a:defPPr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fld id="{A2218858-49EA-4BF8-8EFE-B88A4580565A}" type="slidenum">
              <a:rPr sz="800" smtClean="0"/>
              <a:pPr algn="r">
                <a:lnSpc>
                  <a:spcPct val="110000"/>
                </a:lnSpc>
                <a:spcAft>
                  <a:spcPts val="0"/>
                </a:spcAft>
              </a:pPr>
              <a:t>23</a:t>
            </a:fld>
            <a:endParaRPr lang="en-US" sz="8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DFCCF6D-4466-8ACA-EF3A-89F88CDD2388}"/>
              </a:ext>
            </a:extLst>
          </p:cNvPr>
          <p:cNvSpPr/>
          <p:nvPr/>
        </p:nvSpPr>
        <p:spPr>
          <a:xfrm>
            <a:off x="5577426" y="3839971"/>
            <a:ext cx="1275853" cy="55049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ervice B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D2C1290-4E65-CF37-8D5E-3E66BB30A23C}"/>
              </a:ext>
            </a:extLst>
          </p:cNvPr>
          <p:cNvSpPr/>
          <p:nvPr/>
        </p:nvSpPr>
        <p:spPr>
          <a:xfrm>
            <a:off x="10385574" y="2577696"/>
            <a:ext cx="1275853" cy="55049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ervice C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90113ED-C2A2-5759-5BF1-5B107028EE58}"/>
              </a:ext>
            </a:extLst>
          </p:cNvPr>
          <p:cNvSpPr/>
          <p:nvPr/>
        </p:nvSpPr>
        <p:spPr>
          <a:xfrm>
            <a:off x="10412832" y="3647587"/>
            <a:ext cx="1275853" cy="55049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ervice D</a:t>
            </a:r>
          </a:p>
        </p:txBody>
      </p:sp>
    </p:spTree>
    <p:extLst>
      <p:ext uri="{BB962C8B-B14F-4D97-AF65-F5344CB8AC3E}">
        <p14:creationId xmlns:p14="http://schemas.microsoft.com/office/powerpoint/2010/main" val="91521693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Incandescent light bulb">
            <a:extLst>
              <a:ext uri="{FF2B5EF4-FFF2-40B4-BE49-F238E27FC236}">
                <a16:creationId xmlns:a16="http://schemas.microsoft.com/office/drawing/2014/main" id="{497760B7-9C11-79B2-5BD0-FB019245654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168" y="433388"/>
            <a:ext cx="469822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E141E0E-16C6-E816-64E9-1FDB0586EF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7700" y="393342"/>
            <a:ext cx="10858500" cy="742299"/>
          </a:xfrm>
        </p:spPr>
        <p:txBody>
          <a:bodyPr/>
          <a:lstStyle/>
          <a:p>
            <a:r>
              <a:rPr lang="en-US"/>
              <a:t>OpenTelemetry can propagate trace contexts using both W3C and B3 propagation typ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09AF40-A510-231A-F449-77C8AE4EE7CC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4DB8EB-B9FC-9147-AA43-B84F7359A2AD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2981EAE-A4EF-B04A-684C-713FF4F30D44}"/>
              </a:ext>
            </a:extLst>
          </p:cNvPr>
          <p:cNvSpPr txBox="1"/>
          <p:nvPr/>
        </p:nvSpPr>
        <p:spPr>
          <a:xfrm>
            <a:off x="6586950" y="2996239"/>
            <a:ext cx="5276647" cy="166199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US" sz="1800" b="0" i="0" dirty="0">
                <a:solidFill>
                  <a:srgbClr val="9E880D"/>
                </a:solidFill>
                <a:latin typeface="JetBrains Mono"/>
              </a:rPr>
              <a:t>@Bean</a:t>
            </a:r>
            <a:br>
              <a:rPr lang="en-US" sz="1800" b="0" i="0" dirty="0">
                <a:solidFill>
                  <a:srgbClr val="9E880D"/>
                </a:solidFill>
                <a:latin typeface="JetBrains Mono"/>
              </a:rPr>
            </a:br>
            <a:r>
              <a:rPr lang="en-US" sz="1800" b="0" i="0" dirty="0">
                <a:solidFill>
                  <a:srgbClr val="9E880D"/>
                </a:solidFill>
                <a:latin typeface="JetBrains Mono"/>
              </a:rPr>
              <a:t>@ConditionalOnClass</a:t>
            </a:r>
            <a:r>
              <a:rPr lang="en-US" sz="1800" b="0" i="0" dirty="0">
                <a:solidFill>
                  <a:srgbClr val="080808"/>
                </a:solidFill>
                <a:latin typeface="JetBrains Mono"/>
              </a:rPr>
              <a:t>(</a:t>
            </a:r>
            <a:r>
              <a:rPr lang="en-US" sz="1800" b="0" i="0" dirty="0">
                <a:solidFill>
                  <a:srgbClr val="000000"/>
                </a:solidFill>
                <a:latin typeface="JetBrains Mono"/>
              </a:rPr>
              <a:t>B3Propagator</a:t>
            </a:r>
            <a:r>
              <a:rPr lang="en-US" sz="1800" b="0" i="0" dirty="0">
                <a:solidFill>
                  <a:srgbClr val="080808"/>
                </a:solidFill>
                <a:latin typeface="JetBrains Mono"/>
              </a:rPr>
              <a:t>.</a:t>
            </a:r>
            <a:r>
              <a:rPr lang="en-US" sz="1800" b="0" i="0" dirty="0">
                <a:solidFill>
                  <a:srgbClr val="0033B3"/>
                </a:solidFill>
                <a:latin typeface="JetBrains Mono"/>
              </a:rPr>
              <a:t>class</a:t>
            </a:r>
            <a:r>
              <a:rPr lang="en-US" sz="1800" b="0" i="0" dirty="0">
                <a:solidFill>
                  <a:srgbClr val="080808"/>
                </a:solidFill>
                <a:latin typeface="JetBrains Mono"/>
              </a:rPr>
              <a:t>)</a:t>
            </a:r>
            <a:br>
              <a:rPr lang="en-US" sz="1800" b="0" i="0" dirty="0">
                <a:solidFill>
                  <a:srgbClr val="080808"/>
                </a:solidFill>
                <a:latin typeface="JetBrains Mono"/>
              </a:rPr>
            </a:br>
            <a:r>
              <a:rPr lang="en-US" sz="1800" b="0" i="0" dirty="0" err="1">
                <a:solidFill>
                  <a:srgbClr val="000000"/>
                </a:solidFill>
                <a:latin typeface="JetBrains Mono"/>
              </a:rPr>
              <a:t>TextMapPropagator</a:t>
            </a:r>
            <a:r>
              <a:rPr lang="en-US" sz="1800" b="0" i="0" dirty="0">
                <a:solidFill>
                  <a:srgbClr val="000000"/>
                </a:solidFill>
                <a:latin typeface="JetBrains Mono"/>
              </a:rPr>
              <a:t> </a:t>
            </a:r>
            <a:r>
              <a:rPr lang="en-US" sz="1800" b="0" i="0" dirty="0">
                <a:solidFill>
                  <a:srgbClr val="00627A"/>
                </a:solidFill>
                <a:latin typeface="JetBrains Mono"/>
              </a:rPr>
              <a:t>b3TextMapPropagator</a:t>
            </a:r>
            <a:r>
              <a:rPr lang="en-US" sz="1800" b="0" i="0" dirty="0">
                <a:solidFill>
                  <a:srgbClr val="080808"/>
                </a:solidFill>
                <a:latin typeface="JetBrains Mono"/>
              </a:rPr>
              <a:t>() {</a:t>
            </a:r>
            <a:br>
              <a:rPr lang="en-US" sz="1800" b="0" i="0" dirty="0">
                <a:solidFill>
                  <a:srgbClr val="080808"/>
                </a:solidFill>
                <a:latin typeface="JetBrains Mono"/>
              </a:rPr>
            </a:br>
            <a:r>
              <a:rPr lang="en-US" sz="1800" b="0" i="0" dirty="0">
                <a:solidFill>
                  <a:srgbClr val="080808"/>
                </a:solidFill>
                <a:latin typeface="JetBrains Mono"/>
              </a:rPr>
              <a:t>    </a:t>
            </a:r>
            <a:r>
              <a:rPr lang="en-US" sz="1800" b="0" i="0" dirty="0">
                <a:solidFill>
                  <a:srgbClr val="0033B3"/>
                </a:solidFill>
                <a:latin typeface="JetBrains Mono"/>
              </a:rPr>
              <a:t>return </a:t>
            </a:r>
            <a:r>
              <a:rPr lang="en-US" sz="1800" b="0" i="0" dirty="0">
                <a:solidFill>
                  <a:srgbClr val="000000"/>
                </a:solidFill>
                <a:latin typeface="JetBrains Mono"/>
              </a:rPr>
              <a:t>B3Propagator</a:t>
            </a:r>
            <a:r>
              <a:rPr lang="en-US" sz="1800" b="0" i="0" dirty="0">
                <a:solidFill>
                  <a:srgbClr val="080808"/>
                </a:solidFill>
                <a:latin typeface="JetBrains Mono"/>
              </a:rPr>
              <a:t>.</a:t>
            </a:r>
            <a:r>
              <a:rPr lang="en-US" sz="1800" b="0" i="1" dirty="0">
                <a:solidFill>
                  <a:srgbClr val="080808"/>
                </a:solidFill>
                <a:latin typeface="JetBrains Mono"/>
              </a:rPr>
              <a:t>injectingSingleHeader</a:t>
            </a:r>
            <a:r>
              <a:rPr lang="en-US" sz="1800" b="0" i="0" dirty="0">
                <a:solidFill>
                  <a:srgbClr val="080808"/>
                </a:solidFill>
                <a:latin typeface="JetBrains Mono"/>
              </a:rPr>
              <a:t>();</a:t>
            </a:r>
            <a:br>
              <a:rPr lang="en-US" sz="1800" b="0" i="0" dirty="0">
                <a:solidFill>
                  <a:srgbClr val="080808"/>
                </a:solidFill>
                <a:latin typeface="JetBrains Mono"/>
              </a:rPr>
            </a:br>
            <a:r>
              <a:rPr lang="en-US" sz="1800" b="0" i="0" dirty="0">
                <a:solidFill>
                  <a:srgbClr val="080808"/>
                </a:solidFill>
                <a:latin typeface="JetBrains Mono"/>
              </a:rPr>
              <a:t>}</a:t>
            </a:r>
            <a:br>
              <a:rPr lang="en-US" sz="1800" b="0" i="0" dirty="0">
                <a:solidFill>
                  <a:srgbClr val="080808"/>
                </a:solidFill>
                <a:latin typeface="JetBrains Mono"/>
              </a:rPr>
            </a:br>
            <a:endParaRPr lang="en-US" sz="1800" b="0" i="0" dirty="0">
              <a:solidFill>
                <a:srgbClr val="080808"/>
              </a:solidFill>
              <a:latin typeface="JetBrains Mono"/>
            </a:endParaRPr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BB3BCB21-2E9C-8BFF-ED1A-88BACBC8E0DB}"/>
              </a:ext>
            </a:extLst>
          </p:cNvPr>
          <p:cNvSpPr txBox="1">
            <a:spLocks/>
          </p:cNvSpPr>
          <p:nvPr/>
        </p:nvSpPr>
        <p:spPr>
          <a:xfrm>
            <a:off x="11811000" y="6518276"/>
            <a:ext cx="381000" cy="339724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n-US"/>
            </a:defPPr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 dirty="0"/>
              <a:t> </a:t>
            </a:r>
            <a:fld id="{A2218858-49EA-4BF8-8EFE-B88A4580565A}" type="slidenum">
              <a:rPr sz="800" smtClean="0"/>
              <a:pPr algn="r">
                <a:lnSpc>
                  <a:spcPct val="110000"/>
                </a:lnSpc>
                <a:spcAft>
                  <a:spcPts val="0"/>
                </a:spcAft>
              </a:pPr>
              <a:t>24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423691492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Incandescent light bulb">
            <a:extLst>
              <a:ext uri="{FF2B5EF4-FFF2-40B4-BE49-F238E27FC236}">
                <a16:creationId xmlns:a16="http://schemas.microsoft.com/office/drawing/2014/main" id="{83AEC5AE-151B-8F7E-B7B7-F4716BD342C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878" y="0"/>
            <a:ext cx="469822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E141E0E-16C6-E816-64E9-1FDB0586EF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4007" y="453789"/>
            <a:ext cx="10858500" cy="372967"/>
          </a:xfrm>
        </p:spPr>
        <p:txBody>
          <a:bodyPr/>
          <a:lstStyle/>
          <a:p>
            <a:r>
              <a:rPr lang="en-US"/>
              <a:t>Multiple propagation formats with Micrometer + </a:t>
            </a:r>
            <a:r>
              <a:rPr lang="en-US" err="1"/>
              <a:t>Ot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09AF40-A510-231A-F449-77C8AE4EE7C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5594132" y="1370013"/>
            <a:ext cx="10857863" cy="4680163"/>
          </a:xfrm>
        </p:spPr>
        <p:txBody>
          <a:bodyPr/>
          <a:lstStyle>
            <a:lvl1pPr>
              <a:buFont typeface="Arial" panose="020B0604020202020204" pitchFamily="34" charset="0"/>
              <a:buChar char="•"/>
            </a:lvl1pPr>
            <a:lvl2pPr>
              <a:buFont typeface="Arial" panose="020B0604020202020204" pitchFamily="34" charset="0"/>
              <a:buChar char="•"/>
            </a:lvl2pPr>
            <a:lvl3pPr>
              <a:buSzPct val="110000"/>
              <a:buFont typeface="Arial" panose="020B0604020202020204" pitchFamily="34" charset="0"/>
              <a:buChar char="•"/>
            </a:lvl3pPr>
            <a:lvl4pPr>
              <a:buSzPct val="100000"/>
              <a:buFont typeface="Arial" panose="020B0604020202020204" pitchFamily="34" charset="0"/>
              <a:buChar char="•"/>
            </a:lvl4pPr>
            <a:lvl5pPr>
              <a:buSzPct val="90000"/>
              <a:buFont typeface="Arial" panose="020B0604020202020204" pitchFamily="34" charset="0"/>
              <a:buChar char="•"/>
            </a:lvl5pPr>
            <a:lvl6pPr>
              <a:buFont typeface="Arial" panose="020B0604020202020204" pitchFamily="34" charset="0"/>
              <a:buChar char="•"/>
            </a:lvl6pPr>
            <a:lvl7pPr>
              <a:buFont typeface="Arial" panose="020B0604020202020204" pitchFamily="34" charset="0"/>
              <a:buChar char="•"/>
            </a:lvl7pPr>
            <a:lvl8pPr>
              <a:buFont typeface="Arial" panose="020B0604020202020204" pitchFamily="34" charset="0"/>
              <a:buChar char="•"/>
            </a:lvl8pPr>
            <a:lvl9pPr/>
          </a:lstStyle>
          <a:p>
            <a:pPr marL="285750" indent="-285750"/>
            <a:endParaRPr lang="en-US"/>
          </a:p>
          <a:p>
            <a:pPr marL="285750" indent="-285750"/>
            <a:endParaRPr lang="en-US"/>
          </a:p>
          <a:p>
            <a:pPr marL="285750" indent="-285750"/>
            <a:endParaRPr lang="en-US"/>
          </a:p>
          <a:p>
            <a:pPr marL="285750" indent="-285750"/>
            <a:r>
              <a:rPr lang="en-US"/>
              <a:t>Configured to read both W3C and B3 headers </a:t>
            </a:r>
            <a:br>
              <a:rPr lang="en-US"/>
            </a:br>
            <a:r>
              <a:rPr lang="en-US"/>
              <a:t>(both single and multiple headers).</a:t>
            </a:r>
          </a:p>
          <a:p>
            <a:pPr marL="285750" indent="-285750"/>
            <a:endParaRPr lang="en-US"/>
          </a:p>
          <a:p>
            <a:pPr marL="285750" indent="-285750"/>
            <a:r>
              <a:rPr lang="en-US"/>
              <a:t>Propagates both B3 and W3C contexts to downstream services.</a:t>
            </a:r>
          </a:p>
          <a:p>
            <a:pPr marL="285750" indent="-285750"/>
            <a:endParaRPr lang="en-US"/>
          </a:p>
          <a:p>
            <a:pPr marL="285750" indent="-285750"/>
            <a:r>
              <a:rPr lang="en-US"/>
              <a:t>W3C takes precedence over B3 on read.</a:t>
            </a:r>
          </a:p>
          <a:p>
            <a:pPr marL="285750" indent="-285750"/>
            <a:endParaRPr lang="en-US"/>
          </a:p>
          <a:p>
            <a:pPr>
              <a:buNone/>
            </a:pP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4DB8EB-B9FC-9147-AA43-B84F7359A2AD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06AC37E-33D0-A718-4C04-6339B835A11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15000" y="4572000"/>
            <a:ext cx="3362794" cy="228632"/>
          </a:xfrm>
          <a:prstGeom prst="rect">
            <a:avLst/>
          </a:prstGeom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70BD10-A6F1-9F68-FC4D-B1FDD14F06DD}"/>
              </a:ext>
            </a:extLst>
          </p:cNvPr>
          <p:cNvSpPr txBox="1">
            <a:spLocks/>
          </p:cNvSpPr>
          <p:nvPr/>
        </p:nvSpPr>
        <p:spPr>
          <a:xfrm>
            <a:off x="11811000" y="6518276"/>
            <a:ext cx="381000" cy="339724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n-US"/>
            </a:defPPr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 dirty="0"/>
              <a:t> </a:t>
            </a:r>
            <a:fld id="{A2218858-49EA-4BF8-8EFE-B88A4580565A}" type="slidenum">
              <a:rPr sz="800" smtClean="0"/>
              <a:pPr algn="r">
                <a:lnSpc>
                  <a:spcPct val="110000"/>
                </a:lnSpc>
                <a:spcAft>
                  <a:spcPts val="0"/>
                </a:spcAft>
              </a:pPr>
              <a:t>25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369434809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Incandescent light bulb">
            <a:extLst>
              <a:ext uri="{FF2B5EF4-FFF2-40B4-BE49-F238E27FC236}">
                <a16:creationId xmlns:a16="http://schemas.microsoft.com/office/drawing/2014/main" id="{FC578A6A-7648-E065-8355-0971B37B768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878" y="0"/>
            <a:ext cx="469822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E141E0E-16C6-E816-64E9-1FDB0586EF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7193" y="443157"/>
            <a:ext cx="10858500" cy="372967"/>
          </a:xfrm>
        </p:spPr>
        <p:txBody>
          <a:bodyPr/>
          <a:lstStyle/>
          <a:p>
            <a:r>
              <a:rPr lang="en-US"/>
              <a:t>Spring boot started supporting multiple propagation types since 3.0.8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09AF40-A510-231A-F449-77C8AE4EE7C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5943600" y="1088918"/>
            <a:ext cx="10857863" cy="4680163"/>
          </a:xfrm>
        </p:spPr>
        <p:txBody>
          <a:bodyPr/>
          <a:lstStyle>
            <a:lvl1pPr>
              <a:buFont typeface="Arial" panose="020B0604020202020204" pitchFamily="34" charset="0"/>
              <a:buChar char="•"/>
            </a:lvl1pPr>
            <a:lvl2pPr>
              <a:buFont typeface="Arial" panose="020B0604020202020204" pitchFamily="34" charset="0"/>
              <a:buChar char="•"/>
            </a:lvl2pPr>
            <a:lvl3pPr>
              <a:buSzPct val="110000"/>
              <a:buFont typeface="Arial" panose="020B0604020202020204" pitchFamily="34" charset="0"/>
              <a:buChar char="•"/>
            </a:lvl3pPr>
            <a:lvl4pPr>
              <a:buSzPct val="100000"/>
              <a:buFont typeface="Arial" panose="020B0604020202020204" pitchFamily="34" charset="0"/>
              <a:buChar char="•"/>
            </a:lvl4pPr>
            <a:lvl5pPr>
              <a:buSzPct val="90000"/>
              <a:buFont typeface="Arial" panose="020B0604020202020204" pitchFamily="34" charset="0"/>
              <a:buChar char="•"/>
            </a:lvl5pPr>
            <a:lvl6pPr>
              <a:buFont typeface="Arial" panose="020B0604020202020204" pitchFamily="34" charset="0"/>
              <a:buChar char="•"/>
            </a:lvl6pPr>
            <a:lvl7pPr>
              <a:buFont typeface="Arial" panose="020B0604020202020204" pitchFamily="34" charset="0"/>
              <a:buChar char="•"/>
            </a:lvl7pPr>
            <a:lvl8pPr>
              <a:buFont typeface="Arial" panose="020B0604020202020204" pitchFamily="34" charset="0"/>
              <a:buChar char="•"/>
            </a:lvl8pPr>
            <a:lvl9pPr/>
          </a:lstStyle>
          <a:p>
            <a:pPr marL="285750" indent="-285750"/>
            <a:endParaRPr lang="en-US" dirty="0"/>
          </a:p>
          <a:p>
            <a:pPr marL="285750" indent="-285750"/>
            <a:endParaRPr lang="en-US" dirty="0"/>
          </a:p>
          <a:p>
            <a:pPr marL="285750" indent="-285750"/>
            <a:endParaRPr lang="en-US" dirty="0"/>
          </a:p>
          <a:p>
            <a:pPr marL="285750" indent="-285750"/>
            <a:endParaRPr lang="en-US" dirty="0"/>
          </a:p>
          <a:p>
            <a:pPr marL="285750" indent="-285750"/>
            <a:r>
              <a:rPr lang="en-US" dirty="0"/>
              <a:t>It has produce/consume options available </a:t>
            </a:r>
          </a:p>
          <a:p>
            <a:pPr marL="285750" indent="-285750"/>
            <a:endParaRPr lang="en-US" dirty="0"/>
          </a:p>
          <a:p>
            <a:pPr marL="285750" indent="-285750"/>
            <a:endParaRPr lang="en-US" dirty="0"/>
          </a:p>
          <a:p>
            <a:pPr marL="285750" indent="-285750"/>
            <a:endParaRPr lang="en-US" dirty="0"/>
          </a:p>
          <a:p>
            <a:pPr>
              <a:buNone/>
            </a:pPr>
            <a:r>
              <a:rPr lang="en-US" b="0" i="0" dirty="0" err="1">
                <a:solidFill>
                  <a:srgbClr val="1F2328"/>
                </a:solidFill>
                <a:effectLst/>
                <a:latin typeface="ui-monospace"/>
              </a:rPr>
              <a:t>management.tracing.propagation.consume</a:t>
            </a:r>
            <a:r>
              <a:rPr lang="en-US" b="0" i="0" dirty="0">
                <a:solidFill>
                  <a:srgbClr val="1F2328"/>
                </a:solidFill>
                <a:effectLst/>
                <a:latin typeface="ui-monospace"/>
              </a:rPr>
              <a:t> </a:t>
            </a:r>
            <a:r>
              <a:rPr lang="en-US" dirty="0"/>
              <a:t> </a:t>
            </a:r>
          </a:p>
          <a:p>
            <a:pPr>
              <a:buNone/>
            </a:pPr>
            <a:r>
              <a:rPr lang="en-US" b="0" i="0" dirty="0" err="1">
                <a:solidFill>
                  <a:srgbClr val="1F2328"/>
                </a:solidFill>
                <a:effectLst/>
                <a:latin typeface="ui-monospace"/>
              </a:rPr>
              <a:t>management.tracing.propagation.produce</a:t>
            </a:r>
            <a:endParaRPr lang="en-US" dirty="0"/>
          </a:p>
          <a:p>
            <a:pPr>
              <a:buNone/>
            </a:pPr>
            <a:endParaRPr lang="en-US" dirty="0"/>
          </a:p>
          <a:p>
            <a:pPr>
              <a:buNone/>
            </a:pPr>
            <a:endParaRPr lang="en-US" dirty="0"/>
          </a:p>
          <a:p>
            <a:pPr marL="285750" indent="-285750"/>
            <a:r>
              <a:rPr lang="en-US" dirty="0"/>
              <a:t>Default ordering: W3C, B3 Single, B3 Multi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4DB8EB-B9FC-9147-AA43-B84F7359A2AD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D2A90AA-EBE4-467E-2833-934EAFF86473}"/>
              </a:ext>
            </a:extLst>
          </p:cNvPr>
          <p:cNvSpPr txBox="1">
            <a:spLocks/>
          </p:cNvSpPr>
          <p:nvPr/>
        </p:nvSpPr>
        <p:spPr>
          <a:xfrm>
            <a:off x="11811000" y="6518276"/>
            <a:ext cx="381000" cy="339724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n-US"/>
            </a:defPPr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 dirty="0"/>
              <a:t> </a:t>
            </a:r>
            <a:fld id="{A2218858-49EA-4BF8-8EFE-B88A4580565A}" type="slidenum">
              <a:rPr sz="800" smtClean="0"/>
              <a:pPr algn="r">
                <a:lnSpc>
                  <a:spcPct val="110000"/>
                </a:lnSpc>
                <a:spcAft>
                  <a:spcPts val="0"/>
                </a:spcAft>
              </a:pPr>
              <a:t>26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388831479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Incandescent light bulb">
            <a:extLst>
              <a:ext uri="{FF2B5EF4-FFF2-40B4-BE49-F238E27FC236}">
                <a16:creationId xmlns:a16="http://schemas.microsoft.com/office/drawing/2014/main" id="{8E244F94-1EE1-CE4A-5F55-1B082020BEC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878" y="0"/>
            <a:ext cx="469822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E141E0E-16C6-E816-64E9-1FDB0586EF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4788" y="433388"/>
            <a:ext cx="10858500" cy="372967"/>
          </a:xfrm>
        </p:spPr>
        <p:txBody>
          <a:bodyPr/>
          <a:lstStyle/>
          <a:p>
            <a:r>
              <a:rPr lang="en-US"/>
              <a:t>Micrometer observation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09AF40-A510-231A-F449-77C8AE4EE7CC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>
            <a:lvl1pPr>
              <a:buFont typeface="Arial" panose="020B0604020202020204" pitchFamily="34" charset="0"/>
              <a:buChar char="•"/>
            </a:lvl1pPr>
            <a:lvl2pPr>
              <a:buFont typeface="Arial" panose="020B0604020202020204" pitchFamily="34" charset="0"/>
              <a:buChar char="•"/>
            </a:lvl2pPr>
            <a:lvl3pPr>
              <a:buSzPct val="110000"/>
              <a:buFont typeface="Arial" panose="020B0604020202020204" pitchFamily="34" charset="0"/>
              <a:buChar char="•"/>
            </a:lvl3pPr>
            <a:lvl4pPr>
              <a:buSzPct val="100000"/>
              <a:buFont typeface="Arial" panose="020B0604020202020204" pitchFamily="34" charset="0"/>
              <a:buChar char="•"/>
            </a:lvl4pPr>
            <a:lvl5pPr>
              <a:buSzPct val="90000"/>
              <a:buFont typeface="Arial" panose="020B0604020202020204" pitchFamily="34" charset="0"/>
              <a:buChar char="•"/>
            </a:lvl5pPr>
            <a:lvl6pPr>
              <a:buFont typeface="Arial" panose="020B0604020202020204" pitchFamily="34" charset="0"/>
              <a:buChar char="•"/>
            </a:lvl6pPr>
            <a:lvl7pPr>
              <a:buFont typeface="Arial" panose="020B0604020202020204" pitchFamily="34" charset="0"/>
              <a:buChar char="•"/>
            </a:lvl7pPr>
            <a:lvl8pPr>
              <a:buFont typeface="Arial" panose="020B0604020202020204" pitchFamily="34" charset="0"/>
              <a:buChar char="•"/>
            </a:lvl8pPr>
            <a:lvl9pPr/>
          </a:lstStyle>
          <a:p>
            <a:pPr>
              <a:buNone/>
            </a:pPr>
            <a:endParaRPr lang="en-US"/>
          </a:p>
          <a:p>
            <a:pPr>
              <a:buNone/>
            </a:pP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4DB8EB-B9FC-9147-AA43-B84F7359A2AD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D521885F-E98D-E2F2-E5C3-306C52D62072}"/>
              </a:ext>
            </a:extLst>
          </p:cNvPr>
          <p:cNvSpPr txBox="1">
            <a:spLocks/>
          </p:cNvSpPr>
          <p:nvPr/>
        </p:nvSpPr>
        <p:spPr>
          <a:xfrm>
            <a:off x="5638800" y="1378845"/>
            <a:ext cx="7920037" cy="46801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9725" indent="-339725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325" indent="-2286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/>
            <a:endParaRPr lang="en-US" dirty="0"/>
          </a:p>
          <a:p>
            <a:pPr marL="285750" indent="-285750"/>
            <a:endParaRPr lang="en-US" dirty="0"/>
          </a:p>
          <a:p>
            <a:pPr>
              <a:buNone/>
            </a:pPr>
            <a:endParaRPr lang="en-US" dirty="0"/>
          </a:p>
          <a:p>
            <a:pPr marL="285750" indent="-285750"/>
            <a:r>
              <a:rPr lang="en-US" i="1" dirty="0"/>
              <a:t>RestTemplate</a:t>
            </a:r>
            <a:r>
              <a:rPr lang="en-US" dirty="0"/>
              <a:t>, </a:t>
            </a:r>
            <a:r>
              <a:rPr lang="en-US" i="1" dirty="0" err="1"/>
              <a:t>WebClient</a:t>
            </a:r>
            <a:r>
              <a:rPr lang="en-US" dirty="0"/>
              <a:t> and </a:t>
            </a:r>
            <a:r>
              <a:rPr lang="en-US" i="1" dirty="0" err="1"/>
              <a:t>RestClient</a:t>
            </a:r>
            <a:r>
              <a:rPr lang="en-US" dirty="0"/>
              <a:t> perform observations </a:t>
            </a:r>
            <a:br>
              <a:rPr lang="en-US" dirty="0"/>
            </a:br>
            <a:r>
              <a:rPr lang="en-US" dirty="0"/>
              <a:t>automatically (aware of Micrometer Observation API).</a:t>
            </a:r>
          </a:p>
          <a:p>
            <a:pPr marL="285750" indent="-285750"/>
            <a:endParaRPr lang="en-US" dirty="0"/>
          </a:p>
          <a:p>
            <a:pPr marL="285750" indent="-285750"/>
            <a:r>
              <a:rPr lang="en-US" dirty="0"/>
              <a:t>Other processing tasks do not get observed out-of-the-box as in </a:t>
            </a:r>
            <a:br>
              <a:rPr lang="en-US" dirty="0"/>
            </a:br>
            <a:r>
              <a:rPr lang="en-US" dirty="0"/>
              <a:t>Spring Cloud Sleuth (event listeners, </a:t>
            </a:r>
            <a:r>
              <a:rPr lang="en-US" strike="sngStrike" dirty="0"/>
              <a:t>scheduled tasks</a:t>
            </a:r>
            <a:r>
              <a:rPr lang="en-US" dirty="0"/>
              <a:t>).</a:t>
            </a:r>
          </a:p>
          <a:p>
            <a:pPr marL="285750" indent="-285750"/>
            <a:endParaRPr lang="en-US" dirty="0"/>
          </a:p>
          <a:p>
            <a:pPr>
              <a:buNone/>
            </a:pPr>
            <a:endParaRPr lang="en-US" dirty="0"/>
          </a:p>
          <a:p>
            <a:pPr marL="285750" indent="-285750"/>
            <a:endParaRPr lang="en-US" dirty="0"/>
          </a:p>
          <a:p>
            <a:pPr>
              <a:buNone/>
            </a:pPr>
            <a:r>
              <a:rPr lang="en-US" dirty="0"/>
              <a:t> </a:t>
            </a:r>
          </a:p>
          <a:p>
            <a:pPr>
              <a:buNone/>
            </a:pPr>
            <a:r>
              <a:rPr lang="en-US" dirty="0"/>
              <a:t> </a:t>
            </a:r>
          </a:p>
          <a:p>
            <a:pPr>
              <a:buNone/>
            </a:pPr>
            <a:endParaRPr lang="en-US" dirty="0"/>
          </a:p>
          <a:p>
            <a:pPr marL="285750" indent="-285750"/>
            <a:endParaRPr lang="en-US" dirty="0"/>
          </a:p>
          <a:p>
            <a:pPr>
              <a:buNone/>
            </a:pP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019AA40-2EE1-F2A3-F87F-DB79475BDA09}"/>
              </a:ext>
            </a:extLst>
          </p:cNvPr>
          <p:cNvSpPr txBox="1">
            <a:spLocks/>
          </p:cNvSpPr>
          <p:nvPr/>
        </p:nvSpPr>
        <p:spPr>
          <a:xfrm>
            <a:off x="11811000" y="6518276"/>
            <a:ext cx="381000" cy="339724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n-US"/>
            </a:defPPr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 dirty="0"/>
              <a:t> </a:t>
            </a:r>
            <a:fld id="{A2218858-49EA-4BF8-8EFE-B88A4580565A}" type="slidenum">
              <a:rPr sz="800" smtClean="0"/>
              <a:pPr algn="r">
                <a:lnSpc>
                  <a:spcPct val="110000"/>
                </a:lnSpc>
                <a:spcAft>
                  <a:spcPts val="0"/>
                </a:spcAft>
              </a:pPr>
              <a:t>27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274787973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Incandescent light bulb">
            <a:extLst>
              <a:ext uri="{FF2B5EF4-FFF2-40B4-BE49-F238E27FC236}">
                <a16:creationId xmlns:a16="http://schemas.microsoft.com/office/drawing/2014/main" id="{B31E213D-9360-8A16-13CE-ECE9EC5F462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878" y="0"/>
            <a:ext cx="469822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E141E0E-16C6-E816-64E9-1FDB0586EF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3600" y="2109788"/>
            <a:ext cx="5483992" cy="1319212"/>
          </a:xfrm>
        </p:spPr>
        <p:txBody>
          <a:bodyPr/>
          <a:lstStyle/>
          <a:p>
            <a:r>
              <a:rPr lang="en-US"/>
              <a:t>@Scheduled is instrumented for observability since Spring Boot 3.2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09AF40-A510-231A-F449-77C8AE4EE7CC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>
            <a:lvl1pPr>
              <a:buFont typeface="Arial" panose="020B0604020202020204" pitchFamily="34" charset="0"/>
              <a:buChar char="•"/>
            </a:lvl1pPr>
            <a:lvl2pPr>
              <a:buFont typeface="Arial" panose="020B0604020202020204" pitchFamily="34" charset="0"/>
              <a:buChar char="•"/>
            </a:lvl2pPr>
            <a:lvl3pPr>
              <a:buSzPct val="110000"/>
              <a:buFont typeface="Arial" panose="020B0604020202020204" pitchFamily="34" charset="0"/>
              <a:buChar char="•"/>
            </a:lvl3pPr>
            <a:lvl4pPr>
              <a:buSzPct val="100000"/>
              <a:buFont typeface="Arial" panose="020B0604020202020204" pitchFamily="34" charset="0"/>
              <a:buChar char="•"/>
            </a:lvl4pPr>
            <a:lvl5pPr>
              <a:buSzPct val="90000"/>
              <a:buFont typeface="Arial" panose="020B0604020202020204" pitchFamily="34" charset="0"/>
              <a:buChar char="•"/>
            </a:lvl5pPr>
            <a:lvl6pPr>
              <a:buFont typeface="Arial" panose="020B0604020202020204" pitchFamily="34" charset="0"/>
              <a:buChar char="•"/>
            </a:lvl6pPr>
            <a:lvl7pPr>
              <a:buFont typeface="Arial" panose="020B0604020202020204" pitchFamily="34" charset="0"/>
              <a:buChar char="•"/>
            </a:lvl7pPr>
            <a:lvl8pPr>
              <a:buFont typeface="Arial" panose="020B0604020202020204" pitchFamily="34" charset="0"/>
              <a:buChar char="•"/>
            </a:lvl8pPr>
            <a:lvl9pPr/>
          </a:lstStyle>
          <a:p>
            <a:pPr>
              <a:buNone/>
            </a:pPr>
            <a:endParaRPr lang="en-US"/>
          </a:p>
          <a:p>
            <a:pPr>
              <a:buNone/>
            </a:pP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4DB8EB-B9FC-9147-AA43-B84F7359A2AD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D521885F-E98D-E2F2-E5C3-306C52D62072}"/>
              </a:ext>
            </a:extLst>
          </p:cNvPr>
          <p:cNvSpPr txBox="1">
            <a:spLocks/>
          </p:cNvSpPr>
          <p:nvPr/>
        </p:nvSpPr>
        <p:spPr>
          <a:xfrm>
            <a:off x="385763" y="1369798"/>
            <a:ext cx="7920037" cy="46801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9725" indent="-339725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325" indent="-2286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/>
            <a:endParaRPr lang="en-US"/>
          </a:p>
          <a:p>
            <a:pPr marL="285750" indent="-285750"/>
            <a:endParaRPr lang="en-US"/>
          </a:p>
          <a:p>
            <a:pPr marL="285750" indent="-285750"/>
            <a:endParaRPr lang="en-US"/>
          </a:p>
          <a:p>
            <a:pPr>
              <a:buNone/>
            </a:pPr>
            <a:r>
              <a:rPr lang="en-US"/>
              <a:t> </a:t>
            </a:r>
          </a:p>
          <a:p>
            <a:pPr>
              <a:buNone/>
            </a:pPr>
            <a:r>
              <a:rPr lang="en-US"/>
              <a:t> </a:t>
            </a:r>
          </a:p>
          <a:p>
            <a:pPr>
              <a:buNone/>
            </a:pPr>
            <a:endParaRPr lang="en-US"/>
          </a:p>
          <a:p>
            <a:pPr marL="285750" indent="-285750"/>
            <a:endParaRPr lang="en-US"/>
          </a:p>
          <a:p>
            <a:pPr>
              <a:buNone/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1E6228-225C-F5C2-7435-10D16317A5E1}"/>
              </a:ext>
            </a:extLst>
          </p:cNvPr>
          <p:cNvSpPr txBox="1">
            <a:spLocks/>
          </p:cNvSpPr>
          <p:nvPr/>
        </p:nvSpPr>
        <p:spPr>
          <a:xfrm>
            <a:off x="11811000" y="6518276"/>
            <a:ext cx="381000" cy="339724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n-US"/>
            </a:defPPr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 dirty="0"/>
              <a:t> </a:t>
            </a:r>
            <a:fld id="{A2218858-49EA-4BF8-8EFE-B88A4580565A}" type="slidenum">
              <a:rPr sz="800" smtClean="0"/>
              <a:pPr algn="r">
                <a:lnSpc>
                  <a:spcPct val="110000"/>
                </a:lnSpc>
                <a:spcAft>
                  <a:spcPts val="0"/>
                </a:spcAft>
              </a:pPr>
              <a:t>28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329015886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Incandescent light bulb">
            <a:extLst>
              <a:ext uri="{FF2B5EF4-FFF2-40B4-BE49-F238E27FC236}">
                <a16:creationId xmlns:a16="http://schemas.microsoft.com/office/drawing/2014/main" id="{1F03A438-62B6-9DDD-7C1A-4C17E9D5FDB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878" y="0"/>
            <a:ext cx="469822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E141E0E-16C6-E816-64E9-1FDB0586EF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19200" y="443157"/>
            <a:ext cx="10858500" cy="372967"/>
          </a:xfrm>
        </p:spPr>
        <p:txBody>
          <a:bodyPr/>
          <a:lstStyle/>
          <a:p>
            <a:pPr marL="285750" indent="-285750"/>
            <a:r>
              <a:rPr lang="en-US"/>
              <a:t>Use </a:t>
            </a:r>
            <a:r>
              <a:rPr lang="en-US" i="1"/>
              <a:t>`@Observed` </a:t>
            </a:r>
            <a:r>
              <a:rPr lang="en-US"/>
              <a:t>to enable tracing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09AF40-A510-231A-F449-77C8AE4EE7CC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>
            <a:lvl1pPr>
              <a:buFont typeface="Arial" panose="020B0604020202020204" pitchFamily="34" charset="0"/>
              <a:buChar char="•"/>
            </a:lvl1pPr>
            <a:lvl2pPr>
              <a:buFont typeface="Arial" panose="020B0604020202020204" pitchFamily="34" charset="0"/>
              <a:buChar char="•"/>
            </a:lvl2pPr>
            <a:lvl3pPr>
              <a:buSzPct val="110000"/>
              <a:buFont typeface="Arial" panose="020B0604020202020204" pitchFamily="34" charset="0"/>
              <a:buChar char="•"/>
            </a:lvl3pPr>
            <a:lvl4pPr>
              <a:buSzPct val="100000"/>
              <a:buFont typeface="Arial" panose="020B0604020202020204" pitchFamily="34" charset="0"/>
              <a:buChar char="•"/>
            </a:lvl4pPr>
            <a:lvl5pPr>
              <a:buSzPct val="90000"/>
              <a:buFont typeface="Arial" panose="020B0604020202020204" pitchFamily="34" charset="0"/>
              <a:buChar char="•"/>
            </a:lvl5pPr>
            <a:lvl6pPr>
              <a:buFont typeface="Arial" panose="020B0604020202020204" pitchFamily="34" charset="0"/>
              <a:buChar char="•"/>
            </a:lvl6pPr>
            <a:lvl7pPr>
              <a:buFont typeface="Arial" panose="020B0604020202020204" pitchFamily="34" charset="0"/>
              <a:buChar char="•"/>
            </a:lvl7pPr>
            <a:lvl8pPr>
              <a:buFont typeface="Arial" panose="020B0604020202020204" pitchFamily="34" charset="0"/>
              <a:buChar char="•"/>
            </a:lvl8pPr>
            <a:lvl9pPr/>
          </a:lstStyle>
          <a:p>
            <a:pPr>
              <a:buNone/>
            </a:pPr>
            <a:endParaRPr lang="en-US"/>
          </a:p>
          <a:p>
            <a:pPr>
              <a:buNone/>
            </a:pP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4DB8EB-B9FC-9147-AA43-B84F7359A2AD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D521885F-E98D-E2F2-E5C3-306C52D62072}"/>
              </a:ext>
            </a:extLst>
          </p:cNvPr>
          <p:cNvSpPr txBox="1">
            <a:spLocks/>
          </p:cNvSpPr>
          <p:nvPr/>
        </p:nvSpPr>
        <p:spPr>
          <a:xfrm>
            <a:off x="6172200" y="1369798"/>
            <a:ext cx="7920037" cy="46801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9725" indent="-339725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325" indent="-2286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None/>
            </a:pPr>
            <a:endParaRPr lang="en-US" dirty="0"/>
          </a:p>
          <a:p>
            <a:pPr>
              <a:buNone/>
            </a:pPr>
            <a:endParaRPr lang="en-US" dirty="0"/>
          </a:p>
          <a:p>
            <a:pPr>
              <a:buNone/>
            </a:pPr>
            <a:endParaRPr lang="en-US" dirty="0"/>
          </a:p>
          <a:p>
            <a:pPr>
              <a:buNone/>
            </a:pPr>
            <a:endParaRPr lang="en-US" sz="1800" b="0" i="0" dirty="0">
              <a:solidFill>
                <a:srgbClr val="9E880D"/>
              </a:solidFill>
              <a:latin typeface="JetBrains Mono"/>
            </a:endParaRPr>
          </a:p>
          <a:p>
            <a:pPr>
              <a:buNone/>
            </a:pPr>
            <a:r>
              <a:rPr lang="en-US" sz="1800" b="0" i="0" dirty="0">
                <a:solidFill>
                  <a:srgbClr val="9E880D"/>
                </a:solidFill>
                <a:latin typeface="JetBrains Mono"/>
              </a:rPr>
              <a:t>@Observed</a:t>
            </a:r>
            <a:r>
              <a:rPr lang="en-US" sz="1800" b="0" i="0" dirty="0">
                <a:solidFill>
                  <a:srgbClr val="080808"/>
                </a:solidFill>
                <a:latin typeface="JetBrains Mono"/>
              </a:rPr>
              <a:t>(name = </a:t>
            </a:r>
            <a:r>
              <a:rPr lang="en-US" sz="1800" b="0" i="0" dirty="0">
                <a:solidFill>
                  <a:srgbClr val="067D17"/>
                </a:solidFill>
                <a:latin typeface="JetBrains Mono"/>
              </a:rPr>
              <a:t>"observe-logic"</a:t>
            </a:r>
            <a:r>
              <a:rPr lang="en-US" sz="1800" b="0" i="0" dirty="0">
                <a:solidFill>
                  <a:srgbClr val="080808"/>
                </a:solidFill>
                <a:latin typeface="JetBrains Mono"/>
              </a:rPr>
              <a:t>)</a:t>
            </a:r>
            <a:br>
              <a:rPr lang="en-US" sz="1800" b="0" i="0" dirty="0">
                <a:solidFill>
                  <a:srgbClr val="080808"/>
                </a:solidFill>
                <a:latin typeface="JetBrains Mono"/>
              </a:rPr>
            </a:br>
            <a:r>
              <a:rPr lang="en-US" sz="1800" b="0" i="0" dirty="0">
                <a:solidFill>
                  <a:srgbClr val="9E880D"/>
                </a:solidFill>
                <a:latin typeface="JetBrains Mono"/>
              </a:rPr>
              <a:t>@Async</a:t>
            </a:r>
            <a:r>
              <a:rPr lang="en-US" sz="1800" b="0" i="0" dirty="0">
                <a:solidFill>
                  <a:srgbClr val="080808"/>
                </a:solidFill>
                <a:latin typeface="JetBrains Mono"/>
              </a:rPr>
              <a:t>(</a:t>
            </a:r>
            <a:r>
              <a:rPr lang="en-US" sz="1800" b="0" i="0" dirty="0">
                <a:solidFill>
                  <a:srgbClr val="067D17"/>
                </a:solidFill>
                <a:latin typeface="JetBrains Mono"/>
              </a:rPr>
              <a:t>"async-logic"</a:t>
            </a:r>
            <a:r>
              <a:rPr lang="en-US" sz="1800" b="0" i="0" dirty="0">
                <a:solidFill>
                  <a:srgbClr val="080808"/>
                </a:solidFill>
                <a:latin typeface="JetBrains Mono"/>
              </a:rPr>
              <a:t>)</a:t>
            </a:r>
            <a:br>
              <a:rPr lang="en-US" sz="1800" b="0" i="0" dirty="0">
                <a:solidFill>
                  <a:srgbClr val="080808"/>
                </a:solidFill>
                <a:latin typeface="JetBrains Mono"/>
              </a:rPr>
            </a:br>
            <a:r>
              <a:rPr lang="en-US" sz="1800" b="0" i="0" dirty="0">
                <a:solidFill>
                  <a:srgbClr val="0033B3"/>
                </a:solidFill>
                <a:latin typeface="JetBrains Mono"/>
              </a:rPr>
              <a:t>public </a:t>
            </a:r>
            <a:r>
              <a:rPr lang="en-US" sz="1800" b="0" i="0" dirty="0" err="1">
                <a:solidFill>
                  <a:srgbClr val="000000"/>
                </a:solidFill>
                <a:latin typeface="JetBrains Mono"/>
              </a:rPr>
              <a:t>CompletableFuture</a:t>
            </a:r>
            <a:r>
              <a:rPr lang="en-US" sz="1800" b="0" i="0" dirty="0">
                <a:solidFill>
                  <a:srgbClr val="080808"/>
                </a:solidFill>
                <a:latin typeface="JetBrains Mono"/>
              </a:rPr>
              <a:t>&lt;</a:t>
            </a:r>
            <a:r>
              <a:rPr lang="en-US" sz="1800" b="0" i="0" dirty="0" err="1">
                <a:solidFill>
                  <a:srgbClr val="000000"/>
                </a:solidFill>
                <a:latin typeface="JetBrains Mono"/>
              </a:rPr>
              <a:t>IngestionBacklogItem</a:t>
            </a:r>
            <a:r>
              <a:rPr lang="en-US" sz="1800" b="0" i="0" dirty="0">
                <a:solidFill>
                  <a:srgbClr val="080808"/>
                </a:solidFill>
                <a:latin typeface="JetBrains Mono"/>
              </a:rPr>
              <a:t>&gt; </a:t>
            </a:r>
            <a:r>
              <a:rPr lang="en-US" sz="1800" b="0" i="0" dirty="0">
                <a:solidFill>
                  <a:srgbClr val="00627A"/>
                </a:solidFill>
                <a:latin typeface="JetBrains Mono"/>
              </a:rPr>
              <a:t>perform</a:t>
            </a:r>
            <a:r>
              <a:rPr lang="en-US" sz="1800" b="0" i="0" dirty="0">
                <a:solidFill>
                  <a:srgbClr val="080808"/>
                </a:solidFill>
                <a:latin typeface="JetBrains Mono"/>
              </a:rPr>
              <a:t>() {</a:t>
            </a:r>
          </a:p>
          <a:p>
            <a:pPr>
              <a:buNone/>
            </a:pPr>
            <a:endParaRPr lang="en-US" sz="1800" dirty="0">
              <a:solidFill>
                <a:srgbClr val="080808"/>
              </a:solidFill>
              <a:latin typeface="JetBrains Mono"/>
            </a:endParaRPr>
          </a:p>
          <a:p>
            <a:pPr>
              <a:buNone/>
            </a:pPr>
            <a:endParaRPr lang="en-US" sz="1800" b="0" i="0" dirty="0">
              <a:solidFill>
                <a:srgbClr val="080808"/>
              </a:solidFill>
              <a:latin typeface="JetBrains Mono"/>
            </a:endParaRPr>
          </a:p>
          <a:p>
            <a:pPr>
              <a:buNone/>
            </a:pPr>
            <a:endParaRPr lang="en-US" sz="1800" b="0" i="0" dirty="0">
              <a:solidFill>
                <a:srgbClr val="0033B3"/>
              </a:solidFill>
              <a:latin typeface="JetBrains Mono"/>
            </a:endParaRPr>
          </a:p>
          <a:p>
            <a:pPr>
              <a:buNone/>
            </a:pPr>
            <a:r>
              <a:rPr lang="en-US" sz="1800" b="0" i="0" dirty="0">
                <a:solidFill>
                  <a:srgbClr val="0033B3"/>
                </a:solidFill>
                <a:latin typeface="JetBrains Mono"/>
              </a:rPr>
              <a:t>`</a:t>
            </a:r>
            <a:r>
              <a:rPr lang="en-US" sz="1800" b="0" i="0" dirty="0" err="1">
                <a:solidFill>
                  <a:srgbClr val="080808"/>
                </a:solidFill>
                <a:latin typeface="JetBrains Mono"/>
              </a:rPr>
              <a:t>ObservedAspect</a:t>
            </a:r>
            <a:r>
              <a:rPr lang="en-US" sz="1800" b="0" i="0" dirty="0">
                <a:solidFill>
                  <a:srgbClr val="0033B3"/>
                </a:solidFill>
                <a:latin typeface="JetBrains Mono"/>
              </a:rPr>
              <a:t>` </a:t>
            </a:r>
          </a:p>
          <a:p>
            <a:pPr>
              <a:buNone/>
            </a:pPr>
            <a:r>
              <a:rPr lang="en-US" sz="1800" b="0" i="0" dirty="0">
                <a:solidFill>
                  <a:srgbClr val="080808"/>
                </a:solidFill>
                <a:latin typeface="JetBrains Mono"/>
              </a:rPr>
              <a:t>&lt;</a:t>
            </a:r>
            <a:r>
              <a:rPr lang="en-US" sz="1800" b="0" i="0" dirty="0" err="1">
                <a:solidFill>
                  <a:srgbClr val="0033B3"/>
                </a:solidFill>
                <a:latin typeface="JetBrains Mono"/>
              </a:rPr>
              <a:t>artifactId</a:t>
            </a:r>
            <a:r>
              <a:rPr lang="en-US" sz="1800" b="0" i="0" dirty="0">
                <a:solidFill>
                  <a:srgbClr val="080808"/>
                </a:solidFill>
                <a:latin typeface="JetBrains Mono"/>
              </a:rPr>
              <a:t>&gt;spring-boot-starter-</a:t>
            </a:r>
            <a:r>
              <a:rPr lang="en-US" sz="1800" b="0" i="0" dirty="0" err="1">
                <a:solidFill>
                  <a:srgbClr val="080808"/>
                </a:solidFill>
                <a:latin typeface="JetBrains Mono"/>
              </a:rPr>
              <a:t>aop</a:t>
            </a:r>
            <a:r>
              <a:rPr lang="en-US" sz="1800" b="0" i="0" dirty="0">
                <a:solidFill>
                  <a:srgbClr val="080808"/>
                </a:solidFill>
                <a:latin typeface="JetBrains Mono"/>
              </a:rPr>
              <a:t>&lt;/</a:t>
            </a:r>
            <a:r>
              <a:rPr lang="en-US" sz="1800" b="0" i="0" dirty="0" err="1">
                <a:solidFill>
                  <a:srgbClr val="0033B3"/>
                </a:solidFill>
                <a:latin typeface="JetBrains Mono"/>
              </a:rPr>
              <a:t>artifactId</a:t>
            </a:r>
            <a:r>
              <a:rPr lang="en-US" sz="1800" b="0" i="0" dirty="0">
                <a:solidFill>
                  <a:srgbClr val="080808"/>
                </a:solidFill>
                <a:latin typeface="JetBrains Mono"/>
              </a:rPr>
              <a:t>&gt;</a:t>
            </a:r>
            <a:br>
              <a:rPr lang="en-US" sz="1800" b="0" i="0" dirty="0">
                <a:solidFill>
                  <a:srgbClr val="080808"/>
                </a:solidFill>
                <a:latin typeface="JetBrains Mono"/>
              </a:rPr>
            </a:br>
            <a:endParaRPr lang="en-US" sz="1800" b="0" i="0" dirty="0">
              <a:solidFill>
                <a:srgbClr val="080808"/>
              </a:solidFill>
              <a:latin typeface="JetBrains Mono"/>
            </a:endParaRPr>
          </a:p>
          <a:p>
            <a:pPr>
              <a:buNone/>
            </a:pPr>
            <a:endParaRPr lang="en-US" dirty="0"/>
          </a:p>
          <a:p>
            <a:pPr>
              <a:buNone/>
            </a:pPr>
            <a:endParaRPr lang="en-US" dirty="0"/>
          </a:p>
          <a:p>
            <a:pPr marL="285750" indent="-285750"/>
            <a:endParaRPr lang="en-US" dirty="0"/>
          </a:p>
          <a:p>
            <a:pPr>
              <a:buNone/>
            </a:pPr>
            <a:endParaRPr lang="en-US" dirty="0"/>
          </a:p>
          <a:p>
            <a:pPr>
              <a:buNone/>
            </a:pPr>
            <a:br>
              <a:rPr lang="en-US" dirty="0"/>
            </a:b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DF581D-6B5C-56A2-AF1B-A40AA43DA6A8}"/>
              </a:ext>
            </a:extLst>
          </p:cNvPr>
          <p:cNvSpPr txBox="1">
            <a:spLocks/>
          </p:cNvSpPr>
          <p:nvPr/>
        </p:nvSpPr>
        <p:spPr>
          <a:xfrm>
            <a:off x="11811000" y="6518276"/>
            <a:ext cx="381000" cy="339724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n-US"/>
            </a:defPPr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 dirty="0"/>
              <a:t> </a:t>
            </a:r>
            <a:fld id="{A2218858-49EA-4BF8-8EFE-B88A4580565A}" type="slidenum">
              <a:rPr sz="800" smtClean="0"/>
              <a:pPr algn="r">
                <a:lnSpc>
                  <a:spcPct val="110000"/>
                </a:lnSpc>
                <a:spcAft>
                  <a:spcPts val="0"/>
                </a:spcAft>
              </a:pPr>
              <a:t>29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203596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2A2274EA-3378-2509-1E5F-CE0334FC78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aurentiu Marinescu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4F1AA63-2C4E-A94E-E308-925B89A68EB5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endParaRPr lang="en-US" dirty="0"/>
          </a:p>
          <a:p>
            <a:pPr algn="l" defTabSz="374400">
              <a:lnSpc>
                <a:spcPct val="95000"/>
              </a:lnSpc>
              <a:spcAft>
                <a:spcPts val="737"/>
              </a:spcAft>
            </a:pPr>
            <a:endParaRPr lang="en-US" dirty="0">
              <a:latin typeface="open sans" panose="020B0606030504020204" pitchFamily="34" charset="0"/>
            </a:endParaRPr>
          </a:p>
          <a:p>
            <a:pPr algn="l" defTabSz="374400">
              <a:lnSpc>
                <a:spcPct val="95000"/>
              </a:lnSpc>
              <a:spcAft>
                <a:spcPts val="737"/>
              </a:spcAft>
            </a:pPr>
            <a:endParaRPr lang="en-US" dirty="0">
              <a:latin typeface="open sans" panose="020B0606030504020204" pitchFamily="34" charset="0"/>
            </a:endParaRPr>
          </a:p>
          <a:p>
            <a:pPr marL="285750" indent="-285750" algn="l" defTabSz="374400">
              <a:lnSpc>
                <a:spcPct val="95000"/>
              </a:lnSpc>
              <a:spcAft>
                <a:spcPts val="737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</a:rPr>
              <a:t>F</a:t>
            </a:r>
            <a:r>
              <a:rPr lang="en-US" b="0" i="0" dirty="0">
                <a:effectLst/>
                <a:latin typeface="Arial" panose="020B0604020202020204" pitchFamily="34" charset="0"/>
              </a:rPr>
              <a:t>ull stack </a:t>
            </a:r>
            <a:r>
              <a:rPr lang="en-US" b="0" i="0" dirty="0" err="1">
                <a:effectLst/>
                <a:latin typeface="Arial" panose="020B0604020202020204" pitchFamily="34" charset="0"/>
              </a:rPr>
              <a:t>sw</a:t>
            </a:r>
            <a:r>
              <a:rPr lang="en-US" b="0" i="0" dirty="0">
                <a:effectLst/>
                <a:latin typeface="Arial" panose="020B0604020202020204" pitchFamily="34" charset="0"/>
              </a:rPr>
              <a:t> engineer, problem solver</a:t>
            </a:r>
          </a:p>
          <a:p>
            <a:pPr marL="285750" indent="-285750" algn="l" defTabSz="374400">
              <a:lnSpc>
                <a:spcPct val="95000"/>
              </a:lnSpc>
              <a:spcAft>
                <a:spcPts val="737"/>
              </a:spcAft>
              <a:buFont typeface="Arial" panose="020B0604020202020204" pitchFamily="34" charset="0"/>
              <a:buChar char="•"/>
            </a:pPr>
            <a:endParaRPr lang="en-US" b="0" i="0" dirty="0">
              <a:effectLst/>
              <a:latin typeface="Arial" panose="020B0604020202020204" pitchFamily="34" charset="0"/>
            </a:endParaRPr>
          </a:p>
          <a:p>
            <a:pPr marL="285750" indent="-285750" algn="l" defTabSz="374400">
              <a:lnSpc>
                <a:spcPct val="95000"/>
              </a:lnSpc>
              <a:spcAft>
                <a:spcPts val="737"/>
              </a:spcAft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Arial" panose="020B0604020202020204" pitchFamily="34" charset="0"/>
              </a:rPr>
              <a:t>Building next generation cloud platform @ ASML.</a:t>
            </a:r>
          </a:p>
          <a:p>
            <a:pPr marL="285750" indent="-285750" algn="l" defTabSz="374400">
              <a:lnSpc>
                <a:spcPct val="95000"/>
              </a:lnSpc>
              <a:spcAft>
                <a:spcPts val="737"/>
              </a:spcAft>
              <a:buFont typeface="Arial" panose="020B0604020202020204" pitchFamily="34" charset="0"/>
              <a:buChar char="•"/>
            </a:pPr>
            <a:endParaRPr lang="en-US" b="0" i="0" dirty="0">
              <a:effectLst/>
              <a:latin typeface="Arial" panose="020B0604020202020204" pitchFamily="34" charset="0"/>
            </a:endParaRPr>
          </a:p>
          <a:p>
            <a:pPr marL="285750" indent="-285750" algn="l" defTabSz="374400">
              <a:lnSpc>
                <a:spcPct val="95000"/>
              </a:lnSpc>
              <a:spcAft>
                <a:spcPts val="737"/>
              </a:spcAft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Arial" panose="020B0604020202020204" pitchFamily="34" charset="0"/>
              </a:rPr>
              <a:t>Passionate about software craftsmanship, </a:t>
            </a:r>
            <a:br>
              <a:rPr lang="en-US" b="0" i="0" dirty="0">
                <a:effectLst/>
                <a:latin typeface="Arial" panose="020B0604020202020204" pitchFamily="34" charset="0"/>
              </a:rPr>
            </a:br>
            <a:r>
              <a:rPr lang="en-US" b="0" i="0" dirty="0">
                <a:effectLst/>
                <a:latin typeface="Arial" panose="020B0604020202020204" pitchFamily="34" charset="0"/>
              </a:rPr>
              <a:t>new tech and being a people's person.</a:t>
            </a:r>
          </a:p>
          <a:p>
            <a:pPr algn="l" defTabSz="374400">
              <a:lnSpc>
                <a:spcPct val="95000"/>
              </a:lnSpc>
              <a:spcAft>
                <a:spcPts val="737"/>
              </a:spcAft>
            </a:pPr>
            <a:endParaRPr lang="en-US" dirty="0">
              <a:latin typeface="Arial" panose="020B0604020202020204" pitchFamily="34" charset="0"/>
            </a:endParaRPr>
          </a:p>
          <a:p>
            <a:pPr marL="285750" indent="-285750" algn="l" defTabSz="374400">
              <a:lnSpc>
                <a:spcPct val="95000"/>
              </a:lnSpc>
              <a:spcAft>
                <a:spcPts val="737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</a:rPr>
              <a:t>Advocate of p</a:t>
            </a:r>
            <a:r>
              <a:rPr lang="en-US" b="0" i="0" dirty="0">
                <a:effectLst/>
                <a:latin typeface="Arial" panose="020B0604020202020204" pitchFamily="34" charset="0"/>
              </a:rPr>
              <a:t>air/team programming.</a:t>
            </a:r>
          </a:p>
          <a:p>
            <a:pPr marL="285750" indent="-285750" algn="l" defTabSz="374400">
              <a:lnSpc>
                <a:spcPct val="95000"/>
              </a:lnSpc>
              <a:spcAft>
                <a:spcPts val="737"/>
              </a:spcAft>
              <a:buFont typeface="Arial" panose="020B0604020202020204" pitchFamily="34" charset="0"/>
              <a:buChar char="•"/>
            </a:pPr>
            <a:endParaRPr lang="en-US" sz="1600" dirty="0">
              <a:latin typeface="Arial" panose="020B0604020202020204" pitchFamily="34" charset="0"/>
            </a:endParaRPr>
          </a:p>
          <a:p>
            <a:pPr marL="285750" indent="-285750" algn="l" defTabSz="374400">
              <a:lnSpc>
                <a:spcPct val="95000"/>
              </a:lnSpc>
              <a:spcAft>
                <a:spcPts val="737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</a:rPr>
              <a:t>Bouldering/Climbing lover</a:t>
            </a:r>
          </a:p>
          <a:p>
            <a:pPr marL="285750" indent="-285750" algn="l" defTabSz="374400">
              <a:lnSpc>
                <a:spcPct val="95000"/>
              </a:lnSpc>
              <a:spcAft>
                <a:spcPts val="737"/>
              </a:spcAft>
              <a:buFont typeface="Arial" panose="020B0604020202020204" pitchFamily="34" charset="0"/>
              <a:buChar char="•"/>
            </a:pPr>
            <a:endParaRPr lang="en-US" sz="1600" dirty="0">
              <a:latin typeface="Arial" panose="020B0604020202020204" pitchFamily="34" charset="0"/>
            </a:endParaRPr>
          </a:p>
          <a:p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1E8C82A-9201-A610-BE95-2411827DF3E0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BEA681B2-1C18-9923-7B5B-805D567B12F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5763" y="808038"/>
            <a:ext cx="10858500" cy="374650"/>
          </a:xfrm>
        </p:spPr>
        <p:txBody>
          <a:bodyPr/>
          <a:lstStyle/>
          <a:p>
            <a:r>
              <a:rPr lang="en-US" sz="2000"/>
              <a:t>Senior software engineer @ ASML</a:t>
            </a:r>
            <a:endParaRPr lang="en-US">
              <a:latin typeface="open sans" panose="020B0606030504020204" pitchFamily="34" charset="0"/>
            </a:endParaRPr>
          </a:p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7128BF2-3A60-2E81-AF84-43609A21E87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3200" y="2283835"/>
            <a:ext cx="5148263" cy="275696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7B46122-B302-0CE7-7064-5989C2607596}"/>
              </a:ext>
            </a:extLst>
          </p:cNvPr>
          <p:cNvSpPr txBox="1"/>
          <p:nvPr/>
        </p:nvSpPr>
        <p:spPr>
          <a:xfrm>
            <a:off x="9982200" y="5040797"/>
            <a:ext cx="2667000" cy="13157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900"/>
              <a:t>Source: Martin Fowle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BCFB90F-0DFC-13B0-E038-D1A0A2089015}"/>
              </a:ext>
            </a:extLst>
          </p:cNvPr>
          <p:cNvSpPr txBox="1"/>
          <p:nvPr/>
        </p:nvSpPr>
        <p:spPr>
          <a:xfrm>
            <a:off x="385763" y="5593615"/>
            <a:ext cx="639016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b="0" i="0">
                <a:solidFill>
                  <a:schemeClr val="accent1"/>
                </a:solidFill>
                <a:latin typeface="JetBrains Mono"/>
              </a:rPr>
              <a:t>"email" :</a:t>
            </a:r>
            <a:r>
              <a:rPr lang="fr-FR" b="0" i="0">
                <a:solidFill>
                  <a:srgbClr val="CC7832"/>
                </a:solidFill>
                <a:latin typeface="JetBrains Mono"/>
              </a:rPr>
              <a:t> </a:t>
            </a:r>
            <a:r>
              <a:rPr lang="fr-FR" b="0" i="0">
                <a:solidFill>
                  <a:schemeClr val="accent4"/>
                </a:solidFill>
                <a:latin typeface="JetBrains Mono"/>
              </a:rPr>
              <a:t>"laurentiu.marinescu@asml.com",</a:t>
            </a:r>
            <a:br>
              <a:rPr lang="fr-FR" b="0" i="0">
                <a:solidFill>
                  <a:srgbClr val="CC7832"/>
                </a:solidFill>
                <a:latin typeface="JetBrains Mono"/>
              </a:rPr>
            </a:br>
            <a:r>
              <a:rPr lang="fr-FR" b="0" i="0">
                <a:solidFill>
                  <a:schemeClr val="accent1"/>
                </a:solidFill>
                <a:latin typeface="JetBrains Mono"/>
              </a:rPr>
              <a:t>"</a:t>
            </a:r>
            <a:r>
              <a:rPr lang="fr-FR" b="0" i="0" err="1">
                <a:solidFill>
                  <a:schemeClr val="accent1"/>
                </a:solidFill>
                <a:latin typeface="JetBrains Mono"/>
              </a:rPr>
              <a:t>linkedin</a:t>
            </a:r>
            <a:r>
              <a:rPr lang="fr-FR" b="0" i="0">
                <a:solidFill>
                  <a:schemeClr val="accent1"/>
                </a:solidFill>
                <a:latin typeface="JetBrains Mono"/>
              </a:rPr>
              <a:t>" : </a:t>
            </a:r>
            <a:r>
              <a:rPr lang="fr-FR" b="0" i="0">
                <a:solidFill>
                  <a:schemeClr val="accent4"/>
                </a:solidFill>
                <a:latin typeface="JetBrains Mono"/>
              </a:rPr>
              <a:t>"https://nl.linkedin.com/in/</a:t>
            </a:r>
            <a:r>
              <a:rPr lang="fr-FR" b="0" i="0" err="1">
                <a:solidFill>
                  <a:schemeClr val="accent4"/>
                </a:solidFill>
                <a:latin typeface="JetBrains Mono"/>
              </a:rPr>
              <a:t>laur</a:t>
            </a:r>
            <a:r>
              <a:rPr lang="fr-FR" b="0" i="0">
                <a:solidFill>
                  <a:schemeClr val="accent4"/>
                </a:solidFill>
                <a:latin typeface="JetBrains Mono"/>
              </a:rPr>
              <a:t>-marinescu",</a:t>
            </a:r>
            <a:br>
              <a:rPr lang="fr-FR" b="0" i="0">
                <a:solidFill>
                  <a:srgbClr val="CC7832"/>
                </a:solidFill>
                <a:latin typeface="JetBrains Mono"/>
              </a:rPr>
            </a:br>
            <a:r>
              <a:rPr lang="fr-FR" b="0" i="0">
                <a:solidFill>
                  <a:schemeClr val="accent1"/>
                </a:solidFill>
                <a:latin typeface="JetBrains Mono"/>
              </a:rPr>
              <a:t>"x" : </a:t>
            </a:r>
            <a:r>
              <a:rPr lang="fr-FR" b="0" i="0">
                <a:solidFill>
                  <a:schemeClr val="accent4"/>
                </a:solidFill>
                <a:latin typeface="JetBrains Mono"/>
              </a:rPr>
              <a:t>"@</a:t>
            </a:r>
            <a:r>
              <a:rPr lang="fr-FR" b="0" i="0" err="1">
                <a:solidFill>
                  <a:schemeClr val="accent4"/>
                </a:solidFill>
                <a:latin typeface="JetBrains Mono"/>
              </a:rPr>
              <a:t>laurrmarinescu</a:t>
            </a:r>
            <a:r>
              <a:rPr lang="fr-FR" b="0" i="0">
                <a:solidFill>
                  <a:schemeClr val="accent4"/>
                </a:solidFill>
                <a:latin typeface="JetBrains Mono"/>
              </a:rPr>
              <a:t>"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ADB9D43-D02B-EC0A-A2D8-8E0986190CFD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811000" y="6518276"/>
            <a:ext cx="381000" cy="339724"/>
          </a:xfrm>
          <a:solidFill>
            <a:schemeClr val="bg1"/>
          </a:solidFill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fld id="{A2218858-49EA-4BF8-8EFE-B88A4580565A}" type="slidenum">
              <a:rPr sz="800" smtClean="0"/>
              <a:pPr algn="r">
                <a:lnSpc>
                  <a:spcPct val="110000"/>
                </a:lnSpc>
                <a:spcAft>
                  <a:spcPts val="0"/>
                </a:spcAft>
              </a:pPr>
              <a:t>3</a:t>
            </a:fld>
            <a:endParaRPr lang="en-US" sz="80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83FA42E-93EA-0ACB-3F10-59D9762BFD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40837" y="5486520"/>
            <a:ext cx="1018879" cy="103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25258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Incandescent light bulb">
            <a:extLst>
              <a:ext uri="{FF2B5EF4-FFF2-40B4-BE49-F238E27FC236}">
                <a16:creationId xmlns:a16="http://schemas.microsoft.com/office/drawing/2014/main" id="{7839BF50-D915-A6F8-F679-422AED94A8E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878" y="0"/>
            <a:ext cx="469822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E141E0E-16C6-E816-64E9-1FDB0586EF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7700" y="433388"/>
            <a:ext cx="10858500" cy="372967"/>
          </a:xfrm>
        </p:spPr>
        <p:txBody>
          <a:bodyPr/>
          <a:lstStyle/>
          <a:p>
            <a:pPr marL="285750" indent="-285750"/>
            <a:r>
              <a:rPr lang="en-US"/>
              <a:t>Since Spring Boot 3.2 Micrometer annotations are autoconfigured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09AF40-A510-231A-F449-77C8AE4EE7C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5562600" y="1358121"/>
            <a:ext cx="10857863" cy="4680163"/>
          </a:xfrm>
        </p:spPr>
        <p:txBody>
          <a:bodyPr/>
          <a:lstStyle>
            <a:lvl1pPr>
              <a:buFont typeface="Arial" panose="020B0604020202020204" pitchFamily="34" charset="0"/>
              <a:buChar char="•"/>
            </a:lvl1pPr>
            <a:lvl2pPr>
              <a:buFont typeface="Arial" panose="020B0604020202020204" pitchFamily="34" charset="0"/>
              <a:buChar char="•"/>
            </a:lvl2pPr>
            <a:lvl3pPr>
              <a:buSzPct val="110000"/>
              <a:buFont typeface="Arial" panose="020B0604020202020204" pitchFamily="34" charset="0"/>
              <a:buChar char="•"/>
            </a:lvl3pPr>
            <a:lvl4pPr>
              <a:buSzPct val="100000"/>
              <a:buFont typeface="Arial" panose="020B0604020202020204" pitchFamily="34" charset="0"/>
              <a:buChar char="•"/>
            </a:lvl4pPr>
            <a:lvl5pPr>
              <a:buSzPct val="90000"/>
              <a:buFont typeface="Arial" panose="020B0604020202020204" pitchFamily="34" charset="0"/>
              <a:buChar char="•"/>
            </a:lvl5pPr>
            <a:lvl6pPr>
              <a:buFont typeface="Arial" panose="020B0604020202020204" pitchFamily="34" charset="0"/>
              <a:buChar char="•"/>
            </a:lvl6pPr>
            <a:lvl7pPr>
              <a:buFont typeface="Arial" panose="020B0604020202020204" pitchFamily="34" charset="0"/>
              <a:buChar char="•"/>
            </a:lvl7pPr>
            <a:lvl8pPr>
              <a:buFont typeface="Arial" panose="020B0604020202020204" pitchFamily="34" charset="0"/>
              <a:buChar char="•"/>
            </a:lvl8pPr>
            <a:lvl9pPr/>
          </a:lstStyle>
          <a:p>
            <a:pPr>
              <a:buNone/>
            </a:pPr>
            <a:endParaRPr lang="en-US" dirty="0"/>
          </a:p>
          <a:p>
            <a:pPr>
              <a:buNone/>
            </a:pPr>
            <a:endParaRPr lang="en-US" dirty="0"/>
          </a:p>
          <a:p>
            <a:pPr>
              <a:buNone/>
            </a:pPr>
            <a:endParaRPr lang="en-US" dirty="0"/>
          </a:p>
          <a:p>
            <a:pPr>
              <a:buNone/>
            </a:pPr>
            <a:endParaRPr lang="en-US" dirty="0"/>
          </a:p>
          <a:p>
            <a:pPr>
              <a:buNone/>
            </a:pPr>
            <a:endParaRPr lang="en-US" dirty="0"/>
          </a:p>
          <a:p>
            <a:pPr>
              <a:buNone/>
            </a:pPr>
            <a:r>
              <a:rPr lang="en-US" dirty="0">
                <a:solidFill>
                  <a:srgbClr val="D0AD23"/>
                </a:solidFill>
              </a:rPr>
              <a:t>@Timed, @Counted, @NewSpan, @ContinueSpan,@Observed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4DB8EB-B9FC-9147-AA43-B84F7359A2AD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D521885F-E98D-E2F2-E5C3-306C52D62072}"/>
              </a:ext>
            </a:extLst>
          </p:cNvPr>
          <p:cNvSpPr txBox="1">
            <a:spLocks/>
          </p:cNvSpPr>
          <p:nvPr/>
        </p:nvSpPr>
        <p:spPr>
          <a:xfrm>
            <a:off x="385763" y="1369798"/>
            <a:ext cx="7920037" cy="46801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9725" indent="-339725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325" indent="-2286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None/>
            </a:pPr>
            <a:endParaRPr lang="en-US"/>
          </a:p>
          <a:p>
            <a:pPr>
              <a:buNone/>
            </a:pPr>
            <a:endParaRPr lang="en-US"/>
          </a:p>
          <a:p>
            <a:pPr>
              <a:buNone/>
            </a:pPr>
            <a:endParaRPr lang="en-US"/>
          </a:p>
          <a:p>
            <a:pPr>
              <a:buNone/>
            </a:pPr>
            <a:endParaRPr lang="en-US"/>
          </a:p>
          <a:p>
            <a:pPr>
              <a:buNone/>
            </a:pPr>
            <a:br>
              <a:rPr lang="en-US"/>
            </a:br>
            <a:endParaRPr lang="en-US"/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3BCB9DCD-99E8-24A0-578C-4C0B510BB227}"/>
              </a:ext>
            </a:extLst>
          </p:cNvPr>
          <p:cNvSpPr txBox="1">
            <a:spLocks/>
          </p:cNvSpPr>
          <p:nvPr/>
        </p:nvSpPr>
        <p:spPr>
          <a:xfrm>
            <a:off x="11811000" y="6518276"/>
            <a:ext cx="381000" cy="339724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n-US"/>
            </a:defPPr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 dirty="0"/>
              <a:t> </a:t>
            </a:r>
            <a:fld id="{A2218858-49EA-4BF8-8EFE-B88A4580565A}" type="slidenum">
              <a:rPr sz="800" smtClean="0"/>
              <a:pPr algn="r">
                <a:lnSpc>
                  <a:spcPct val="110000"/>
                </a:lnSpc>
                <a:spcAft>
                  <a:spcPts val="0"/>
                </a:spcAft>
              </a:pPr>
              <a:t>30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17436958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Incandescent light bulb">
            <a:extLst>
              <a:ext uri="{FF2B5EF4-FFF2-40B4-BE49-F238E27FC236}">
                <a16:creationId xmlns:a16="http://schemas.microsoft.com/office/drawing/2014/main" id="{0CAD2A8A-6153-FDE1-1A6D-E81B246B6FF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878" y="0"/>
            <a:ext cx="469822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E141E0E-16C6-E816-64E9-1FDB0586EF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19200" y="453789"/>
            <a:ext cx="10858500" cy="372967"/>
          </a:xfrm>
        </p:spPr>
        <p:txBody>
          <a:bodyPr/>
          <a:lstStyle/>
          <a:p>
            <a:r>
              <a:rPr lang="en-US"/>
              <a:t>Programmatic approach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09AF40-A510-231A-F449-77C8AE4EE7CC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>
            <a:lvl1pPr>
              <a:buFont typeface="Arial" panose="020B0604020202020204" pitchFamily="34" charset="0"/>
              <a:buChar char="•"/>
            </a:lvl1pPr>
            <a:lvl2pPr>
              <a:buFont typeface="Arial" panose="020B0604020202020204" pitchFamily="34" charset="0"/>
              <a:buChar char="•"/>
            </a:lvl2pPr>
            <a:lvl3pPr>
              <a:buSzPct val="110000"/>
              <a:buFont typeface="Arial" panose="020B0604020202020204" pitchFamily="34" charset="0"/>
              <a:buChar char="•"/>
            </a:lvl3pPr>
            <a:lvl4pPr>
              <a:buSzPct val="100000"/>
              <a:buFont typeface="Arial" panose="020B0604020202020204" pitchFamily="34" charset="0"/>
              <a:buChar char="•"/>
            </a:lvl4pPr>
            <a:lvl5pPr>
              <a:buSzPct val="90000"/>
              <a:buFont typeface="Arial" panose="020B0604020202020204" pitchFamily="34" charset="0"/>
              <a:buChar char="•"/>
            </a:lvl5pPr>
            <a:lvl6pPr>
              <a:buFont typeface="Arial" panose="020B0604020202020204" pitchFamily="34" charset="0"/>
              <a:buChar char="•"/>
            </a:lvl6pPr>
            <a:lvl7pPr>
              <a:buFont typeface="Arial" panose="020B0604020202020204" pitchFamily="34" charset="0"/>
              <a:buChar char="•"/>
            </a:lvl7pPr>
            <a:lvl8pPr>
              <a:buFont typeface="Arial" panose="020B0604020202020204" pitchFamily="34" charset="0"/>
              <a:buChar char="•"/>
            </a:lvl8pPr>
            <a:lvl9pPr/>
          </a:lstStyle>
          <a:p>
            <a:pPr>
              <a:buNone/>
            </a:pPr>
            <a:endParaRPr lang="en-US"/>
          </a:p>
          <a:p>
            <a:pPr>
              <a:buNone/>
            </a:pP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4DB8EB-B9FC-9147-AA43-B84F7359A2AD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D521885F-E98D-E2F2-E5C3-306C52D62072}"/>
              </a:ext>
            </a:extLst>
          </p:cNvPr>
          <p:cNvSpPr txBox="1">
            <a:spLocks/>
          </p:cNvSpPr>
          <p:nvPr/>
        </p:nvSpPr>
        <p:spPr>
          <a:xfrm>
            <a:off x="385763" y="1369798"/>
            <a:ext cx="7920037" cy="46801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9725" indent="-339725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325" indent="-2286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None/>
            </a:pPr>
            <a:endParaRPr lang="en-US"/>
          </a:p>
          <a:p>
            <a:pPr>
              <a:buNone/>
            </a:pPr>
            <a:endParaRPr lang="en-US"/>
          </a:p>
          <a:p>
            <a:pPr>
              <a:buNone/>
            </a:pPr>
            <a:endParaRPr lang="en-US"/>
          </a:p>
          <a:p>
            <a:pPr marL="285750" indent="-285750"/>
            <a:endParaRPr lang="en-US"/>
          </a:p>
          <a:p>
            <a:pPr>
              <a:buNone/>
            </a:pPr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C914354-DBCC-90C9-E8BF-E2B1A7CADB1C}"/>
              </a:ext>
            </a:extLst>
          </p:cNvPr>
          <p:cNvSpPr txBox="1"/>
          <p:nvPr/>
        </p:nvSpPr>
        <p:spPr>
          <a:xfrm>
            <a:off x="5815330" y="2457382"/>
            <a:ext cx="7162800" cy="138499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US" sz="1800" b="0" i="0">
                <a:solidFill>
                  <a:srgbClr val="000000"/>
                </a:solidFill>
                <a:latin typeface="JetBrains Mono"/>
              </a:rPr>
              <a:t>Observation</a:t>
            </a:r>
            <a:br>
              <a:rPr lang="en-US" sz="1800" b="0" i="0">
                <a:solidFill>
                  <a:srgbClr val="000000"/>
                </a:solidFill>
                <a:latin typeface="JetBrains Mono"/>
              </a:rPr>
            </a:br>
            <a:r>
              <a:rPr lang="en-US" sz="1800" b="0" i="0">
                <a:solidFill>
                  <a:srgbClr val="000000"/>
                </a:solidFill>
                <a:latin typeface="JetBrains Mono"/>
              </a:rPr>
              <a:t>        </a:t>
            </a:r>
            <a:r>
              <a:rPr lang="en-US" sz="1800" b="0" i="0">
                <a:solidFill>
                  <a:srgbClr val="080808"/>
                </a:solidFill>
                <a:latin typeface="JetBrains Mono"/>
              </a:rPr>
              <a:t>.</a:t>
            </a:r>
            <a:r>
              <a:rPr lang="en-US" sz="1800" b="0" i="1">
                <a:solidFill>
                  <a:srgbClr val="080808"/>
                </a:solidFill>
                <a:latin typeface="JetBrains Mono"/>
              </a:rPr>
              <a:t>createNotStarted</a:t>
            </a:r>
            <a:r>
              <a:rPr lang="en-US" sz="1800" b="0" i="0">
                <a:solidFill>
                  <a:srgbClr val="080808"/>
                </a:solidFill>
                <a:latin typeface="JetBrains Mono"/>
              </a:rPr>
              <a:t>(</a:t>
            </a:r>
            <a:r>
              <a:rPr lang="en-US" sz="1800" b="0" i="0">
                <a:solidFill>
                  <a:srgbClr val="067D17"/>
                </a:solidFill>
                <a:latin typeface="JetBrains Mono"/>
              </a:rPr>
              <a:t>"logic-to-be-observed"</a:t>
            </a:r>
            <a:r>
              <a:rPr lang="en-US" sz="1800" b="0" i="0">
                <a:solidFill>
                  <a:srgbClr val="080808"/>
                </a:solidFill>
                <a:latin typeface="JetBrains Mono"/>
              </a:rPr>
              <a:t>, </a:t>
            </a:r>
            <a:r>
              <a:rPr lang="en-US" sz="1800" b="0" i="0">
                <a:solidFill>
                  <a:srgbClr val="871094"/>
                </a:solidFill>
                <a:latin typeface="JetBrains Mono"/>
              </a:rPr>
              <a:t>observationRegistry</a:t>
            </a:r>
            <a:r>
              <a:rPr lang="en-US" sz="1800" b="0" i="0">
                <a:solidFill>
                  <a:srgbClr val="080808"/>
                </a:solidFill>
                <a:latin typeface="JetBrains Mono"/>
              </a:rPr>
              <a:t>)</a:t>
            </a:r>
            <a:br>
              <a:rPr lang="en-US" sz="1800" b="0" i="0">
                <a:solidFill>
                  <a:srgbClr val="080808"/>
                </a:solidFill>
                <a:latin typeface="JetBrains Mono"/>
              </a:rPr>
            </a:br>
            <a:r>
              <a:rPr lang="en-US" sz="1800" b="0" i="0">
                <a:solidFill>
                  <a:srgbClr val="080808"/>
                </a:solidFill>
                <a:latin typeface="JetBrains Mono"/>
              </a:rPr>
              <a:t>        .lowCardinalityKeyValue(</a:t>
            </a:r>
            <a:r>
              <a:rPr lang="en-US" sz="1800" b="0" i="0">
                <a:solidFill>
                  <a:srgbClr val="067D17"/>
                </a:solidFill>
                <a:latin typeface="JetBrains Mono"/>
              </a:rPr>
              <a:t>"id"</a:t>
            </a:r>
            <a:r>
              <a:rPr lang="en-US" sz="1800" b="0" i="0">
                <a:solidFill>
                  <a:srgbClr val="080808"/>
                </a:solidFill>
                <a:latin typeface="JetBrains Mono"/>
              </a:rPr>
              <a:t>, </a:t>
            </a:r>
            <a:r>
              <a:rPr lang="en-US" sz="1800" b="0" i="0">
                <a:solidFill>
                  <a:srgbClr val="067D17"/>
                </a:solidFill>
                <a:latin typeface="JetBrains Mono"/>
              </a:rPr>
              <a:t>"idValue"</a:t>
            </a:r>
            <a:r>
              <a:rPr lang="en-US" sz="1800" b="0" i="0">
                <a:solidFill>
                  <a:srgbClr val="080808"/>
                </a:solidFill>
                <a:latin typeface="JetBrains Mono"/>
              </a:rPr>
              <a:t>)</a:t>
            </a:r>
            <a:br>
              <a:rPr lang="en-US" sz="1800" b="0" i="0">
                <a:solidFill>
                  <a:srgbClr val="080808"/>
                </a:solidFill>
                <a:latin typeface="JetBrains Mono"/>
              </a:rPr>
            </a:br>
            <a:r>
              <a:rPr lang="en-US" sz="1800" b="0" i="0">
                <a:solidFill>
                  <a:srgbClr val="080808"/>
                </a:solidFill>
                <a:latin typeface="JetBrains Mono"/>
              </a:rPr>
              <a:t>        .lowCardinalityKeyValue(</a:t>
            </a:r>
            <a:r>
              <a:rPr lang="en-US" sz="1800" b="0" i="0">
                <a:solidFill>
                  <a:srgbClr val="067D17"/>
                </a:solidFill>
                <a:latin typeface="JetBrains Mono"/>
              </a:rPr>
              <a:t>"requester"</a:t>
            </a:r>
            <a:r>
              <a:rPr lang="en-US" sz="1800" b="0" i="0">
                <a:solidFill>
                  <a:srgbClr val="080808"/>
                </a:solidFill>
                <a:latin typeface="JetBrains Mono"/>
              </a:rPr>
              <a:t>, </a:t>
            </a:r>
            <a:r>
              <a:rPr lang="en-US" sz="1800" b="0" i="0">
                <a:solidFill>
                  <a:srgbClr val="067D17"/>
                </a:solidFill>
                <a:latin typeface="JetBrains Mono"/>
              </a:rPr>
              <a:t>"requesterValue"</a:t>
            </a:r>
            <a:r>
              <a:rPr lang="en-US" sz="1800" b="0" i="0">
                <a:solidFill>
                  <a:srgbClr val="080808"/>
                </a:solidFill>
                <a:latin typeface="JetBrains Mono"/>
              </a:rPr>
              <a:t>)</a:t>
            </a:r>
            <a:br>
              <a:rPr lang="en-US" sz="1800" b="0" i="0">
                <a:solidFill>
                  <a:srgbClr val="080808"/>
                </a:solidFill>
                <a:latin typeface="JetBrains Mono"/>
              </a:rPr>
            </a:br>
            <a:r>
              <a:rPr lang="en-US" sz="1800" b="0" i="0">
                <a:solidFill>
                  <a:srgbClr val="080808"/>
                </a:solidFill>
                <a:latin typeface="JetBrains Mono"/>
              </a:rPr>
              <a:t>        .observe(</a:t>
            </a:r>
            <a:r>
              <a:rPr lang="en-US" sz="1800" b="0" i="0">
                <a:solidFill>
                  <a:srgbClr val="0033B3"/>
                </a:solidFill>
                <a:latin typeface="JetBrains Mono"/>
              </a:rPr>
              <a:t>this</a:t>
            </a:r>
            <a:r>
              <a:rPr lang="en-US" sz="1800" b="0" i="0">
                <a:solidFill>
                  <a:srgbClr val="080808"/>
                </a:solidFill>
                <a:latin typeface="JetBrains Mono"/>
              </a:rPr>
              <a:t>::logic);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98CA7A6A-FDDA-BEBB-8E1E-79DA2A4ECE7A}"/>
              </a:ext>
            </a:extLst>
          </p:cNvPr>
          <p:cNvSpPr txBox="1">
            <a:spLocks/>
          </p:cNvSpPr>
          <p:nvPr/>
        </p:nvSpPr>
        <p:spPr>
          <a:xfrm>
            <a:off x="11811000" y="6518276"/>
            <a:ext cx="381000" cy="339724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n-US"/>
            </a:defPPr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 dirty="0"/>
              <a:t> </a:t>
            </a:r>
            <a:fld id="{A2218858-49EA-4BF8-8EFE-B88A4580565A}" type="slidenum">
              <a:rPr sz="800" smtClean="0"/>
              <a:pPr algn="r">
                <a:lnSpc>
                  <a:spcPct val="110000"/>
                </a:lnSpc>
                <a:spcAft>
                  <a:spcPts val="0"/>
                </a:spcAft>
              </a:pPr>
              <a:t>31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23226019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Incandescent light bulb">
            <a:extLst>
              <a:ext uri="{FF2B5EF4-FFF2-40B4-BE49-F238E27FC236}">
                <a16:creationId xmlns:a16="http://schemas.microsoft.com/office/drawing/2014/main" id="{4CB9629D-082B-ACC7-0B88-EBA73569E1E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878" y="0"/>
            <a:ext cx="469822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E141E0E-16C6-E816-64E9-1FDB0586EF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7700" y="433388"/>
            <a:ext cx="10858500" cy="372967"/>
          </a:xfrm>
        </p:spPr>
        <p:txBody>
          <a:bodyPr/>
          <a:lstStyle/>
          <a:p>
            <a:pPr marL="285750" indent="-285750"/>
            <a:r>
              <a:rPr lang="en-US"/>
              <a:t>Testing observation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09AF40-A510-231A-F449-77C8AE4EE7C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5638800" y="1182688"/>
            <a:ext cx="10857863" cy="4680163"/>
          </a:xfrm>
        </p:spPr>
        <p:txBody>
          <a:bodyPr/>
          <a:lstStyle>
            <a:lvl1pPr>
              <a:buFont typeface="Arial" panose="020B0604020202020204" pitchFamily="34" charset="0"/>
              <a:buChar char="•"/>
            </a:lvl1pPr>
            <a:lvl2pPr>
              <a:buFont typeface="Arial" panose="020B0604020202020204" pitchFamily="34" charset="0"/>
              <a:buChar char="•"/>
            </a:lvl2pPr>
            <a:lvl3pPr>
              <a:buSzPct val="110000"/>
              <a:buFont typeface="Arial" panose="020B0604020202020204" pitchFamily="34" charset="0"/>
              <a:buChar char="•"/>
            </a:lvl3pPr>
            <a:lvl4pPr>
              <a:buSzPct val="100000"/>
              <a:buFont typeface="Arial" panose="020B0604020202020204" pitchFamily="34" charset="0"/>
              <a:buChar char="•"/>
            </a:lvl4pPr>
            <a:lvl5pPr>
              <a:buSzPct val="90000"/>
              <a:buFont typeface="Arial" panose="020B0604020202020204" pitchFamily="34" charset="0"/>
              <a:buChar char="•"/>
            </a:lvl5pPr>
            <a:lvl6pPr>
              <a:buFont typeface="Arial" panose="020B0604020202020204" pitchFamily="34" charset="0"/>
              <a:buChar char="•"/>
            </a:lvl6pPr>
            <a:lvl7pPr>
              <a:buFont typeface="Arial" panose="020B0604020202020204" pitchFamily="34" charset="0"/>
              <a:buChar char="•"/>
            </a:lvl7pPr>
            <a:lvl8pPr>
              <a:buFont typeface="Arial" panose="020B0604020202020204" pitchFamily="34" charset="0"/>
              <a:buChar char="•"/>
            </a:lvl8pPr>
            <a:lvl9pPr/>
          </a:lstStyle>
          <a:p>
            <a:pPr>
              <a:buNone/>
            </a:pPr>
            <a:endParaRPr lang="en-US"/>
          </a:p>
          <a:p>
            <a:pPr>
              <a:buNone/>
            </a:pPr>
            <a:endParaRPr lang="en-US" sz="1800" b="0" i="0">
              <a:solidFill>
                <a:srgbClr val="0033B3"/>
              </a:solidFill>
              <a:latin typeface="JetBrains Mono"/>
            </a:endParaRPr>
          </a:p>
          <a:p>
            <a:pPr>
              <a:buNone/>
            </a:pPr>
            <a:r>
              <a:rPr lang="en-US" sz="1800" b="0" i="0">
                <a:solidFill>
                  <a:srgbClr val="0033B3"/>
                </a:solidFill>
                <a:latin typeface="JetBrains Mono"/>
              </a:rPr>
              <a:t>private final </a:t>
            </a:r>
            <a:r>
              <a:rPr lang="en-US" sz="1800" b="0" i="0">
                <a:solidFill>
                  <a:srgbClr val="000000"/>
                </a:solidFill>
                <a:latin typeface="JetBrains Mono"/>
              </a:rPr>
              <a:t>TestObservationRegistry </a:t>
            </a:r>
            <a:r>
              <a:rPr lang="en-US" sz="1800" b="0" i="0">
                <a:solidFill>
                  <a:srgbClr val="871094"/>
                </a:solidFill>
                <a:latin typeface="JetBrains Mono"/>
              </a:rPr>
              <a:t>observationRegistry </a:t>
            </a:r>
            <a:r>
              <a:rPr lang="en-US" sz="1800" b="0" i="0">
                <a:solidFill>
                  <a:srgbClr val="080808"/>
                </a:solidFill>
                <a:latin typeface="JetBrains Mono"/>
              </a:rPr>
              <a:t>= </a:t>
            </a:r>
            <a:br>
              <a:rPr lang="en-US" sz="1800" b="0" i="0">
                <a:solidFill>
                  <a:srgbClr val="080808"/>
                </a:solidFill>
                <a:latin typeface="JetBrains Mono"/>
              </a:rPr>
            </a:br>
            <a:r>
              <a:rPr lang="en-US" sz="1800" b="0" i="0" err="1">
                <a:solidFill>
                  <a:srgbClr val="000000"/>
                </a:solidFill>
                <a:latin typeface="JetBrains Mono"/>
              </a:rPr>
              <a:t>TestObservationRegistry</a:t>
            </a:r>
            <a:r>
              <a:rPr lang="en-US" sz="1800" b="0" i="0" err="1">
                <a:solidFill>
                  <a:srgbClr val="080808"/>
                </a:solidFill>
                <a:latin typeface="JetBrains Mono"/>
              </a:rPr>
              <a:t>.</a:t>
            </a:r>
            <a:r>
              <a:rPr lang="en-US" sz="1800" b="0" i="1" err="1">
                <a:solidFill>
                  <a:srgbClr val="080808"/>
                </a:solidFill>
                <a:latin typeface="JetBrains Mono"/>
              </a:rPr>
              <a:t>create</a:t>
            </a:r>
            <a:r>
              <a:rPr lang="en-US" sz="1800" b="0" i="0">
                <a:solidFill>
                  <a:srgbClr val="080808"/>
                </a:solidFill>
                <a:latin typeface="JetBrains Mono"/>
              </a:rPr>
              <a:t>();</a:t>
            </a:r>
          </a:p>
          <a:p>
            <a:pPr>
              <a:buNone/>
            </a:pPr>
            <a:endParaRPr lang="en-US"/>
          </a:p>
          <a:p>
            <a:pPr>
              <a:buNone/>
            </a:pPr>
            <a:endParaRPr lang="en-US"/>
          </a:p>
          <a:p>
            <a:pPr>
              <a:buNone/>
            </a:pPr>
            <a:r>
              <a:rPr lang="en-US" sz="1800" b="0" i="0">
                <a:solidFill>
                  <a:srgbClr val="000000"/>
                </a:solidFill>
                <a:latin typeface="JetBrains Mono"/>
              </a:rPr>
              <a:t>TestObservationRegistryAssert</a:t>
            </a:r>
            <a:br>
              <a:rPr lang="en-US" sz="1800" b="0" i="0">
                <a:solidFill>
                  <a:srgbClr val="000000"/>
                </a:solidFill>
                <a:latin typeface="JetBrains Mono"/>
              </a:rPr>
            </a:br>
            <a:r>
              <a:rPr lang="en-US" sz="1800" b="0" i="0">
                <a:solidFill>
                  <a:srgbClr val="000000"/>
                </a:solidFill>
                <a:latin typeface="JetBrains Mono"/>
              </a:rPr>
              <a:t>        </a:t>
            </a:r>
            <a:r>
              <a:rPr lang="en-US" sz="1800" b="0" i="0">
                <a:solidFill>
                  <a:srgbClr val="080808"/>
                </a:solidFill>
                <a:latin typeface="JetBrains Mono"/>
              </a:rPr>
              <a:t>.</a:t>
            </a:r>
            <a:r>
              <a:rPr lang="en-US" sz="1800" b="0" i="1">
                <a:solidFill>
                  <a:srgbClr val="080808"/>
                </a:solidFill>
                <a:latin typeface="JetBrains Mono"/>
              </a:rPr>
              <a:t>assert That</a:t>
            </a:r>
            <a:r>
              <a:rPr lang="en-US" sz="1800" b="0" i="0">
                <a:solidFill>
                  <a:srgbClr val="080808"/>
                </a:solidFill>
                <a:latin typeface="JetBrains Mono"/>
              </a:rPr>
              <a:t>(</a:t>
            </a:r>
            <a:r>
              <a:rPr lang="en-US" sz="1800" b="0" i="0">
                <a:solidFill>
                  <a:srgbClr val="871094"/>
                </a:solidFill>
                <a:latin typeface="JetBrains Mono"/>
              </a:rPr>
              <a:t>observationRegistry</a:t>
            </a:r>
            <a:r>
              <a:rPr lang="en-US" sz="1800" b="0" i="0">
                <a:solidFill>
                  <a:srgbClr val="080808"/>
                </a:solidFill>
                <a:latin typeface="JetBrains Mono"/>
              </a:rPr>
              <a:t>)</a:t>
            </a:r>
            <a:br>
              <a:rPr lang="en-US" sz="1800" b="0" i="0">
                <a:solidFill>
                  <a:srgbClr val="080808"/>
                </a:solidFill>
                <a:latin typeface="JetBrains Mono"/>
              </a:rPr>
            </a:br>
            <a:r>
              <a:rPr lang="en-US" sz="1800" b="0" i="0">
                <a:solidFill>
                  <a:srgbClr val="080808"/>
                </a:solidFill>
                <a:latin typeface="JetBrains Mono"/>
              </a:rPr>
              <a:t>        .doesNotHaveAnyRemainingCurrentObservation()</a:t>
            </a:r>
            <a:br>
              <a:rPr lang="en-US" sz="1800" b="0" i="0">
                <a:solidFill>
                  <a:srgbClr val="080808"/>
                </a:solidFill>
                <a:latin typeface="JetBrains Mono"/>
              </a:rPr>
            </a:br>
            <a:r>
              <a:rPr lang="en-US" sz="1800" b="0" i="0">
                <a:solidFill>
                  <a:srgbClr val="080808"/>
                </a:solidFill>
                <a:latin typeface="JetBrains Mono"/>
              </a:rPr>
              <a:t>        .hasObservationWithNameEqualTo(</a:t>
            </a:r>
            <a:r>
              <a:rPr lang="en-US" sz="1800" b="0" i="0">
                <a:solidFill>
                  <a:srgbClr val="067D17"/>
                </a:solidFill>
                <a:latin typeface="JetBrains Mono"/>
              </a:rPr>
              <a:t>" logic-to-be-observed"</a:t>
            </a:r>
            <a:r>
              <a:rPr lang="en-US" sz="1800" b="0" i="0">
                <a:solidFill>
                  <a:srgbClr val="080808"/>
                </a:solidFill>
                <a:latin typeface="JetBrains Mono"/>
              </a:rPr>
              <a:t>)</a:t>
            </a:r>
            <a:br>
              <a:rPr lang="en-US" sz="1800" b="0" i="0">
                <a:solidFill>
                  <a:srgbClr val="080808"/>
                </a:solidFill>
                <a:latin typeface="JetBrains Mono"/>
              </a:rPr>
            </a:br>
            <a:r>
              <a:rPr lang="en-US" sz="1800" b="0" i="0">
                <a:solidFill>
                  <a:srgbClr val="080808"/>
                </a:solidFill>
                <a:latin typeface="JetBrains Mono"/>
              </a:rPr>
              <a:t>        .that()</a:t>
            </a:r>
            <a:br>
              <a:rPr lang="en-US" sz="1800" b="0" i="0">
                <a:solidFill>
                  <a:srgbClr val="080808"/>
                </a:solidFill>
                <a:latin typeface="JetBrains Mono"/>
              </a:rPr>
            </a:br>
            <a:r>
              <a:rPr lang="en-US" sz="1800" b="0" i="0">
                <a:solidFill>
                  <a:srgbClr val="080808"/>
                </a:solidFill>
                <a:latin typeface="JetBrains Mono"/>
              </a:rPr>
              <a:t>        .hasLowCardinalityKeyValue(</a:t>
            </a:r>
            <a:r>
              <a:rPr lang="en-US" sz="1800" b="0" i="0">
                <a:solidFill>
                  <a:srgbClr val="067D17"/>
                </a:solidFill>
                <a:latin typeface="JetBrains Mono"/>
              </a:rPr>
              <a:t>“id"</a:t>
            </a:r>
            <a:r>
              <a:rPr lang="en-US" sz="1800" b="0" i="0">
                <a:solidFill>
                  <a:srgbClr val="080808"/>
                </a:solidFill>
                <a:latin typeface="JetBrains Mono"/>
              </a:rPr>
              <a:t>,</a:t>
            </a:r>
            <a:r>
              <a:rPr lang="en-US" sz="1800" b="0" i="0">
                <a:solidFill>
                  <a:srgbClr val="067D17"/>
                </a:solidFill>
                <a:latin typeface="JetBrains Mono"/>
              </a:rPr>
              <a:t> "idValue"</a:t>
            </a:r>
            <a:r>
              <a:rPr lang="en-US" sz="1800" b="0" i="0">
                <a:solidFill>
                  <a:srgbClr val="080808"/>
                </a:solidFill>
                <a:latin typeface="JetBrains Mono"/>
              </a:rPr>
              <a:t>)</a:t>
            </a:r>
            <a:br>
              <a:rPr lang="en-US" sz="1800" b="0" i="0">
                <a:solidFill>
                  <a:srgbClr val="080808"/>
                </a:solidFill>
                <a:latin typeface="JetBrains Mono"/>
              </a:rPr>
            </a:br>
            <a:r>
              <a:rPr lang="en-US" sz="1800" b="0" i="0">
                <a:solidFill>
                  <a:srgbClr val="080808"/>
                </a:solidFill>
                <a:latin typeface="JetBrains Mono"/>
              </a:rPr>
              <a:t>        .hasLowCardinalityKeyValue(</a:t>
            </a:r>
            <a:r>
              <a:rPr lang="en-US" sz="1800" b="0" i="0">
                <a:solidFill>
                  <a:srgbClr val="067D17"/>
                </a:solidFill>
                <a:latin typeface="JetBrains Mono"/>
              </a:rPr>
              <a:t>"requester"</a:t>
            </a:r>
            <a:r>
              <a:rPr lang="en-US" sz="1800" b="0" i="0">
                <a:solidFill>
                  <a:srgbClr val="080808"/>
                </a:solidFill>
                <a:latin typeface="JetBrains Mono"/>
              </a:rPr>
              <a:t>,</a:t>
            </a:r>
            <a:r>
              <a:rPr lang="en-US" sz="1800" b="0" i="0">
                <a:solidFill>
                  <a:srgbClr val="067D17"/>
                </a:solidFill>
                <a:latin typeface="JetBrains Mono"/>
              </a:rPr>
              <a:t> "requesterValue"</a:t>
            </a:r>
            <a:r>
              <a:rPr lang="en-US" sz="1800" b="0" i="0">
                <a:solidFill>
                  <a:srgbClr val="080808"/>
                </a:solidFill>
                <a:latin typeface="JetBrains Mono"/>
              </a:rPr>
              <a:t>)</a:t>
            </a:r>
            <a:br>
              <a:rPr lang="en-US" sz="1800" b="0" i="0">
                <a:solidFill>
                  <a:srgbClr val="080808"/>
                </a:solidFill>
                <a:latin typeface="JetBrains Mono"/>
              </a:rPr>
            </a:br>
            <a:r>
              <a:rPr lang="en-US" sz="1800" b="0" i="0">
                <a:solidFill>
                  <a:srgbClr val="080808"/>
                </a:solidFill>
                <a:latin typeface="JetBrains Mono"/>
              </a:rPr>
              <a:t>        .hasBeenStarted()</a:t>
            </a:r>
            <a:br>
              <a:rPr lang="en-US" sz="1800" b="0" i="0">
                <a:solidFill>
                  <a:srgbClr val="080808"/>
                </a:solidFill>
                <a:latin typeface="JetBrains Mono"/>
              </a:rPr>
            </a:br>
            <a:r>
              <a:rPr lang="en-US" sz="1800" b="0" i="0">
                <a:solidFill>
                  <a:srgbClr val="080808"/>
                </a:solidFill>
                <a:latin typeface="JetBrains Mono"/>
              </a:rPr>
              <a:t>        .doesNotHaveError()</a:t>
            </a:r>
            <a:br>
              <a:rPr lang="en-US" sz="1800" b="0" i="0">
                <a:solidFill>
                  <a:srgbClr val="080808"/>
                </a:solidFill>
                <a:latin typeface="JetBrains Mono"/>
              </a:rPr>
            </a:br>
            <a:r>
              <a:rPr lang="en-US" sz="1800" b="0" i="0">
                <a:solidFill>
                  <a:srgbClr val="080808"/>
                </a:solidFill>
                <a:latin typeface="JetBrains Mono"/>
              </a:rPr>
              <a:t>        .hasBeenStopped();</a:t>
            </a:r>
          </a:p>
          <a:p>
            <a:pPr>
              <a:buNone/>
            </a:pP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4DB8EB-B9FC-9147-AA43-B84F7359A2AD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D521885F-E98D-E2F2-E5C3-306C52D62072}"/>
              </a:ext>
            </a:extLst>
          </p:cNvPr>
          <p:cNvSpPr txBox="1">
            <a:spLocks/>
          </p:cNvSpPr>
          <p:nvPr/>
        </p:nvSpPr>
        <p:spPr>
          <a:xfrm>
            <a:off x="385763" y="1369798"/>
            <a:ext cx="7920037" cy="46801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9725" indent="-339725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325" indent="-2286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None/>
            </a:pPr>
            <a:endParaRPr lang="en-US"/>
          </a:p>
          <a:p>
            <a:pPr>
              <a:buNone/>
            </a:pPr>
            <a:endParaRPr lang="en-US"/>
          </a:p>
          <a:p>
            <a:pPr>
              <a:buNone/>
            </a:pPr>
            <a:endParaRPr lang="en-US"/>
          </a:p>
          <a:p>
            <a:pPr>
              <a:buNone/>
            </a:pPr>
            <a:endParaRPr lang="en-US"/>
          </a:p>
          <a:p>
            <a:pPr>
              <a:buNone/>
            </a:pPr>
            <a:endParaRPr lang="en-US"/>
          </a:p>
          <a:p>
            <a:pPr>
              <a:buNone/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D770499-74B5-EBCF-C50A-CF38589BF0CF}"/>
              </a:ext>
            </a:extLst>
          </p:cNvPr>
          <p:cNvSpPr txBox="1">
            <a:spLocks/>
          </p:cNvSpPr>
          <p:nvPr/>
        </p:nvSpPr>
        <p:spPr>
          <a:xfrm>
            <a:off x="11811000" y="6518276"/>
            <a:ext cx="381000" cy="339724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n-US"/>
            </a:defPPr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 dirty="0"/>
              <a:t> </a:t>
            </a:r>
            <a:fld id="{A2218858-49EA-4BF8-8EFE-B88A4580565A}" type="slidenum">
              <a:rPr sz="800" smtClean="0"/>
              <a:pPr algn="r">
                <a:lnSpc>
                  <a:spcPct val="110000"/>
                </a:lnSpc>
                <a:spcAft>
                  <a:spcPts val="0"/>
                </a:spcAft>
              </a:pPr>
              <a:t>32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301329048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Incandescent light bulb">
            <a:extLst>
              <a:ext uri="{FF2B5EF4-FFF2-40B4-BE49-F238E27FC236}">
                <a16:creationId xmlns:a16="http://schemas.microsoft.com/office/drawing/2014/main" id="{1BE5D26C-98C9-88C4-BDAF-CF92D9CC09B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878" y="0"/>
            <a:ext cx="469822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E141E0E-16C6-E816-64E9-1FDB0586EF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83263" y="433388"/>
            <a:ext cx="10858500" cy="372967"/>
          </a:xfrm>
        </p:spPr>
        <p:txBody>
          <a:bodyPr/>
          <a:lstStyle/>
          <a:p>
            <a:r>
              <a:rPr lang="en-US"/>
              <a:t>Micrometer async instrumentation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09AF40-A510-231A-F449-77C8AE4EE7CC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>
            <a:lvl1pPr>
              <a:buFont typeface="Arial" panose="020B0604020202020204" pitchFamily="34" charset="0"/>
              <a:buChar char="•"/>
            </a:lvl1pPr>
            <a:lvl2pPr>
              <a:buFont typeface="Arial" panose="020B0604020202020204" pitchFamily="34" charset="0"/>
              <a:buChar char="•"/>
            </a:lvl2pPr>
            <a:lvl3pPr>
              <a:buSzPct val="110000"/>
              <a:buFont typeface="Arial" panose="020B0604020202020204" pitchFamily="34" charset="0"/>
              <a:buChar char="•"/>
            </a:lvl3pPr>
            <a:lvl4pPr>
              <a:buSzPct val="100000"/>
              <a:buFont typeface="Arial" panose="020B0604020202020204" pitchFamily="34" charset="0"/>
              <a:buChar char="•"/>
            </a:lvl4pPr>
            <a:lvl5pPr>
              <a:buSzPct val="90000"/>
              <a:buFont typeface="Arial" panose="020B0604020202020204" pitchFamily="34" charset="0"/>
              <a:buChar char="•"/>
            </a:lvl5pPr>
            <a:lvl6pPr>
              <a:buFont typeface="Arial" panose="020B0604020202020204" pitchFamily="34" charset="0"/>
              <a:buChar char="•"/>
            </a:lvl6pPr>
            <a:lvl7pPr>
              <a:buFont typeface="Arial" panose="020B0604020202020204" pitchFamily="34" charset="0"/>
              <a:buChar char="•"/>
            </a:lvl7pPr>
            <a:lvl8pPr>
              <a:buFont typeface="Arial" panose="020B0604020202020204" pitchFamily="34" charset="0"/>
              <a:buChar char="•"/>
            </a:lvl8pPr>
            <a:lvl9pPr/>
          </a:lstStyle>
          <a:p>
            <a:pPr>
              <a:buNone/>
            </a:pPr>
            <a:endParaRPr lang="en-US"/>
          </a:p>
          <a:p>
            <a:pPr>
              <a:buNone/>
            </a:pPr>
            <a:r>
              <a:rPr lang="en-US"/>
              <a:t>.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4DB8EB-B9FC-9147-AA43-B84F7359A2AD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D521885F-E98D-E2F2-E5C3-306C52D62072}"/>
              </a:ext>
            </a:extLst>
          </p:cNvPr>
          <p:cNvSpPr txBox="1">
            <a:spLocks/>
          </p:cNvSpPr>
          <p:nvPr/>
        </p:nvSpPr>
        <p:spPr>
          <a:xfrm>
            <a:off x="5562600" y="919057"/>
            <a:ext cx="8224837" cy="46801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9725" indent="-339725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325" indent="-2286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None/>
            </a:pPr>
            <a:endParaRPr lang="en-US" dirty="0"/>
          </a:p>
          <a:p>
            <a:pPr>
              <a:buNone/>
            </a:pPr>
            <a:endParaRPr lang="en-US" dirty="0"/>
          </a:p>
          <a:p>
            <a:pPr>
              <a:buNone/>
            </a:pPr>
            <a:endParaRPr lang="en-US" dirty="0"/>
          </a:p>
          <a:p>
            <a:pPr marL="285750" indent="-285750"/>
            <a:r>
              <a:rPr lang="en-US" dirty="0"/>
              <a:t>When a thread execute a task async using e.g. </a:t>
            </a:r>
            <a:r>
              <a:rPr lang="en-US" i="1" dirty="0"/>
              <a:t>`</a:t>
            </a:r>
            <a:r>
              <a:rPr lang="en-US" i="1" dirty="0" err="1"/>
              <a:t>TaskExecutor</a:t>
            </a:r>
            <a:r>
              <a:rPr lang="en-US" i="1" dirty="0"/>
              <a:t>`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the trace context from dispatching thread is not propagated to </a:t>
            </a:r>
            <a:br>
              <a:rPr lang="en-US" dirty="0"/>
            </a:br>
            <a:r>
              <a:rPr lang="en-US" dirty="0"/>
              <a:t>the threads running the tasks.</a:t>
            </a:r>
          </a:p>
          <a:p>
            <a:pPr>
              <a:buNone/>
            </a:pPr>
            <a:endParaRPr lang="en-US" dirty="0"/>
          </a:p>
          <a:p>
            <a:pPr>
              <a:buNone/>
            </a:pPr>
            <a:endParaRPr lang="en-US" dirty="0"/>
          </a:p>
          <a:p>
            <a:pPr marL="285750" indent="-285750"/>
            <a:r>
              <a:rPr lang="en-US" dirty="0"/>
              <a:t>To enable this, decorate the submitted tasks with </a:t>
            </a:r>
            <a:br>
              <a:rPr lang="en-US" dirty="0"/>
            </a:br>
            <a:r>
              <a:rPr lang="en-US" i="1" dirty="0"/>
              <a:t>`</a:t>
            </a:r>
            <a:r>
              <a:rPr lang="en-US" i="1" dirty="0" err="1"/>
              <a:t>ContextSnapshot.wrap</a:t>
            </a:r>
            <a:r>
              <a:rPr lang="en-US" i="1" dirty="0"/>
              <a:t>(Runnable)`.</a:t>
            </a:r>
            <a:endParaRPr lang="en-US" sz="1800" b="0" i="0" dirty="0">
              <a:solidFill>
                <a:srgbClr val="9E880D"/>
              </a:solidFill>
              <a:latin typeface="JetBrains Mono"/>
            </a:endParaRPr>
          </a:p>
          <a:p>
            <a:pPr>
              <a:buNone/>
            </a:pPr>
            <a:endParaRPr lang="en-US" sz="1800" dirty="0">
              <a:solidFill>
                <a:srgbClr val="9E880D"/>
              </a:solidFill>
              <a:latin typeface="JetBrains Mono"/>
            </a:endParaRPr>
          </a:p>
          <a:p>
            <a:pPr>
              <a:buNone/>
            </a:pPr>
            <a:r>
              <a:rPr lang="en-US" sz="1800" b="0" i="0" dirty="0">
                <a:solidFill>
                  <a:srgbClr val="9E880D"/>
                </a:solidFill>
                <a:latin typeface="JetBrains Mono"/>
              </a:rPr>
              <a:t>@Bean</a:t>
            </a:r>
            <a:br>
              <a:rPr lang="en-US" sz="1800" b="0" i="0" dirty="0">
                <a:solidFill>
                  <a:srgbClr val="9E880D"/>
                </a:solidFill>
                <a:latin typeface="JetBrains Mono"/>
              </a:rPr>
            </a:br>
            <a:r>
              <a:rPr lang="en-US" sz="1800" b="0" i="0" dirty="0">
                <a:solidFill>
                  <a:srgbClr val="9E880D"/>
                </a:solidFill>
                <a:latin typeface="JetBrains Mono"/>
              </a:rPr>
              <a:t>@ConditionalOnClass</a:t>
            </a:r>
            <a:r>
              <a:rPr lang="en-US" sz="1800" b="0" i="0" dirty="0">
                <a:solidFill>
                  <a:srgbClr val="080808"/>
                </a:solidFill>
                <a:latin typeface="JetBrains Mono"/>
              </a:rPr>
              <a:t>(</a:t>
            </a:r>
            <a:r>
              <a:rPr lang="en-US" sz="1800" b="0" i="0" dirty="0">
                <a:solidFill>
                  <a:srgbClr val="000000"/>
                </a:solidFill>
                <a:latin typeface="JetBrains Mono"/>
              </a:rPr>
              <a:t>ContextSnapshot</a:t>
            </a:r>
            <a:r>
              <a:rPr lang="en-US" sz="1800" b="0" i="0" dirty="0">
                <a:solidFill>
                  <a:srgbClr val="080808"/>
                </a:solidFill>
                <a:latin typeface="JetBrains Mono"/>
              </a:rPr>
              <a:t>.</a:t>
            </a:r>
            <a:r>
              <a:rPr lang="en-US" sz="1800" b="0" i="0" dirty="0">
                <a:solidFill>
                  <a:srgbClr val="0033B3"/>
                </a:solidFill>
                <a:latin typeface="JetBrains Mono"/>
              </a:rPr>
              <a:t>class</a:t>
            </a:r>
            <a:r>
              <a:rPr lang="en-US" sz="1800" b="0" i="0" dirty="0">
                <a:solidFill>
                  <a:srgbClr val="080808"/>
                </a:solidFill>
                <a:latin typeface="JetBrains Mono"/>
              </a:rPr>
              <a:t>)</a:t>
            </a:r>
            <a:br>
              <a:rPr lang="en-US" sz="1800" b="0" i="0" dirty="0">
                <a:solidFill>
                  <a:srgbClr val="080808"/>
                </a:solidFill>
                <a:latin typeface="JetBrains Mono"/>
              </a:rPr>
            </a:br>
            <a:r>
              <a:rPr lang="en-US" sz="1800" b="0" i="0" dirty="0">
                <a:solidFill>
                  <a:srgbClr val="0033B3"/>
                </a:solidFill>
                <a:latin typeface="JetBrains Mono"/>
              </a:rPr>
              <a:t>public </a:t>
            </a:r>
            <a:r>
              <a:rPr lang="en-US" sz="1800" b="0" i="0" dirty="0" err="1">
                <a:solidFill>
                  <a:srgbClr val="000000"/>
                </a:solidFill>
                <a:latin typeface="JetBrains Mono"/>
              </a:rPr>
              <a:t>TaskDecorator</a:t>
            </a:r>
            <a:r>
              <a:rPr lang="en-US" sz="1800" b="0" i="0" dirty="0">
                <a:solidFill>
                  <a:srgbClr val="000000"/>
                </a:solidFill>
                <a:latin typeface="JetBrains Mono"/>
              </a:rPr>
              <a:t> </a:t>
            </a:r>
            <a:r>
              <a:rPr lang="en-US" sz="1800" b="0" i="0" dirty="0" err="1">
                <a:solidFill>
                  <a:srgbClr val="00627A"/>
                </a:solidFill>
                <a:latin typeface="JetBrains Mono"/>
              </a:rPr>
              <a:t>taskDecorator</a:t>
            </a:r>
            <a:r>
              <a:rPr lang="en-US" sz="1800" b="0" i="0" dirty="0">
                <a:solidFill>
                  <a:srgbClr val="080808"/>
                </a:solidFill>
                <a:latin typeface="JetBrains Mono"/>
              </a:rPr>
              <a:t>() {</a:t>
            </a:r>
            <a:br>
              <a:rPr lang="en-US" sz="1800" b="0" i="0" dirty="0">
                <a:solidFill>
                  <a:srgbClr val="080808"/>
                </a:solidFill>
                <a:latin typeface="JetBrains Mono"/>
              </a:rPr>
            </a:br>
            <a:r>
              <a:rPr lang="en-US" sz="1800" b="0" i="0" dirty="0">
                <a:solidFill>
                  <a:srgbClr val="080808"/>
                </a:solidFill>
                <a:latin typeface="JetBrains Mono"/>
              </a:rPr>
              <a:t>    </a:t>
            </a:r>
            <a:r>
              <a:rPr lang="en-US" sz="1800" b="0" i="0" dirty="0">
                <a:solidFill>
                  <a:srgbClr val="0033B3"/>
                </a:solidFill>
                <a:latin typeface="JetBrains Mono"/>
              </a:rPr>
              <a:t>final var </a:t>
            </a:r>
            <a:r>
              <a:rPr lang="en-US" sz="1800" b="0" i="0" dirty="0" err="1">
                <a:solidFill>
                  <a:srgbClr val="000000"/>
                </a:solidFill>
                <a:latin typeface="JetBrains Mono"/>
              </a:rPr>
              <a:t>contextSnapshotFactory</a:t>
            </a:r>
            <a:r>
              <a:rPr lang="en-US" sz="1800" b="0" i="0" dirty="0">
                <a:solidFill>
                  <a:srgbClr val="000000"/>
                </a:solidFill>
                <a:latin typeface="JetBrains Mono"/>
              </a:rPr>
              <a:t> </a:t>
            </a:r>
            <a:r>
              <a:rPr lang="en-US" sz="1800" b="0" i="0" dirty="0">
                <a:solidFill>
                  <a:srgbClr val="080808"/>
                </a:solidFill>
                <a:latin typeface="JetBrains Mono"/>
              </a:rPr>
              <a:t>= </a:t>
            </a:r>
            <a:br>
              <a:rPr lang="en-US" sz="1800" b="0" i="0" dirty="0">
                <a:solidFill>
                  <a:srgbClr val="080808"/>
                </a:solidFill>
                <a:latin typeface="JetBrains Mono"/>
              </a:rPr>
            </a:br>
            <a:r>
              <a:rPr lang="en-US" sz="1800" b="0" i="0" dirty="0">
                <a:solidFill>
                  <a:srgbClr val="080808"/>
                </a:solidFill>
                <a:latin typeface="JetBrains Mono"/>
              </a:rPr>
              <a:t>    </a:t>
            </a:r>
            <a:r>
              <a:rPr lang="en-US" sz="1800" b="0" i="0" dirty="0" err="1">
                <a:solidFill>
                  <a:srgbClr val="000000"/>
                </a:solidFill>
                <a:latin typeface="JetBrains Mono"/>
              </a:rPr>
              <a:t>ContextSnapshotFactory</a:t>
            </a:r>
            <a:r>
              <a:rPr lang="en-US" sz="1800" b="0" i="0" dirty="0" err="1">
                <a:solidFill>
                  <a:srgbClr val="080808"/>
                </a:solidFill>
                <a:latin typeface="JetBrains Mono"/>
              </a:rPr>
              <a:t>.</a:t>
            </a:r>
            <a:r>
              <a:rPr lang="en-US" sz="1800" b="0" i="1" dirty="0" err="1">
                <a:solidFill>
                  <a:srgbClr val="080808"/>
                </a:solidFill>
                <a:latin typeface="JetBrains Mono"/>
              </a:rPr>
              <a:t>builder</a:t>
            </a:r>
            <a:r>
              <a:rPr lang="en-US" sz="1800" b="0" i="0" dirty="0">
                <a:solidFill>
                  <a:srgbClr val="080808"/>
                </a:solidFill>
                <a:latin typeface="JetBrains Mono"/>
              </a:rPr>
              <a:t>().build();</a:t>
            </a:r>
            <a:br>
              <a:rPr lang="en-US" sz="1800" b="0" i="0" dirty="0">
                <a:solidFill>
                  <a:srgbClr val="080808"/>
                </a:solidFill>
                <a:latin typeface="JetBrains Mono"/>
              </a:rPr>
            </a:br>
            <a:r>
              <a:rPr lang="en-US" sz="1800" b="0" i="0" dirty="0">
                <a:solidFill>
                  <a:srgbClr val="080808"/>
                </a:solidFill>
                <a:latin typeface="JetBrains Mono"/>
              </a:rPr>
              <a:t>    </a:t>
            </a:r>
            <a:r>
              <a:rPr lang="en-US" sz="1800" b="0" i="0" dirty="0">
                <a:solidFill>
                  <a:srgbClr val="0033B3"/>
                </a:solidFill>
                <a:latin typeface="JetBrains Mono"/>
              </a:rPr>
              <a:t>return </a:t>
            </a:r>
            <a:r>
              <a:rPr lang="en-US" sz="1800" b="0" i="0" dirty="0">
                <a:solidFill>
                  <a:srgbClr val="000000"/>
                </a:solidFill>
                <a:latin typeface="JetBrains Mono"/>
              </a:rPr>
              <a:t>task </a:t>
            </a:r>
            <a:r>
              <a:rPr lang="en-US" sz="1800" b="0" i="0" dirty="0">
                <a:solidFill>
                  <a:srgbClr val="080808"/>
                </a:solidFill>
                <a:latin typeface="JetBrains Mono"/>
              </a:rPr>
              <a:t>-&gt; </a:t>
            </a:r>
            <a:r>
              <a:rPr lang="en-US" sz="1800" b="0" i="0" dirty="0" err="1">
                <a:solidFill>
                  <a:srgbClr val="851691"/>
                </a:solidFill>
                <a:latin typeface="JetBrains Mono"/>
              </a:rPr>
              <a:t>contextSnapshotFactory</a:t>
            </a:r>
            <a:r>
              <a:rPr lang="en-US" sz="1800" b="0" i="0" dirty="0" err="1">
                <a:solidFill>
                  <a:srgbClr val="080808"/>
                </a:solidFill>
                <a:latin typeface="JetBrains Mono"/>
              </a:rPr>
              <a:t>.captureAll</a:t>
            </a:r>
            <a:r>
              <a:rPr lang="en-US" sz="1800" b="0" i="0" dirty="0">
                <a:solidFill>
                  <a:srgbClr val="080808"/>
                </a:solidFill>
                <a:latin typeface="JetBrains Mono"/>
              </a:rPr>
              <a:t>().wrap(</a:t>
            </a:r>
            <a:r>
              <a:rPr lang="en-US" sz="1800" b="0" i="0" dirty="0">
                <a:solidFill>
                  <a:srgbClr val="000000"/>
                </a:solidFill>
                <a:latin typeface="JetBrains Mono"/>
              </a:rPr>
              <a:t>task</a:t>
            </a:r>
            <a:r>
              <a:rPr lang="en-US" sz="1800" b="0" i="0" dirty="0">
                <a:solidFill>
                  <a:srgbClr val="080808"/>
                </a:solidFill>
                <a:latin typeface="JetBrains Mono"/>
              </a:rPr>
              <a:t>);</a:t>
            </a:r>
            <a:br>
              <a:rPr lang="en-US" sz="1800" b="0" i="0" dirty="0">
                <a:solidFill>
                  <a:srgbClr val="080808"/>
                </a:solidFill>
                <a:latin typeface="JetBrains Mono"/>
              </a:rPr>
            </a:br>
            <a:r>
              <a:rPr lang="en-US" sz="1800" b="0" i="0" dirty="0">
                <a:solidFill>
                  <a:srgbClr val="080808"/>
                </a:solidFill>
                <a:latin typeface="JetBrains Mono"/>
              </a:rPr>
              <a:t>}</a:t>
            </a:r>
          </a:p>
          <a:p>
            <a:pPr>
              <a:buNone/>
            </a:pP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989F09F-7624-6DC0-4C3B-B2F3B6FCD274}"/>
              </a:ext>
            </a:extLst>
          </p:cNvPr>
          <p:cNvSpPr txBox="1">
            <a:spLocks/>
          </p:cNvSpPr>
          <p:nvPr/>
        </p:nvSpPr>
        <p:spPr>
          <a:xfrm>
            <a:off x="11811000" y="6518276"/>
            <a:ext cx="381000" cy="339724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n-US"/>
            </a:defPPr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 dirty="0"/>
              <a:t> </a:t>
            </a:r>
            <a:fld id="{A2218858-49EA-4BF8-8EFE-B88A4580565A}" type="slidenum">
              <a:rPr sz="800" smtClean="0"/>
              <a:pPr algn="r">
                <a:lnSpc>
                  <a:spcPct val="110000"/>
                </a:lnSpc>
                <a:spcAft>
                  <a:spcPts val="0"/>
                </a:spcAft>
              </a:pPr>
              <a:t>33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261545903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Incandescent light bulb">
            <a:extLst>
              <a:ext uri="{FF2B5EF4-FFF2-40B4-BE49-F238E27FC236}">
                <a16:creationId xmlns:a16="http://schemas.microsoft.com/office/drawing/2014/main" id="{BEB03346-EF36-1947-0AC6-223BE35D8E0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878" y="0"/>
            <a:ext cx="469822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E141E0E-16C6-E816-64E9-1FDB0586EF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5421" y="433388"/>
            <a:ext cx="10858500" cy="372967"/>
          </a:xfrm>
        </p:spPr>
        <p:txBody>
          <a:bodyPr/>
          <a:lstStyle/>
          <a:p>
            <a:pPr marL="285750" indent="-285750"/>
            <a:r>
              <a:rPr lang="en-US"/>
              <a:t>Logging with correlation IDs is now autoconfigured by Spring Boot v3.2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09AF40-A510-231A-F449-77C8AE4EE7CC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>
            <a:lvl1pPr>
              <a:buFont typeface="Arial" panose="020B0604020202020204" pitchFamily="34" charset="0"/>
              <a:buChar char="•"/>
            </a:lvl1pPr>
            <a:lvl2pPr>
              <a:buFont typeface="Arial" panose="020B0604020202020204" pitchFamily="34" charset="0"/>
              <a:buChar char="•"/>
            </a:lvl2pPr>
            <a:lvl3pPr>
              <a:buSzPct val="110000"/>
              <a:buFont typeface="Arial" panose="020B0604020202020204" pitchFamily="34" charset="0"/>
              <a:buChar char="•"/>
            </a:lvl3pPr>
            <a:lvl4pPr>
              <a:buSzPct val="100000"/>
              <a:buFont typeface="Arial" panose="020B0604020202020204" pitchFamily="34" charset="0"/>
              <a:buChar char="•"/>
            </a:lvl4pPr>
            <a:lvl5pPr>
              <a:buSzPct val="90000"/>
              <a:buFont typeface="Arial" panose="020B0604020202020204" pitchFamily="34" charset="0"/>
              <a:buChar char="•"/>
            </a:lvl5pPr>
            <a:lvl6pPr>
              <a:buFont typeface="Arial" panose="020B0604020202020204" pitchFamily="34" charset="0"/>
              <a:buChar char="•"/>
            </a:lvl6pPr>
            <a:lvl7pPr>
              <a:buFont typeface="Arial" panose="020B0604020202020204" pitchFamily="34" charset="0"/>
              <a:buChar char="•"/>
            </a:lvl7pPr>
            <a:lvl8pPr>
              <a:buFont typeface="Arial" panose="020B0604020202020204" pitchFamily="34" charset="0"/>
              <a:buChar char="•"/>
            </a:lvl8pPr>
            <a:lvl9pPr/>
          </a:lstStyle>
          <a:p>
            <a:pPr>
              <a:buNone/>
            </a:pPr>
            <a:endParaRPr lang="en-US"/>
          </a:p>
          <a:p>
            <a:pPr>
              <a:buNone/>
            </a:pPr>
            <a:r>
              <a:rPr lang="en-US"/>
              <a:t>.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4DB8EB-B9FC-9147-AA43-B84F7359A2AD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D521885F-E98D-E2F2-E5C3-306C52D62072}"/>
              </a:ext>
            </a:extLst>
          </p:cNvPr>
          <p:cNvSpPr txBox="1">
            <a:spLocks/>
          </p:cNvSpPr>
          <p:nvPr/>
        </p:nvSpPr>
        <p:spPr>
          <a:xfrm>
            <a:off x="5410201" y="1763913"/>
            <a:ext cx="9067800" cy="46801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9725" indent="-339725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325" indent="-2286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None/>
            </a:pPr>
            <a:endParaRPr lang="en-US"/>
          </a:p>
          <a:p>
            <a:pPr>
              <a:buNone/>
            </a:pPr>
            <a:endParaRPr lang="en-US"/>
          </a:p>
          <a:p>
            <a:pPr>
              <a:buNone/>
            </a:pPr>
            <a:endParaRPr lang="en-US"/>
          </a:p>
          <a:p>
            <a:pPr>
              <a:buNone/>
            </a:pPr>
            <a:endParaRPr lang="en-US"/>
          </a:p>
          <a:p>
            <a:pPr>
              <a:buNone/>
            </a:pPr>
            <a:r>
              <a:rPr lang="en-US" sz="2000" b="0" i="0" err="1">
                <a:effectLst/>
                <a:latin typeface="SFMono-Regular"/>
              </a:rPr>
              <a:t>logging.pattern.correlation</a:t>
            </a:r>
            <a:r>
              <a:rPr lang="en-US" sz="2000" b="0" i="0">
                <a:solidFill>
                  <a:srgbClr val="24292E"/>
                </a:solidFill>
                <a:effectLst/>
                <a:latin typeface="SFMono-Regular"/>
              </a:rPr>
              <a:t>=</a:t>
            </a:r>
            <a:br>
              <a:rPr lang="en-US" sz="2000" b="0" i="0">
                <a:solidFill>
                  <a:srgbClr val="24292E"/>
                </a:solidFill>
                <a:effectLst/>
                <a:latin typeface="SFMono-Regular"/>
              </a:rPr>
            </a:br>
            <a:r>
              <a:rPr lang="en-US" sz="2000" b="0" i="0">
                <a:effectLst/>
                <a:latin typeface="SFMono-Regular"/>
              </a:rPr>
              <a:t>[${spring.application.name:},%X{</a:t>
            </a:r>
            <a:r>
              <a:rPr lang="en-US" sz="2000" b="0" i="0" err="1">
                <a:effectLst/>
                <a:latin typeface="SFMono-Regular"/>
              </a:rPr>
              <a:t>traceId</a:t>
            </a:r>
            <a:r>
              <a:rPr lang="en-US" sz="2000" b="0" i="0">
                <a:effectLst/>
                <a:latin typeface="SFMono-Regular"/>
              </a:rPr>
              <a:t>:-},%X{</a:t>
            </a:r>
            <a:r>
              <a:rPr lang="en-US" sz="2000" b="0" i="0" err="1">
                <a:effectLst/>
                <a:latin typeface="SFMono-Regular"/>
              </a:rPr>
              <a:t>spanId</a:t>
            </a:r>
            <a:r>
              <a:rPr lang="en-US" sz="2000" b="0" i="0">
                <a:effectLst/>
                <a:latin typeface="SFMono-Regular"/>
              </a:rPr>
              <a:t>:-}]</a:t>
            </a:r>
            <a:endParaRPr lang="en-US" sz="1800" b="0" i="0">
              <a:solidFill>
                <a:srgbClr val="080808"/>
              </a:solidFill>
              <a:latin typeface="JetBrains Mono"/>
            </a:endParaRPr>
          </a:p>
          <a:p>
            <a:pPr>
              <a:buNone/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2FA4802-8CCF-05ED-E5F9-3B46DCE91753}"/>
              </a:ext>
            </a:extLst>
          </p:cNvPr>
          <p:cNvSpPr txBox="1">
            <a:spLocks/>
          </p:cNvSpPr>
          <p:nvPr/>
        </p:nvSpPr>
        <p:spPr>
          <a:xfrm>
            <a:off x="11811000" y="6518276"/>
            <a:ext cx="381000" cy="339724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n-US"/>
            </a:defPPr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 dirty="0"/>
              <a:t> </a:t>
            </a:r>
            <a:fld id="{A2218858-49EA-4BF8-8EFE-B88A4580565A}" type="slidenum">
              <a:rPr sz="800" smtClean="0"/>
              <a:pPr algn="r">
                <a:lnSpc>
                  <a:spcPct val="110000"/>
                </a:lnSpc>
                <a:spcAft>
                  <a:spcPts val="0"/>
                </a:spcAft>
              </a:pPr>
              <a:t>34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339198924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141E0E-16C6-E816-64E9-1FDB0586EF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764" y="433388"/>
            <a:ext cx="10858500" cy="862012"/>
          </a:xfrm>
        </p:spPr>
        <p:txBody>
          <a:bodyPr wrap="square" anchor="t">
            <a:normAutofit/>
          </a:bodyPr>
          <a:lstStyle/>
          <a:p>
            <a:r>
              <a:rPr lang="en-US"/>
              <a:t>Spring Boot v3 does not use </a:t>
            </a:r>
            <a:br>
              <a:rPr lang="en-US"/>
            </a:br>
            <a:r>
              <a:rPr lang="en-US"/>
              <a:t>Apache HttpClient v4 anymor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09AF40-A510-231A-F449-77C8AE4EE7C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400" y="1369799"/>
            <a:ext cx="5241288" cy="4680163"/>
          </a:xfrm>
        </p:spPr>
        <p:txBody>
          <a:bodyPr>
            <a:normAutofit/>
          </a:bodyPr>
          <a:lstStyle>
            <a:lvl1pPr>
              <a:buFont typeface="Arial" panose="020B0604020202020204" pitchFamily="34" charset="0"/>
              <a:buChar char="•"/>
            </a:lvl1pPr>
            <a:lvl2pPr>
              <a:buFont typeface="Arial" panose="020B0604020202020204" pitchFamily="34" charset="0"/>
              <a:buChar char="•"/>
            </a:lvl2pPr>
            <a:lvl3pPr>
              <a:buSzPct val="110000"/>
              <a:buFont typeface="Arial" panose="020B0604020202020204" pitchFamily="34" charset="0"/>
              <a:buChar char="•"/>
            </a:lvl3pPr>
            <a:lvl4pPr>
              <a:buSzPct val="100000"/>
              <a:buFont typeface="Arial" panose="020B0604020202020204" pitchFamily="34" charset="0"/>
              <a:buChar char="•"/>
            </a:lvl4pPr>
            <a:lvl5pPr>
              <a:buSzPct val="90000"/>
              <a:buFont typeface="Arial" panose="020B0604020202020204" pitchFamily="34" charset="0"/>
              <a:buChar char="•"/>
            </a:lvl5pPr>
            <a:lvl6pPr>
              <a:buFont typeface="Arial" panose="020B0604020202020204" pitchFamily="34" charset="0"/>
              <a:buChar char="•"/>
            </a:lvl6pPr>
            <a:lvl7pPr>
              <a:buFont typeface="Arial" panose="020B0604020202020204" pitchFamily="34" charset="0"/>
              <a:buChar char="•"/>
            </a:lvl7pPr>
            <a:lvl8pPr>
              <a:buFont typeface="Arial" panose="020B0604020202020204" pitchFamily="34" charset="0"/>
              <a:buChar char="•"/>
            </a:lvl8pPr>
            <a:lvl9pPr/>
          </a:lstStyle>
          <a:p>
            <a:pPr marL="285750" indent="-285750"/>
            <a:endParaRPr lang="en-US" dirty="0"/>
          </a:p>
          <a:p>
            <a:pPr marL="285750" indent="-285750"/>
            <a:endParaRPr lang="en-US" dirty="0"/>
          </a:p>
          <a:p>
            <a:pPr marL="285750" indent="-285750"/>
            <a:endParaRPr lang="en-US" dirty="0"/>
          </a:p>
          <a:p>
            <a:pPr marL="285750" indent="-285750"/>
            <a:r>
              <a:rPr lang="en-US" dirty="0">
                <a:hlinkClick r:id="rId3"/>
              </a:rPr>
              <a:t>See Apache HttpClient section</a:t>
            </a:r>
            <a:r>
              <a:rPr lang="en-US" dirty="0"/>
              <a:t> in migration guide. </a:t>
            </a:r>
          </a:p>
          <a:p>
            <a:pPr marL="285750" indent="-285750"/>
            <a:endParaRPr lang="en-US" dirty="0"/>
          </a:p>
          <a:p>
            <a:pPr marL="285750" indent="-285750"/>
            <a:r>
              <a:rPr lang="en-US" dirty="0"/>
              <a:t>Breaking changes in configuration for timeout settings</a:t>
            </a:r>
          </a:p>
          <a:p>
            <a:pPr marL="285750" indent="-285750"/>
            <a:endParaRPr lang="en-US" dirty="0"/>
          </a:p>
          <a:p>
            <a:pPr marL="285750" indent="-285750"/>
            <a:r>
              <a:rPr lang="en-US" dirty="0"/>
              <a:t>Retry behavior clash</a:t>
            </a:r>
          </a:p>
          <a:p>
            <a:pPr>
              <a:buNone/>
            </a:pPr>
            <a:endParaRPr lang="en-US" dirty="0"/>
          </a:p>
          <a:p>
            <a:pPr marL="285750" indent="-285750"/>
            <a:r>
              <a:rPr lang="en-US" dirty="0"/>
              <a:t>Global package relocation that affected several import statements </a:t>
            </a:r>
          </a:p>
        </p:txBody>
      </p:sp>
      <p:pic>
        <p:nvPicPr>
          <p:cNvPr id="8" name="Picture 7" descr="Torn rope">
            <a:extLst>
              <a:ext uri="{FF2B5EF4-FFF2-40B4-BE49-F238E27FC236}">
                <a16:creationId xmlns:a16="http://schemas.microsoft.com/office/drawing/2014/main" id="{1FF0BD51-DD6D-F367-2437-5891DA4334F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230999" y="808039"/>
            <a:ext cx="5961001" cy="5502478"/>
          </a:xfrm>
          <a:prstGeom prst="rect">
            <a:avLst/>
          </a:prstGeom>
          <a:noFill/>
        </p:spPr>
      </p:pic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4DB8EB-B9FC-9147-AA43-B84F7359A2AD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2258400" y="6518277"/>
            <a:ext cx="8985600" cy="139924"/>
          </a:xfrm>
        </p:spPr>
        <p:txBody>
          <a:bodyPr anchor="b">
            <a:normAutofit fontScale="25000" lnSpcReduction="20000"/>
          </a:bodyPr>
          <a:lstStyle/>
          <a:p>
            <a:pPr>
              <a:lnSpc>
                <a:spcPct val="90000"/>
              </a:lnSpc>
            </a:pPr>
            <a:r>
              <a:rPr lang="en-US" sz="200"/>
              <a:t> 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A41AC58B-088D-11CB-47A4-27D6EE49CE23}"/>
              </a:ext>
            </a:extLst>
          </p:cNvPr>
          <p:cNvSpPr txBox="1">
            <a:spLocks/>
          </p:cNvSpPr>
          <p:nvPr/>
        </p:nvSpPr>
        <p:spPr>
          <a:xfrm>
            <a:off x="11811000" y="6518276"/>
            <a:ext cx="381000" cy="339724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n-US"/>
            </a:defPPr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fld id="{A2218858-49EA-4BF8-8EFE-B88A4580565A}" type="slidenum">
              <a:rPr sz="800" smtClean="0"/>
              <a:pPr algn="r">
                <a:lnSpc>
                  <a:spcPct val="110000"/>
                </a:lnSpc>
                <a:spcAft>
                  <a:spcPts val="0"/>
                </a:spcAft>
              </a:pPr>
              <a:t>35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59324472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Bouldering 101: Know Your Grips - Men's Journal">
            <a:extLst>
              <a:ext uri="{FF2B5EF4-FFF2-40B4-BE49-F238E27FC236}">
                <a16:creationId xmlns:a16="http://schemas.microsoft.com/office/drawing/2014/main" id="{A5365FF8-D993-751A-944C-D6799377CAD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-80963"/>
            <a:ext cx="12274154" cy="6938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E141E0E-16C6-E816-64E9-1FDB0586EF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3600" y="304800"/>
            <a:ext cx="6330554" cy="749300"/>
          </a:xfrm>
          <a:solidFill>
            <a:srgbClr val="D0AD23"/>
          </a:solidFill>
        </p:spPr>
        <p:txBody>
          <a:bodyPr wrap="square" anchor="t">
            <a:normAutofit/>
          </a:bodyPr>
          <a:lstStyle/>
          <a:p>
            <a:r>
              <a:rPr lang="en-US">
                <a:solidFill>
                  <a:schemeClr val="tx1"/>
                </a:solidFill>
              </a:rPr>
              <a:t>Spring Boot v3 does not use </a:t>
            </a:r>
            <a:br>
              <a:rPr lang="en-US">
                <a:solidFill>
                  <a:schemeClr val="tx1"/>
                </a:solidFill>
              </a:rPr>
            </a:br>
            <a:r>
              <a:rPr lang="en-US">
                <a:solidFill>
                  <a:schemeClr val="tx1"/>
                </a:solidFill>
              </a:rPr>
              <a:t>Apache HttpClient v4 anymo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FF58D26-8C8F-D6EE-B30A-1BB5B436A1D3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 anchor="b">
            <a:normAutofit fontScale="25000" lnSpcReduction="20000"/>
          </a:bodyPr>
          <a:lstStyle/>
          <a:p>
            <a:pPr>
              <a:lnSpc>
                <a:spcPct val="90000"/>
              </a:lnSpc>
            </a:pPr>
            <a:fld id="{C14CD3A7-9E40-46FB-A41D-9CC29415685D}" type="datetime4">
              <a:rPr lang="en-US" sz="200" smtClean="0"/>
              <a:pPr>
                <a:lnSpc>
                  <a:spcPct val="90000"/>
                </a:lnSpc>
              </a:pPr>
              <a:t>June 4, 2024</a:t>
            </a:fld>
            <a:endParaRPr lang="en-US" sz="20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4DB8EB-B9FC-9147-AA43-B84F7359A2AD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 anchor="b">
            <a:normAutofit fontScale="25000" lnSpcReduction="20000"/>
          </a:bodyPr>
          <a:lstStyle/>
          <a:p>
            <a:pPr>
              <a:lnSpc>
                <a:spcPct val="90000"/>
              </a:lnSpc>
            </a:pPr>
            <a:r>
              <a:rPr lang="en-US" sz="200"/>
              <a:t> </a:t>
            </a:r>
          </a:p>
        </p:txBody>
      </p:sp>
      <p:sp>
        <p:nvSpPr>
          <p:cNvPr id="27" name="Subtitle 2">
            <a:extLst>
              <a:ext uri="{FF2B5EF4-FFF2-40B4-BE49-F238E27FC236}">
                <a16:creationId xmlns:a16="http://schemas.microsoft.com/office/drawing/2014/main" id="{8A9B57AD-1EE2-7819-A732-17A9CA5070BB}"/>
              </a:ext>
            </a:extLst>
          </p:cNvPr>
          <p:cNvSpPr txBox="1">
            <a:spLocks/>
          </p:cNvSpPr>
          <p:nvPr/>
        </p:nvSpPr>
        <p:spPr>
          <a:xfrm>
            <a:off x="1654859" y="3277392"/>
            <a:ext cx="3615491" cy="374650"/>
          </a:xfrm>
          <a:prstGeom prst="rect">
            <a:avLst/>
          </a:prstGeom>
        </p:spPr>
        <p:txBody>
          <a:bodyPr vert="horz" lIns="0" tIns="3600" rIns="0" bIns="0" rtlCol="0">
            <a:noAutofit/>
          </a:bodyPr>
          <a:lstStyle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000" kern="120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39725" indent="-339725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325" indent="-2286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>
                <a:solidFill>
                  <a:schemeClr val="bg1"/>
                </a:solidFill>
              </a:rPr>
              <a:t>What NOW?</a:t>
            </a: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079CBD8B-9CA7-DAE1-5F67-C089F38CC54C}"/>
              </a:ext>
            </a:extLst>
          </p:cNvPr>
          <p:cNvSpPr txBox="1">
            <a:spLocks/>
          </p:cNvSpPr>
          <p:nvPr/>
        </p:nvSpPr>
        <p:spPr>
          <a:xfrm>
            <a:off x="11811000" y="6518276"/>
            <a:ext cx="381000" cy="339724"/>
          </a:xfrm>
          <a:prstGeom prst="rect">
            <a:avLst/>
          </a:prstGeom>
          <a:noFill/>
        </p:spPr>
        <p:txBody>
          <a:bodyPr/>
          <a:lstStyle>
            <a:defPPr>
              <a:defRPr lang="en-US"/>
            </a:defPPr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fld id="{A2218858-49EA-4BF8-8EFE-B88A4580565A}" type="slidenum">
              <a:rPr sz="800" smtClean="0"/>
              <a:pPr algn="r">
                <a:lnSpc>
                  <a:spcPct val="110000"/>
                </a:lnSpc>
                <a:spcAft>
                  <a:spcPts val="0"/>
                </a:spcAft>
              </a:pPr>
              <a:t>36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284427510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 descr="Hand holding piece of white puzzle on blue background">
            <a:extLst>
              <a:ext uri="{FF2B5EF4-FFF2-40B4-BE49-F238E27FC236}">
                <a16:creationId xmlns:a16="http://schemas.microsoft.com/office/drawing/2014/main" id="{72C68B40-D1BB-BBDB-A4FB-704A811A79B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7464" y="0"/>
            <a:ext cx="648453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E141E0E-16C6-E816-64E9-1FDB0586EF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81" y="115758"/>
            <a:ext cx="6331197" cy="248101"/>
          </a:xfrm>
        </p:spPr>
        <p:txBody>
          <a:bodyPr/>
          <a:lstStyle/>
          <a:p>
            <a:r>
              <a:rPr lang="en-US" dirty="0"/>
              <a:t>                                                                   Upgrade to Apache HttpClient v5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09AF40-A510-231A-F449-77C8AE4EE7C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552081" y="917837"/>
            <a:ext cx="5951662" cy="4680163"/>
          </a:xfrm>
        </p:spPr>
        <p:txBody>
          <a:bodyPr/>
          <a:lstStyle>
            <a:lvl1pPr>
              <a:buFont typeface="Arial" panose="020B0604020202020204" pitchFamily="34" charset="0"/>
              <a:buChar char="•"/>
            </a:lvl1pPr>
            <a:lvl2pPr>
              <a:buFont typeface="Arial" panose="020B0604020202020204" pitchFamily="34" charset="0"/>
              <a:buChar char="•"/>
            </a:lvl2pPr>
            <a:lvl3pPr>
              <a:buSzPct val="110000"/>
              <a:buFont typeface="Arial" panose="020B0604020202020204" pitchFamily="34" charset="0"/>
              <a:buChar char="•"/>
            </a:lvl3pPr>
            <a:lvl4pPr>
              <a:buSzPct val="100000"/>
              <a:buFont typeface="Arial" panose="020B0604020202020204" pitchFamily="34" charset="0"/>
              <a:buChar char="•"/>
            </a:lvl4pPr>
            <a:lvl5pPr>
              <a:buSzPct val="90000"/>
              <a:buFont typeface="Arial" panose="020B0604020202020204" pitchFamily="34" charset="0"/>
              <a:buChar char="•"/>
            </a:lvl5pPr>
            <a:lvl6pPr>
              <a:buFont typeface="Arial" panose="020B0604020202020204" pitchFamily="34" charset="0"/>
              <a:buChar char="•"/>
            </a:lvl6pPr>
            <a:lvl7pPr>
              <a:buFont typeface="Arial" panose="020B0604020202020204" pitchFamily="34" charset="0"/>
              <a:buChar char="•"/>
            </a:lvl7pPr>
            <a:lvl8pPr>
              <a:buFont typeface="Arial" panose="020B0604020202020204" pitchFamily="34" charset="0"/>
              <a:buChar char="•"/>
            </a:lvl8pPr>
            <a:lvl9pPr/>
          </a:lstStyle>
          <a:p>
            <a:pPr marL="285750" indent="-285750"/>
            <a:endParaRPr lang="en-US" dirty="0"/>
          </a:p>
          <a:p>
            <a:pPr marL="285750" indent="-285750"/>
            <a:endParaRPr lang="en-US" dirty="0"/>
          </a:p>
          <a:p>
            <a:pPr marL="285750" indent="-285750"/>
            <a:endParaRPr lang="en-US" dirty="0"/>
          </a:p>
          <a:p>
            <a:pPr marL="285750" indent="-285750"/>
            <a:endParaRPr lang="en-US" dirty="0"/>
          </a:p>
          <a:p>
            <a:pPr>
              <a:buNone/>
            </a:pPr>
            <a:endParaRPr lang="en-US" dirty="0"/>
          </a:p>
          <a:p>
            <a:pPr marL="285750" indent="-285750"/>
            <a:r>
              <a:rPr lang="en-US" dirty="0"/>
              <a:t>Spring Boot 3.0.x builds on top of Spring 6.0.x. </a:t>
            </a:r>
            <a:br>
              <a:rPr lang="en-US" dirty="0"/>
            </a:br>
            <a:r>
              <a:rPr lang="en-US" dirty="0"/>
              <a:t>which dropped support for Apache HttpClient v4.</a:t>
            </a:r>
          </a:p>
          <a:p>
            <a:pPr>
              <a:buNone/>
            </a:pPr>
            <a:endParaRPr lang="en-US" dirty="0"/>
          </a:p>
          <a:p>
            <a:pPr marL="285750" indent="-285750"/>
            <a:r>
              <a:rPr lang="en-US" dirty="0"/>
              <a:t>Follow the approach used by Spring for configuration </a:t>
            </a:r>
            <a:br>
              <a:rPr lang="en-US" dirty="0"/>
            </a:br>
            <a:r>
              <a:rPr lang="en-US" dirty="0"/>
              <a:t>changes needed and packages relocations.</a:t>
            </a:r>
          </a:p>
          <a:p>
            <a:pPr>
              <a:buNone/>
            </a:pP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4DB8EB-B9FC-9147-AA43-B84F7359A2AD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B0D54DC-3DFA-C89E-72E0-B1E097614FC7}"/>
              </a:ext>
            </a:extLst>
          </p:cNvPr>
          <p:cNvSpPr txBox="1">
            <a:spLocks/>
          </p:cNvSpPr>
          <p:nvPr/>
        </p:nvSpPr>
        <p:spPr>
          <a:xfrm>
            <a:off x="11811000" y="6518276"/>
            <a:ext cx="381000" cy="339724"/>
          </a:xfrm>
          <a:prstGeom prst="rect">
            <a:avLst/>
          </a:prstGeom>
          <a:noFill/>
        </p:spPr>
        <p:txBody>
          <a:bodyPr/>
          <a:lstStyle>
            <a:defPPr>
              <a:defRPr lang="en-US"/>
            </a:defPPr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fld id="{A2218858-49EA-4BF8-8EFE-B88A4580565A}" type="slidenum">
              <a:rPr sz="800" smtClean="0"/>
              <a:pPr algn="r">
                <a:lnSpc>
                  <a:spcPct val="110000"/>
                </a:lnSpc>
                <a:spcAft>
                  <a:spcPts val="0"/>
                </a:spcAft>
              </a:pPr>
              <a:t>37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368693920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141E0E-16C6-E816-64E9-1FDB0586EF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50242"/>
            <a:ext cx="3101173" cy="522514"/>
          </a:xfrm>
        </p:spPr>
        <p:txBody>
          <a:bodyPr/>
          <a:lstStyle/>
          <a:p>
            <a:pPr algn="ctr"/>
            <a:r>
              <a:rPr lang="en-US" dirty="0"/>
              <a:t>                                Read timeou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09AF40-A510-231A-F449-77C8AE4EE7C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490697" y="1306492"/>
            <a:ext cx="5715000" cy="4680163"/>
          </a:xfrm>
        </p:spPr>
        <p:txBody>
          <a:bodyPr/>
          <a:lstStyle>
            <a:lvl1pPr>
              <a:buFont typeface="Arial" panose="020B0604020202020204" pitchFamily="34" charset="0"/>
              <a:buChar char="•"/>
            </a:lvl1pPr>
            <a:lvl2pPr>
              <a:buFont typeface="Arial" panose="020B0604020202020204" pitchFamily="34" charset="0"/>
              <a:buChar char="•"/>
            </a:lvl2pPr>
            <a:lvl3pPr>
              <a:buSzPct val="110000"/>
              <a:buFont typeface="Arial" panose="020B0604020202020204" pitchFamily="34" charset="0"/>
              <a:buChar char="•"/>
            </a:lvl3pPr>
            <a:lvl4pPr>
              <a:buSzPct val="100000"/>
              <a:buFont typeface="Arial" panose="020B0604020202020204" pitchFamily="34" charset="0"/>
              <a:buChar char="•"/>
            </a:lvl4pPr>
            <a:lvl5pPr>
              <a:buSzPct val="90000"/>
              <a:buFont typeface="Arial" panose="020B0604020202020204" pitchFamily="34" charset="0"/>
              <a:buChar char="•"/>
            </a:lvl5pPr>
            <a:lvl6pPr>
              <a:buFont typeface="Arial" panose="020B0604020202020204" pitchFamily="34" charset="0"/>
              <a:buChar char="•"/>
            </a:lvl6pPr>
            <a:lvl7pPr>
              <a:buFont typeface="Arial" panose="020B0604020202020204" pitchFamily="34" charset="0"/>
              <a:buChar char="•"/>
            </a:lvl7pPr>
            <a:lvl8pPr>
              <a:buFont typeface="Arial" panose="020B0604020202020204" pitchFamily="34" charset="0"/>
              <a:buChar char="•"/>
            </a:lvl8pPr>
            <a:lvl9pPr/>
          </a:lstStyle>
          <a:p>
            <a:pPr marL="285750" indent="-285750"/>
            <a:endParaRPr lang="en-US" b="0" i="0" dirty="0">
              <a:effectLst/>
            </a:endParaRPr>
          </a:p>
          <a:p>
            <a:pPr>
              <a:buNone/>
            </a:pPr>
            <a:endParaRPr lang="en-US" b="0" i="0" dirty="0">
              <a:effectLst/>
            </a:endParaRPr>
          </a:p>
          <a:p>
            <a:pPr marL="285750" indent="-285750"/>
            <a:r>
              <a:rPr lang="en-US" b="0" i="0" dirty="0">
                <a:effectLst/>
              </a:rPr>
              <a:t>For the read timeout, follow </a:t>
            </a:r>
            <a:r>
              <a:rPr lang="en-US" b="0" i="0" dirty="0">
                <a:effectLst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pring-framework/</a:t>
            </a:r>
            <a:br>
              <a:rPr lang="en-US" b="0" i="0" dirty="0">
                <a:effectLst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r>
              <a:rPr lang="en-US" b="0" i="0" dirty="0">
                <a:effectLst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ComponentsClientHttpRequestFactory.java at v6.0.7 · </a:t>
            </a:r>
            <a:br>
              <a:rPr lang="en-US" b="0" i="0" dirty="0">
                <a:effectLst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r>
              <a:rPr lang="en-US" b="0" i="0" dirty="0">
                <a:effectLst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pring-projects/spring-framework · GitHub</a:t>
            </a:r>
            <a:br>
              <a:rPr lang="en-US" b="0" i="0" dirty="0">
                <a:effectLst/>
              </a:rPr>
            </a:br>
            <a:endParaRPr lang="en-US" b="0" i="0" dirty="0">
              <a:effectLst/>
            </a:endParaRPr>
          </a:p>
          <a:p>
            <a:pPr marL="285750" indent="-285750"/>
            <a:r>
              <a:rPr lang="en-US" sz="1600" b="0" i="0" dirty="0">
                <a:effectLst/>
              </a:rPr>
              <a:t>Also implemented by Spring Boot </a:t>
            </a:r>
            <a:r>
              <a:rPr lang="en-US" sz="1600" b="0" i="0" dirty="0">
                <a:effectLst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pring-boot/</a:t>
            </a:r>
            <a:br>
              <a:rPr lang="en-US" sz="1600" b="0" i="0" dirty="0">
                <a:effectLst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r>
              <a:rPr lang="en-US" sz="1600" b="0" i="0" dirty="0">
                <a:effectLst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lientHttpRequestFactories.java at v3.0.5 · </a:t>
            </a:r>
            <a:br>
              <a:rPr lang="en-US" sz="1600" b="0" i="0" dirty="0">
                <a:effectLst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r>
              <a:rPr lang="en-US" sz="1600" b="0" i="0" dirty="0">
                <a:effectLst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pring-projects/spring-boot · GitHub</a:t>
            </a:r>
            <a:endParaRPr lang="en-US" sz="1600" b="0" i="0" dirty="0">
              <a:effectLst/>
            </a:endParaRPr>
          </a:p>
          <a:p>
            <a:pPr>
              <a:buNone/>
            </a:pPr>
            <a:endParaRPr lang="en-US" dirty="0">
              <a:solidFill>
                <a:schemeClr val="bg1"/>
              </a:solidFill>
            </a:endParaRPr>
          </a:p>
          <a:p>
            <a:pPr>
              <a:buNone/>
            </a:pPr>
            <a:r>
              <a:rPr lang="en-US" sz="1800" b="0" i="0" dirty="0" err="1">
                <a:latin typeface="JetBrains Mono"/>
              </a:rPr>
              <a:t>SocketConfig.</a:t>
            </a:r>
            <a:r>
              <a:rPr lang="en-US" sz="1800" b="0" i="1" dirty="0" err="1">
                <a:latin typeface="JetBrains Mono"/>
              </a:rPr>
              <a:t>custom</a:t>
            </a:r>
            <a:r>
              <a:rPr lang="en-US" sz="1800" b="0" i="0" dirty="0">
                <a:latin typeface="JetBrains Mono"/>
              </a:rPr>
              <a:t>()</a:t>
            </a:r>
            <a:br>
              <a:rPr lang="en-US" sz="1800" b="0" i="0" dirty="0">
                <a:latin typeface="JetBrains Mono"/>
              </a:rPr>
            </a:br>
            <a:r>
              <a:rPr lang="en-US" sz="1800" b="0" i="0" dirty="0">
                <a:solidFill>
                  <a:srgbClr val="A9B7C6"/>
                </a:solidFill>
                <a:latin typeface="JetBrains Mono"/>
              </a:rPr>
              <a:t>        .</a:t>
            </a:r>
            <a:r>
              <a:rPr lang="en-US" sz="1800" b="0" i="0" dirty="0" err="1">
                <a:latin typeface="JetBrains Mono"/>
              </a:rPr>
              <a:t>setSoTimeout</a:t>
            </a:r>
            <a:r>
              <a:rPr lang="en-US" sz="1800" b="0" i="0" dirty="0">
                <a:latin typeface="JetBrains Mono"/>
              </a:rPr>
              <a:t>(</a:t>
            </a:r>
            <a:r>
              <a:rPr lang="en-US" sz="1800" b="0" i="0" dirty="0" err="1">
                <a:latin typeface="JetBrains Mono"/>
              </a:rPr>
              <a:t>readTimeout</a:t>
            </a:r>
            <a:r>
              <a:rPr lang="en-US" sz="1800" b="0" i="0" dirty="0">
                <a:solidFill>
                  <a:srgbClr val="CC7832"/>
                </a:solidFill>
                <a:latin typeface="JetBrains Mono"/>
              </a:rPr>
              <a:t>, </a:t>
            </a:r>
            <a:r>
              <a:rPr lang="en-US" sz="1800" b="0" i="0" dirty="0" err="1">
                <a:latin typeface="JetBrains Mono"/>
              </a:rPr>
              <a:t>TimeUnit.</a:t>
            </a:r>
            <a:r>
              <a:rPr lang="en-US" sz="1800" b="0" i="1" dirty="0" err="1">
                <a:solidFill>
                  <a:srgbClr val="9876AA"/>
                </a:solidFill>
                <a:latin typeface="JetBrains Mono"/>
              </a:rPr>
              <a:t>MILLISECONDS</a:t>
            </a:r>
            <a:r>
              <a:rPr lang="en-US" sz="1800" b="0" i="0" dirty="0">
                <a:solidFill>
                  <a:srgbClr val="A9B7C6"/>
                </a:solidFill>
                <a:latin typeface="JetBrains Mono"/>
              </a:rPr>
              <a:t>)</a:t>
            </a:r>
            <a:br>
              <a:rPr lang="en-US" sz="1800" b="0" i="0" dirty="0">
                <a:solidFill>
                  <a:srgbClr val="A9B7C6"/>
                </a:solidFill>
                <a:latin typeface="JetBrains Mono"/>
              </a:rPr>
            </a:br>
            <a:r>
              <a:rPr lang="en-US" sz="1800" b="0" i="0" dirty="0">
                <a:solidFill>
                  <a:srgbClr val="A9B7C6"/>
                </a:solidFill>
                <a:latin typeface="JetBrains Mono"/>
              </a:rPr>
              <a:t>        </a:t>
            </a:r>
            <a:r>
              <a:rPr lang="en-US" sz="1800" b="0" i="0" dirty="0">
                <a:latin typeface="JetBrains Mono"/>
              </a:rPr>
              <a:t>.build()</a:t>
            </a:r>
            <a:r>
              <a:rPr lang="en-US" sz="1800" b="0" i="0" dirty="0">
                <a:solidFill>
                  <a:srgbClr val="CC7832"/>
                </a:solidFill>
                <a:latin typeface="JetBrains Mono"/>
              </a:rPr>
              <a:t>;</a:t>
            </a:r>
          </a:p>
          <a:p>
            <a:pPr>
              <a:buNone/>
            </a:pP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4DB8EB-B9FC-9147-AA43-B84F7359A2AD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7726EA6D-1931-8C92-28E8-6700BE30CF82}"/>
              </a:ext>
            </a:extLst>
          </p:cNvPr>
          <p:cNvSpPr txBox="1">
            <a:spLocks/>
          </p:cNvSpPr>
          <p:nvPr/>
        </p:nvSpPr>
        <p:spPr>
          <a:xfrm>
            <a:off x="11811000" y="6518276"/>
            <a:ext cx="381000" cy="339724"/>
          </a:xfrm>
          <a:prstGeom prst="rect">
            <a:avLst/>
          </a:prstGeom>
          <a:noFill/>
        </p:spPr>
        <p:txBody>
          <a:bodyPr/>
          <a:lstStyle>
            <a:defPPr>
              <a:defRPr lang="en-US"/>
            </a:defPPr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fld id="{A2218858-49EA-4BF8-8EFE-B88A4580565A}" type="slidenum">
              <a:rPr sz="800" smtClean="0"/>
              <a:pPr algn="r">
                <a:lnSpc>
                  <a:spcPct val="110000"/>
                </a:lnSpc>
                <a:spcAft>
                  <a:spcPts val="0"/>
                </a:spcAft>
              </a:pPr>
              <a:t>38</a:t>
            </a:fld>
            <a:endParaRPr lang="en-US" sz="800"/>
          </a:p>
        </p:txBody>
      </p:sp>
      <p:pic>
        <p:nvPicPr>
          <p:cNvPr id="8" name="Picture 7" descr="Hand holding piece of white puzzle on blue background">
            <a:extLst>
              <a:ext uri="{FF2B5EF4-FFF2-40B4-BE49-F238E27FC236}">
                <a16:creationId xmlns:a16="http://schemas.microsoft.com/office/drawing/2014/main" id="{D26A9FB8-B052-933F-250E-E1387375BEAB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245288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141E0E-16C6-E816-64E9-1FDB0586EF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5517" y="13315"/>
            <a:ext cx="2615270" cy="372967"/>
          </a:xfrm>
        </p:spPr>
        <p:txBody>
          <a:bodyPr/>
          <a:lstStyle/>
          <a:p>
            <a:pPr algn="ctr"/>
            <a:r>
              <a:rPr lang="en-US" dirty="0"/>
              <a:t>                      Connect timeou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09AF40-A510-231A-F449-77C8AE4EE7C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525517" y="1186356"/>
            <a:ext cx="7086600" cy="4680163"/>
          </a:xfrm>
        </p:spPr>
        <p:txBody>
          <a:bodyPr/>
          <a:lstStyle>
            <a:lvl1pPr>
              <a:buFont typeface="Arial" panose="020B0604020202020204" pitchFamily="34" charset="0"/>
              <a:buChar char="•"/>
            </a:lvl1pPr>
            <a:lvl2pPr>
              <a:buFont typeface="Arial" panose="020B0604020202020204" pitchFamily="34" charset="0"/>
              <a:buChar char="•"/>
            </a:lvl2pPr>
            <a:lvl3pPr>
              <a:buSzPct val="110000"/>
              <a:buFont typeface="Arial" panose="020B0604020202020204" pitchFamily="34" charset="0"/>
              <a:buChar char="•"/>
            </a:lvl3pPr>
            <a:lvl4pPr>
              <a:buSzPct val="100000"/>
              <a:buFont typeface="Arial" panose="020B0604020202020204" pitchFamily="34" charset="0"/>
              <a:buChar char="•"/>
            </a:lvl4pPr>
            <a:lvl5pPr>
              <a:buSzPct val="90000"/>
              <a:buFont typeface="Arial" panose="020B0604020202020204" pitchFamily="34" charset="0"/>
              <a:buChar char="•"/>
            </a:lvl5pPr>
            <a:lvl6pPr>
              <a:buFont typeface="Arial" panose="020B0604020202020204" pitchFamily="34" charset="0"/>
              <a:buChar char="•"/>
            </a:lvl6pPr>
            <a:lvl7pPr>
              <a:buFont typeface="Arial" panose="020B0604020202020204" pitchFamily="34" charset="0"/>
              <a:buChar char="•"/>
            </a:lvl7pPr>
            <a:lvl8pPr>
              <a:buFont typeface="Arial" panose="020B0604020202020204" pitchFamily="34" charset="0"/>
              <a:buChar char="•"/>
            </a:lvl8pPr>
            <a:lvl9pPr/>
          </a:lstStyle>
          <a:p>
            <a:pPr marL="285750" indent="-285750"/>
            <a:endParaRPr lang="en-US" b="0" i="0" dirty="0">
              <a:solidFill>
                <a:srgbClr val="172B4D"/>
              </a:solidFill>
              <a:effectLst/>
              <a:latin typeface="Arial" panose="020B0604020202020204" pitchFamily="34" charset="0"/>
            </a:endParaRPr>
          </a:p>
          <a:p>
            <a:pPr>
              <a:buNone/>
            </a:pPr>
            <a:endParaRPr lang="en-US" b="0" i="0" dirty="0">
              <a:solidFill>
                <a:srgbClr val="172B4D"/>
              </a:solidFill>
              <a:effectLst/>
              <a:latin typeface="Arial" panose="020B0604020202020204" pitchFamily="34" charset="0"/>
            </a:endParaRPr>
          </a:p>
          <a:p>
            <a:pPr marL="285750" indent="-285750"/>
            <a:r>
              <a:rPr lang="en-US" b="0" i="0" dirty="0">
                <a:effectLst/>
                <a:latin typeface="Arial" panose="020B0604020202020204" pitchFamily="34" charset="0"/>
              </a:rPr>
              <a:t>For the connect timeout, follow this implementation: </a:t>
            </a:r>
            <a:r>
              <a:rPr lang="en-US" b="0" i="0" dirty="0">
                <a:effectLst/>
                <a:latin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pring-framework/HttpComponentsClientHttpRequestFactory.java at v6.0.7 · spring-projects/spring-framework · GitHub</a:t>
            </a:r>
            <a:endParaRPr lang="en-US" b="0" i="0" dirty="0">
              <a:effectLst/>
              <a:latin typeface="Arial" panose="020B0604020202020204" pitchFamily="34" charset="0"/>
            </a:endParaRPr>
          </a:p>
          <a:p>
            <a:pPr marL="285750" indent="-285750"/>
            <a:endParaRPr lang="en-US" dirty="0">
              <a:solidFill>
                <a:schemeClr val="bg1"/>
              </a:solidFill>
              <a:latin typeface="Arial" panose="020B0604020202020204" pitchFamily="34" charset="0"/>
            </a:endParaRPr>
          </a:p>
          <a:p>
            <a:pPr marL="285750" indent="-285750"/>
            <a:endParaRPr lang="en-US" b="0" i="0" dirty="0"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>
              <a:buNone/>
            </a:pPr>
            <a:r>
              <a:rPr lang="en-US" sz="1800" b="0" i="0" dirty="0" err="1">
                <a:latin typeface="JetBrains Mono"/>
              </a:rPr>
              <a:t>ConnectionConfig.</a:t>
            </a:r>
            <a:r>
              <a:rPr lang="en-US" sz="1800" b="0" i="1" dirty="0" err="1">
                <a:latin typeface="JetBrains Mono"/>
              </a:rPr>
              <a:t>custom</a:t>
            </a:r>
            <a:r>
              <a:rPr lang="en-US" sz="1800" b="0" i="0" dirty="0">
                <a:latin typeface="JetBrains Mono"/>
              </a:rPr>
              <a:t>()</a:t>
            </a:r>
            <a:br>
              <a:rPr lang="en-US" sz="1800" b="0" i="0" dirty="0">
                <a:latin typeface="JetBrains Mono"/>
              </a:rPr>
            </a:br>
            <a:r>
              <a:rPr lang="en-US" sz="1800" b="0" i="0" dirty="0">
                <a:latin typeface="JetBrains Mono"/>
              </a:rPr>
              <a:t>        .</a:t>
            </a:r>
            <a:r>
              <a:rPr lang="en-US" sz="1800" b="0" i="0" dirty="0" err="1">
                <a:latin typeface="JetBrains Mono"/>
              </a:rPr>
              <a:t>setConnectTimeout</a:t>
            </a:r>
            <a:r>
              <a:rPr lang="en-US" sz="1800" b="0" i="0" dirty="0">
                <a:latin typeface="JetBrains Mono"/>
              </a:rPr>
              <a:t>(</a:t>
            </a:r>
            <a:r>
              <a:rPr lang="en-US" sz="1800" b="0" i="0" dirty="0" err="1">
                <a:latin typeface="JetBrains Mono"/>
              </a:rPr>
              <a:t>connectionTimeout</a:t>
            </a:r>
            <a:r>
              <a:rPr lang="en-US" sz="1800" b="0" i="0" dirty="0">
                <a:solidFill>
                  <a:srgbClr val="CC7832"/>
                </a:solidFill>
                <a:latin typeface="JetBrains Mono"/>
              </a:rPr>
              <a:t>, </a:t>
            </a:r>
            <a:r>
              <a:rPr lang="en-US" sz="1800" b="0" i="0" dirty="0" err="1">
                <a:latin typeface="JetBrains Mono"/>
              </a:rPr>
              <a:t>TimeUnit.</a:t>
            </a:r>
            <a:r>
              <a:rPr lang="en-US" sz="1800" b="0" i="1" dirty="0" err="1">
                <a:solidFill>
                  <a:srgbClr val="9876AA"/>
                </a:solidFill>
                <a:latin typeface="JetBrains Mono"/>
              </a:rPr>
              <a:t>MILLISECONDS</a:t>
            </a:r>
            <a:r>
              <a:rPr lang="en-US" sz="1800" b="0" i="0" dirty="0">
                <a:solidFill>
                  <a:srgbClr val="A9B7C6"/>
                </a:solidFill>
                <a:latin typeface="JetBrains Mono"/>
              </a:rPr>
              <a:t>)</a:t>
            </a:r>
            <a:br>
              <a:rPr lang="en-US" sz="1800" b="0" i="0" dirty="0">
                <a:solidFill>
                  <a:srgbClr val="A9B7C6"/>
                </a:solidFill>
                <a:latin typeface="JetBrains Mono"/>
              </a:rPr>
            </a:br>
            <a:r>
              <a:rPr lang="en-US" sz="1800" b="0" i="0" dirty="0">
                <a:solidFill>
                  <a:srgbClr val="A9B7C6"/>
                </a:solidFill>
                <a:latin typeface="JetBrains Mono"/>
              </a:rPr>
              <a:t>        </a:t>
            </a:r>
            <a:r>
              <a:rPr lang="en-US" sz="1800" b="0" i="0" dirty="0">
                <a:latin typeface="JetBrains Mono"/>
              </a:rPr>
              <a:t>.build()</a:t>
            </a:r>
            <a:r>
              <a:rPr lang="en-US" sz="1800" b="0" i="0" dirty="0">
                <a:solidFill>
                  <a:srgbClr val="CC7832"/>
                </a:solidFill>
                <a:latin typeface="JetBrains Mono"/>
              </a:rPr>
              <a:t>;</a:t>
            </a:r>
          </a:p>
          <a:p>
            <a:pPr>
              <a:buNone/>
            </a:pPr>
            <a:endParaRPr lang="en-US" b="0" i="0" dirty="0">
              <a:solidFill>
                <a:srgbClr val="172B4D"/>
              </a:solidFill>
              <a:effectLst/>
              <a:latin typeface="Arial" panose="020B0604020202020204" pitchFamily="34" charset="0"/>
            </a:endParaRPr>
          </a:p>
          <a:p>
            <a:pPr marL="285750" indent="-285750"/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4DB8EB-B9FC-9147-AA43-B84F7359A2AD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6155CE5-50FA-5EA1-1396-5392414095A9}"/>
              </a:ext>
            </a:extLst>
          </p:cNvPr>
          <p:cNvSpPr txBox="1">
            <a:spLocks/>
          </p:cNvSpPr>
          <p:nvPr/>
        </p:nvSpPr>
        <p:spPr>
          <a:xfrm>
            <a:off x="11811000" y="6518276"/>
            <a:ext cx="381000" cy="339724"/>
          </a:xfrm>
          <a:prstGeom prst="rect">
            <a:avLst/>
          </a:prstGeom>
          <a:noFill/>
        </p:spPr>
        <p:txBody>
          <a:bodyPr/>
          <a:lstStyle>
            <a:defPPr>
              <a:defRPr lang="en-US"/>
            </a:defPPr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fld id="{A2218858-49EA-4BF8-8EFE-B88A4580565A}" type="slidenum">
              <a:rPr sz="800" smtClean="0"/>
              <a:pPr algn="r">
                <a:lnSpc>
                  <a:spcPct val="110000"/>
                </a:lnSpc>
                <a:spcAft>
                  <a:spcPts val="0"/>
                </a:spcAft>
              </a:pPr>
              <a:t>39</a:t>
            </a:fld>
            <a:endParaRPr lang="en-US" sz="800"/>
          </a:p>
        </p:txBody>
      </p:sp>
      <p:pic>
        <p:nvPicPr>
          <p:cNvPr id="9" name="Picture 8" descr="Hand holding piece of white puzzle on blue background">
            <a:extLst>
              <a:ext uri="{FF2B5EF4-FFF2-40B4-BE49-F238E27FC236}">
                <a16:creationId xmlns:a16="http://schemas.microsoft.com/office/drawing/2014/main" id="{F4C8202F-A72C-CE2F-713E-1CA79BBC305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1706" y="13315"/>
            <a:ext cx="6096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69477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3" name="Groep 212">
            <a:extLst>
              <a:ext uri="{FF2B5EF4-FFF2-40B4-BE49-F238E27FC236}">
                <a16:creationId xmlns:a16="http://schemas.microsoft.com/office/drawing/2014/main" id="{E925E1F6-002B-F74F-A31E-4833028DFAC8}"/>
              </a:ext>
            </a:extLst>
          </p:cNvPr>
          <p:cNvGrpSpPr/>
          <p:nvPr/>
        </p:nvGrpSpPr>
        <p:grpSpPr>
          <a:xfrm>
            <a:off x="385764" y="1370013"/>
            <a:ext cx="10858501" cy="4395729"/>
            <a:chOff x="722184" y="1370010"/>
            <a:chExt cx="10180671" cy="4910405"/>
          </a:xfrm>
        </p:grpSpPr>
        <p:grpSp>
          <p:nvGrpSpPr>
            <p:cNvPr id="216" name="Graphic 5">
              <a:extLst>
                <a:ext uri="{FF2B5EF4-FFF2-40B4-BE49-F238E27FC236}">
                  <a16:creationId xmlns:a16="http://schemas.microsoft.com/office/drawing/2014/main" id="{AE3783A9-F447-364A-91F3-93F51018D9FC}"/>
                </a:ext>
              </a:extLst>
            </p:cNvPr>
            <p:cNvGrpSpPr/>
            <p:nvPr/>
          </p:nvGrpSpPr>
          <p:grpSpPr>
            <a:xfrm>
              <a:off x="10211808" y="5475087"/>
              <a:ext cx="356578" cy="413349"/>
              <a:chOff x="10211808" y="5475087"/>
              <a:chExt cx="356578" cy="413349"/>
            </a:xfrm>
            <a:solidFill>
              <a:schemeClr val="bg2"/>
            </a:solidFill>
          </p:grpSpPr>
          <p:sp>
            <p:nvSpPr>
              <p:cNvPr id="645" name="Vrije vorm 644">
                <a:extLst>
                  <a:ext uri="{FF2B5EF4-FFF2-40B4-BE49-F238E27FC236}">
                    <a16:creationId xmlns:a16="http://schemas.microsoft.com/office/drawing/2014/main" id="{F124501F-0FC6-5E4D-8540-4EA81B892144}"/>
                  </a:ext>
                </a:extLst>
              </p:cNvPr>
              <p:cNvSpPr/>
              <p:nvPr/>
            </p:nvSpPr>
            <p:spPr>
              <a:xfrm>
                <a:off x="10211808" y="5652380"/>
                <a:ext cx="222930" cy="236056"/>
              </a:xfrm>
              <a:custGeom>
                <a:avLst/>
                <a:gdLst>
                  <a:gd name="connsiteX0" fmla="*/ 219766 w 222930"/>
                  <a:gd name="connsiteY0" fmla="*/ 17789 h 236056"/>
                  <a:gd name="connsiteX1" fmla="*/ 214857 w 222930"/>
                  <a:gd name="connsiteY1" fmla="*/ 15783 h 236056"/>
                  <a:gd name="connsiteX2" fmla="*/ 207970 w 222930"/>
                  <a:gd name="connsiteY2" fmla="*/ 26095 h 236056"/>
                  <a:gd name="connsiteX3" fmla="*/ 214578 w 222930"/>
                  <a:gd name="connsiteY3" fmla="*/ 11668 h 236056"/>
                  <a:gd name="connsiteX4" fmla="*/ 187066 w 222930"/>
                  <a:gd name="connsiteY4" fmla="*/ 10347 h 236056"/>
                  <a:gd name="connsiteX5" fmla="*/ 128948 w 222930"/>
                  <a:gd name="connsiteY5" fmla="*/ 79943 h 236056"/>
                  <a:gd name="connsiteX6" fmla="*/ 29173 w 222930"/>
                  <a:gd name="connsiteY6" fmla="*/ 160677 h 236056"/>
                  <a:gd name="connsiteX7" fmla="*/ 28590 w 222930"/>
                  <a:gd name="connsiteY7" fmla="*/ 168906 h 236056"/>
                  <a:gd name="connsiteX8" fmla="*/ 24886 w 222930"/>
                  <a:gd name="connsiteY8" fmla="*/ 171472 h 236056"/>
                  <a:gd name="connsiteX9" fmla="*/ 20485 w 222930"/>
                  <a:gd name="connsiteY9" fmla="*/ 175079 h 236056"/>
                  <a:gd name="connsiteX10" fmla="*/ 22375 w 222930"/>
                  <a:gd name="connsiteY10" fmla="*/ 180184 h 236056"/>
                  <a:gd name="connsiteX11" fmla="*/ 20548 w 222930"/>
                  <a:gd name="connsiteY11" fmla="*/ 188147 h 236056"/>
                  <a:gd name="connsiteX12" fmla="*/ 12468 w 222930"/>
                  <a:gd name="connsiteY12" fmla="*/ 186153 h 236056"/>
                  <a:gd name="connsiteX13" fmla="*/ 7496 w 222930"/>
                  <a:gd name="connsiteY13" fmla="*/ 193303 h 236056"/>
                  <a:gd name="connsiteX14" fmla="*/ 16680 w 222930"/>
                  <a:gd name="connsiteY14" fmla="*/ 190763 h 236056"/>
                  <a:gd name="connsiteX15" fmla="*/ 12861 w 222930"/>
                  <a:gd name="connsiteY15" fmla="*/ 192541 h 236056"/>
                  <a:gd name="connsiteX16" fmla="*/ 8967 w 222930"/>
                  <a:gd name="connsiteY16" fmla="*/ 198929 h 236056"/>
                  <a:gd name="connsiteX17" fmla="*/ 12240 w 222930"/>
                  <a:gd name="connsiteY17" fmla="*/ 201279 h 236056"/>
                  <a:gd name="connsiteX18" fmla="*/ 8384 w 222930"/>
                  <a:gd name="connsiteY18" fmla="*/ 205025 h 236056"/>
                  <a:gd name="connsiteX19" fmla="*/ 10439 w 222930"/>
                  <a:gd name="connsiteY19" fmla="*/ 209686 h 236056"/>
                  <a:gd name="connsiteX20" fmla="*/ 14409 w 222930"/>
                  <a:gd name="connsiteY20" fmla="*/ 219567 h 236056"/>
                  <a:gd name="connsiteX21" fmla="*/ 120373 w 222930"/>
                  <a:gd name="connsiteY21" fmla="*/ 206105 h 236056"/>
                  <a:gd name="connsiteX22" fmla="*/ 183641 w 222930"/>
                  <a:gd name="connsiteY22" fmla="*/ 120697 h 236056"/>
                  <a:gd name="connsiteX23" fmla="*/ 187370 w 222930"/>
                  <a:gd name="connsiteY23" fmla="*/ 116494 h 236056"/>
                  <a:gd name="connsiteX24" fmla="*/ 178403 w 222930"/>
                  <a:gd name="connsiteY24" fmla="*/ 102130 h 236056"/>
                  <a:gd name="connsiteX25" fmla="*/ 212143 w 222930"/>
                  <a:gd name="connsiteY25" fmla="*/ 25193 h 236056"/>
                  <a:gd name="connsiteX26" fmla="*/ 219563 w 222930"/>
                  <a:gd name="connsiteY26" fmla="*/ 18564 h 236056"/>
                  <a:gd name="connsiteX27" fmla="*/ 219766 w 222930"/>
                  <a:gd name="connsiteY27" fmla="*/ 17789 h 236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222930" h="236056">
                    <a:moveTo>
                      <a:pt x="219766" y="17789"/>
                    </a:moveTo>
                    <a:cubicBezTo>
                      <a:pt x="222303" y="10804"/>
                      <a:pt x="208046" y="17738"/>
                      <a:pt x="214857" y="15783"/>
                    </a:cubicBezTo>
                    <a:cubicBezTo>
                      <a:pt x="203720" y="29270"/>
                      <a:pt x="225753" y="16481"/>
                      <a:pt x="207970" y="26095"/>
                    </a:cubicBezTo>
                    <a:cubicBezTo>
                      <a:pt x="215681" y="11934"/>
                      <a:pt x="200587" y="22272"/>
                      <a:pt x="214578" y="11668"/>
                    </a:cubicBezTo>
                    <a:cubicBezTo>
                      <a:pt x="206980" y="7477"/>
                      <a:pt x="184339" y="47342"/>
                      <a:pt x="187066" y="10347"/>
                    </a:cubicBezTo>
                    <a:cubicBezTo>
                      <a:pt x="166860" y="-26737"/>
                      <a:pt x="153238" y="45158"/>
                      <a:pt x="128948" y="79943"/>
                    </a:cubicBezTo>
                    <a:cubicBezTo>
                      <a:pt x="92112" y="113077"/>
                      <a:pt x="39016" y="147050"/>
                      <a:pt x="29173" y="160677"/>
                    </a:cubicBezTo>
                    <a:cubicBezTo>
                      <a:pt x="25965" y="162150"/>
                      <a:pt x="31901" y="172310"/>
                      <a:pt x="28590" y="168906"/>
                    </a:cubicBezTo>
                    <a:cubicBezTo>
                      <a:pt x="28565" y="158619"/>
                      <a:pt x="16895" y="168195"/>
                      <a:pt x="24886" y="171472"/>
                    </a:cubicBezTo>
                    <a:cubicBezTo>
                      <a:pt x="13547" y="165477"/>
                      <a:pt x="25812" y="175447"/>
                      <a:pt x="20485" y="175079"/>
                    </a:cubicBezTo>
                    <a:cubicBezTo>
                      <a:pt x="19686" y="164753"/>
                      <a:pt x="9450" y="184400"/>
                      <a:pt x="22375" y="180184"/>
                    </a:cubicBezTo>
                    <a:cubicBezTo>
                      <a:pt x="23795" y="186382"/>
                      <a:pt x="12608" y="175066"/>
                      <a:pt x="20548" y="188147"/>
                    </a:cubicBezTo>
                    <a:cubicBezTo>
                      <a:pt x="17580" y="184680"/>
                      <a:pt x="5492" y="178406"/>
                      <a:pt x="12468" y="186153"/>
                    </a:cubicBezTo>
                    <a:cubicBezTo>
                      <a:pt x="16831" y="187080"/>
                      <a:pt x="4846" y="184337"/>
                      <a:pt x="7496" y="193303"/>
                    </a:cubicBezTo>
                    <a:cubicBezTo>
                      <a:pt x="10046" y="193735"/>
                      <a:pt x="16565" y="188922"/>
                      <a:pt x="16680" y="190763"/>
                    </a:cubicBezTo>
                    <a:cubicBezTo>
                      <a:pt x="12354" y="192008"/>
                      <a:pt x="17517" y="193951"/>
                      <a:pt x="12861" y="192541"/>
                    </a:cubicBezTo>
                    <a:cubicBezTo>
                      <a:pt x="3907" y="195932"/>
                      <a:pt x="13978" y="195195"/>
                      <a:pt x="8967" y="198929"/>
                    </a:cubicBezTo>
                    <a:cubicBezTo>
                      <a:pt x="13115" y="199006"/>
                      <a:pt x="19064" y="196758"/>
                      <a:pt x="12240" y="201279"/>
                    </a:cubicBezTo>
                    <a:cubicBezTo>
                      <a:pt x="-2905" y="198370"/>
                      <a:pt x="-3831" y="217954"/>
                      <a:pt x="8384" y="205025"/>
                    </a:cubicBezTo>
                    <a:cubicBezTo>
                      <a:pt x="9475" y="204035"/>
                      <a:pt x="64" y="221154"/>
                      <a:pt x="10439" y="209686"/>
                    </a:cubicBezTo>
                    <a:cubicBezTo>
                      <a:pt x="19432" y="204987"/>
                      <a:pt x="-4566" y="222005"/>
                      <a:pt x="14409" y="219567"/>
                    </a:cubicBezTo>
                    <a:cubicBezTo>
                      <a:pt x="67226" y="220342"/>
                      <a:pt x="63598" y="263953"/>
                      <a:pt x="120373" y="206105"/>
                    </a:cubicBezTo>
                    <a:cubicBezTo>
                      <a:pt x="125878" y="171726"/>
                      <a:pt x="141657" y="120431"/>
                      <a:pt x="183641" y="120697"/>
                    </a:cubicBezTo>
                    <a:cubicBezTo>
                      <a:pt x="185735" y="129372"/>
                      <a:pt x="191138" y="123694"/>
                      <a:pt x="187370" y="116494"/>
                    </a:cubicBezTo>
                    <a:cubicBezTo>
                      <a:pt x="176551" y="116786"/>
                      <a:pt x="178467" y="118132"/>
                      <a:pt x="178403" y="102130"/>
                    </a:cubicBezTo>
                    <a:cubicBezTo>
                      <a:pt x="201513" y="83728"/>
                      <a:pt x="234949" y="22933"/>
                      <a:pt x="212143" y="25193"/>
                    </a:cubicBezTo>
                    <a:cubicBezTo>
                      <a:pt x="217622" y="22514"/>
                      <a:pt x="219665" y="24762"/>
                      <a:pt x="219563" y="18564"/>
                    </a:cubicBezTo>
                    <a:cubicBezTo>
                      <a:pt x="219297" y="25333"/>
                      <a:pt x="227072" y="9128"/>
                      <a:pt x="219766" y="17789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46" name="Vrije vorm 645">
                <a:extLst>
                  <a:ext uri="{FF2B5EF4-FFF2-40B4-BE49-F238E27FC236}">
                    <a16:creationId xmlns:a16="http://schemas.microsoft.com/office/drawing/2014/main" id="{EEE1621E-E3EF-C749-896A-7CB67DB3859A}"/>
                  </a:ext>
                </a:extLst>
              </p:cNvPr>
              <p:cNvSpPr/>
              <p:nvPr/>
            </p:nvSpPr>
            <p:spPr>
              <a:xfrm>
                <a:off x="10404313" y="5475087"/>
                <a:ext cx="164073" cy="255031"/>
              </a:xfrm>
              <a:custGeom>
                <a:avLst/>
                <a:gdLst>
                  <a:gd name="connsiteX0" fmla="*/ 91722 w 164073"/>
                  <a:gd name="connsiteY0" fmla="*/ 108913 h 255031"/>
                  <a:gd name="connsiteX1" fmla="*/ 88881 w 164073"/>
                  <a:gd name="connsiteY1" fmla="*/ 95743 h 255031"/>
                  <a:gd name="connsiteX2" fmla="*/ 84239 w 164073"/>
                  <a:gd name="connsiteY2" fmla="*/ 84821 h 255031"/>
                  <a:gd name="connsiteX3" fmla="*/ 80725 w 164073"/>
                  <a:gd name="connsiteY3" fmla="*/ 82230 h 255031"/>
                  <a:gd name="connsiteX4" fmla="*/ 78860 w 164073"/>
                  <a:gd name="connsiteY4" fmla="*/ 96962 h 255031"/>
                  <a:gd name="connsiteX5" fmla="*/ 54177 w 164073"/>
                  <a:gd name="connsiteY5" fmla="*/ 87500 h 255031"/>
                  <a:gd name="connsiteX6" fmla="*/ 44651 w 164073"/>
                  <a:gd name="connsiteY6" fmla="*/ 48638 h 255031"/>
                  <a:gd name="connsiteX7" fmla="*/ 48634 w 164073"/>
                  <a:gd name="connsiteY7" fmla="*/ 47330 h 255031"/>
                  <a:gd name="connsiteX8" fmla="*/ 45425 w 164073"/>
                  <a:gd name="connsiteY8" fmla="*/ 33665 h 255031"/>
                  <a:gd name="connsiteX9" fmla="*/ 42723 w 164073"/>
                  <a:gd name="connsiteY9" fmla="*/ 29741 h 255031"/>
                  <a:gd name="connsiteX10" fmla="*/ 35405 w 164073"/>
                  <a:gd name="connsiteY10" fmla="*/ 28534 h 255031"/>
                  <a:gd name="connsiteX11" fmla="*/ 20450 w 164073"/>
                  <a:gd name="connsiteY11" fmla="*/ 16190 h 255031"/>
                  <a:gd name="connsiteX12" fmla="*/ 9566 w 164073"/>
                  <a:gd name="connsiteY12" fmla="*/ 12888 h 255031"/>
                  <a:gd name="connsiteX13" fmla="*/ 6395 w 164073"/>
                  <a:gd name="connsiteY13" fmla="*/ 8659 h 255031"/>
                  <a:gd name="connsiteX14" fmla="*/ 8425 w 164073"/>
                  <a:gd name="connsiteY14" fmla="*/ 455 h 255031"/>
                  <a:gd name="connsiteX15" fmla="*/ 13892 w 164073"/>
                  <a:gd name="connsiteY15" fmla="*/ 34211 h 255031"/>
                  <a:gd name="connsiteX16" fmla="*/ 20069 w 164073"/>
                  <a:gd name="connsiteY16" fmla="*/ 33056 h 255031"/>
                  <a:gd name="connsiteX17" fmla="*/ 22213 w 164073"/>
                  <a:gd name="connsiteY17" fmla="*/ 30173 h 255031"/>
                  <a:gd name="connsiteX18" fmla="*/ 23811 w 164073"/>
                  <a:gd name="connsiteY18" fmla="*/ 33487 h 255031"/>
                  <a:gd name="connsiteX19" fmla="*/ 39133 w 164073"/>
                  <a:gd name="connsiteY19" fmla="*/ 65796 h 255031"/>
                  <a:gd name="connsiteX20" fmla="*/ 41265 w 164073"/>
                  <a:gd name="connsiteY20" fmla="*/ 60475 h 255031"/>
                  <a:gd name="connsiteX21" fmla="*/ 43510 w 164073"/>
                  <a:gd name="connsiteY21" fmla="*/ 61732 h 255031"/>
                  <a:gd name="connsiteX22" fmla="*/ 47404 w 164073"/>
                  <a:gd name="connsiteY22" fmla="*/ 60792 h 255031"/>
                  <a:gd name="connsiteX23" fmla="*/ 49040 w 164073"/>
                  <a:gd name="connsiteY23" fmla="*/ 63383 h 255031"/>
                  <a:gd name="connsiteX24" fmla="*/ 47809 w 164073"/>
                  <a:gd name="connsiteY24" fmla="*/ 68679 h 255031"/>
                  <a:gd name="connsiteX25" fmla="*/ 40123 w 164073"/>
                  <a:gd name="connsiteY25" fmla="*/ 70368 h 255031"/>
                  <a:gd name="connsiteX26" fmla="*/ 59136 w 164073"/>
                  <a:gd name="connsiteY26" fmla="*/ 91844 h 255031"/>
                  <a:gd name="connsiteX27" fmla="*/ 55522 w 164073"/>
                  <a:gd name="connsiteY27" fmla="*/ 99235 h 255031"/>
                  <a:gd name="connsiteX28" fmla="*/ 57398 w 164073"/>
                  <a:gd name="connsiteY28" fmla="*/ 101877 h 255031"/>
                  <a:gd name="connsiteX29" fmla="*/ 61457 w 164073"/>
                  <a:gd name="connsiteY29" fmla="*/ 118450 h 255031"/>
                  <a:gd name="connsiteX30" fmla="*/ 57678 w 164073"/>
                  <a:gd name="connsiteY30" fmla="*/ 126261 h 255031"/>
                  <a:gd name="connsiteX31" fmla="*/ 59695 w 164073"/>
                  <a:gd name="connsiteY31" fmla="*/ 125728 h 255031"/>
                  <a:gd name="connsiteX32" fmla="*/ 60760 w 164073"/>
                  <a:gd name="connsiteY32" fmla="*/ 130477 h 255031"/>
                  <a:gd name="connsiteX33" fmla="*/ 47543 w 164073"/>
                  <a:gd name="connsiteY33" fmla="*/ 160068 h 255031"/>
                  <a:gd name="connsiteX34" fmla="*/ 57221 w 164073"/>
                  <a:gd name="connsiteY34" fmla="*/ 248816 h 255031"/>
                  <a:gd name="connsiteX35" fmla="*/ 118321 w 164073"/>
                  <a:gd name="connsiteY35" fmla="*/ 184567 h 255031"/>
                  <a:gd name="connsiteX36" fmla="*/ 164047 w 164073"/>
                  <a:gd name="connsiteY36" fmla="*/ 115491 h 255031"/>
                  <a:gd name="connsiteX37" fmla="*/ 91722 w 164073"/>
                  <a:gd name="connsiteY37" fmla="*/ 108913 h 2550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164073" h="255031">
                    <a:moveTo>
                      <a:pt x="91722" y="108913"/>
                    </a:moveTo>
                    <a:cubicBezTo>
                      <a:pt x="101781" y="119746"/>
                      <a:pt x="85164" y="99108"/>
                      <a:pt x="88881" y="95743"/>
                    </a:cubicBezTo>
                    <a:cubicBezTo>
                      <a:pt x="86940" y="94917"/>
                      <a:pt x="90454" y="83475"/>
                      <a:pt x="84239" y="84821"/>
                    </a:cubicBezTo>
                    <a:cubicBezTo>
                      <a:pt x="79951" y="89774"/>
                      <a:pt x="92280" y="74699"/>
                      <a:pt x="80725" y="82230"/>
                    </a:cubicBezTo>
                    <a:cubicBezTo>
                      <a:pt x="69360" y="53122"/>
                      <a:pt x="81004" y="100264"/>
                      <a:pt x="78860" y="96962"/>
                    </a:cubicBezTo>
                    <a:cubicBezTo>
                      <a:pt x="72924" y="103020"/>
                      <a:pt x="66113" y="77696"/>
                      <a:pt x="54177" y="87500"/>
                    </a:cubicBezTo>
                    <a:cubicBezTo>
                      <a:pt x="59580" y="73835"/>
                      <a:pt x="55749" y="58253"/>
                      <a:pt x="44651" y="48638"/>
                    </a:cubicBezTo>
                    <a:cubicBezTo>
                      <a:pt x="44841" y="42644"/>
                      <a:pt x="44765" y="49553"/>
                      <a:pt x="48634" y="47330"/>
                    </a:cubicBezTo>
                    <a:cubicBezTo>
                      <a:pt x="53669" y="54900"/>
                      <a:pt x="50169" y="39888"/>
                      <a:pt x="45425" y="33665"/>
                    </a:cubicBezTo>
                    <a:cubicBezTo>
                      <a:pt x="46959" y="34300"/>
                      <a:pt x="43764" y="25067"/>
                      <a:pt x="42723" y="29741"/>
                    </a:cubicBezTo>
                    <a:cubicBezTo>
                      <a:pt x="36191" y="32903"/>
                      <a:pt x="42469" y="33754"/>
                      <a:pt x="35405" y="28534"/>
                    </a:cubicBezTo>
                    <a:cubicBezTo>
                      <a:pt x="45159" y="19568"/>
                      <a:pt x="8451" y="21448"/>
                      <a:pt x="20450" y="16190"/>
                    </a:cubicBezTo>
                    <a:cubicBezTo>
                      <a:pt x="14704" y="11123"/>
                      <a:pt x="17887" y="28687"/>
                      <a:pt x="9566" y="12888"/>
                    </a:cubicBezTo>
                    <a:cubicBezTo>
                      <a:pt x="13410" y="19962"/>
                      <a:pt x="5648" y="-1920"/>
                      <a:pt x="6395" y="8659"/>
                    </a:cubicBezTo>
                    <a:cubicBezTo>
                      <a:pt x="2692" y="518"/>
                      <a:pt x="5521" y="6500"/>
                      <a:pt x="8425" y="455"/>
                    </a:cubicBezTo>
                    <a:cubicBezTo>
                      <a:pt x="-14901" y="-3965"/>
                      <a:pt x="17887" y="25156"/>
                      <a:pt x="13892" y="34211"/>
                    </a:cubicBezTo>
                    <a:cubicBezTo>
                      <a:pt x="18268" y="42581"/>
                      <a:pt x="15998" y="34833"/>
                      <a:pt x="20069" y="33056"/>
                    </a:cubicBezTo>
                    <a:cubicBezTo>
                      <a:pt x="23684" y="34351"/>
                      <a:pt x="21198" y="31773"/>
                      <a:pt x="22213" y="30173"/>
                    </a:cubicBezTo>
                    <a:cubicBezTo>
                      <a:pt x="22124" y="33957"/>
                      <a:pt x="25866" y="29297"/>
                      <a:pt x="23811" y="33487"/>
                    </a:cubicBezTo>
                    <a:cubicBezTo>
                      <a:pt x="8044" y="31913"/>
                      <a:pt x="38956" y="75042"/>
                      <a:pt x="39133" y="65796"/>
                    </a:cubicBezTo>
                    <a:cubicBezTo>
                      <a:pt x="21807" y="38339"/>
                      <a:pt x="40440" y="70317"/>
                      <a:pt x="41265" y="60475"/>
                    </a:cubicBezTo>
                    <a:cubicBezTo>
                      <a:pt x="43687" y="57681"/>
                      <a:pt x="40935" y="62329"/>
                      <a:pt x="43510" y="61732"/>
                    </a:cubicBezTo>
                    <a:cubicBezTo>
                      <a:pt x="44943" y="66634"/>
                      <a:pt x="45235" y="57465"/>
                      <a:pt x="47404" y="60792"/>
                    </a:cubicBezTo>
                    <a:cubicBezTo>
                      <a:pt x="43750" y="65009"/>
                      <a:pt x="42115" y="67562"/>
                      <a:pt x="49040" y="63383"/>
                    </a:cubicBezTo>
                    <a:cubicBezTo>
                      <a:pt x="46833" y="67422"/>
                      <a:pt x="36787" y="69314"/>
                      <a:pt x="47809" y="68679"/>
                    </a:cubicBezTo>
                    <a:cubicBezTo>
                      <a:pt x="47670" y="81227"/>
                      <a:pt x="47086" y="77810"/>
                      <a:pt x="40123" y="70368"/>
                    </a:cubicBezTo>
                    <a:cubicBezTo>
                      <a:pt x="53517" y="107668"/>
                      <a:pt x="48938" y="80262"/>
                      <a:pt x="59136" y="91844"/>
                    </a:cubicBezTo>
                    <a:cubicBezTo>
                      <a:pt x="64908" y="95972"/>
                      <a:pt x="52743" y="92199"/>
                      <a:pt x="55522" y="99235"/>
                    </a:cubicBezTo>
                    <a:cubicBezTo>
                      <a:pt x="49458" y="79817"/>
                      <a:pt x="49712" y="106817"/>
                      <a:pt x="57398" y="101877"/>
                    </a:cubicBezTo>
                    <a:cubicBezTo>
                      <a:pt x="51310" y="107071"/>
                      <a:pt x="61039" y="119403"/>
                      <a:pt x="61457" y="118450"/>
                    </a:cubicBezTo>
                    <a:cubicBezTo>
                      <a:pt x="62244" y="119378"/>
                      <a:pt x="53061" y="121346"/>
                      <a:pt x="57678" y="126261"/>
                    </a:cubicBezTo>
                    <a:cubicBezTo>
                      <a:pt x="58109" y="125004"/>
                      <a:pt x="59707" y="123061"/>
                      <a:pt x="59695" y="125728"/>
                    </a:cubicBezTo>
                    <a:cubicBezTo>
                      <a:pt x="52667" y="131709"/>
                      <a:pt x="61318" y="126591"/>
                      <a:pt x="60760" y="130477"/>
                    </a:cubicBezTo>
                    <a:cubicBezTo>
                      <a:pt x="48850" y="127023"/>
                      <a:pt x="57995" y="151077"/>
                      <a:pt x="47543" y="160068"/>
                    </a:cubicBezTo>
                    <a:cubicBezTo>
                      <a:pt x="-12313" y="187742"/>
                      <a:pt x="104229" y="179271"/>
                      <a:pt x="57221" y="248816"/>
                    </a:cubicBezTo>
                    <a:cubicBezTo>
                      <a:pt x="75220" y="274953"/>
                      <a:pt x="122494" y="211935"/>
                      <a:pt x="118321" y="184567"/>
                    </a:cubicBezTo>
                    <a:cubicBezTo>
                      <a:pt x="116609" y="144320"/>
                      <a:pt x="143487" y="201153"/>
                      <a:pt x="164047" y="115491"/>
                    </a:cubicBezTo>
                    <a:cubicBezTo>
                      <a:pt x="141508" y="102868"/>
                      <a:pt x="113818" y="146162"/>
                      <a:pt x="91722" y="108913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17" name="Graphic 5">
              <a:extLst>
                <a:ext uri="{FF2B5EF4-FFF2-40B4-BE49-F238E27FC236}">
                  <a16:creationId xmlns:a16="http://schemas.microsoft.com/office/drawing/2014/main" id="{CFE71154-5368-4D45-A927-0955944AD86B}"/>
                </a:ext>
              </a:extLst>
            </p:cNvPr>
            <p:cNvGrpSpPr/>
            <p:nvPr/>
          </p:nvGrpSpPr>
          <p:grpSpPr>
            <a:xfrm>
              <a:off x="5260475" y="2337516"/>
              <a:ext cx="279531" cy="422691"/>
              <a:chOff x="5260475" y="2337516"/>
              <a:chExt cx="279531" cy="422691"/>
            </a:xfrm>
            <a:solidFill>
              <a:schemeClr val="bg2"/>
            </a:solidFill>
          </p:grpSpPr>
          <p:sp>
            <p:nvSpPr>
              <p:cNvPr id="642" name="Vrije vorm 641">
                <a:extLst>
                  <a:ext uri="{FF2B5EF4-FFF2-40B4-BE49-F238E27FC236}">
                    <a16:creationId xmlns:a16="http://schemas.microsoft.com/office/drawing/2014/main" id="{9D934A75-F86B-F04F-B152-3D56C694DBC0}"/>
                  </a:ext>
                </a:extLst>
              </p:cNvPr>
              <p:cNvSpPr/>
              <p:nvPr/>
            </p:nvSpPr>
            <p:spPr>
              <a:xfrm>
                <a:off x="5288826" y="2347279"/>
                <a:ext cx="27521" cy="39228"/>
              </a:xfrm>
              <a:custGeom>
                <a:avLst/>
                <a:gdLst>
                  <a:gd name="connsiteX0" fmla="*/ 14190 w 27521"/>
                  <a:gd name="connsiteY0" fmla="*/ 20961 h 39228"/>
                  <a:gd name="connsiteX1" fmla="*/ 16169 w 27521"/>
                  <a:gd name="connsiteY1" fmla="*/ 25055 h 39228"/>
                  <a:gd name="connsiteX2" fmla="*/ 15002 w 27521"/>
                  <a:gd name="connsiteY2" fmla="*/ 22446 h 39228"/>
                  <a:gd name="connsiteX3" fmla="*/ 4664 w 27521"/>
                  <a:gd name="connsiteY3" fmla="*/ 39230 h 39228"/>
                  <a:gd name="connsiteX4" fmla="*/ 7987 w 27521"/>
                  <a:gd name="connsiteY4" fmla="*/ 29420 h 39228"/>
                  <a:gd name="connsiteX5" fmla="*/ 1746 w 27521"/>
                  <a:gd name="connsiteY5" fmla="*/ 23526 h 39228"/>
                  <a:gd name="connsiteX6" fmla="*/ 224 w 27521"/>
                  <a:gd name="connsiteY6" fmla="*/ 17272 h 39228"/>
                  <a:gd name="connsiteX7" fmla="*/ 11678 w 27521"/>
                  <a:gd name="connsiteY7" fmla="*/ 15426 h 39228"/>
                  <a:gd name="connsiteX8" fmla="*/ 27001 w 27521"/>
                  <a:gd name="connsiteY8" fmla="*/ 6967 h 39228"/>
                  <a:gd name="connsiteX9" fmla="*/ 27495 w 27521"/>
                  <a:gd name="connsiteY9" fmla="*/ 11737 h 39228"/>
                  <a:gd name="connsiteX10" fmla="*/ 14190 w 27521"/>
                  <a:gd name="connsiteY10" fmla="*/ 20961 h 392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21" h="39228">
                    <a:moveTo>
                      <a:pt x="14190" y="20961"/>
                    </a:moveTo>
                    <a:cubicBezTo>
                      <a:pt x="21509" y="18531"/>
                      <a:pt x="24971" y="25866"/>
                      <a:pt x="16169" y="25055"/>
                    </a:cubicBezTo>
                    <a:cubicBezTo>
                      <a:pt x="25022" y="32480"/>
                      <a:pt x="3357" y="29373"/>
                      <a:pt x="15002" y="22446"/>
                    </a:cubicBezTo>
                    <a:cubicBezTo>
                      <a:pt x="7137" y="23166"/>
                      <a:pt x="15496" y="33561"/>
                      <a:pt x="4664" y="39230"/>
                    </a:cubicBezTo>
                    <a:cubicBezTo>
                      <a:pt x="-4913" y="35900"/>
                      <a:pt x="6770" y="30995"/>
                      <a:pt x="7987" y="29420"/>
                    </a:cubicBezTo>
                    <a:cubicBezTo>
                      <a:pt x="-7386" y="25821"/>
                      <a:pt x="8304" y="22943"/>
                      <a:pt x="1746" y="23526"/>
                    </a:cubicBezTo>
                    <a:cubicBezTo>
                      <a:pt x="4169" y="21186"/>
                      <a:pt x="-1221" y="22581"/>
                      <a:pt x="224" y="17272"/>
                    </a:cubicBezTo>
                    <a:cubicBezTo>
                      <a:pt x="5387" y="8001"/>
                      <a:pt x="4131" y="18756"/>
                      <a:pt x="11678" y="15426"/>
                    </a:cubicBezTo>
                    <a:cubicBezTo>
                      <a:pt x="3002" y="9892"/>
                      <a:pt x="31187" y="-10581"/>
                      <a:pt x="27001" y="6967"/>
                    </a:cubicBezTo>
                    <a:cubicBezTo>
                      <a:pt x="22105" y="10206"/>
                      <a:pt x="19682" y="17452"/>
                      <a:pt x="27495" y="11737"/>
                    </a:cubicBezTo>
                    <a:cubicBezTo>
                      <a:pt x="23982" y="15963"/>
                      <a:pt x="19378" y="19151"/>
                      <a:pt x="14190" y="2096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43" name="Vrije vorm 642">
                <a:extLst>
                  <a:ext uri="{FF2B5EF4-FFF2-40B4-BE49-F238E27FC236}">
                    <a16:creationId xmlns:a16="http://schemas.microsoft.com/office/drawing/2014/main" id="{7E057A48-FD82-8A41-B126-BB7F56498E9C}"/>
                  </a:ext>
                </a:extLst>
              </p:cNvPr>
              <p:cNvSpPr/>
              <p:nvPr/>
            </p:nvSpPr>
            <p:spPr>
              <a:xfrm>
                <a:off x="5313963" y="2337516"/>
                <a:ext cx="226043" cy="422691"/>
              </a:xfrm>
              <a:custGeom>
                <a:avLst/>
                <a:gdLst>
                  <a:gd name="connsiteX0" fmla="*/ 187548 w 226043"/>
                  <a:gd name="connsiteY0" fmla="*/ 295750 h 422691"/>
                  <a:gd name="connsiteX1" fmla="*/ 181802 w 226043"/>
                  <a:gd name="connsiteY1" fmla="*/ 265197 h 422691"/>
                  <a:gd name="connsiteX2" fmla="*/ 168407 w 226043"/>
                  <a:gd name="connsiteY2" fmla="*/ 250846 h 422691"/>
                  <a:gd name="connsiteX3" fmla="*/ 143280 w 226043"/>
                  <a:gd name="connsiteY3" fmla="*/ 208235 h 422691"/>
                  <a:gd name="connsiteX4" fmla="*/ 84007 w 226043"/>
                  <a:gd name="connsiteY4" fmla="*/ 136607 h 422691"/>
                  <a:gd name="connsiteX5" fmla="*/ 82522 w 226043"/>
                  <a:gd name="connsiteY5" fmla="*/ 120859 h 422691"/>
                  <a:gd name="connsiteX6" fmla="*/ 60998 w 226043"/>
                  <a:gd name="connsiteY6" fmla="*/ 57371 h 422691"/>
                  <a:gd name="connsiteX7" fmla="*/ 58131 w 226043"/>
                  <a:gd name="connsiteY7" fmla="*/ 61150 h 422691"/>
                  <a:gd name="connsiteX8" fmla="*/ 54034 w 226043"/>
                  <a:gd name="connsiteY8" fmla="*/ 55255 h 422691"/>
                  <a:gd name="connsiteX9" fmla="*/ 62710 w 226043"/>
                  <a:gd name="connsiteY9" fmla="*/ 51476 h 422691"/>
                  <a:gd name="connsiteX10" fmla="*/ 63839 w 226043"/>
                  <a:gd name="connsiteY10" fmla="*/ 43782 h 422691"/>
                  <a:gd name="connsiteX11" fmla="*/ 59564 w 226043"/>
                  <a:gd name="connsiteY11" fmla="*/ 44456 h 422691"/>
                  <a:gd name="connsiteX12" fmla="*/ 53222 w 226043"/>
                  <a:gd name="connsiteY12" fmla="*/ 42071 h 422691"/>
                  <a:gd name="connsiteX13" fmla="*/ 63687 w 226043"/>
                  <a:gd name="connsiteY13" fmla="*/ 40272 h 422691"/>
                  <a:gd name="connsiteX14" fmla="*/ 80062 w 226043"/>
                  <a:gd name="connsiteY14" fmla="*/ 1 h 422691"/>
                  <a:gd name="connsiteX15" fmla="*/ 43253 w 226043"/>
                  <a:gd name="connsiteY15" fmla="*/ 8730 h 422691"/>
                  <a:gd name="connsiteX16" fmla="*/ 40145 w 226043"/>
                  <a:gd name="connsiteY16" fmla="*/ 7111 h 422691"/>
                  <a:gd name="connsiteX17" fmla="*/ 32065 w 226043"/>
                  <a:gd name="connsiteY17" fmla="*/ 7650 h 422691"/>
                  <a:gd name="connsiteX18" fmla="*/ 34893 w 226043"/>
                  <a:gd name="connsiteY18" fmla="*/ 11655 h 422691"/>
                  <a:gd name="connsiteX19" fmla="*/ 33587 w 226043"/>
                  <a:gd name="connsiteY19" fmla="*/ 10935 h 422691"/>
                  <a:gd name="connsiteX20" fmla="*/ 32242 w 226043"/>
                  <a:gd name="connsiteY20" fmla="*/ 12644 h 422691"/>
                  <a:gd name="connsiteX21" fmla="*/ 35883 w 226043"/>
                  <a:gd name="connsiteY21" fmla="*/ 21599 h 422691"/>
                  <a:gd name="connsiteX22" fmla="*/ 23884 w 226043"/>
                  <a:gd name="connsiteY22" fmla="*/ 21328 h 422691"/>
                  <a:gd name="connsiteX23" fmla="*/ 26712 w 226043"/>
                  <a:gd name="connsiteY23" fmla="*/ 36402 h 422691"/>
                  <a:gd name="connsiteX24" fmla="*/ 32242 w 226043"/>
                  <a:gd name="connsiteY24" fmla="*/ 42251 h 422691"/>
                  <a:gd name="connsiteX25" fmla="*/ 24239 w 226043"/>
                  <a:gd name="connsiteY25" fmla="*/ 39012 h 422691"/>
                  <a:gd name="connsiteX26" fmla="*/ 22844 w 226043"/>
                  <a:gd name="connsiteY26" fmla="*/ 40272 h 422691"/>
                  <a:gd name="connsiteX27" fmla="*/ 19381 w 226043"/>
                  <a:gd name="connsiteY27" fmla="*/ 39912 h 422691"/>
                  <a:gd name="connsiteX28" fmla="*/ 15880 w 226043"/>
                  <a:gd name="connsiteY28" fmla="*/ 42791 h 422691"/>
                  <a:gd name="connsiteX29" fmla="*/ 18620 w 226043"/>
                  <a:gd name="connsiteY29" fmla="*/ 59576 h 422691"/>
                  <a:gd name="connsiteX30" fmla="*/ 20104 w 226043"/>
                  <a:gd name="connsiteY30" fmla="*/ 68350 h 422691"/>
                  <a:gd name="connsiteX31" fmla="*/ 22488 w 226043"/>
                  <a:gd name="connsiteY31" fmla="*/ 71454 h 422691"/>
                  <a:gd name="connsiteX32" fmla="*/ 21905 w 226043"/>
                  <a:gd name="connsiteY32" fmla="*/ 82028 h 422691"/>
                  <a:gd name="connsiteX33" fmla="*/ 19026 w 226043"/>
                  <a:gd name="connsiteY33" fmla="*/ 88058 h 422691"/>
                  <a:gd name="connsiteX34" fmla="*/ 14129 w 226043"/>
                  <a:gd name="connsiteY34" fmla="*/ 93637 h 422691"/>
                  <a:gd name="connsiteX35" fmla="*/ -26 w 226043"/>
                  <a:gd name="connsiteY35" fmla="*/ 102187 h 422691"/>
                  <a:gd name="connsiteX36" fmla="*/ 19558 w 226043"/>
                  <a:gd name="connsiteY36" fmla="*/ 103896 h 422691"/>
                  <a:gd name="connsiteX37" fmla="*/ 29541 w 226043"/>
                  <a:gd name="connsiteY37" fmla="*/ 99802 h 422691"/>
                  <a:gd name="connsiteX38" fmla="*/ 30492 w 226043"/>
                  <a:gd name="connsiteY38" fmla="*/ 104031 h 422691"/>
                  <a:gd name="connsiteX39" fmla="*/ 26255 w 226043"/>
                  <a:gd name="connsiteY39" fmla="*/ 111270 h 422691"/>
                  <a:gd name="connsiteX40" fmla="*/ 33181 w 226043"/>
                  <a:gd name="connsiteY40" fmla="*/ 110594 h 422691"/>
                  <a:gd name="connsiteX41" fmla="*/ 19748 w 226043"/>
                  <a:gd name="connsiteY41" fmla="*/ 121168 h 422691"/>
                  <a:gd name="connsiteX42" fmla="*/ 19558 w 226043"/>
                  <a:gd name="connsiteY42" fmla="*/ 121483 h 422691"/>
                  <a:gd name="connsiteX43" fmla="*/ 19698 w 226043"/>
                  <a:gd name="connsiteY43" fmla="*/ 130167 h 422691"/>
                  <a:gd name="connsiteX44" fmla="*/ 18480 w 226043"/>
                  <a:gd name="connsiteY44" fmla="*/ 137997 h 422691"/>
                  <a:gd name="connsiteX45" fmla="*/ 17808 w 226043"/>
                  <a:gd name="connsiteY45" fmla="*/ 150731 h 422691"/>
                  <a:gd name="connsiteX46" fmla="*/ 20053 w 226043"/>
                  <a:gd name="connsiteY46" fmla="*/ 170619 h 422691"/>
                  <a:gd name="connsiteX47" fmla="*/ 32877 w 226043"/>
                  <a:gd name="connsiteY47" fmla="*/ 128455 h 422691"/>
                  <a:gd name="connsiteX48" fmla="*/ 28780 w 226043"/>
                  <a:gd name="connsiteY48" fmla="*/ 147984 h 422691"/>
                  <a:gd name="connsiteX49" fmla="*/ 32775 w 226043"/>
                  <a:gd name="connsiteY49" fmla="*/ 143978 h 422691"/>
                  <a:gd name="connsiteX50" fmla="*/ 37278 w 226043"/>
                  <a:gd name="connsiteY50" fmla="*/ 130931 h 422691"/>
                  <a:gd name="connsiteX51" fmla="*/ 39967 w 226043"/>
                  <a:gd name="connsiteY51" fmla="*/ 132235 h 422691"/>
                  <a:gd name="connsiteX52" fmla="*/ 39561 w 226043"/>
                  <a:gd name="connsiteY52" fmla="*/ 135384 h 422691"/>
                  <a:gd name="connsiteX53" fmla="*/ 43874 w 226043"/>
                  <a:gd name="connsiteY53" fmla="*/ 162426 h 422691"/>
                  <a:gd name="connsiteX54" fmla="*/ 38749 w 226043"/>
                  <a:gd name="connsiteY54" fmla="*/ 204724 h 422691"/>
                  <a:gd name="connsiteX55" fmla="*/ 53222 w 226043"/>
                  <a:gd name="connsiteY55" fmla="*/ 202204 h 422691"/>
                  <a:gd name="connsiteX56" fmla="*/ 68367 w 226043"/>
                  <a:gd name="connsiteY56" fmla="*/ 196219 h 422691"/>
                  <a:gd name="connsiteX57" fmla="*/ 74747 w 226043"/>
                  <a:gd name="connsiteY57" fmla="*/ 195500 h 422691"/>
                  <a:gd name="connsiteX58" fmla="*/ 77220 w 226043"/>
                  <a:gd name="connsiteY58" fmla="*/ 190144 h 422691"/>
                  <a:gd name="connsiteX59" fmla="*/ 79250 w 226043"/>
                  <a:gd name="connsiteY59" fmla="*/ 199458 h 422691"/>
                  <a:gd name="connsiteX60" fmla="*/ 85402 w 226043"/>
                  <a:gd name="connsiteY60" fmla="*/ 225826 h 422691"/>
                  <a:gd name="connsiteX61" fmla="*/ 87609 w 226043"/>
                  <a:gd name="connsiteY61" fmla="*/ 235231 h 422691"/>
                  <a:gd name="connsiteX62" fmla="*/ 93989 w 226043"/>
                  <a:gd name="connsiteY62" fmla="*/ 230460 h 422691"/>
                  <a:gd name="connsiteX63" fmla="*/ 90120 w 226043"/>
                  <a:gd name="connsiteY63" fmla="*/ 242790 h 422691"/>
                  <a:gd name="connsiteX64" fmla="*/ 90082 w 226043"/>
                  <a:gd name="connsiteY64" fmla="*/ 265333 h 422691"/>
                  <a:gd name="connsiteX65" fmla="*/ 89220 w 226043"/>
                  <a:gd name="connsiteY65" fmla="*/ 274827 h 422691"/>
                  <a:gd name="connsiteX66" fmla="*/ 41946 w 226043"/>
                  <a:gd name="connsiteY66" fmla="*/ 294893 h 422691"/>
                  <a:gd name="connsiteX67" fmla="*/ 39612 w 226043"/>
                  <a:gd name="connsiteY67" fmla="*/ 330220 h 422691"/>
                  <a:gd name="connsiteX68" fmla="*/ 26395 w 226043"/>
                  <a:gd name="connsiteY68" fmla="*/ 337726 h 422691"/>
                  <a:gd name="connsiteX69" fmla="*/ 29807 w 226043"/>
                  <a:gd name="connsiteY69" fmla="*/ 346679 h 422691"/>
                  <a:gd name="connsiteX70" fmla="*/ 36377 w 226043"/>
                  <a:gd name="connsiteY70" fmla="*/ 345740 h 422691"/>
                  <a:gd name="connsiteX71" fmla="*/ 43163 w 226043"/>
                  <a:gd name="connsiteY71" fmla="*/ 348483 h 422691"/>
                  <a:gd name="connsiteX72" fmla="*/ 61365 w 226043"/>
                  <a:gd name="connsiteY72" fmla="*/ 347314 h 422691"/>
                  <a:gd name="connsiteX73" fmla="*/ 67834 w 226043"/>
                  <a:gd name="connsiteY73" fmla="*/ 349791 h 422691"/>
                  <a:gd name="connsiteX74" fmla="*/ 103604 w 226043"/>
                  <a:gd name="connsiteY74" fmla="*/ 349918 h 422691"/>
                  <a:gd name="connsiteX75" fmla="*/ 48503 w 226043"/>
                  <a:gd name="connsiteY75" fmla="*/ 379166 h 422691"/>
                  <a:gd name="connsiteX76" fmla="*/ 19837 w 226043"/>
                  <a:gd name="connsiteY76" fmla="*/ 418853 h 422691"/>
                  <a:gd name="connsiteX77" fmla="*/ 33181 w 226043"/>
                  <a:gd name="connsiteY77" fmla="*/ 415475 h 422691"/>
                  <a:gd name="connsiteX78" fmla="*/ 56685 w 226043"/>
                  <a:gd name="connsiteY78" fmla="*/ 407017 h 422691"/>
                  <a:gd name="connsiteX79" fmla="*/ 55607 w 226043"/>
                  <a:gd name="connsiteY79" fmla="*/ 405582 h 422691"/>
                  <a:gd name="connsiteX80" fmla="*/ 75559 w 226043"/>
                  <a:gd name="connsiteY80" fmla="*/ 406712 h 422691"/>
                  <a:gd name="connsiteX81" fmla="*/ 119066 w 226043"/>
                  <a:gd name="connsiteY81" fmla="*/ 390825 h 422691"/>
                  <a:gd name="connsiteX82" fmla="*/ 133589 w 226043"/>
                  <a:gd name="connsiteY82" fmla="*/ 388666 h 422691"/>
                  <a:gd name="connsiteX83" fmla="*/ 139880 w 226043"/>
                  <a:gd name="connsiteY83" fmla="*/ 384983 h 422691"/>
                  <a:gd name="connsiteX84" fmla="*/ 154391 w 226043"/>
                  <a:gd name="connsiteY84" fmla="*/ 390063 h 422691"/>
                  <a:gd name="connsiteX85" fmla="*/ 215871 w 226043"/>
                  <a:gd name="connsiteY85" fmla="*/ 363202 h 422691"/>
                  <a:gd name="connsiteX86" fmla="*/ 197302 w 226043"/>
                  <a:gd name="connsiteY86" fmla="*/ 357754 h 422691"/>
                  <a:gd name="connsiteX87" fmla="*/ 189755 w 226043"/>
                  <a:gd name="connsiteY87" fmla="*/ 355061 h 422691"/>
                  <a:gd name="connsiteX88" fmla="*/ 198380 w 226043"/>
                  <a:gd name="connsiteY88" fmla="*/ 346552 h 422691"/>
                  <a:gd name="connsiteX89" fmla="*/ 201982 w 226043"/>
                  <a:gd name="connsiteY89" fmla="*/ 342450 h 422691"/>
                  <a:gd name="connsiteX90" fmla="*/ 213170 w 226043"/>
                  <a:gd name="connsiteY90" fmla="*/ 334894 h 422691"/>
                  <a:gd name="connsiteX91" fmla="*/ 208717 w 226043"/>
                  <a:gd name="connsiteY91" fmla="*/ 334754 h 422691"/>
                  <a:gd name="connsiteX92" fmla="*/ 209618 w 226043"/>
                  <a:gd name="connsiteY92" fmla="*/ 331478 h 422691"/>
                  <a:gd name="connsiteX93" fmla="*/ 187548 w 226043"/>
                  <a:gd name="connsiteY93" fmla="*/ 295750 h 422691"/>
                  <a:gd name="connsiteX94" fmla="*/ 38445 w 226043"/>
                  <a:gd name="connsiteY94" fmla="*/ 343352 h 422691"/>
                  <a:gd name="connsiteX95" fmla="*/ 37633 w 226043"/>
                  <a:gd name="connsiteY95" fmla="*/ 344343 h 422691"/>
                  <a:gd name="connsiteX96" fmla="*/ 37633 w 226043"/>
                  <a:gd name="connsiteY96" fmla="*/ 344025 h 422691"/>
                  <a:gd name="connsiteX97" fmla="*/ 38445 w 226043"/>
                  <a:gd name="connsiteY97" fmla="*/ 343352 h 4226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</a:cxnLst>
                <a:rect l="l" t="t" r="r" b="b"/>
                <a:pathLst>
                  <a:path w="226043" h="422691">
                    <a:moveTo>
                      <a:pt x="187548" y="295750"/>
                    </a:moveTo>
                    <a:cubicBezTo>
                      <a:pt x="166568" y="292067"/>
                      <a:pt x="197264" y="280046"/>
                      <a:pt x="181802" y="265197"/>
                    </a:cubicBezTo>
                    <a:cubicBezTo>
                      <a:pt x="178922" y="253319"/>
                      <a:pt x="143115" y="251429"/>
                      <a:pt x="168407" y="250846"/>
                    </a:cubicBezTo>
                    <a:cubicBezTo>
                      <a:pt x="193979" y="274245"/>
                      <a:pt x="162471" y="202161"/>
                      <a:pt x="143280" y="208235"/>
                    </a:cubicBezTo>
                    <a:cubicBezTo>
                      <a:pt x="130798" y="159640"/>
                      <a:pt x="126930" y="144747"/>
                      <a:pt x="84007" y="136607"/>
                    </a:cubicBezTo>
                    <a:cubicBezTo>
                      <a:pt x="100420" y="132782"/>
                      <a:pt x="109311" y="111461"/>
                      <a:pt x="82522" y="120859"/>
                    </a:cubicBezTo>
                    <a:cubicBezTo>
                      <a:pt x="140591" y="90443"/>
                      <a:pt x="139424" y="27268"/>
                      <a:pt x="60998" y="57371"/>
                    </a:cubicBezTo>
                    <a:cubicBezTo>
                      <a:pt x="59209" y="59755"/>
                      <a:pt x="58397" y="60880"/>
                      <a:pt x="58131" y="61150"/>
                    </a:cubicBezTo>
                    <a:cubicBezTo>
                      <a:pt x="58537" y="60206"/>
                      <a:pt x="66984" y="47066"/>
                      <a:pt x="54034" y="55255"/>
                    </a:cubicBezTo>
                    <a:cubicBezTo>
                      <a:pt x="45637" y="62725"/>
                      <a:pt x="62621" y="44502"/>
                      <a:pt x="62710" y="51476"/>
                    </a:cubicBezTo>
                    <a:cubicBezTo>
                      <a:pt x="68862" y="45806"/>
                      <a:pt x="73403" y="43826"/>
                      <a:pt x="63839" y="43782"/>
                    </a:cubicBezTo>
                    <a:cubicBezTo>
                      <a:pt x="62532" y="47066"/>
                      <a:pt x="59158" y="41982"/>
                      <a:pt x="59564" y="44456"/>
                    </a:cubicBezTo>
                    <a:cubicBezTo>
                      <a:pt x="56152" y="43152"/>
                      <a:pt x="54174" y="42432"/>
                      <a:pt x="53222" y="42071"/>
                    </a:cubicBezTo>
                    <a:cubicBezTo>
                      <a:pt x="55518" y="42566"/>
                      <a:pt x="62570" y="44103"/>
                      <a:pt x="63687" y="40272"/>
                    </a:cubicBezTo>
                    <a:cubicBezTo>
                      <a:pt x="63154" y="34018"/>
                      <a:pt x="113129" y="1"/>
                      <a:pt x="80062" y="1"/>
                    </a:cubicBezTo>
                    <a:cubicBezTo>
                      <a:pt x="86442" y="4954"/>
                      <a:pt x="51028" y="3195"/>
                      <a:pt x="43253" y="8730"/>
                    </a:cubicBezTo>
                    <a:cubicBezTo>
                      <a:pt x="44825" y="4455"/>
                      <a:pt x="41946" y="676"/>
                      <a:pt x="40145" y="7111"/>
                    </a:cubicBezTo>
                    <a:cubicBezTo>
                      <a:pt x="40601" y="-2519"/>
                      <a:pt x="34488" y="3376"/>
                      <a:pt x="32065" y="7650"/>
                    </a:cubicBezTo>
                    <a:cubicBezTo>
                      <a:pt x="31025" y="8774"/>
                      <a:pt x="34259" y="11115"/>
                      <a:pt x="34893" y="11655"/>
                    </a:cubicBezTo>
                    <a:cubicBezTo>
                      <a:pt x="34716" y="11564"/>
                      <a:pt x="34310" y="11340"/>
                      <a:pt x="33587" y="10935"/>
                    </a:cubicBezTo>
                    <a:cubicBezTo>
                      <a:pt x="32103" y="11430"/>
                      <a:pt x="32458" y="12239"/>
                      <a:pt x="32242" y="12644"/>
                    </a:cubicBezTo>
                    <a:cubicBezTo>
                      <a:pt x="33004" y="13725"/>
                      <a:pt x="25951" y="18359"/>
                      <a:pt x="35883" y="21599"/>
                    </a:cubicBezTo>
                    <a:cubicBezTo>
                      <a:pt x="37582" y="23354"/>
                      <a:pt x="27651" y="20879"/>
                      <a:pt x="23884" y="21328"/>
                    </a:cubicBezTo>
                    <a:cubicBezTo>
                      <a:pt x="34805" y="40362"/>
                      <a:pt x="14396" y="23354"/>
                      <a:pt x="26712" y="36402"/>
                    </a:cubicBezTo>
                    <a:cubicBezTo>
                      <a:pt x="30670" y="37212"/>
                      <a:pt x="28285" y="40452"/>
                      <a:pt x="32242" y="42251"/>
                    </a:cubicBezTo>
                    <a:cubicBezTo>
                      <a:pt x="34805" y="46392"/>
                      <a:pt x="25862" y="37662"/>
                      <a:pt x="24239" y="39012"/>
                    </a:cubicBezTo>
                    <a:cubicBezTo>
                      <a:pt x="24911" y="41531"/>
                      <a:pt x="32597" y="45896"/>
                      <a:pt x="22844" y="40272"/>
                    </a:cubicBezTo>
                    <a:cubicBezTo>
                      <a:pt x="22717" y="43916"/>
                      <a:pt x="18975" y="43828"/>
                      <a:pt x="19381" y="39912"/>
                    </a:cubicBezTo>
                    <a:cubicBezTo>
                      <a:pt x="14624" y="36897"/>
                      <a:pt x="19660" y="56380"/>
                      <a:pt x="15880" y="42791"/>
                    </a:cubicBezTo>
                    <a:cubicBezTo>
                      <a:pt x="10083" y="41352"/>
                      <a:pt x="11834" y="57686"/>
                      <a:pt x="18620" y="59576"/>
                    </a:cubicBezTo>
                    <a:cubicBezTo>
                      <a:pt x="3652" y="58226"/>
                      <a:pt x="11199" y="71049"/>
                      <a:pt x="20104" y="68350"/>
                    </a:cubicBezTo>
                    <a:cubicBezTo>
                      <a:pt x="13089" y="71544"/>
                      <a:pt x="14218" y="75863"/>
                      <a:pt x="22488" y="71454"/>
                    </a:cubicBezTo>
                    <a:cubicBezTo>
                      <a:pt x="22083" y="72759"/>
                      <a:pt x="9043" y="80318"/>
                      <a:pt x="21905" y="82028"/>
                    </a:cubicBezTo>
                    <a:cubicBezTo>
                      <a:pt x="12823" y="81444"/>
                      <a:pt x="9094" y="85943"/>
                      <a:pt x="19026" y="88058"/>
                    </a:cubicBezTo>
                    <a:cubicBezTo>
                      <a:pt x="13140" y="87296"/>
                      <a:pt x="4109" y="92692"/>
                      <a:pt x="14129" y="93637"/>
                    </a:cubicBezTo>
                    <a:cubicBezTo>
                      <a:pt x="12151" y="98361"/>
                      <a:pt x="13584" y="97955"/>
                      <a:pt x="-26" y="102187"/>
                    </a:cubicBezTo>
                    <a:cubicBezTo>
                      <a:pt x="2663" y="107721"/>
                      <a:pt x="13812" y="102187"/>
                      <a:pt x="19558" y="103896"/>
                    </a:cubicBezTo>
                    <a:cubicBezTo>
                      <a:pt x="-6863" y="105696"/>
                      <a:pt x="18036" y="122480"/>
                      <a:pt x="29541" y="99802"/>
                    </a:cubicBezTo>
                    <a:cubicBezTo>
                      <a:pt x="33270" y="95348"/>
                      <a:pt x="26573" y="103627"/>
                      <a:pt x="30492" y="104031"/>
                    </a:cubicBezTo>
                    <a:cubicBezTo>
                      <a:pt x="25317" y="106686"/>
                      <a:pt x="20865" y="112626"/>
                      <a:pt x="26255" y="111270"/>
                    </a:cubicBezTo>
                    <a:cubicBezTo>
                      <a:pt x="16781" y="115139"/>
                      <a:pt x="28513" y="119639"/>
                      <a:pt x="33181" y="110594"/>
                    </a:cubicBezTo>
                    <a:cubicBezTo>
                      <a:pt x="31380" y="119774"/>
                      <a:pt x="21499" y="113159"/>
                      <a:pt x="19748" y="121168"/>
                    </a:cubicBezTo>
                    <a:cubicBezTo>
                      <a:pt x="23110" y="120223"/>
                      <a:pt x="22222" y="122383"/>
                      <a:pt x="19558" y="121483"/>
                    </a:cubicBezTo>
                    <a:cubicBezTo>
                      <a:pt x="18708" y="126073"/>
                      <a:pt x="17364" y="135207"/>
                      <a:pt x="19698" y="130167"/>
                    </a:cubicBezTo>
                    <a:cubicBezTo>
                      <a:pt x="21943" y="132597"/>
                      <a:pt x="9322" y="147536"/>
                      <a:pt x="18480" y="137997"/>
                    </a:cubicBezTo>
                    <a:cubicBezTo>
                      <a:pt x="16692" y="144071"/>
                      <a:pt x="13762" y="143891"/>
                      <a:pt x="17808" y="150731"/>
                    </a:cubicBezTo>
                    <a:cubicBezTo>
                      <a:pt x="26344" y="139572"/>
                      <a:pt x="1280" y="188577"/>
                      <a:pt x="20053" y="170619"/>
                    </a:cubicBezTo>
                    <a:cubicBezTo>
                      <a:pt x="23567" y="154781"/>
                      <a:pt x="19254" y="141686"/>
                      <a:pt x="32877" y="128455"/>
                    </a:cubicBezTo>
                    <a:cubicBezTo>
                      <a:pt x="44825" y="120221"/>
                      <a:pt x="15119" y="142719"/>
                      <a:pt x="28780" y="147984"/>
                    </a:cubicBezTo>
                    <a:cubicBezTo>
                      <a:pt x="29097" y="142584"/>
                      <a:pt x="27613" y="141549"/>
                      <a:pt x="32775" y="143978"/>
                    </a:cubicBezTo>
                    <a:cubicBezTo>
                      <a:pt x="29224" y="136465"/>
                      <a:pt x="41185" y="155182"/>
                      <a:pt x="37278" y="130931"/>
                    </a:cubicBezTo>
                    <a:cubicBezTo>
                      <a:pt x="39523" y="133090"/>
                      <a:pt x="38940" y="134170"/>
                      <a:pt x="39967" y="132235"/>
                    </a:cubicBezTo>
                    <a:cubicBezTo>
                      <a:pt x="38305" y="137635"/>
                      <a:pt x="41134" y="144474"/>
                      <a:pt x="39561" y="135384"/>
                    </a:cubicBezTo>
                    <a:cubicBezTo>
                      <a:pt x="53996" y="151808"/>
                      <a:pt x="25951" y="129625"/>
                      <a:pt x="43874" y="162426"/>
                    </a:cubicBezTo>
                    <a:cubicBezTo>
                      <a:pt x="41996" y="182365"/>
                      <a:pt x="19076" y="196579"/>
                      <a:pt x="38749" y="204724"/>
                    </a:cubicBezTo>
                    <a:cubicBezTo>
                      <a:pt x="29401" y="181821"/>
                      <a:pt x="53844" y="212688"/>
                      <a:pt x="53222" y="202204"/>
                    </a:cubicBezTo>
                    <a:cubicBezTo>
                      <a:pt x="47920" y="185059"/>
                      <a:pt x="64688" y="209673"/>
                      <a:pt x="68367" y="196219"/>
                    </a:cubicBezTo>
                    <a:cubicBezTo>
                      <a:pt x="68545" y="197119"/>
                      <a:pt x="72870" y="194554"/>
                      <a:pt x="74747" y="195500"/>
                    </a:cubicBezTo>
                    <a:cubicBezTo>
                      <a:pt x="77398" y="192979"/>
                      <a:pt x="72908" y="189695"/>
                      <a:pt x="77220" y="190144"/>
                    </a:cubicBezTo>
                    <a:cubicBezTo>
                      <a:pt x="102754" y="193430"/>
                      <a:pt x="82345" y="187625"/>
                      <a:pt x="79250" y="199458"/>
                    </a:cubicBezTo>
                    <a:cubicBezTo>
                      <a:pt x="71018" y="206209"/>
                      <a:pt x="79833" y="234420"/>
                      <a:pt x="85402" y="225826"/>
                    </a:cubicBezTo>
                    <a:cubicBezTo>
                      <a:pt x="87114" y="228392"/>
                      <a:pt x="82611" y="232486"/>
                      <a:pt x="87609" y="235231"/>
                    </a:cubicBezTo>
                    <a:cubicBezTo>
                      <a:pt x="92188" y="224386"/>
                      <a:pt x="88814" y="230236"/>
                      <a:pt x="93989" y="230460"/>
                    </a:cubicBezTo>
                    <a:cubicBezTo>
                      <a:pt x="99697" y="221327"/>
                      <a:pt x="96501" y="242160"/>
                      <a:pt x="90120" y="242790"/>
                    </a:cubicBezTo>
                    <a:cubicBezTo>
                      <a:pt x="86125" y="256288"/>
                      <a:pt x="104631" y="285041"/>
                      <a:pt x="90082" y="265333"/>
                    </a:cubicBezTo>
                    <a:cubicBezTo>
                      <a:pt x="82434" y="267988"/>
                      <a:pt x="90120" y="269697"/>
                      <a:pt x="89220" y="274827"/>
                    </a:cubicBezTo>
                    <a:cubicBezTo>
                      <a:pt x="69356" y="261283"/>
                      <a:pt x="56596" y="279018"/>
                      <a:pt x="41946" y="294893"/>
                    </a:cubicBezTo>
                    <a:cubicBezTo>
                      <a:pt x="72236" y="279907"/>
                      <a:pt x="67834" y="321800"/>
                      <a:pt x="39612" y="330220"/>
                    </a:cubicBezTo>
                    <a:cubicBezTo>
                      <a:pt x="37227" y="332913"/>
                      <a:pt x="29312" y="332239"/>
                      <a:pt x="26395" y="337726"/>
                    </a:cubicBezTo>
                    <a:cubicBezTo>
                      <a:pt x="37316" y="339478"/>
                      <a:pt x="28146" y="342222"/>
                      <a:pt x="29807" y="346679"/>
                    </a:cubicBezTo>
                    <a:cubicBezTo>
                      <a:pt x="30124" y="344800"/>
                      <a:pt x="34221" y="346095"/>
                      <a:pt x="36377" y="345740"/>
                    </a:cubicBezTo>
                    <a:cubicBezTo>
                      <a:pt x="32369" y="349880"/>
                      <a:pt x="30619" y="350235"/>
                      <a:pt x="43163" y="348483"/>
                    </a:cubicBezTo>
                    <a:cubicBezTo>
                      <a:pt x="50622" y="337726"/>
                      <a:pt x="49721" y="348165"/>
                      <a:pt x="61365" y="347314"/>
                    </a:cubicBezTo>
                    <a:cubicBezTo>
                      <a:pt x="48960" y="354464"/>
                      <a:pt x="59881" y="353563"/>
                      <a:pt x="67834" y="349791"/>
                    </a:cubicBezTo>
                    <a:cubicBezTo>
                      <a:pt x="79643" y="380474"/>
                      <a:pt x="117404" y="328823"/>
                      <a:pt x="103604" y="349918"/>
                    </a:cubicBezTo>
                    <a:cubicBezTo>
                      <a:pt x="86924" y="380474"/>
                      <a:pt x="67149" y="357487"/>
                      <a:pt x="48503" y="379166"/>
                    </a:cubicBezTo>
                    <a:cubicBezTo>
                      <a:pt x="52956" y="395054"/>
                      <a:pt x="2080" y="421876"/>
                      <a:pt x="19837" y="418853"/>
                    </a:cubicBezTo>
                    <a:cubicBezTo>
                      <a:pt x="24099" y="411157"/>
                      <a:pt x="33410" y="433484"/>
                      <a:pt x="33181" y="415475"/>
                    </a:cubicBezTo>
                    <a:cubicBezTo>
                      <a:pt x="38483" y="413050"/>
                      <a:pt x="46842" y="404464"/>
                      <a:pt x="56685" y="407017"/>
                    </a:cubicBezTo>
                    <a:cubicBezTo>
                      <a:pt x="57852" y="410395"/>
                      <a:pt x="58892" y="404185"/>
                      <a:pt x="55607" y="405582"/>
                    </a:cubicBezTo>
                    <a:cubicBezTo>
                      <a:pt x="57180" y="396895"/>
                      <a:pt x="68646" y="423171"/>
                      <a:pt x="75559" y="406712"/>
                    </a:cubicBezTo>
                    <a:cubicBezTo>
                      <a:pt x="73809" y="375343"/>
                      <a:pt x="123873" y="405950"/>
                      <a:pt x="119066" y="390825"/>
                    </a:cubicBezTo>
                    <a:cubicBezTo>
                      <a:pt x="115299" y="389301"/>
                      <a:pt x="131331" y="392311"/>
                      <a:pt x="133589" y="388666"/>
                    </a:cubicBezTo>
                    <a:cubicBezTo>
                      <a:pt x="145005" y="389199"/>
                      <a:pt x="130888" y="377236"/>
                      <a:pt x="139880" y="384983"/>
                    </a:cubicBezTo>
                    <a:cubicBezTo>
                      <a:pt x="149901" y="390837"/>
                      <a:pt x="146438" y="379534"/>
                      <a:pt x="154391" y="390063"/>
                    </a:cubicBezTo>
                    <a:cubicBezTo>
                      <a:pt x="171198" y="382189"/>
                      <a:pt x="213131" y="392171"/>
                      <a:pt x="215871" y="363202"/>
                    </a:cubicBezTo>
                    <a:cubicBezTo>
                      <a:pt x="222886" y="357259"/>
                      <a:pt x="182753" y="364637"/>
                      <a:pt x="197302" y="357754"/>
                    </a:cubicBezTo>
                    <a:cubicBezTo>
                      <a:pt x="195374" y="352001"/>
                      <a:pt x="185036" y="361043"/>
                      <a:pt x="189755" y="355061"/>
                    </a:cubicBezTo>
                    <a:cubicBezTo>
                      <a:pt x="201805" y="357259"/>
                      <a:pt x="210252" y="340837"/>
                      <a:pt x="198380" y="346552"/>
                    </a:cubicBezTo>
                    <a:cubicBezTo>
                      <a:pt x="193750" y="342768"/>
                      <a:pt x="202654" y="346502"/>
                      <a:pt x="201982" y="342450"/>
                    </a:cubicBezTo>
                    <a:cubicBezTo>
                      <a:pt x="208185" y="340520"/>
                      <a:pt x="212675" y="344254"/>
                      <a:pt x="213170" y="334894"/>
                    </a:cubicBezTo>
                    <a:cubicBezTo>
                      <a:pt x="210696" y="334805"/>
                      <a:pt x="209352" y="334754"/>
                      <a:pt x="208717" y="334754"/>
                    </a:cubicBezTo>
                    <a:cubicBezTo>
                      <a:pt x="210430" y="334716"/>
                      <a:pt x="215732" y="334310"/>
                      <a:pt x="209618" y="331478"/>
                    </a:cubicBezTo>
                    <a:cubicBezTo>
                      <a:pt x="247455" y="334487"/>
                      <a:pt x="211140" y="257099"/>
                      <a:pt x="187548" y="295750"/>
                    </a:cubicBezTo>
                    <a:close/>
                    <a:moveTo>
                      <a:pt x="38445" y="343352"/>
                    </a:moveTo>
                    <a:cubicBezTo>
                      <a:pt x="38179" y="343720"/>
                      <a:pt x="37899" y="344025"/>
                      <a:pt x="37633" y="344343"/>
                    </a:cubicBezTo>
                    <a:cubicBezTo>
                      <a:pt x="37633" y="344216"/>
                      <a:pt x="37684" y="344165"/>
                      <a:pt x="37633" y="344025"/>
                    </a:cubicBezTo>
                    <a:cubicBezTo>
                      <a:pt x="36783" y="342184"/>
                      <a:pt x="41223" y="340926"/>
                      <a:pt x="38445" y="343352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44" name="Vrije vorm 643">
                <a:extLst>
                  <a:ext uri="{FF2B5EF4-FFF2-40B4-BE49-F238E27FC236}">
                    <a16:creationId xmlns:a16="http://schemas.microsoft.com/office/drawing/2014/main" id="{A774303F-78AA-9C4E-850A-B7DA1D3EF64D}"/>
                  </a:ext>
                </a:extLst>
              </p:cNvPr>
              <p:cNvSpPr/>
              <p:nvPr/>
            </p:nvSpPr>
            <p:spPr>
              <a:xfrm>
                <a:off x="5260475" y="2515060"/>
                <a:ext cx="75871" cy="61440"/>
              </a:xfrm>
              <a:custGeom>
                <a:avLst/>
                <a:gdLst>
                  <a:gd name="connsiteX0" fmla="*/ 75037 w 75871"/>
                  <a:gd name="connsiteY0" fmla="*/ 43378 h 61440"/>
                  <a:gd name="connsiteX1" fmla="*/ 68391 w 75871"/>
                  <a:gd name="connsiteY1" fmla="*/ 43739 h 61440"/>
                  <a:gd name="connsiteX2" fmla="*/ 56924 w 75871"/>
                  <a:gd name="connsiteY2" fmla="*/ 58632 h 61440"/>
                  <a:gd name="connsiteX3" fmla="*/ 55402 w 75871"/>
                  <a:gd name="connsiteY3" fmla="*/ 56788 h 61440"/>
                  <a:gd name="connsiteX4" fmla="*/ 54552 w 75871"/>
                  <a:gd name="connsiteY4" fmla="*/ 56337 h 61440"/>
                  <a:gd name="connsiteX5" fmla="*/ 52929 w 75871"/>
                  <a:gd name="connsiteY5" fmla="*/ 56293 h 61440"/>
                  <a:gd name="connsiteX6" fmla="*/ 51445 w 75871"/>
                  <a:gd name="connsiteY6" fmla="*/ 56742 h 61440"/>
                  <a:gd name="connsiteX7" fmla="*/ 44126 w 75871"/>
                  <a:gd name="connsiteY7" fmla="*/ 60162 h 61440"/>
                  <a:gd name="connsiteX8" fmla="*/ 41018 w 75871"/>
                  <a:gd name="connsiteY8" fmla="*/ 58765 h 61440"/>
                  <a:gd name="connsiteX9" fmla="*/ 39407 w 75871"/>
                  <a:gd name="connsiteY9" fmla="*/ 51792 h 61440"/>
                  <a:gd name="connsiteX10" fmla="*/ 35678 w 75871"/>
                  <a:gd name="connsiteY10" fmla="*/ 50711 h 61440"/>
                  <a:gd name="connsiteX11" fmla="*/ 32533 w 75871"/>
                  <a:gd name="connsiteY11" fmla="*/ 41397 h 61440"/>
                  <a:gd name="connsiteX12" fmla="*/ 23451 w 75871"/>
                  <a:gd name="connsiteY12" fmla="*/ 44143 h 61440"/>
                  <a:gd name="connsiteX13" fmla="*/ 20077 w 75871"/>
                  <a:gd name="connsiteY13" fmla="*/ 52827 h 61440"/>
                  <a:gd name="connsiteX14" fmla="*/ 8851 w 75871"/>
                  <a:gd name="connsiteY14" fmla="*/ 51882 h 61440"/>
                  <a:gd name="connsiteX15" fmla="*/ 2877 w 75871"/>
                  <a:gd name="connsiteY15" fmla="*/ 44546 h 61440"/>
                  <a:gd name="connsiteX16" fmla="*/ 2560 w 75871"/>
                  <a:gd name="connsiteY16" fmla="*/ 34917 h 61440"/>
                  <a:gd name="connsiteX17" fmla="*/ 7811 w 75871"/>
                  <a:gd name="connsiteY17" fmla="*/ 31948 h 61440"/>
                  <a:gd name="connsiteX18" fmla="*/ 9524 w 75871"/>
                  <a:gd name="connsiteY18" fmla="*/ 23354 h 61440"/>
                  <a:gd name="connsiteX19" fmla="*/ 17527 w 75871"/>
                  <a:gd name="connsiteY19" fmla="*/ 20834 h 61440"/>
                  <a:gd name="connsiteX20" fmla="*/ 21789 w 75871"/>
                  <a:gd name="connsiteY20" fmla="*/ 10620 h 61440"/>
                  <a:gd name="connsiteX21" fmla="*/ 30414 w 75871"/>
                  <a:gd name="connsiteY21" fmla="*/ 1 h 61440"/>
                  <a:gd name="connsiteX22" fmla="*/ 33294 w 75871"/>
                  <a:gd name="connsiteY22" fmla="*/ 2296 h 61440"/>
                  <a:gd name="connsiteX23" fmla="*/ 58370 w 75871"/>
                  <a:gd name="connsiteY23" fmla="*/ 8280 h 61440"/>
                  <a:gd name="connsiteX24" fmla="*/ 62188 w 75871"/>
                  <a:gd name="connsiteY24" fmla="*/ 30014 h 61440"/>
                  <a:gd name="connsiteX25" fmla="*/ 75037 w 75871"/>
                  <a:gd name="connsiteY25" fmla="*/ 43378 h 61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75871" h="61440">
                    <a:moveTo>
                      <a:pt x="75037" y="43378"/>
                    </a:moveTo>
                    <a:cubicBezTo>
                      <a:pt x="68340" y="38425"/>
                      <a:pt x="72615" y="24750"/>
                      <a:pt x="68391" y="43739"/>
                    </a:cubicBezTo>
                    <a:cubicBezTo>
                      <a:pt x="81151" y="39104"/>
                      <a:pt x="61465" y="57643"/>
                      <a:pt x="56924" y="58632"/>
                    </a:cubicBezTo>
                    <a:cubicBezTo>
                      <a:pt x="57330" y="58092"/>
                      <a:pt x="56430" y="57328"/>
                      <a:pt x="55402" y="56788"/>
                    </a:cubicBezTo>
                    <a:cubicBezTo>
                      <a:pt x="55136" y="56611"/>
                      <a:pt x="54844" y="56460"/>
                      <a:pt x="54552" y="56337"/>
                    </a:cubicBezTo>
                    <a:cubicBezTo>
                      <a:pt x="53652" y="55932"/>
                      <a:pt x="52891" y="55797"/>
                      <a:pt x="52929" y="56293"/>
                    </a:cubicBezTo>
                    <a:cubicBezTo>
                      <a:pt x="52421" y="56378"/>
                      <a:pt x="51927" y="56529"/>
                      <a:pt x="51445" y="56742"/>
                    </a:cubicBezTo>
                    <a:cubicBezTo>
                      <a:pt x="46917" y="58767"/>
                      <a:pt x="47271" y="61557"/>
                      <a:pt x="44126" y="60162"/>
                    </a:cubicBezTo>
                    <a:cubicBezTo>
                      <a:pt x="41018" y="58765"/>
                      <a:pt x="41018" y="64662"/>
                      <a:pt x="41018" y="58765"/>
                    </a:cubicBezTo>
                    <a:cubicBezTo>
                      <a:pt x="41018" y="52827"/>
                      <a:pt x="43187" y="52827"/>
                      <a:pt x="39407" y="51792"/>
                    </a:cubicBezTo>
                    <a:cubicBezTo>
                      <a:pt x="35678" y="50711"/>
                      <a:pt x="37251" y="56606"/>
                      <a:pt x="35678" y="50711"/>
                    </a:cubicBezTo>
                    <a:cubicBezTo>
                      <a:pt x="34055" y="44817"/>
                      <a:pt x="38469" y="41172"/>
                      <a:pt x="32533" y="41397"/>
                    </a:cubicBezTo>
                    <a:cubicBezTo>
                      <a:pt x="26558" y="41577"/>
                      <a:pt x="23539" y="39192"/>
                      <a:pt x="23451" y="44143"/>
                    </a:cubicBezTo>
                    <a:cubicBezTo>
                      <a:pt x="23362" y="49093"/>
                      <a:pt x="26457" y="52287"/>
                      <a:pt x="20077" y="52827"/>
                    </a:cubicBezTo>
                    <a:cubicBezTo>
                      <a:pt x="13696" y="53367"/>
                      <a:pt x="13658" y="54131"/>
                      <a:pt x="8851" y="51882"/>
                    </a:cubicBezTo>
                    <a:cubicBezTo>
                      <a:pt x="4044" y="49633"/>
                      <a:pt x="4310" y="50711"/>
                      <a:pt x="2877" y="44546"/>
                    </a:cubicBezTo>
                    <a:cubicBezTo>
                      <a:pt x="1380" y="38383"/>
                      <a:pt x="-2654" y="37932"/>
                      <a:pt x="2560" y="34917"/>
                    </a:cubicBezTo>
                    <a:cubicBezTo>
                      <a:pt x="7811" y="31948"/>
                      <a:pt x="7278" y="38383"/>
                      <a:pt x="7811" y="31948"/>
                    </a:cubicBezTo>
                    <a:cubicBezTo>
                      <a:pt x="8356" y="25513"/>
                      <a:pt x="4260" y="23939"/>
                      <a:pt x="9524" y="23354"/>
                    </a:cubicBezTo>
                    <a:cubicBezTo>
                      <a:pt x="14775" y="22814"/>
                      <a:pt x="15460" y="27494"/>
                      <a:pt x="17527" y="20834"/>
                    </a:cubicBezTo>
                    <a:cubicBezTo>
                      <a:pt x="19582" y="14220"/>
                      <a:pt x="15180" y="13275"/>
                      <a:pt x="21789" y="10620"/>
                    </a:cubicBezTo>
                    <a:cubicBezTo>
                      <a:pt x="26051" y="8473"/>
                      <a:pt x="29184" y="4610"/>
                      <a:pt x="30414" y="1"/>
                    </a:cubicBezTo>
                    <a:cubicBezTo>
                      <a:pt x="30947" y="6751"/>
                      <a:pt x="22639" y="15345"/>
                      <a:pt x="33294" y="2296"/>
                    </a:cubicBezTo>
                    <a:cubicBezTo>
                      <a:pt x="40524" y="5265"/>
                      <a:pt x="61110" y="-7289"/>
                      <a:pt x="58370" y="8280"/>
                    </a:cubicBezTo>
                    <a:cubicBezTo>
                      <a:pt x="65473" y="20969"/>
                      <a:pt x="74454" y="19125"/>
                      <a:pt x="62188" y="30014"/>
                    </a:cubicBezTo>
                    <a:cubicBezTo>
                      <a:pt x="70002" y="25470"/>
                      <a:pt x="78538" y="30870"/>
                      <a:pt x="75037" y="43378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18" name="Vrije vorm 217">
              <a:extLst>
                <a:ext uri="{FF2B5EF4-FFF2-40B4-BE49-F238E27FC236}">
                  <a16:creationId xmlns:a16="http://schemas.microsoft.com/office/drawing/2014/main" id="{26D40A54-A5FD-2D47-8F44-BB18F254D694}"/>
                </a:ext>
              </a:extLst>
            </p:cNvPr>
            <p:cNvSpPr/>
            <p:nvPr/>
          </p:nvSpPr>
          <p:spPr>
            <a:xfrm>
              <a:off x="5194556" y="2509216"/>
              <a:ext cx="123296" cy="185767"/>
            </a:xfrm>
            <a:custGeom>
              <a:avLst/>
              <a:gdLst>
                <a:gd name="connsiteX0" fmla="*/ 114701 w 123296"/>
                <a:gd name="connsiteY0" fmla="*/ 152221 h 185767"/>
                <a:gd name="connsiteX1" fmla="*/ 102664 w 123296"/>
                <a:gd name="connsiteY1" fmla="*/ 152487 h 185767"/>
                <a:gd name="connsiteX2" fmla="*/ 97755 w 123296"/>
                <a:gd name="connsiteY2" fmla="*/ 147408 h 185767"/>
                <a:gd name="connsiteX3" fmla="*/ 93442 w 123296"/>
                <a:gd name="connsiteY3" fmla="*/ 153529 h 185767"/>
                <a:gd name="connsiteX4" fmla="*/ 57127 w 123296"/>
                <a:gd name="connsiteY4" fmla="*/ 166076 h 185767"/>
                <a:gd name="connsiteX5" fmla="*/ 33446 w 123296"/>
                <a:gd name="connsiteY5" fmla="*/ 184212 h 185767"/>
                <a:gd name="connsiteX6" fmla="*/ 19075 w 123296"/>
                <a:gd name="connsiteY6" fmla="*/ 185749 h 185767"/>
                <a:gd name="connsiteX7" fmla="*/ 24148 w 123296"/>
                <a:gd name="connsiteY7" fmla="*/ 178459 h 185767"/>
                <a:gd name="connsiteX8" fmla="*/ 24098 w 123296"/>
                <a:gd name="connsiteY8" fmla="*/ 176567 h 185767"/>
                <a:gd name="connsiteX9" fmla="*/ 10881 w 123296"/>
                <a:gd name="connsiteY9" fmla="*/ 177646 h 185767"/>
                <a:gd name="connsiteX10" fmla="*/ 8902 w 123296"/>
                <a:gd name="connsiteY10" fmla="*/ 172020 h 185767"/>
                <a:gd name="connsiteX11" fmla="*/ 1761 w 123296"/>
                <a:gd name="connsiteY11" fmla="*/ 166394 h 185767"/>
                <a:gd name="connsiteX12" fmla="*/ 5046 w 123296"/>
                <a:gd name="connsiteY12" fmla="*/ 161263 h 185767"/>
                <a:gd name="connsiteX13" fmla="*/ 4463 w 123296"/>
                <a:gd name="connsiteY13" fmla="*/ 148576 h 185767"/>
                <a:gd name="connsiteX14" fmla="*/ 12187 w 123296"/>
                <a:gd name="connsiteY14" fmla="*/ 146595 h 185767"/>
                <a:gd name="connsiteX15" fmla="*/ 17984 w 123296"/>
                <a:gd name="connsiteY15" fmla="*/ 149567 h 185767"/>
                <a:gd name="connsiteX16" fmla="*/ 15967 w 123296"/>
                <a:gd name="connsiteY16" fmla="*/ 147090 h 185767"/>
                <a:gd name="connsiteX17" fmla="*/ 48008 w 123296"/>
                <a:gd name="connsiteY17" fmla="*/ 129545 h 185767"/>
                <a:gd name="connsiteX18" fmla="*/ 25810 w 123296"/>
                <a:gd name="connsiteY18" fmla="*/ 130129 h 185767"/>
                <a:gd name="connsiteX19" fmla="*/ 27155 w 123296"/>
                <a:gd name="connsiteY19" fmla="*/ 124145 h 185767"/>
                <a:gd name="connsiteX20" fmla="*/ 39648 w 123296"/>
                <a:gd name="connsiteY20" fmla="*/ 106012 h 185767"/>
                <a:gd name="connsiteX21" fmla="*/ 41983 w 123296"/>
                <a:gd name="connsiteY21" fmla="*/ 102817 h 185767"/>
                <a:gd name="connsiteX22" fmla="*/ 24859 w 123296"/>
                <a:gd name="connsiteY22" fmla="*/ 101872 h 185767"/>
                <a:gd name="connsiteX23" fmla="*/ 23603 w 123296"/>
                <a:gd name="connsiteY23" fmla="*/ 103087 h 185767"/>
                <a:gd name="connsiteX24" fmla="*/ 22931 w 123296"/>
                <a:gd name="connsiteY24" fmla="*/ 98632 h 185767"/>
                <a:gd name="connsiteX25" fmla="*/ 18073 w 123296"/>
                <a:gd name="connsiteY25" fmla="*/ 99982 h 185767"/>
                <a:gd name="connsiteX26" fmla="*/ 18656 w 123296"/>
                <a:gd name="connsiteY26" fmla="*/ 95348 h 185767"/>
                <a:gd name="connsiteX27" fmla="*/ 7469 w 123296"/>
                <a:gd name="connsiteY27" fmla="*/ 87923 h 185767"/>
                <a:gd name="connsiteX28" fmla="*/ 24859 w 123296"/>
                <a:gd name="connsiteY28" fmla="*/ 76404 h 185767"/>
                <a:gd name="connsiteX29" fmla="*/ 14978 w 123296"/>
                <a:gd name="connsiteY29" fmla="*/ 68800 h 185767"/>
                <a:gd name="connsiteX30" fmla="*/ 17312 w 123296"/>
                <a:gd name="connsiteY30" fmla="*/ 61196 h 185767"/>
                <a:gd name="connsiteX31" fmla="*/ 11870 w 123296"/>
                <a:gd name="connsiteY31" fmla="*/ 56561 h 185767"/>
                <a:gd name="connsiteX32" fmla="*/ 12821 w 123296"/>
                <a:gd name="connsiteY32" fmla="*/ 52061 h 185767"/>
                <a:gd name="connsiteX33" fmla="*/ 13938 w 123296"/>
                <a:gd name="connsiteY33" fmla="*/ 55527 h 185767"/>
                <a:gd name="connsiteX34" fmla="*/ 16322 w 123296"/>
                <a:gd name="connsiteY34" fmla="*/ 55571 h 185767"/>
                <a:gd name="connsiteX35" fmla="*/ 19430 w 123296"/>
                <a:gd name="connsiteY35" fmla="*/ 52871 h 185767"/>
                <a:gd name="connsiteX36" fmla="*/ 34790 w 123296"/>
                <a:gd name="connsiteY36" fmla="*/ 52871 h 185767"/>
                <a:gd name="connsiteX37" fmla="*/ 54793 w 123296"/>
                <a:gd name="connsiteY37" fmla="*/ 56561 h 185767"/>
                <a:gd name="connsiteX38" fmla="*/ 55960 w 123296"/>
                <a:gd name="connsiteY38" fmla="*/ 53232 h 185767"/>
                <a:gd name="connsiteX39" fmla="*/ 54793 w 123296"/>
                <a:gd name="connsiteY39" fmla="*/ 51252 h 185767"/>
                <a:gd name="connsiteX40" fmla="*/ 61618 w 123296"/>
                <a:gd name="connsiteY40" fmla="*/ 41172 h 185767"/>
                <a:gd name="connsiteX41" fmla="*/ 48185 w 123296"/>
                <a:gd name="connsiteY41" fmla="*/ 31318 h 185767"/>
                <a:gd name="connsiteX42" fmla="*/ 56049 w 123296"/>
                <a:gd name="connsiteY42" fmla="*/ 28483 h 185767"/>
                <a:gd name="connsiteX43" fmla="*/ 55377 w 123296"/>
                <a:gd name="connsiteY43" fmla="*/ 25109 h 185767"/>
                <a:gd name="connsiteX44" fmla="*/ 58472 w 123296"/>
                <a:gd name="connsiteY44" fmla="*/ 24884 h 185767"/>
                <a:gd name="connsiteX45" fmla="*/ 58700 w 123296"/>
                <a:gd name="connsiteY45" fmla="*/ 22365 h 185767"/>
                <a:gd name="connsiteX46" fmla="*/ 60628 w 123296"/>
                <a:gd name="connsiteY46" fmla="*/ 14940 h 185767"/>
                <a:gd name="connsiteX47" fmla="*/ 72272 w 123296"/>
                <a:gd name="connsiteY47" fmla="*/ 10846 h 185767"/>
                <a:gd name="connsiteX48" fmla="*/ 75240 w 123296"/>
                <a:gd name="connsiteY48" fmla="*/ 5491 h 185767"/>
                <a:gd name="connsiteX49" fmla="*/ 75824 w 123296"/>
                <a:gd name="connsiteY49" fmla="*/ 8461 h 185767"/>
                <a:gd name="connsiteX50" fmla="*/ 78741 w 123296"/>
                <a:gd name="connsiteY50" fmla="*/ 11205 h 185767"/>
                <a:gd name="connsiteX51" fmla="*/ 79413 w 123296"/>
                <a:gd name="connsiteY51" fmla="*/ 4276 h 185767"/>
                <a:gd name="connsiteX52" fmla="*/ 82648 w 123296"/>
                <a:gd name="connsiteY52" fmla="*/ 16290 h 185767"/>
                <a:gd name="connsiteX53" fmla="*/ 82787 w 123296"/>
                <a:gd name="connsiteY53" fmla="*/ 3421 h 185767"/>
                <a:gd name="connsiteX54" fmla="*/ 87633 w 123296"/>
                <a:gd name="connsiteY54" fmla="*/ 1 h 185767"/>
                <a:gd name="connsiteX55" fmla="*/ 96309 w 123296"/>
                <a:gd name="connsiteY55" fmla="*/ 5851 h 185767"/>
                <a:gd name="connsiteX56" fmla="*/ 87684 w 123296"/>
                <a:gd name="connsiteY56" fmla="*/ 16469 h 185767"/>
                <a:gd name="connsiteX57" fmla="*/ 83422 w 123296"/>
                <a:gd name="connsiteY57" fmla="*/ 26684 h 185767"/>
                <a:gd name="connsiteX58" fmla="*/ 75418 w 123296"/>
                <a:gd name="connsiteY58" fmla="*/ 29204 h 185767"/>
                <a:gd name="connsiteX59" fmla="*/ 73718 w 123296"/>
                <a:gd name="connsiteY59" fmla="*/ 37798 h 185767"/>
                <a:gd name="connsiteX60" fmla="*/ 68454 w 123296"/>
                <a:gd name="connsiteY60" fmla="*/ 40767 h 185767"/>
                <a:gd name="connsiteX61" fmla="*/ 68772 w 123296"/>
                <a:gd name="connsiteY61" fmla="*/ 50396 h 185767"/>
                <a:gd name="connsiteX62" fmla="*/ 74746 w 123296"/>
                <a:gd name="connsiteY62" fmla="*/ 57732 h 185767"/>
                <a:gd name="connsiteX63" fmla="*/ 85984 w 123296"/>
                <a:gd name="connsiteY63" fmla="*/ 58676 h 185767"/>
                <a:gd name="connsiteX64" fmla="*/ 89345 w 123296"/>
                <a:gd name="connsiteY64" fmla="*/ 49992 h 185767"/>
                <a:gd name="connsiteX65" fmla="*/ 98427 w 123296"/>
                <a:gd name="connsiteY65" fmla="*/ 47246 h 185767"/>
                <a:gd name="connsiteX66" fmla="*/ 101573 w 123296"/>
                <a:gd name="connsiteY66" fmla="*/ 56561 h 185767"/>
                <a:gd name="connsiteX67" fmla="*/ 105302 w 123296"/>
                <a:gd name="connsiteY67" fmla="*/ 57641 h 185767"/>
                <a:gd name="connsiteX68" fmla="*/ 106925 w 123296"/>
                <a:gd name="connsiteY68" fmla="*/ 64615 h 185767"/>
                <a:gd name="connsiteX69" fmla="*/ 110020 w 123296"/>
                <a:gd name="connsiteY69" fmla="*/ 66012 h 185767"/>
                <a:gd name="connsiteX70" fmla="*/ 117352 w 123296"/>
                <a:gd name="connsiteY70" fmla="*/ 62592 h 185767"/>
                <a:gd name="connsiteX71" fmla="*/ 118836 w 123296"/>
                <a:gd name="connsiteY71" fmla="*/ 62142 h 185767"/>
                <a:gd name="connsiteX72" fmla="*/ 121398 w 123296"/>
                <a:gd name="connsiteY72" fmla="*/ 64842 h 185767"/>
                <a:gd name="connsiteX73" fmla="*/ 116185 w 123296"/>
                <a:gd name="connsiteY73" fmla="*/ 66417 h 185767"/>
                <a:gd name="connsiteX74" fmla="*/ 123060 w 123296"/>
                <a:gd name="connsiteY74" fmla="*/ 90759 h 185767"/>
                <a:gd name="connsiteX75" fmla="*/ 115640 w 123296"/>
                <a:gd name="connsiteY75" fmla="*/ 144845 h 185767"/>
                <a:gd name="connsiteX76" fmla="*/ 114701 w 123296"/>
                <a:gd name="connsiteY76" fmla="*/ 152221 h 185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123296" h="185767">
                  <a:moveTo>
                    <a:pt x="114701" y="152221"/>
                  </a:moveTo>
                  <a:cubicBezTo>
                    <a:pt x="115069" y="152526"/>
                    <a:pt x="98668" y="148487"/>
                    <a:pt x="102664" y="152487"/>
                  </a:cubicBezTo>
                  <a:cubicBezTo>
                    <a:pt x="97260" y="157212"/>
                    <a:pt x="101978" y="151179"/>
                    <a:pt x="97755" y="147408"/>
                  </a:cubicBezTo>
                  <a:cubicBezTo>
                    <a:pt x="100368" y="155688"/>
                    <a:pt x="95649" y="153973"/>
                    <a:pt x="93442" y="153529"/>
                  </a:cubicBezTo>
                  <a:cubicBezTo>
                    <a:pt x="72323" y="157440"/>
                    <a:pt x="76775" y="173328"/>
                    <a:pt x="57127" y="166076"/>
                  </a:cubicBezTo>
                  <a:cubicBezTo>
                    <a:pt x="70978" y="175081"/>
                    <a:pt x="42211" y="179031"/>
                    <a:pt x="33446" y="184212"/>
                  </a:cubicBezTo>
                  <a:cubicBezTo>
                    <a:pt x="29133" y="183399"/>
                    <a:pt x="27155" y="179450"/>
                    <a:pt x="19075" y="185749"/>
                  </a:cubicBezTo>
                  <a:cubicBezTo>
                    <a:pt x="12238" y="186193"/>
                    <a:pt x="26977" y="179170"/>
                    <a:pt x="24148" y="178459"/>
                  </a:cubicBezTo>
                  <a:cubicBezTo>
                    <a:pt x="15650" y="182866"/>
                    <a:pt x="17261" y="180745"/>
                    <a:pt x="24098" y="176567"/>
                  </a:cubicBezTo>
                  <a:cubicBezTo>
                    <a:pt x="40004" y="166572"/>
                    <a:pt x="1444" y="183628"/>
                    <a:pt x="10881" y="177646"/>
                  </a:cubicBezTo>
                  <a:cubicBezTo>
                    <a:pt x="17984" y="166445"/>
                    <a:pt x="30034" y="165137"/>
                    <a:pt x="8902" y="172020"/>
                  </a:cubicBezTo>
                  <a:cubicBezTo>
                    <a:pt x="4678" y="164108"/>
                    <a:pt x="3207" y="172744"/>
                    <a:pt x="1761" y="166394"/>
                  </a:cubicBezTo>
                  <a:cubicBezTo>
                    <a:pt x="7380" y="163740"/>
                    <a:pt x="3968" y="166165"/>
                    <a:pt x="5046" y="161263"/>
                  </a:cubicBezTo>
                  <a:cubicBezTo>
                    <a:pt x="36630" y="146595"/>
                    <a:pt x="-14906" y="164235"/>
                    <a:pt x="4463" y="148576"/>
                  </a:cubicBezTo>
                  <a:cubicBezTo>
                    <a:pt x="9131" y="146645"/>
                    <a:pt x="9803" y="152538"/>
                    <a:pt x="12187" y="146595"/>
                  </a:cubicBezTo>
                  <a:cubicBezTo>
                    <a:pt x="11071" y="151370"/>
                    <a:pt x="17578" y="148944"/>
                    <a:pt x="17984" y="149567"/>
                  </a:cubicBezTo>
                  <a:cubicBezTo>
                    <a:pt x="23248" y="148665"/>
                    <a:pt x="15473" y="149122"/>
                    <a:pt x="15967" y="147090"/>
                  </a:cubicBezTo>
                  <a:cubicBezTo>
                    <a:pt x="15155" y="134809"/>
                    <a:pt x="32685" y="133730"/>
                    <a:pt x="48008" y="129545"/>
                  </a:cubicBezTo>
                  <a:cubicBezTo>
                    <a:pt x="36541" y="121671"/>
                    <a:pt x="36947" y="139534"/>
                    <a:pt x="25810" y="130129"/>
                  </a:cubicBezTo>
                  <a:cubicBezTo>
                    <a:pt x="9042" y="140254"/>
                    <a:pt x="19608" y="131299"/>
                    <a:pt x="27155" y="124145"/>
                  </a:cubicBezTo>
                  <a:cubicBezTo>
                    <a:pt x="29945" y="106507"/>
                    <a:pt x="34879" y="110241"/>
                    <a:pt x="39648" y="106012"/>
                  </a:cubicBezTo>
                  <a:cubicBezTo>
                    <a:pt x="47513" y="108441"/>
                    <a:pt x="37987" y="102907"/>
                    <a:pt x="41983" y="102817"/>
                  </a:cubicBezTo>
                  <a:cubicBezTo>
                    <a:pt x="43340" y="98182"/>
                    <a:pt x="27966" y="106056"/>
                    <a:pt x="24859" y="101872"/>
                  </a:cubicBezTo>
                  <a:cubicBezTo>
                    <a:pt x="25671" y="98453"/>
                    <a:pt x="24453" y="102682"/>
                    <a:pt x="23603" y="103087"/>
                  </a:cubicBezTo>
                  <a:cubicBezTo>
                    <a:pt x="23058" y="99262"/>
                    <a:pt x="26077" y="92378"/>
                    <a:pt x="22931" y="98632"/>
                  </a:cubicBezTo>
                  <a:cubicBezTo>
                    <a:pt x="22297" y="91658"/>
                    <a:pt x="21586" y="100117"/>
                    <a:pt x="18073" y="99982"/>
                  </a:cubicBezTo>
                  <a:cubicBezTo>
                    <a:pt x="13989" y="98002"/>
                    <a:pt x="15790" y="98048"/>
                    <a:pt x="18656" y="95348"/>
                  </a:cubicBezTo>
                  <a:cubicBezTo>
                    <a:pt x="-307" y="95123"/>
                    <a:pt x="15473" y="95258"/>
                    <a:pt x="7469" y="87923"/>
                  </a:cubicBezTo>
                  <a:cubicBezTo>
                    <a:pt x="26216" y="86573"/>
                    <a:pt x="4678" y="78880"/>
                    <a:pt x="24859" y="76404"/>
                  </a:cubicBezTo>
                  <a:cubicBezTo>
                    <a:pt x="26254" y="64480"/>
                    <a:pt x="12999" y="79104"/>
                    <a:pt x="14978" y="68800"/>
                  </a:cubicBezTo>
                  <a:cubicBezTo>
                    <a:pt x="24947" y="72039"/>
                    <a:pt x="11109" y="67000"/>
                    <a:pt x="17312" y="61196"/>
                  </a:cubicBezTo>
                  <a:cubicBezTo>
                    <a:pt x="8509" y="67945"/>
                    <a:pt x="18479" y="55527"/>
                    <a:pt x="11870" y="56561"/>
                  </a:cubicBezTo>
                  <a:cubicBezTo>
                    <a:pt x="9714" y="66641"/>
                    <a:pt x="6835" y="56606"/>
                    <a:pt x="12821" y="52061"/>
                  </a:cubicBezTo>
                  <a:cubicBezTo>
                    <a:pt x="13177" y="54093"/>
                    <a:pt x="18707" y="53906"/>
                    <a:pt x="13938" y="55527"/>
                  </a:cubicBezTo>
                  <a:cubicBezTo>
                    <a:pt x="11566" y="54221"/>
                    <a:pt x="15194" y="58226"/>
                    <a:pt x="16322" y="55571"/>
                  </a:cubicBezTo>
                  <a:cubicBezTo>
                    <a:pt x="16145" y="52151"/>
                    <a:pt x="18796" y="54266"/>
                    <a:pt x="19430" y="52871"/>
                  </a:cubicBezTo>
                  <a:cubicBezTo>
                    <a:pt x="11464" y="48281"/>
                    <a:pt x="33991" y="52556"/>
                    <a:pt x="34790" y="52871"/>
                  </a:cubicBezTo>
                  <a:cubicBezTo>
                    <a:pt x="38659" y="66956"/>
                    <a:pt x="33002" y="44592"/>
                    <a:pt x="54793" y="56561"/>
                  </a:cubicBezTo>
                  <a:cubicBezTo>
                    <a:pt x="51559" y="54266"/>
                    <a:pt x="50975" y="52197"/>
                    <a:pt x="55960" y="53232"/>
                  </a:cubicBezTo>
                  <a:cubicBezTo>
                    <a:pt x="54971" y="51746"/>
                    <a:pt x="50709" y="51027"/>
                    <a:pt x="54793" y="51252"/>
                  </a:cubicBezTo>
                  <a:cubicBezTo>
                    <a:pt x="42160" y="47832"/>
                    <a:pt x="66247" y="43918"/>
                    <a:pt x="61618" y="41172"/>
                  </a:cubicBezTo>
                  <a:cubicBezTo>
                    <a:pt x="75189" y="27179"/>
                    <a:pt x="46295" y="44682"/>
                    <a:pt x="48185" y="31318"/>
                  </a:cubicBezTo>
                  <a:cubicBezTo>
                    <a:pt x="50646" y="29982"/>
                    <a:pt x="53297" y="29026"/>
                    <a:pt x="56049" y="28483"/>
                  </a:cubicBezTo>
                  <a:cubicBezTo>
                    <a:pt x="55872" y="28483"/>
                    <a:pt x="54743" y="28124"/>
                    <a:pt x="55377" y="25109"/>
                  </a:cubicBezTo>
                  <a:cubicBezTo>
                    <a:pt x="56772" y="25744"/>
                    <a:pt x="62163" y="26864"/>
                    <a:pt x="58472" y="24884"/>
                  </a:cubicBezTo>
                  <a:cubicBezTo>
                    <a:pt x="58294" y="22859"/>
                    <a:pt x="62302" y="23894"/>
                    <a:pt x="58700" y="22365"/>
                  </a:cubicBezTo>
                  <a:cubicBezTo>
                    <a:pt x="54565" y="24389"/>
                    <a:pt x="57888" y="14535"/>
                    <a:pt x="60628" y="14940"/>
                  </a:cubicBezTo>
                  <a:cubicBezTo>
                    <a:pt x="57888" y="7785"/>
                    <a:pt x="76458" y="7470"/>
                    <a:pt x="72272" y="10846"/>
                  </a:cubicBezTo>
                  <a:cubicBezTo>
                    <a:pt x="75773" y="11070"/>
                    <a:pt x="71511" y="5265"/>
                    <a:pt x="75240" y="5491"/>
                  </a:cubicBezTo>
                  <a:cubicBezTo>
                    <a:pt x="74923" y="6525"/>
                    <a:pt x="73807" y="9765"/>
                    <a:pt x="75824" y="8461"/>
                  </a:cubicBezTo>
                  <a:cubicBezTo>
                    <a:pt x="77714" y="10216"/>
                    <a:pt x="78525" y="11025"/>
                    <a:pt x="78741" y="11205"/>
                  </a:cubicBezTo>
                  <a:cubicBezTo>
                    <a:pt x="78386" y="10531"/>
                    <a:pt x="73122" y="4320"/>
                    <a:pt x="79413" y="4276"/>
                  </a:cubicBezTo>
                  <a:cubicBezTo>
                    <a:pt x="86022" y="9181"/>
                    <a:pt x="74340" y="26098"/>
                    <a:pt x="82648" y="16290"/>
                  </a:cubicBezTo>
                  <a:cubicBezTo>
                    <a:pt x="88128" y="13770"/>
                    <a:pt x="80847" y="7921"/>
                    <a:pt x="82787" y="3421"/>
                  </a:cubicBezTo>
                  <a:cubicBezTo>
                    <a:pt x="87823" y="1711"/>
                    <a:pt x="91819" y="6796"/>
                    <a:pt x="87633" y="1"/>
                  </a:cubicBezTo>
                  <a:cubicBezTo>
                    <a:pt x="94064" y="136"/>
                    <a:pt x="96093" y="2836"/>
                    <a:pt x="96309" y="5851"/>
                  </a:cubicBezTo>
                  <a:cubicBezTo>
                    <a:pt x="95079" y="10460"/>
                    <a:pt x="91945" y="14323"/>
                    <a:pt x="87684" y="16469"/>
                  </a:cubicBezTo>
                  <a:cubicBezTo>
                    <a:pt x="81075" y="19125"/>
                    <a:pt x="85489" y="20070"/>
                    <a:pt x="83422" y="26684"/>
                  </a:cubicBezTo>
                  <a:cubicBezTo>
                    <a:pt x="81354" y="33344"/>
                    <a:pt x="80682" y="28664"/>
                    <a:pt x="75418" y="29204"/>
                  </a:cubicBezTo>
                  <a:cubicBezTo>
                    <a:pt x="70167" y="29789"/>
                    <a:pt x="74251" y="31362"/>
                    <a:pt x="73718" y="37798"/>
                  </a:cubicBezTo>
                  <a:cubicBezTo>
                    <a:pt x="73173" y="44233"/>
                    <a:pt x="73718" y="37798"/>
                    <a:pt x="68454" y="40767"/>
                  </a:cubicBezTo>
                  <a:cubicBezTo>
                    <a:pt x="63241" y="43782"/>
                    <a:pt x="67287" y="44233"/>
                    <a:pt x="68772" y="50396"/>
                  </a:cubicBezTo>
                  <a:cubicBezTo>
                    <a:pt x="70205" y="56561"/>
                    <a:pt x="69938" y="55476"/>
                    <a:pt x="74746" y="57732"/>
                  </a:cubicBezTo>
                  <a:cubicBezTo>
                    <a:pt x="79553" y="59987"/>
                    <a:pt x="79604" y="59216"/>
                    <a:pt x="85984" y="58676"/>
                  </a:cubicBezTo>
                  <a:cubicBezTo>
                    <a:pt x="92364" y="58137"/>
                    <a:pt x="89256" y="54941"/>
                    <a:pt x="89345" y="49992"/>
                  </a:cubicBezTo>
                  <a:cubicBezTo>
                    <a:pt x="89434" y="45043"/>
                    <a:pt x="92453" y="47427"/>
                    <a:pt x="98427" y="47246"/>
                  </a:cubicBezTo>
                  <a:cubicBezTo>
                    <a:pt x="104363" y="47022"/>
                    <a:pt x="99949" y="50667"/>
                    <a:pt x="101573" y="56561"/>
                  </a:cubicBezTo>
                  <a:cubicBezTo>
                    <a:pt x="103146" y="62456"/>
                    <a:pt x="101573" y="56561"/>
                    <a:pt x="105302" y="57641"/>
                  </a:cubicBezTo>
                  <a:cubicBezTo>
                    <a:pt x="109082" y="58676"/>
                    <a:pt x="106925" y="58676"/>
                    <a:pt x="106925" y="64615"/>
                  </a:cubicBezTo>
                  <a:cubicBezTo>
                    <a:pt x="106925" y="70510"/>
                    <a:pt x="106925" y="64615"/>
                    <a:pt x="110020" y="66012"/>
                  </a:cubicBezTo>
                  <a:cubicBezTo>
                    <a:pt x="113166" y="67409"/>
                    <a:pt x="112811" y="64615"/>
                    <a:pt x="117352" y="62592"/>
                  </a:cubicBezTo>
                  <a:cubicBezTo>
                    <a:pt x="117821" y="62378"/>
                    <a:pt x="118316" y="62227"/>
                    <a:pt x="118836" y="62142"/>
                  </a:cubicBezTo>
                  <a:cubicBezTo>
                    <a:pt x="118874" y="62502"/>
                    <a:pt x="119546" y="63356"/>
                    <a:pt x="121398" y="64842"/>
                  </a:cubicBezTo>
                  <a:cubicBezTo>
                    <a:pt x="127106" y="70241"/>
                    <a:pt x="115322" y="64752"/>
                    <a:pt x="116185" y="66417"/>
                  </a:cubicBezTo>
                  <a:cubicBezTo>
                    <a:pt x="114701" y="75190"/>
                    <a:pt x="123237" y="82705"/>
                    <a:pt x="123060" y="90759"/>
                  </a:cubicBezTo>
                  <a:cubicBezTo>
                    <a:pt x="121703" y="100974"/>
                    <a:pt x="127372" y="125541"/>
                    <a:pt x="115640" y="144845"/>
                  </a:cubicBezTo>
                  <a:cubicBezTo>
                    <a:pt x="105632" y="141103"/>
                    <a:pt x="121982" y="149871"/>
                    <a:pt x="114701" y="152221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9" name="Vrije vorm 218">
              <a:extLst>
                <a:ext uri="{FF2B5EF4-FFF2-40B4-BE49-F238E27FC236}">
                  <a16:creationId xmlns:a16="http://schemas.microsoft.com/office/drawing/2014/main" id="{AAB8C1BC-A351-6447-9107-223A04E6BF88}"/>
                </a:ext>
              </a:extLst>
            </p:cNvPr>
            <p:cNvSpPr/>
            <p:nvPr/>
          </p:nvSpPr>
          <p:spPr>
            <a:xfrm>
              <a:off x="6138384" y="3198558"/>
              <a:ext cx="49747" cy="37279"/>
            </a:xfrm>
            <a:custGeom>
              <a:avLst/>
              <a:gdLst>
                <a:gd name="connsiteX0" fmla="*/ 49721 w 49747"/>
                <a:gd name="connsiteY0" fmla="*/ 30277 h 37279"/>
                <a:gd name="connsiteX1" fmla="*/ 36466 w 49747"/>
                <a:gd name="connsiteY1" fmla="*/ 24880 h 37279"/>
                <a:gd name="connsiteX2" fmla="*/ -26 w 49747"/>
                <a:gd name="connsiteY2" fmla="*/ 6338 h 37279"/>
                <a:gd name="connsiteX3" fmla="*/ 49721 w 49747"/>
                <a:gd name="connsiteY3" fmla="*/ 30277 h 37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747" h="37279">
                  <a:moveTo>
                    <a:pt x="49721" y="30277"/>
                  </a:moveTo>
                  <a:cubicBezTo>
                    <a:pt x="49810" y="48731"/>
                    <a:pt x="34361" y="24880"/>
                    <a:pt x="36466" y="24880"/>
                  </a:cubicBezTo>
                  <a:cubicBezTo>
                    <a:pt x="24328" y="24118"/>
                    <a:pt x="14485" y="851"/>
                    <a:pt x="-26" y="6338"/>
                  </a:cubicBezTo>
                  <a:cubicBezTo>
                    <a:pt x="20687" y="-16522"/>
                    <a:pt x="35439" y="29782"/>
                    <a:pt x="49721" y="30277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20" name="Graphic 5">
              <a:extLst>
                <a:ext uri="{FF2B5EF4-FFF2-40B4-BE49-F238E27FC236}">
                  <a16:creationId xmlns:a16="http://schemas.microsoft.com/office/drawing/2014/main" id="{DBD029BC-9E85-4941-B4FA-76D973780F25}"/>
                </a:ext>
              </a:extLst>
            </p:cNvPr>
            <p:cNvGrpSpPr/>
            <p:nvPr/>
          </p:nvGrpSpPr>
          <p:grpSpPr>
            <a:xfrm>
              <a:off x="10214579" y="4744757"/>
              <a:ext cx="78890" cy="197059"/>
              <a:chOff x="10214579" y="4744757"/>
              <a:chExt cx="78890" cy="197059"/>
            </a:xfrm>
            <a:solidFill>
              <a:schemeClr val="bg2"/>
            </a:solidFill>
          </p:grpSpPr>
          <p:sp>
            <p:nvSpPr>
              <p:cNvPr id="637" name="Vrije vorm 636">
                <a:extLst>
                  <a:ext uri="{FF2B5EF4-FFF2-40B4-BE49-F238E27FC236}">
                    <a16:creationId xmlns:a16="http://schemas.microsoft.com/office/drawing/2014/main" id="{3B6D9198-CC29-C54A-9F8E-F74F8FE3CAF7}"/>
                  </a:ext>
                </a:extLst>
              </p:cNvPr>
              <p:cNvSpPr/>
              <p:nvPr/>
            </p:nvSpPr>
            <p:spPr>
              <a:xfrm>
                <a:off x="10278223" y="4744757"/>
                <a:ext cx="742" cy="698"/>
              </a:xfrm>
              <a:custGeom>
                <a:avLst/>
                <a:gdLst>
                  <a:gd name="connsiteX0" fmla="*/ 342 w 742"/>
                  <a:gd name="connsiteY0" fmla="*/ 1 h 698"/>
                  <a:gd name="connsiteX1" fmla="*/ 62 w 742"/>
                  <a:gd name="connsiteY1" fmla="*/ 700 h 698"/>
                  <a:gd name="connsiteX2" fmla="*/ 342 w 742"/>
                  <a:gd name="connsiteY2" fmla="*/ 1 h 6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42" h="698">
                    <a:moveTo>
                      <a:pt x="342" y="1"/>
                    </a:moveTo>
                    <a:cubicBezTo>
                      <a:pt x="202" y="230"/>
                      <a:pt x="-204" y="420"/>
                      <a:pt x="62" y="700"/>
                    </a:cubicBezTo>
                    <a:cubicBezTo>
                      <a:pt x="570" y="687"/>
                      <a:pt x="1090" y="39"/>
                      <a:pt x="342" y="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38" name="Vrije vorm 637">
                <a:extLst>
                  <a:ext uri="{FF2B5EF4-FFF2-40B4-BE49-F238E27FC236}">
                    <a16:creationId xmlns:a16="http://schemas.microsoft.com/office/drawing/2014/main" id="{8548B1EE-2782-ED42-9CBA-0C90412E679C}"/>
                  </a:ext>
                </a:extLst>
              </p:cNvPr>
              <p:cNvSpPr/>
              <p:nvPr/>
            </p:nvSpPr>
            <p:spPr>
              <a:xfrm>
                <a:off x="10214579" y="4813527"/>
                <a:ext cx="18821" cy="28896"/>
              </a:xfrm>
              <a:custGeom>
                <a:avLst/>
                <a:gdLst>
                  <a:gd name="connsiteX0" fmla="*/ 895 w 18821"/>
                  <a:gd name="connsiteY0" fmla="*/ 1 h 28896"/>
                  <a:gd name="connsiteX1" fmla="*/ 16585 w 18821"/>
                  <a:gd name="connsiteY1" fmla="*/ 26290 h 28896"/>
                  <a:gd name="connsiteX2" fmla="*/ 14936 w 18821"/>
                  <a:gd name="connsiteY2" fmla="*/ 8535 h 28896"/>
                  <a:gd name="connsiteX3" fmla="*/ 895 w 18821"/>
                  <a:gd name="connsiteY3" fmla="*/ 1 h 288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821" h="28896">
                    <a:moveTo>
                      <a:pt x="895" y="1"/>
                    </a:moveTo>
                    <a:cubicBezTo>
                      <a:pt x="-2213" y="10656"/>
                      <a:pt x="2429" y="37276"/>
                      <a:pt x="16585" y="26290"/>
                    </a:cubicBezTo>
                    <a:cubicBezTo>
                      <a:pt x="23549" y="23725"/>
                      <a:pt x="11524" y="13463"/>
                      <a:pt x="14936" y="8535"/>
                    </a:cubicBezTo>
                    <a:cubicBezTo>
                      <a:pt x="2480" y="24004"/>
                      <a:pt x="10040" y="6935"/>
                      <a:pt x="895" y="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39" name="Vrije vorm 638">
                <a:extLst>
                  <a:ext uri="{FF2B5EF4-FFF2-40B4-BE49-F238E27FC236}">
                    <a16:creationId xmlns:a16="http://schemas.microsoft.com/office/drawing/2014/main" id="{5B82AB57-989F-D840-9250-D77E9CD5E744}"/>
                  </a:ext>
                </a:extLst>
              </p:cNvPr>
              <p:cNvSpPr/>
              <p:nvPr/>
            </p:nvSpPr>
            <p:spPr>
              <a:xfrm>
                <a:off x="10231396" y="4849532"/>
                <a:ext cx="19020" cy="20289"/>
              </a:xfrm>
              <a:custGeom>
                <a:avLst/>
                <a:gdLst>
                  <a:gd name="connsiteX0" fmla="*/ 18820 w 19020"/>
                  <a:gd name="connsiteY0" fmla="*/ 16219 h 20289"/>
                  <a:gd name="connsiteX1" fmla="*/ 2190 w 19020"/>
                  <a:gd name="connsiteY1" fmla="*/ 1 h 20289"/>
                  <a:gd name="connsiteX2" fmla="*/ 7645 w 19020"/>
                  <a:gd name="connsiteY2" fmla="*/ 18531 h 20289"/>
                  <a:gd name="connsiteX3" fmla="*/ 18820 w 19020"/>
                  <a:gd name="connsiteY3" fmla="*/ 16219 h 20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20" h="20289">
                    <a:moveTo>
                      <a:pt x="18820" y="16219"/>
                    </a:moveTo>
                    <a:cubicBezTo>
                      <a:pt x="16144" y="14365"/>
                      <a:pt x="7683" y="4776"/>
                      <a:pt x="2190" y="1"/>
                    </a:cubicBezTo>
                    <a:cubicBezTo>
                      <a:pt x="-5318" y="13222"/>
                      <a:pt x="8749" y="1601"/>
                      <a:pt x="7645" y="18531"/>
                    </a:cubicBezTo>
                    <a:cubicBezTo>
                      <a:pt x="7543" y="22315"/>
                      <a:pt x="20646" y="19267"/>
                      <a:pt x="18820" y="16219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40" name="Vrije vorm 639">
                <a:extLst>
                  <a:ext uri="{FF2B5EF4-FFF2-40B4-BE49-F238E27FC236}">
                    <a16:creationId xmlns:a16="http://schemas.microsoft.com/office/drawing/2014/main" id="{AC3BDD24-934D-1542-AE89-041089F59AEE}"/>
                  </a:ext>
                </a:extLst>
              </p:cNvPr>
              <p:cNvSpPr/>
              <p:nvPr/>
            </p:nvSpPr>
            <p:spPr>
              <a:xfrm>
                <a:off x="10260485" y="4898808"/>
                <a:ext cx="10660" cy="8269"/>
              </a:xfrm>
              <a:custGeom>
                <a:avLst/>
                <a:gdLst>
                  <a:gd name="connsiteX0" fmla="*/ 10634 w 10660"/>
                  <a:gd name="connsiteY0" fmla="*/ 4484 h 8269"/>
                  <a:gd name="connsiteX1" fmla="*/ 4457 w 10660"/>
                  <a:gd name="connsiteY1" fmla="*/ 77 h 8269"/>
                  <a:gd name="connsiteX2" fmla="*/ 5 w 10660"/>
                  <a:gd name="connsiteY2" fmla="*/ 5970 h 8269"/>
                  <a:gd name="connsiteX3" fmla="*/ 10634 w 10660"/>
                  <a:gd name="connsiteY3" fmla="*/ 4484 h 8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660" h="8269">
                    <a:moveTo>
                      <a:pt x="10634" y="4484"/>
                    </a:moveTo>
                    <a:cubicBezTo>
                      <a:pt x="10139" y="1563"/>
                      <a:pt x="7375" y="-418"/>
                      <a:pt x="4457" y="77"/>
                    </a:cubicBezTo>
                    <a:cubicBezTo>
                      <a:pt x="1641" y="547"/>
                      <a:pt x="-300" y="3125"/>
                      <a:pt x="5" y="5970"/>
                    </a:cubicBezTo>
                    <a:cubicBezTo>
                      <a:pt x="944" y="2084"/>
                      <a:pt x="10660" y="14009"/>
                      <a:pt x="10634" y="4484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41" name="Vrije vorm 640">
                <a:extLst>
                  <a:ext uri="{FF2B5EF4-FFF2-40B4-BE49-F238E27FC236}">
                    <a16:creationId xmlns:a16="http://schemas.microsoft.com/office/drawing/2014/main" id="{398AA669-EAE2-354B-9E95-4E214716CE45}"/>
                  </a:ext>
                </a:extLst>
              </p:cNvPr>
              <p:cNvSpPr/>
              <p:nvPr/>
            </p:nvSpPr>
            <p:spPr>
              <a:xfrm>
                <a:off x="10283299" y="4931252"/>
                <a:ext cx="10169" cy="10563"/>
              </a:xfrm>
              <a:custGeom>
                <a:avLst/>
                <a:gdLst>
                  <a:gd name="connsiteX0" fmla="*/ 10144 w 10169"/>
                  <a:gd name="connsiteY0" fmla="*/ 9023 h 10563"/>
                  <a:gd name="connsiteX1" fmla="*/ 4918 w 10169"/>
                  <a:gd name="connsiteY1" fmla="*/ 120 h 10563"/>
                  <a:gd name="connsiteX2" fmla="*/ 10144 w 10169"/>
                  <a:gd name="connsiteY2" fmla="*/ 9023 h 10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169" h="10563">
                    <a:moveTo>
                      <a:pt x="10144" y="9023"/>
                    </a:moveTo>
                    <a:cubicBezTo>
                      <a:pt x="7962" y="6343"/>
                      <a:pt x="6199" y="3333"/>
                      <a:pt x="4918" y="120"/>
                    </a:cubicBezTo>
                    <a:cubicBezTo>
                      <a:pt x="-6866" y="-1582"/>
                      <a:pt x="5514" y="15703"/>
                      <a:pt x="10144" y="9023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21" name="Vrije vorm 220">
              <a:extLst>
                <a:ext uri="{FF2B5EF4-FFF2-40B4-BE49-F238E27FC236}">
                  <a16:creationId xmlns:a16="http://schemas.microsoft.com/office/drawing/2014/main" id="{A7117A71-FF1C-8B46-A497-04AD215141ED}"/>
                </a:ext>
              </a:extLst>
            </p:cNvPr>
            <p:cNvSpPr/>
            <p:nvPr/>
          </p:nvSpPr>
          <p:spPr>
            <a:xfrm>
              <a:off x="10143390" y="4977802"/>
              <a:ext cx="84780" cy="66563"/>
            </a:xfrm>
            <a:custGeom>
              <a:avLst/>
              <a:gdLst>
                <a:gd name="connsiteX0" fmla="*/ 84754 w 84780"/>
                <a:gd name="connsiteY0" fmla="*/ 62079 h 66563"/>
                <a:gd name="connsiteX1" fmla="*/ -26 w 84780"/>
                <a:gd name="connsiteY1" fmla="*/ 1 h 66563"/>
                <a:gd name="connsiteX2" fmla="*/ 55505 w 84780"/>
                <a:gd name="connsiteY2" fmla="*/ 53747 h 66563"/>
                <a:gd name="connsiteX3" fmla="*/ 64270 w 84780"/>
                <a:gd name="connsiteY3" fmla="*/ 59564 h 66563"/>
                <a:gd name="connsiteX4" fmla="*/ 65183 w 84780"/>
                <a:gd name="connsiteY4" fmla="*/ 61774 h 66563"/>
                <a:gd name="connsiteX5" fmla="*/ 68988 w 84780"/>
                <a:gd name="connsiteY5" fmla="*/ 63603 h 66563"/>
                <a:gd name="connsiteX6" fmla="*/ 84754 w 84780"/>
                <a:gd name="connsiteY6" fmla="*/ 62079 h 66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4780" h="66563">
                  <a:moveTo>
                    <a:pt x="84754" y="62079"/>
                  </a:moveTo>
                  <a:cubicBezTo>
                    <a:pt x="59767" y="42699"/>
                    <a:pt x="22843" y="5551"/>
                    <a:pt x="-26" y="1"/>
                  </a:cubicBezTo>
                  <a:cubicBezTo>
                    <a:pt x="7103" y="20727"/>
                    <a:pt x="32014" y="39155"/>
                    <a:pt x="55505" y="53747"/>
                  </a:cubicBezTo>
                  <a:cubicBezTo>
                    <a:pt x="61428" y="49011"/>
                    <a:pt x="56938" y="60859"/>
                    <a:pt x="64270" y="59564"/>
                  </a:cubicBezTo>
                  <a:cubicBezTo>
                    <a:pt x="64561" y="58802"/>
                    <a:pt x="65018" y="61266"/>
                    <a:pt x="65183" y="61774"/>
                  </a:cubicBezTo>
                  <a:cubicBezTo>
                    <a:pt x="69610" y="56579"/>
                    <a:pt x="65957" y="65787"/>
                    <a:pt x="68988" y="63603"/>
                  </a:cubicBezTo>
                  <a:cubicBezTo>
                    <a:pt x="75749" y="60478"/>
                    <a:pt x="80937" y="72823"/>
                    <a:pt x="84754" y="62079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22" name="Graphic 5">
              <a:extLst>
                <a:ext uri="{FF2B5EF4-FFF2-40B4-BE49-F238E27FC236}">
                  <a16:creationId xmlns:a16="http://schemas.microsoft.com/office/drawing/2014/main" id="{23601197-A89B-0543-A5A2-BCE5B5BBCE1F}"/>
                </a:ext>
              </a:extLst>
            </p:cNvPr>
            <p:cNvGrpSpPr/>
            <p:nvPr/>
          </p:nvGrpSpPr>
          <p:grpSpPr>
            <a:xfrm>
              <a:off x="9928617" y="4583441"/>
              <a:ext cx="167398" cy="119824"/>
              <a:chOff x="9928617" y="4583441"/>
              <a:chExt cx="167398" cy="119824"/>
            </a:xfrm>
            <a:solidFill>
              <a:schemeClr val="bg2"/>
            </a:solidFill>
          </p:grpSpPr>
          <p:sp>
            <p:nvSpPr>
              <p:cNvPr id="632" name="Vrije vorm 631">
                <a:extLst>
                  <a:ext uri="{FF2B5EF4-FFF2-40B4-BE49-F238E27FC236}">
                    <a16:creationId xmlns:a16="http://schemas.microsoft.com/office/drawing/2014/main" id="{E561F7DB-663D-6C47-B70E-F0B2CB0AD337}"/>
                  </a:ext>
                </a:extLst>
              </p:cNvPr>
              <p:cNvSpPr/>
              <p:nvPr/>
            </p:nvSpPr>
            <p:spPr>
              <a:xfrm>
                <a:off x="9928617" y="4583441"/>
                <a:ext cx="29977" cy="22470"/>
              </a:xfrm>
              <a:custGeom>
                <a:avLst/>
                <a:gdLst>
                  <a:gd name="connsiteX0" fmla="*/ 29951 w 29977"/>
                  <a:gd name="connsiteY0" fmla="*/ 20017 h 22470"/>
                  <a:gd name="connsiteX1" fmla="*/ 2858 w 29977"/>
                  <a:gd name="connsiteY1" fmla="*/ 78 h 22470"/>
                  <a:gd name="connsiteX2" fmla="*/ 29951 w 29977"/>
                  <a:gd name="connsiteY2" fmla="*/ 20017 h 224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9977" h="22470">
                    <a:moveTo>
                      <a:pt x="29951" y="20017"/>
                    </a:moveTo>
                    <a:cubicBezTo>
                      <a:pt x="29228" y="31625"/>
                      <a:pt x="-10943" y="-1802"/>
                      <a:pt x="2858" y="78"/>
                    </a:cubicBezTo>
                    <a:cubicBezTo>
                      <a:pt x="15035" y="4002"/>
                      <a:pt x="19208" y="17858"/>
                      <a:pt x="29951" y="20017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33" name="Vrije vorm 632">
                <a:extLst>
                  <a:ext uri="{FF2B5EF4-FFF2-40B4-BE49-F238E27FC236}">
                    <a16:creationId xmlns:a16="http://schemas.microsoft.com/office/drawing/2014/main" id="{4C95310D-7A19-884A-B83A-AECAFA3AE5EB}"/>
                  </a:ext>
                </a:extLst>
              </p:cNvPr>
              <p:cNvSpPr/>
              <p:nvPr/>
            </p:nvSpPr>
            <p:spPr>
              <a:xfrm>
                <a:off x="9987277" y="4610818"/>
                <a:ext cx="37427" cy="26293"/>
              </a:xfrm>
              <a:custGeom>
                <a:avLst/>
                <a:gdLst>
                  <a:gd name="connsiteX0" fmla="*/ 37401 w 37427"/>
                  <a:gd name="connsiteY0" fmla="*/ 26205 h 26293"/>
                  <a:gd name="connsiteX1" fmla="*/ 12413 w 37427"/>
                  <a:gd name="connsiteY1" fmla="*/ 6546 h 26293"/>
                  <a:gd name="connsiteX2" fmla="*/ 37401 w 37427"/>
                  <a:gd name="connsiteY2" fmla="*/ 26205 h 26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427" h="26293">
                    <a:moveTo>
                      <a:pt x="37401" y="26205"/>
                    </a:moveTo>
                    <a:cubicBezTo>
                      <a:pt x="29980" y="28555"/>
                      <a:pt x="-23851" y="-16403"/>
                      <a:pt x="12413" y="6546"/>
                    </a:cubicBezTo>
                    <a:cubicBezTo>
                      <a:pt x="21495" y="11220"/>
                      <a:pt x="36766" y="16350"/>
                      <a:pt x="37401" y="26205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34" name="Vrije vorm 633">
                <a:extLst>
                  <a:ext uri="{FF2B5EF4-FFF2-40B4-BE49-F238E27FC236}">
                    <a16:creationId xmlns:a16="http://schemas.microsoft.com/office/drawing/2014/main" id="{8E367234-5CF2-2B44-99B4-78074DF372ED}"/>
                  </a:ext>
                </a:extLst>
              </p:cNvPr>
              <p:cNvSpPr/>
              <p:nvPr/>
            </p:nvSpPr>
            <p:spPr>
              <a:xfrm>
                <a:off x="10046402" y="4632271"/>
                <a:ext cx="20857" cy="36336"/>
              </a:xfrm>
              <a:custGeom>
                <a:avLst/>
                <a:gdLst>
                  <a:gd name="connsiteX0" fmla="*/ 20831 w 20857"/>
                  <a:gd name="connsiteY0" fmla="*/ 36338 h 36336"/>
                  <a:gd name="connsiteX1" fmla="*/ 6130 w 20857"/>
                  <a:gd name="connsiteY1" fmla="*/ 2416 h 36336"/>
                  <a:gd name="connsiteX2" fmla="*/ 20831 w 20857"/>
                  <a:gd name="connsiteY2" fmla="*/ 36338 h 36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0857" h="36336">
                    <a:moveTo>
                      <a:pt x="20831" y="36338"/>
                    </a:moveTo>
                    <a:cubicBezTo>
                      <a:pt x="9010" y="30318"/>
                      <a:pt x="-9864" y="-10182"/>
                      <a:pt x="6130" y="2416"/>
                    </a:cubicBezTo>
                    <a:cubicBezTo>
                      <a:pt x="11521" y="15687"/>
                      <a:pt x="19576" y="22305"/>
                      <a:pt x="20831" y="36338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35" name="Vrije vorm 634">
                <a:extLst>
                  <a:ext uri="{FF2B5EF4-FFF2-40B4-BE49-F238E27FC236}">
                    <a16:creationId xmlns:a16="http://schemas.microsoft.com/office/drawing/2014/main" id="{D0F67B6A-3F8E-0743-A31C-4BE78139AACB}"/>
                  </a:ext>
                </a:extLst>
              </p:cNvPr>
              <p:cNvSpPr/>
              <p:nvPr/>
            </p:nvSpPr>
            <p:spPr>
              <a:xfrm>
                <a:off x="10017308" y="4658041"/>
                <a:ext cx="34806" cy="18672"/>
              </a:xfrm>
              <a:custGeom>
                <a:avLst/>
                <a:gdLst>
                  <a:gd name="connsiteX0" fmla="*/ 34781 w 34806"/>
                  <a:gd name="connsiteY0" fmla="*/ 16867 h 18672"/>
                  <a:gd name="connsiteX1" fmla="*/ 3096 w 34806"/>
                  <a:gd name="connsiteY1" fmla="*/ 1 h 18672"/>
                  <a:gd name="connsiteX2" fmla="*/ 34781 w 34806"/>
                  <a:gd name="connsiteY2" fmla="*/ 16867 h 18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806" h="18672">
                    <a:moveTo>
                      <a:pt x="34781" y="16867"/>
                    </a:moveTo>
                    <a:cubicBezTo>
                      <a:pt x="26105" y="22683"/>
                      <a:pt x="-10882" y="13768"/>
                      <a:pt x="3096" y="1"/>
                    </a:cubicBezTo>
                    <a:cubicBezTo>
                      <a:pt x="13345" y="8498"/>
                      <a:pt x="29302" y="2694"/>
                      <a:pt x="34781" y="16867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36" name="Vrije vorm 635">
                <a:extLst>
                  <a:ext uri="{FF2B5EF4-FFF2-40B4-BE49-F238E27FC236}">
                    <a16:creationId xmlns:a16="http://schemas.microsoft.com/office/drawing/2014/main" id="{F565ABF7-8E90-474F-B093-ACDADF66E29A}"/>
                  </a:ext>
                </a:extLst>
              </p:cNvPr>
              <p:cNvSpPr/>
              <p:nvPr/>
            </p:nvSpPr>
            <p:spPr>
              <a:xfrm>
                <a:off x="10065547" y="4685537"/>
                <a:ext cx="30467" cy="17728"/>
              </a:xfrm>
              <a:custGeom>
                <a:avLst/>
                <a:gdLst>
                  <a:gd name="connsiteX0" fmla="*/ 30442 w 30467"/>
                  <a:gd name="connsiteY0" fmla="*/ 17680 h 17728"/>
                  <a:gd name="connsiteX1" fmla="*/ -26 w 30467"/>
                  <a:gd name="connsiteY1" fmla="*/ 1 h 17728"/>
                  <a:gd name="connsiteX2" fmla="*/ 30442 w 30467"/>
                  <a:gd name="connsiteY2" fmla="*/ 17680 h 17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0467" h="17728">
                    <a:moveTo>
                      <a:pt x="30442" y="17680"/>
                    </a:moveTo>
                    <a:cubicBezTo>
                      <a:pt x="17681" y="18391"/>
                      <a:pt x="5707" y="11444"/>
                      <a:pt x="-26" y="1"/>
                    </a:cubicBezTo>
                    <a:cubicBezTo>
                      <a:pt x="11948" y="1970"/>
                      <a:pt x="22780" y="8256"/>
                      <a:pt x="30442" y="1768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23" name="Graphic 5">
              <a:extLst>
                <a:ext uri="{FF2B5EF4-FFF2-40B4-BE49-F238E27FC236}">
                  <a16:creationId xmlns:a16="http://schemas.microsoft.com/office/drawing/2014/main" id="{1BCD4416-556A-1E4B-A9C7-AC1D95D71098}"/>
                </a:ext>
              </a:extLst>
            </p:cNvPr>
            <p:cNvGrpSpPr/>
            <p:nvPr/>
          </p:nvGrpSpPr>
          <p:grpSpPr>
            <a:xfrm>
              <a:off x="9485800" y="4451400"/>
              <a:ext cx="427537" cy="247244"/>
              <a:chOff x="9485800" y="4451400"/>
              <a:chExt cx="427537" cy="247244"/>
            </a:xfrm>
            <a:solidFill>
              <a:schemeClr val="bg2"/>
            </a:solidFill>
          </p:grpSpPr>
          <p:sp>
            <p:nvSpPr>
              <p:cNvPr id="626" name="Vrije vorm 625">
                <a:extLst>
                  <a:ext uri="{FF2B5EF4-FFF2-40B4-BE49-F238E27FC236}">
                    <a16:creationId xmlns:a16="http://schemas.microsoft.com/office/drawing/2014/main" id="{C5FB4FF5-7DB6-9642-80E0-FA033A86E11A}"/>
                  </a:ext>
                </a:extLst>
              </p:cNvPr>
              <p:cNvSpPr/>
              <p:nvPr/>
            </p:nvSpPr>
            <p:spPr>
              <a:xfrm>
                <a:off x="9646347" y="4451400"/>
                <a:ext cx="25888" cy="6627"/>
              </a:xfrm>
              <a:custGeom>
                <a:avLst/>
                <a:gdLst>
                  <a:gd name="connsiteX0" fmla="*/ 25862 w 25888"/>
                  <a:gd name="connsiteY0" fmla="*/ 598 h 6627"/>
                  <a:gd name="connsiteX1" fmla="*/ -26 w 25888"/>
                  <a:gd name="connsiteY1" fmla="*/ 5017 h 6627"/>
                  <a:gd name="connsiteX2" fmla="*/ 25862 w 25888"/>
                  <a:gd name="connsiteY2" fmla="*/ 598 h 66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888" h="6627">
                    <a:moveTo>
                      <a:pt x="25862" y="598"/>
                    </a:moveTo>
                    <a:cubicBezTo>
                      <a:pt x="23528" y="7672"/>
                      <a:pt x="2092" y="7621"/>
                      <a:pt x="-26" y="5017"/>
                    </a:cubicBezTo>
                    <a:cubicBezTo>
                      <a:pt x="4287" y="-5155"/>
                      <a:pt x="21905" y="3849"/>
                      <a:pt x="25862" y="598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27" name="Vrije vorm 626">
                <a:extLst>
                  <a:ext uri="{FF2B5EF4-FFF2-40B4-BE49-F238E27FC236}">
                    <a16:creationId xmlns:a16="http://schemas.microsoft.com/office/drawing/2014/main" id="{B00C33D8-E8B3-9D4F-A132-FD52AE53BBBC}"/>
                  </a:ext>
                </a:extLst>
              </p:cNvPr>
              <p:cNvSpPr/>
              <p:nvPr/>
            </p:nvSpPr>
            <p:spPr>
              <a:xfrm>
                <a:off x="9769578" y="4471831"/>
                <a:ext cx="64444" cy="60272"/>
              </a:xfrm>
              <a:custGeom>
                <a:avLst/>
                <a:gdLst>
                  <a:gd name="connsiteX0" fmla="*/ 64419 w 64444"/>
                  <a:gd name="connsiteY0" fmla="*/ 44746 h 60272"/>
                  <a:gd name="connsiteX1" fmla="*/ 47117 w 64444"/>
                  <a:gd name="connsiteY1" fmla="*/ 33951 h 60272"/>
                  <a:gd name="connsiteX2" fmla="*/ 14266 w 64444"/>
                  <a:gd name="connsiteY2" fmla="*/ 6189 h 60272"/>
                  <a:gd name="connsiteX3" fmla="*/ 64419 w 64444"/>
                  <a:gd name="connsiteY3" fmla="*/ 44746 h 60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444" h="60272">
                    <a:moveTo>
                      <a:pt x="64419" y="44746"/>
                    </a:moveTo>
                    <a:cubicBezTo>
                      <a:pt x="55070" y="79252"/>
                      <a:pt x="54576" y="47400"/>
                      <a:pt x="47117" y="33951"/>
                    </a:cubicBezTo>
                    <a:cubicBezTo>
                      <a:pt x="32505" y="17123"/>
                      <a:pt x="-26908" y="-13026"/>
                      <a:pt x="14266" y="6189"/>
                    </a:cubicBezTo>
                    <a:cubicBezTo>
                      <a:pt x="33152" y="15917"/>
                      <a:pt x="50149" y="28972"/>
                      <a:pt x="64419" y="44746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28" name="Vrije vorm 627">
                <a:extLst>
                  <a:ext uri="{FF2B5EF4-FFF2-40B4-BE49-F238E27FC236}">
                    <a16:creationId xmlns:a16="http://schemas.microsoft.com/office/drawing/2014/main" id="{AC208E68-876D-DC40-BE9F-802D828E8FE8}"/>
                  </a:ext>
                </a:extLst>
              </p:cNvPr>
              <p:cNvSpPr/>
              <p:nvPr/>
            </p:nvSpPr>
            <p:spPr>
              <a:xfrm>
                <a:off x="9699327" y="4513147"/>
                <a:ext cx="114287" cy="60388"/>
              </a:xfrm>
              <a:custGeom>
                <a:avLst/>
                <a:gdLst>
                  <a:gd name="connsiteX0" fmla="*/ 114261 w 114287"/>
                  <a:gd name="connsiteY0" fmla="*/ 5589 h 60388"/>
                  <a:gd name="connsiteX1" fmla="*/ 105230 w 114287"/>
                  <a:gd name="connsiteY1" fmla="*/ 37034 h 60388"/>
                  <a:gd name="connsiteX2" fmla="*/ 56117 w 114287"/>
                  <a:gd name="connsiteY2" fmla="*/ 60390 h 60388"/>
                  <a:gd name="connsiteX3" fmla="*/ 40021 w 114287"/>
                  <a:gd name="connsiteY3" fmla="*/ 38482 h 60388"/>
                  <a:gd name="connsiteX4" fmla="*/ 46680 w 114287"/>
                  <a:gd name="connsiteY4" fmla="*/ 25109 h 60388"/>
                  <a:gd name="connsiteX5" fmla="*/ 48024 w 114287"/>
                  <a:gd name="connsiteY5" fmla="*/ 31688 h 60388"/>
                  <a:gd name="connsiteX6" fmla="*/ 91708 w 114287"/>
                  <a:gd name="connsiteY6" fmla="*/ 9818 h 60388"/>
                  <a:gd name="connsiteX7" fmla="*/ 107031 w 114287"/>
                  <a:gd name="connsiteY7" fmla="*/ 1 h 60388"/>
                  <a:gd name="connsiteX8" fmla="*/ 114261 w 114287"/>
                  <a:gd name="connsiteY8" fmla="*/ 5589 h 60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4287" h="60388">
                    <a:moveTo>
                      <a:pt x="114261" y="5589"/>
                    </a:moveTo>
                    <a:cubicBezTo>
                      <a:pt x="113957" y="40006"/>
                      <a:pt x="96516" y="8561"/>
                      <a:pt x="105230" y="37034"/>
                    </a:cubicBezTo>
                    <a:cubicBezTo>
                      <a:pt x="84199" y="40997"/>
                      <a:pt x="80204" y="53646"/>
                      <a:pt x="56117" y="60390"/>
                    </a:cubicBezTo>
                    <a:cubicBezTo>
                      <a:pt x="12483" y="58993"/>
                      <a:pt x="-36503" y="33123"/>
                      <a:pt x="40021" y="38482"/>
                    </a:cubicBezTo>
                    <a:cubicBezTo>
                      <a:pt x="47174" y="40590"/>
                      <a:pt x="44118" y="29795"/>
                      <a:pt x="46680" y="25109"/>
                    </a:cubicBezTo>
                    <a:cubicBezTo>
                      <a:pt x="56206" y="22950"/>
                      <a:pt x="46451" y="28170"/>
                      <a:pt x="48024" y="31688"/>
                    </a:cubicBezTo>
                    <a:cubicBezTo>
                      <a:pt x="46185" y="54586"/>
                      <a:pt x="101729" y="21566"/>
                      <a:pt x="91708" y="9818"/>
                    </a:cubicBezTo>
                    <a:cubicBezTo>
                      <a:pt x="80521" y="-8495"/>
                      <a:pt x="104557" y="9856"/>
                      <a:pt x="107031" y="1"/>
                    </a:cubicBezTo>
                    <a:cubicBezTo>
                      <a:pt x="112371" y="1398"/>
                      <a:pt x="101944" y="5500"/>
                      <a:pt x="114261" y="5589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29" name="Vrije vorm 628">
                <a:extLst>
                  <a:ext uri="{FF2B5EF4-FFF2-40B4-BE49-F238E27FC236}">
                    <a16:creationId xmlns:a16="http://schemas.microsoft.com/office/drawing/2014/main" id="{CB7726C8-4E6A-6643-904F-125FDB89161A}"/>
                  </a:ext>
                </a:extLst>
              </p:cNvPr>
              <p:cNvSpPr/>
              <p:nvPr/>
            </p:nvSpPr>
            <p:spPr>
              <a:xfrm>
                <a:off x="9878859" y="4551772"/>
                <a:ext cx="34477" cy="38960"/>
              </a:xfrm>
              <a:custGeom>
                <a:avLst/>
                <a:gdLst>
                  <a:gd name="connsiteX0" fmla="*/ 34452 w 34477"/>
                  <a:gd name="connsiteY0" fmla="*/ 32026 h 38960"/>
                  <a:gd name="connsiteX1" fmla="*/ 3122 w 34477"/>
                  <a:gd name="connsiteY1" fmla="*/ 35 h 38960"/>
                  <a:gd name="connsiteX2" fmla="*/ 34452 w 34477"/>
                  <a:gd name="connsiteY2" fmla="*/ 32026 h 38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477" h="38960">
                    <a:moveTo>
                      <a:pt x="34452" y="32026"/>
                    </a:moveTo>
                    <a:cubicBezTo>
                      <a:pt x="29645" y="59026"/>
                      <a:pt x="-11567" y="-1629"/>
                      <a:pt x="3122" y="35"/>
                    </a:cubicBezTo>
                    <a:cubicBezTo>
                      <a:pt x="15958" y="8048"/>
                      <a:pt x="26702" y="19021"/>
                      <a:pt x="34452" y="32026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30" name="Vrije vorm 629">
                <a:extLst>
                  <a:ext uri="{FF2B5EF4-FFF2-40B4-BE49-F238E27FC236}">
                    <a16:creationId xmlns:a16="http://schemas.microsoft.com/office/drawing/2014/main" id="{5FFBFE99-9A7F-544F-B31E-52DEC1D31320}"/>
                  </a:ext>
                </a:extLst>
              </p:cNvPr>
              <p:cNvSpPr/>
              <p:nvPr/>
            </p:nvSpPr>
            <p:spPr>
              <a:xfrm>
                <a:off x="9815644" y="4650931"/>
                <a:ext cx="14383" cy="7259"/>
              </a:xfrm>
              <a:custGeom>
                <a:avLst/>
                <a:gdLst>
                  <a:gd name="connsiteX0" fmla="*/ 14357 w 14383"/>
                  <a:gd name="connsiteY0" fmla="*/ 4089 h 7259"/>
                  <a:gd name="connsiteX1" fmla="*/ -26 w 14383"/>
                  <a:gd name="connsiteY1" fmla="*/ 50 h 7259"/>
                  <a:gd name="connsiteX2" fmla="*/ 14357 w 14383"/>
                  <a:gd name="connsiteY2" fmla="*/ 4089 h 7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383" h="7259">
                    <a:moveTo>
                      <a:pt x="14357" y="4089"/>
                    </a:moveTo>
                    <a:cubicBezTo>
                      <a:pt x="11440" y="11379"/>
                      <a:pt x="4692" y="4407"/>
                      <a:pt x="-26" y="50"/>
                    </a:cubicBezTo>
                    <a:cubicBezTo>
                      <a:pt x="3702" y="-38"/>
                      <a:pt x="11339" y="-445"/>
                      <a:pt x="14357" y="4089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31" name="Vrije vorm 630">
                <a:extLst>
                  <a:ext uri="{FF2B5EF4-FFF2-40B4-BE49-F238E27FC236}">
                    <a16:creationId xmlns:a16="http://schemas.microsoft.com/office/drawing/2014/main" id="{D0662F90-3145-5D48-91FD-41F6037A60EE}"/>
                  </a:ext>
                </a:extLst>
              </p:cNvPr>
              <p:cNvSpPr/>
              <p:nvPr/>
            </p:nvSpPr>
            <p:spPr>
              <a:xfrm>
                <a:off x="9485800" y="4467071"/>
                <a:ext cx="284041" cy="231572"/>
              </a:xfrm>
              <a:custGeom>
                <a:avLst/>
                <a:gdLst>
                  <a:gd name="connsiteX0" fmla="*/ 278853 w 284041"/>
                  <a:gd name="connsiteY0" fmla="*/ 228449 h 231572"/>
                  <a:gd name="connsiteX1" fmla="*/ 256288 w 284041"/>
                  <a:gd name="connsiteY1" fmla="*/ 228677 h 231572"/>
                  <a:gd name="connsiteX2" fmla="*/ 257556 w 284041"/>
                  <a:gd name="connsiteY2" fmla="*/ 225121 h 231572"/>
                  <a:gd name="connsiteX3" fmla="*/ 183227 w 284041"/>
                  <a:gd name="connsiteY3" fmla="*/ 200420 h 231572"/>
                  <a:gd name="connsiteX4" fmla="*/ 148028 w 284041"/>
                  <a:gd name="connsiteY4" fmla="*/ 157900 h 231572"/>
                  <a:gd name="connsiteX5" fmla="*/ 104660 w 284041"/>
                  <a:gd name="connsiteY5" fmla="*/ 143232 h 231572"/>
                  <a:gd name="connsiteX6" fmla="*/ 103494 w 284041"/>
                  <a:gd name="connsiteY6" fmla="*/ 145924 h 231572"/>
                  <a:gd name="connsiteX7" fmla="*/ 103456 w 284041"/>
                  <a:gd name="connsiteY7" fmla="*/ 149620 h 231572"/>
                  <a:gd name="connsiteX8" fmla="*/ 97786 w 284041"/>
                  <a:gd name="connsiteY8" fmla="*/ 146648 h 231572"/>
                  <a:gd name="connsiteX9" fmla="*/ 96441 w 284041"/>
                  <a:gd name="connsiteY9" fmla="*/ 146381 h 231572"/>
                  <a:gd name="connsiteX10" fmla="*/ 82108 w 284041"/>
                  <a:gd name="connsiteY10" fmla="*/ 142457 h 231572"/>
                  <a:gd name="connsiteX11" fmla="*/ 71009 w 284041"/>
                  <a:gd name="connsiteY11" fmla="*/ 152452 h 231572"/>
                  <a:gd name="connsiteX12" fmla="*/ 40314 w 284041"/>
                  <a:gd name="connsiteY12" fmla="*/ 161355 h 231572"/>
                  <a:gd name="connsiteX13" fmla="*/ 2020 w 284041"/>
                  <a:gd name="connsiteY13" fmla="*/ 185294 h 231572"/>
                  <a:gd name="connsiteX14" fmla="*/ 3326 w 284041"/>
                  <a:gd name="connsiteY14" fmla="*/ 130849 h 231572"/>
                  <a:gd name="connsiteX15" fmla="*/ 1576 w 284041"/>
                  <a:gd name="connsiteY15" fmla="*/ 123026 h 231572"/>
                  <a:gd name="connsiteX16" fmla="*/ 4 w 284041"/>
                  <a:gd name="connsiteY16" fmla="*/ 116409 h 231572"/>
                  <a:gd name="connsiteX17" fmla="*/ 2287 w 284041"/>
                  <a:gd name="connsiteY17" fmla="*/ 110783 h 231572"/>
                  <a:gd name="connsiteX18" fmla="*/ 3326 w 284041"/>
                  <a:gd name="connsiteY18" fmla="*/ 104573 h 231572"/>
                  <a:gd name="connsiteX19" fmla="*/ 3504 w 284041"/>
                  <a:gd name="connsiteY19" fmla="*/ 74156 h 231572"/>
                  <a:gd name="connsiteX20" fmla="*/ 3187 w 284041"/>
                  <a:gd name="connsiteY20" fmla="*/ 1 h 231572"/>
                  <a:gd name="connsiteX21" fmla="*/ 117294 w 284041"/>
                  <a:gd name="connsiteY21" fmla="*/ 49633 h 231572"/>
                  <a:gd name="connsiteX22" fmla="*/ 142142 w 284041"/>
                  <a:gd name="connsiteY22" fmla="*/ 83872 h 231572"/>
                  <a:gd name="connsiteX23" fmla="*/ 193285 w 284041"/>
                  <a:gd name="connsiteY23" fmla="*/ 103493 h 231572"/>
                  <a:gd name="connsiteX24" fmla="*/ 204117 w 284041"/>
                  <a:gd name="connsiteY24" fmla="*/ 156821 h 231572"/>
                  <a:gd name="connsiteX25" fmla="*/ 238593 w 284041"/>
                  <a:gd name="connsiteY25" fmla="*/ 188850 h 231572"/>
                  <a:gd name="connsiteX26" fmla="*/ 260600 w 284041"/>
                  <a:gd name="connsiteY26" fmla="*/ 203481 h 231572"/>
                  <a:gd name="connsiteX27" fmla="*/ 284015 w 284041"/>
                  <a:gd name="connsiteY27" fmla="*/ 218949 h 231572"/>
                  <a:gd name="connsiteX28" fmla="*/ 278853 w 284041"/>
                  <a:gd name="connsiteY28" fmla="*/ 228449 h 231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284041" h="231572">
                    <a:moveTo>
                      <a:pt x="278853" y="228449"/>
                    </a:moveTo>
                    <a:cubicBezTo>
                      <a:pt x="271901" y="232538"/>
                      <a:pt x="263314" y="232614"/>
                      <a:pt x="256288" y="228677"/>
                    </a:cubicBezTo>
                    <a:cubicBezTo>
                      <a:pt x="251619" y="227420"/>
                      <a:pt x="267983" y="226061"/>
                      <a:pt x="257556" y="225121"/>
                    </a:cubicBezTo>
                    <a:cubicBezTo>
                      <a:pt x="229955" y="212434"/>
                      <a:pt x="201327" y="228449"/>
                      <a:pt x="183227" y="200420"/>
                    </a:cubicBezTo>
                    <a:cubicBezTo>
                      <a:pt x="168411" y="189117"/>
                      <a:pt x="156374" y="174575"/>
                      <a:pt x="148028" y="157900"/>
                    </a:cubicBezTo>
                    <a:cubicBezTo>
                      <a:pt x="133086" y="154611"/>
                      <a:pt x="118537" y="149696"/>
                      <a:pt x="104660" y="143232"/>
                    </a:cubicBezTo>
                    <a:cubicBezTo>
                      <a:pt x="102783" y="137466"/>
                      <a:pt x="104572" y="146280"/>
                      <a:pt x="103494" y="145924"/>
                    </a:cubicBezTo>
                    <a:cubicBezTo>
                      <a:pt x="98826" y="138228"/>
                      <a:pt x="101020" y="145480"/>
                      <a:pt x="103456" y="149620"/>
                    </a:cubicBezTo>
                    <a:cubicBezTo>
                      <a:pt x="98648" y="148934"/>
                      <a:pt x="99054" y="142508"/>
                      <a:pt x="97786" y="146648"/>
                    </a:cubicBezTo>
                    <a:cubicBezTo>
                      <a:pt x="97291" y="144349"/>
                      <a:pt x="94780" y="145213"/>
                      <a:pt x="96441" y="146381"/>
                    </a:cubicBezTo>
                    <a:cubicBezTo>
                      <a:pt x="97392" y="153493"/>
                      <a:pt x="86864" y="146191"/>
                      <a:pt x="82108" y="142457"/>
                    </a:cubicBezTo>
                    <a:cubicBezTo>
                      <a:pt x="89566" y="157125"/>
                      <a:pt x="85977" y="159284"/>
                      <a:pt x="71009" y="152452"/>
                    </a:cubicBezTo>
                    <a:cubicBezTo>
                      <a:pt x="91101" y="168924"/>
                      <a:pt x="49928" y="163247"/>
                      <a:pt x="40314" y="161355"/>
                    </a:cubicBezTo>
                    <a:cubicBezTo>
                      <a:pt x="107629" y="183504"/>
                      <a:pt x="40986" y="199061"/>
                      <a:pt x="2020" y="185294"/>
                    </a:cubicBezTo>
                    <a:cubicBezTo>
                      <a:pt x="2515" y="165355"/>
                      <a:pt x="3326" y="132424"/>
                      <a:pt x="3326" y="130849"/>
                    </a:cubicBezTo>
                    <a:cubicBezTo>
                      <a:pt x="3403" y="128131"/>
                      <a:pt x="2807" y="125439"/>
                      <a:pt x="1576" y="123026"/>
                    </a:cubicBezTo>
                    <a:cubicBezTo>
                      <a:pt x="447" y="121007"/>
                      <a:pt x="-98" y="118721"/>
                      <a:pt x="4" y="116409"/>
                    </a:cubicBezTo>
                    <a:cubicBezTo>
                      <a:pt x="-276" y="112536"/>
                      <a:pt x="1488" y="114022"/>
                      <a:pt x="2287" y="110783"/>
                    </a:cubicBezTo>
                    <a:cubicBezTo>
                      <a:pt x="2819" y="108751"/>
                      <a:pt x="3161" y="106668"/>
                      <a:pt x="3326" y="104573"/>
                    </a:cubicBezTo>
                    <a:cubicBezTo>
                      <a:pt x="3326" y="104573"/>
                      <a:pt x="3504" y="75782"/>
                      <a:pt x="3504" y="74156"/>
                    </a:cubicBezTo>
                    <a:cubicBezTo>
                      <a:pt x="3504" y="72988"/>
                      <a:pt x="3415" y="26366"/>
                      <a:pt x="3187" y="1"/>
                    </a:cubicBezTo>
                    <a:cubicBezTo>
                      <a:pt x="42153" y="14314"/>
                      <a:pt x="80256" y="30887"/>
                      <a:pt x="117294" y="49633"/>
                    </a:cubicBezTo>
                    <a:cubicBezTo>
                      <a:pt x="150007" y="61825"/>
                      <a:pt x="132883" y="72086"/>
                      <a:pt x="142142" y="83872"/>
                    </a:cubicBezTo>
                    <a:cubicBezTo>
                      <a:pt x="160078" y="87809"/>
                      <a:pt x="177316" y="94413"/>
                      <a:pt x="193285" y="103493"/>
                    </a:cubicBezTo>
                    <a:cubicBezTo>
                      <a:pt x="219668" y="134177"/>
                      <a:pt x="126731" y="102236"/>
                      <a:pt x="204117" y="156821"/>
                    </a:cubicBezTo>
                    <a:cubicBezTo>
                      <a:pt x="221190" y="206313"/>
                      <a:pt x="235346" y="173153"/>
                      <a:pt x="238593" y="188850"/>
                    </a:cubicBezTo>
                    <a:cubicBezTo>
                      <a:pt x="229600" y="204153"/>
                      <a:pt x="253053" y="198883"/>
                      <a:pt x="260600" y="203481"/>
                    </a:cubicBezTo>
                    <a:cubicBezTo>
                      <a:pt x="237058" y="211037"/>
                      <a:pt x="275263" y="221654"/>
                      <a:pt x="284015" y="218949"/>
                    </a:cubicBezTo>
                    <a:cubicBezTo>
                      <a:pt x="272511" y="226112"/>
                      <a:pt x="263936" y="217514"/>
                      <a:pt x="278853" y="228449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24" name="Vrije vorm 223">
              <a:extLst>
                <a:ext uri="{FF2B5EF4-FFF2-40B4-BE49-F238E27FC236}">
                  <a16:creationId xmlns:a16="http://schemas.microsoft.com/office/drawing/2014/main" id="{B515B9DE-BD09-FA44-8BFF-25332295F142}"/>
                </a:ext>
              </a:extLst>
            </p:cNvPr>
            <p:cNvSpPr/>
            <p:nvPr/>
          </p:nvSpPr>
          <p:spPr>
            <a:xfrm>
              <a:off x="8727874" y="4255769"/>
              <a:ext cx="36700" cy="27511"/>
            </a:xfrm>
            <a:custGeom>
              <a:avLst/>
              <a:gdLst>
                <a:gd name="connsiteX0" fmla="*/ 34310 w 36700"/>
                <a:gd name="connsiteY0" fmla="*/ 18505 h 27511"/>
                <a:gd name="connsiteX1" fmla="*/ 25317 w 36700"/>
                <a:gd name="connsiteY1" fmla="*/ 15254 h 27511"/>
                <a:gd name="connsiteX2" fmla="*/ 23020 w 36700"/>
                <a:gd name="connsiteY2" fmla="*/ 5983 h 27511"/>
                <a:gd name="connsiteX3" fmla="*/ 17401 w 36700"/>
                <a:gd name="connsiteY3" fmla="*/ 5983 h 27511"/>
                <a:gd name="connsiteX4" fmla="*/ 17401 w 36700"/>
                <a:gd name="connsiteY4" fmla="*/ 16651 h 27511"/>
                <a:gd name="connsiteX5" fmla="*/ 13939 w 36700"/>
                <a:gd name="connsiteY5" fmla="*/ 26874 h 27511"/>
                <a:gd name="connsiteX6" fmla="*/ 7521 w 36700"/>
                <a:gd name="connsiteY6" fmla="*/ 19991 h 27511"/>
                <a:gd name="connsiteX7" fmla="*/ 1052 w 36700"/>
                <a:gd name="connsiteY7" fmla="*/ 16651 h 27511"/>
                <a:gd name="connsiteX8" fmla="*/ -26 w 36700"/>
                <a:gd name="connsiteY8" fmla="*/ 14225 h 27511"/>
                <a:gd name="connsiteX9" fmla="*/ 27967 w 36700"/>
                <a:gd name="connsiteY9" fmla="*/ 1 h 27511"/>
                <a:gd name="connsiteX10" fmla="*/ 28639 w 36700"/>
                <a:gd name="connsiteY10" fmla="*/ 1665 h 27511"/>
                <a:gd name="connsiteX11" fmla="*/ 34310 w 36700"/>
                <a:gd name="connsiteY11" fmla="*/ 18505 h 27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700" h="27511">
                  <a:moveTo>
                    <a:pt x="34310" y="18505"/>
                  </a:moveTo>
                  <a:cubicBezTo>
                    <a:pt x="27650" y="15851"/>
                    <a:pt x="25088" y="20842"/>
                    <a:pt x="25317" y="15254"/>
                  </a:cubicBezTo>
                  <a:cubicBezTo>
                    <a:pt x="25545" y="9640"/>
                    <a:pt x="24999" y="7608"/>
                    <a:pt x="23020" y="5983"/>
                  </a:cubicBezTo>
                  <a:cubicBezTo>
                    <a:pt x="21042" y="4370"/>
                    <a:pt x="17186" y="2300"/>
                    <a:pt x="17401" y="5983"/>
                  </a:cubicBezTo>
                  <a:cubicBezTo>
                    <a:pt x="17046" y="9539"/>
                    <a:pt x="17046" y="13108"/>
                    <a:pt x="17401" y="16651"/>
                  </a:cubicBezTo>
                  <a:cubicBezTo>
                    <a:pt x="18302" y="19902"/>
                    <a:pt x="17592" y="30151"/>
                    <a:pt x="13939" y="26874"/>
                  </a:cubicBezTo>
                  <a:cubicBezTo>
                    <a:pt x="10298" y="23636"/>
                    <a:pt x="10793" y="21515"/>
                    <a:pt x="7521" y="19991"/>
                  </a:cubicBezTo>
                  <a:cubicBezTo>
                    <a:pt x="4236" y="18416"/>
                    <a:pt x="2929" y="21959"/>
                    <a:pt x="1052" y="16651"/>
                  </a:cubicBezTo>
                  <a:cubicBezTo>
                    <a:pt x="760" y="15813"/>
                    <a:pt x="405" y="15000"/>
                    <a:pt x="-26" y="14225"/>
                  </a:cubicBezTo>
                  <a:cubicBezTo>
                    <a:pt x="7495" y="6542"/>
                    <a:pt x="17338" y="1550"/>
                    <a:pt x="27967" y="1"/>
                  </a:cubicBezTo>
                  <a:cubicBezTo>
                    <a:pt x="28145" y="496"/>
                    <a:pt x="28373" y="1081"/>
                    <a:pt x="28639" y="1665"/>
                  </a:cubicBezTo>
                  <a:cubicBezTo>
                    <a:pt x="31697" y="8650"/>
                    <a:pt x="40994" y="21159"/>
                    <a:pt x="34310" y="18505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25" name="Graphic 5">
              <a:extLst>
                <a:ext uri="{FF2B5EF4-FFF2-40B4-BE49-F238E27FC236}">
                  <a16:creationId xmlns:a16="http://schemas.microsoft.com/office/drawing/2014/main" id="{6398286E-73BE-064E-9231-4A679A430606}"/>
                </a:ext>
              </a:extLst>
            </p:cNvPr>
            <p:cNvGrpSpPr/>
            <p:nvPr/>
          </p:nvGrpSpPr>
          <p:grpSpPr>
            <a:xfrm>
              <a:off x="8191510" y="4236281"/>
              <a:ext cx="1297820" cy="451733"/>
              <a:chOff x="8191510" y="4236281"/>
              <a:chExt cx="1297820" cy="451733"/>
            </a:xfrm>
            <a:solidFill>
              <a:schemeClr val="bg2"/>
            </a:solidFill>
          </p:grpSpPr>
          <p:sp>
            <p:nvSpPr>
              <p:cNvPr id="594" name="Vrije vorm 593">
                <a:extLst>
                  <a:ext uri="{FF2B5EF4-FFF2-40B4-BE49-F238E27FC236}">
                    <a16:creationId xmlns:a16="http://schemas.microsoft.com/office/drawing/2014/main" id="{DEFF9F1D-8CA0-0D48-9B2C-962D0CE56EA8}"/>
                  </a:ext>
                </a:extLst>
              </p:cNvPr>
              <p:cNvSpPr/>
              <p:nvPr/>
            </p:nvSpPr>
            <p:spPr>
              <a:xfrm>
                <a:off x="9127681" y="4322670"/>
                <a:ext cx="12872" cy="16288"/>
              </a:xfrm>
              <a:custGeom>
                <a:avLst/>
                <a:gdLst>
                  <a:gd name="connsiteX0" fmla="*/ 12846 w 12872"/>
                  <a:gd name="connsiteY0" fmla="*/ 3293 h 16288"/>
                  <a:gd name="connsiteX1" fmla="*/ 7861 w 12872"/>
                  <a:gd name="connsiteY1" fmla="*/ 15180 h 16288"/>
                  <a:gd name="connsiteX2" fmla="*/ 12846 w 12872"/>
                  <a:gd name="connsiteY2" fmla="*/ 3293 h 16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872" h="16288">
                    <a:moveTo>
                      <a:pt x="12846" y="3293"/>
                    </a:moveTo>
                    <a:cubicBezTo>
                      <a:pt x="12719" y="7738"/>
                      <a:pt x="10943" y="11980"/>
                      <a:pt x="7861" y="15180"/>
                    </a:cubicBezTo>
                    <a:cubicBezTo>
                      <a:pt x="-8819" y="22610"/>
                      <a:pt x="4931" y="-10195"/>
                      <a:pt x="12846" y="3293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95" name="Vrije vorm 594">
                <a:extLst>
                  <a:ext uri="{FF2B5EF4-FFF2-40B4-BE49-F238E27FC236}">
                    <a16:creationId xmlns:a16="http://schemas.microsoft.com/office/drawing/2014/main" id="{8646762E-599A-0147-8182-E5C81C7334C0}"/>
                  </a:ext>
                </a:extLst>
              </p:cNvPr>
              <p:cNvSpPr/>
              <p:nvPr/>
            </p:nvSpPr>
            <p:spPr>
              <a:xfrm>
                <a:off x="9105463" y="4337475"/>
                <a:ext cx="41152" cy="81478"/>
              </a:xfrm>
              <a:custGeom>
                <a:avLst/>
                <a:gdLst>
                  <a:gd name="connsiteX0" fmla="*/ 6119 w 41152"/>
                  <a:gd name="connsiteY0" fmla="*/ 64497 h 81478"/>
                  <a:gd name="connsiteX1" fmla="*/ 2567 w 41152"/>
                  <a:gd name="connsiteY1" fmla="*/ 16936 h 81478"/>
                  <a:gd name="connsiteX2" fmla="*/ 14884 w 41152"/>
                  <a:gd name="connsiteY2" fmla="*/ 21978 h 81478"/>
                  <a:gd name="connsiteX3" fmla="*/ 15429 w 41152"/>
                  <a:gd name="connsiteY3" fmla="*/ 28048 h 81478"/>
                  <a:gd name="connsiteX4" fmla="*/ 23205 w 41152"/>
                  <a:gd name="connsiteY4" fmla="*/ 38399 h 81478"/>
                  <a:gd name="connsiteX5" fmla="*/ 41127 w 41152"/>
                  <a:gd name="connsiteY5" fmla="*/ 52699 h 81478"/>
                  <a:gd name="connsiteX6" fmla="*/ 6119 w 41152"/>
                  <a:gd name="connsiteY6" fmla="*/ 64497 h 81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1152" h="81478">
                    <a:moveTo>
                      <a:pt x="6119" y="64497"/>
                    </a:moveTo>
                    <a:cubicBezTo>
                      <a:pt x="10749" y="43390"/>
                      <a:pt x="-6286" y="33992"/>
                      <a:pt x="2567" y="16936"/>
                    </a:cubicBezTo>
                    <a:cubicBezTo>
                      <a:pt x="7831" y="-11144"/>
                      <a:pt x="18702" y="-667"/>
                      <a:pt x="14884" y="21978"/>
                    </a:cubicBezTo>
                    <a:cubicBezTo>
                      <a:pt x="779" y="30385"/>
                      <a:pt x="8047" y="44914"/>
                      <a:pt x="15429" y="28048"/>
                    </a:cubicBezTo>
                    <a:cubicBezTo>
                      <a:pt x="39022" y="-82"/>
                      <a:pt x="43689" y="20758"/>
                      <a:pt x="23205" y="38399"/>
                    </a:cubicBezTo>
                    <a:cubicBezTo>
                      <a:pt x="30447" y="41307"/>
                      <a:pt x="36675" y="46285"/>
                      <a:pt x="41127" y="52699"/>
                    </a:cubicBezTo>
                    <a:cubicBezTo>
                      <a:pt x="-23676" y="19323"/>
                      <a:pt x="52505" y="119831"/>
                      <a:pt x="6119" y="64497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96" name="Vrije vorm 595">
                <a:extLst>
                  <a:ext uri="{FF2B5EF4-FFF2-40B4-BE49-F238E27FC236}">
                    <a16:creationId xmlns:a16="http://schemas.microsoft.com/office/drawing/2014/main" id="{3F859432-F7CF-6845-B552-F4D14141B535}"/>
                  </a:ext>
                </a:extLst>
              </p:cNvPr>
              <p:cNvSpPr/>
              <p:nvPr/>
            </p:nvSpPr>
            <p:spPr>
              <a:xfrm>
                <a:off x="9183971" y="4396831"/>
                <a:ext cx="30645" cy="11858"/>
              </a:xfrm>
              <a:custGeom>
                <a:avLst/>
                <a:gdLst>
                  <a:gd name="connsiteX0" fmla="*/ 30619 w 30645"/>
                  <a:gd name="connsiteY0" fmla="*/ 5903 h 11858"/>
                  <a:gd name="connsiteX1" fmla="*/ 11199 w 30645"/>
                  <a:gd name="connsiteY1" fmla="*/ 1851 h 11858"/>
                  <a:gd name="connsiteX2" fmla="*/ 20738 w 30645"/>
                  <a:gd name="connsiteY2" fmla="*/ 9548 h 11858"/>
                  <a:gd name="connsiteX3" fmla="*/ 9272 w 30645"/>
                  <a:gd name="connsiteY3" fmla="*/ 11389 h 11858"/>
                  <a:gd name="connsiteX4" fmla="*/ -26 w 30645"/>
                  <a:gd name="connsiteY4" fmla="*/ 4861 h 11858"/>
                  <a:gd name="connsiteX5" fmla="*/ 3615 w 30645"/>
                  <a:gd name="connsiteY5" fmla="*/ 4557 h 11858"/>
                  <a:gd name="connsiteX6" fmla="*/ 30619 w 30645"/>
                  <a:gd name="connsiteY6" fmla="*/ 5903 h 11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0645" h="11858">
                    <a:moveTo>
                      <a:pt x="30619" y="5903"/>
                    </a:moveTo>
                    <a:cubicBezTo>
                      <a:pt x="30442" y="16609"/>
                      <a:pt x="15030" y="2347"/>
                      <a:pt x="11199" y="1851"/>
                    </a:cubicBezTo>
                    <a:cubicBezTo>
                      <a:pt x="12722" y="5268"/>
                      <a:pt x="16959" y="7109"/>
                      <a:pt x="20738" y="9548"/>
                    </a:cubicBezTo>
                    <a:cubicBezTo>
                      <a:pt x="13318" y="17739"/>
                      <a:pt x="13089" y="683"/>
                      <a:pt x="9272" y="11389"/>
                    </a:cubicBezTo>
                    <a:cubicBezTo>
                      <a:pt x="10617" y="4188"/>
                      <a:pt x="4198" y="8417"/>
                      <a:pt x="-26" y="4861"/>
                    </a:cubicBezTo>
                    <a:cubicBezTo>
                      <a:pt x="6760" y="7020"/>
                      <a:pt x="5898" y="683"/>
                      <a:pt x="3615" y="4557"/>
                    </a:cubicBezTo>
                    <a:cubicBezTo>
                      <a:pt x="-4618" y="1178"/>
                      <a:pt x="29262" y="-4359"/>
                      <a:pt x="30619" y="5903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97" name="Vrije vorm 596">
                <a:extLst>
                  <a:ext uri="{FF2B5EF4-FFF2-40B4-BE49-F238E27FC236}">
                    <a16:creationId xmlns:a16="http://schemas.microsoft.com/office/drawing/2014/main" id="{7B2339E8-B6AA-7C4F-A828-3F05E01BB339}"/>
                  </a:ext>
                </a:extLst>
              </p:cNvPr>
              <p:cNvSpPr/>
              <p:nvPr/>
            </p:nvSpPr>
            <p:spPr>
              <a:xfrm>
                <a:off x="9330190" y="4413955"/>
                <a:ext cx="28454" cy="17090"/>
              </a:xfrm>
              <a:custGeom>
                <a:avLst/>
                <a:gdLst>
                  <a:gd name="connsiteX0" fmla="*/ 28429 w 28454"/>
                  <a:gd name="connsiteY0" fmla="*/ 12935 h 17090"/>
                  <a:gd name="connsiteX1" fmla="*/ 8160 w 28454"/>
                  <a:gd name="connsiteY1" fmla="*/ 7131 h 17090"/>
                  <a:gd name="connsiteX2" fmla="*/ 28429 w 28454"/>
                  <a:gd name="connsiteY2" fmla="*/ 12935 h 17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454" h="17090">
                    <a:moveTo>
                      <a:pt x="28429" y="12935"/>
                    </a:moveTo>
                    <a:cubicBezTo>
                      <a:pt x="15796" y="26524"/>
                      <a:pt x="12206" y="2000"/>
                      <a:pt x="8160" y="7131"/>
                    </a:cubicBezTo>
                    <a:cubicBezTo>
                      <a:pt x="-16511" y="-9150"/>
                      <a:pt x="21820" y="6687"/>
                      <a:pt x="28429" y="12935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98" name="Vrije vorm 597">
                <a:extLst>
                  <a:ext uri="{FF2B5EF4-FFF2-40B4-BE49-F238E27FC236}">
                    <a16:creationId xmlns:a16="http://schemas.microsoft.com/office/drawing/2014/main" id="{F0FFE015-2DC4-694B-B65B-11F19D60D992}"/>
                  </a:ext>
                </a:extLst>
              </p:cNvPr>
              <p:cNvSpPr/>
              <p:nvPr/>
            </p:nvSpPr>
            <p:spPr>
              <a:xfrm>
                <a:off x="9103478" y="4434557"/>
                <a:ext cx="21768" cy="10247"/>
              </a:xfrm>
              <a:custGeom>
                <a:avLst/>
                <a:gdLst>
                  <a:gd name="connsiteX0" fmla="*/ 21727 w 21768"/>
                  <a:gd name="connsiteY0" fmla="*/ 6468 h 10247"/>
                  <a:gd name="connsiteX1" fmla="*/ -26 w 21768"/>
                  <a:gd name="connsiteY1" fmla="*/ 7547 h 10247"/>
                  <a:gd name="connsiteX2" fmla="*/ 21727 w 21768"/>
                  <a:gd name="connsiteY2" fmla="*/ 6468 h 10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1768" h="10247">
                    <a:moveTo>
                      <a:pt x="21727" y="6468"/>
                    </a:moveTo>
                    <a:cubicBezTo>
                      <a:pt x="22361" y="11598"/>
                      <a:pt x="3030" y="11052"/>
                      <a:pt x="-26" y="7547"/>
                    </a:cubicBezTo>
                    <a:cubicBezTo>
                      <a:pt x="1052" y="-5051"/>
                      <a:pt x="14395" y="664"/>
                      <a:pt x="21727" y="6468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99" name="Vrije vorm 598">
                <a:extLst>
                  <a:ext uri="{FF2B5EF4-FFF2-40B4-BE49-F238E27FC236}">
                    <a16:creationId xmlns:a16="http://schemas.microsoft.com/office/drawing/2014/main" id="{74B1AAB1-5295-9F43-8830-5CC2C35CFF79}"/>
                  </a:ext>
                </a:extLst>
              </p:cNvPr>
              <p:cNvSpPr/>
              <p:nvPr/>
            </p:nvSpPr>
            <p:spPr>
              <a:xfrm>
                <a:off x="9332173" y="4441450"/>
                <a:ext cx="39866" cy="7939"/>
              </a:xfrm>
              <a:custGeom>
                <a:avLst/>
                <a:gdLst>
                  <a:gd name="connsiteX0" fmla="*/ 39840 w 39866"/>
                  <a:gd name="connsiteY0" fmla="*/ 4389 h 7939"/>
                  <a:gd name="connsiteX1" fmla="*/ -26 w 39866"/>
                  <a:gd name="connsiteY1" fmla="*/ 921 h 7939"/>
                  <a:gd name="connsiteX2" fmla="*/ 39840 w 39866"/>
                  <a:gd name="connsiteY2" fmla="*/ 4389 h 79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9866" h="7939">
                    <a:moveTo>
                      <a:pt x="39840" y="4389"/>
                    </a:moveTo>
                    <a:cubicBezTo>
                      <a:pt x="34221" y="12580"/>
                      <a:pt x="12290" y="4528"/>
                      <a:pt x="-26" y="921"/>
                    </a:cubicBezTo>
                    <a:cubicBezTo>
                      <a:pt x="8650" y="-2266"/>
                      <a:pt x="27663" y="3804"/>
                      <a:pt x="39840" y="4389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00" name="Vrije vorm 599">
                <a:extLst>
                  <a:ext uri="{FF2B5EF4-FFF2-40B4-BE49-F238E27FC236}">
                    <a16:creationId xmlns:a16="http://schemas.microsoft.com/office/drawing/2014/main" id="{74F4D557-F222-A34A-92AA-65471CB8872A}"/>
                  </a:ext>
                </a:extLst>
              </p:cNvPr>
              <p:cNvSpPr/>
              <p:nvPr/>
            </p:nvSpPr>
            <p:spPr>
              <a:xfrm>
                <a:off x="9016938" y="4441925"/>
                <a:ext cx="27976" cy="9746"/>
              </a:xfrm>
              <a:custGeom>
                <a:avLst/>
                <a:gdLst>
                  <a:gd name="connsiteX0" fmla="*/ 27950 w 27976"/>
                  <a:gd name="connsiteY0" fmla="*/ 4319 h 9746"/>
                  <a:gd name="connsiteX1" fmla="*/ 5347 w 27976"/>
                  <a:gd name="connsiteY1" fmla="*/ 1 h 9746"/>
                  <a:gd name="connsiteX2" fmla="*/ 27950 w 27976"/>
                  <a:gd name="connsiteY2" fmla="*/ 4319 h 9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7976" h="9746">
                    <a:moveTo>
                      <a:pt x="27950" y="4319"/>
                    </a:moveTo>
                    <a:cubicBezTo>
                      <a:pt x="27557" y="10847"/>
                      <a:pt x="-14644" y="13679"/>
                      <a:pt x="5347" y="1"/>
                    </a:cubicBezTo>
                    <a:cubicBezTo>
                      <a:pt x="12970" y="928"/>
                      <a:pt x="20530" y="2376"/>
                      <a:pt x="27950" y="4319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01" name="Vrije vorm 600">
                <a:extLst>
                  <a:ext uri="{FF2B5EF4-FFF2-40B4-BE49-F238E27FC236}">
                    <a16:creationId xmlns:a16="http://schemas.microsoft.com/office/drawing/2014/main" id="{2EB21632-AF5B-2441-A455-671270347431}"/>
                  </a:ext>
                </a:extLst>
              </p:cNvPr>
              <p:cNvSpPr/>
              <p:nvPr/>
            </p:nvSpPr>
            <p:spPr>
              <a:xfrm>
                <a:off x="9169714" y="4444313"/>
                <a:ext cx="19803" cy="9345"/>
              </a:xfrm>
              <a:custGeom>
                <a:avLst/>
                <a:gdLst>
                  <a:gd name="connsiteX0" fmla="*/ 19038 w 19803"/>
                  <a:gd name="connsiteY0" fmla="*/ 4993 h 9345"/>
                  <a:gd name="connsiteX1" fmla="*/ -26 w 19803"/>
                  <a:gd name="connsiteY1" fmla="*/ 4815 h 9345"/>
                  <a:gd name="connsiteX2" fmla="*/ 19038 w 19803"/>
                  <a:gd name="connsiteY2" fmla="*/ 4993 h 9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803" h="9345">
                    <a:moveTo>
                      <a:pt x="19038" y="4993"/>
                    </a:moveTo>
                    <a:cubicBezTo>
                      <a:pt x="20699" y="10352"/>
                      <a:pt x="8472" y="11292"/>
                      <a:pt x="-26" y="4815"/>
                    </a:cubicBezTo>
                    <a:cubicBezTo>
                      <a:pt x="5643" y="1475"/>
                      <a:pt x="23617" y="-4190"/>
                      <a:pt x="19038" y="4993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02" name="Vrije vorm 601">
                <a:extLst>
                  <a:ext uri="{FF2B5EF4-FFF2-40B4-BE49-F238E27FC236}">
                    <a16:creationId xmlns:a16="http://schemas.microsoft.com/office/drawing/2014/main" id="{8E9BF1A9-8C96-0D4C-A766-C18DAF0A7719}"/>
                  </a:ext>
                </a:extLst>
              </p:cNvPr>
              <p:cNvSpPr/>
              <p:nvPr/>
            </p:nvSpPr>
            <p:spPr>
              <a:xfrm>
                <a:off x="9046132" y="4446208"/>
                <a:ext cx="27550" cy="4121"/>
              </a:xfrm>
              <a:custGeom>
                <a:avLst/>
                <a:gdLst>
                  <a:gd name="connsiteX0" fmla="*/ 27524 w 27550"/>
                  <a:gd name="connsiteY0" fmla="*/ 1166 h 4121"/>
                  <a:gd name="connsiteX1" fmla="*/ -26 w 27550"/>
                  <a:gd name="connsiteY1" fmla="*/ 2919 h 4121"/>
                  <a:gd name="connsiteX2" fmla="*/ 27524 w 27550"/>
                  <a:gd name="connsiteY2" fmla="*/ 1166 h 4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7550" h="4121">
                    <a:moveTo>
                      <a:pt x="27524" y="1166"/>
                    </a:moveTo>
                    <a:cubicBezTo>
                      <a:pt x="18696" y="4379"/>
                      <a:pt x="9132" y="4989"/>
                      <a:pt x="-26" y="2919"/>
                    </a:cubicBezTo>
                    <a:cubicBezTo>
                      <a:pt x="824" y="-2796"/>
                      <a:pt x="19432" y="1750"/>
                      <a:pt x="27524" y="1166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03" name="Vrije vorm 602">
                <a:extLst>
                  <a:ext uri="{FF2B5EF4-FFF2-40B4-BE49-F238E27FC236}">
                    <a16:creationId xmlns:a16="http://schemas.microsoft.com/office/drawing/2014/main" id="{73FBEB30-A8EB-F743-8463-41176967BFDF}"/>
                  </a:ext>
                </a:extLst>
              </p:cNvPr>
              <p:cNvSpPr/>
              <p:nvPr/>
            </p:nvSpPr>
            <p:spPr>
              <a:xfrm>
                <a:off x="9118730" y="4475402"/>
                <a:ext cx="83890" cy="28320"/>
              </a:xfrm>
              <a:custGeom>
                <a:avLst/>
                <a:gdLst>
                  <a:gd name="connsiteX0" fmla="*/ 46645 w 83890"/>
                  <a:gd name="connsiteY0" fmla="*/ 17731 h 28320"/>
                  <a:gd name="connsiteX1" fmla="*/ 16089 w 83890"/>
                  <a:gd name="connsiteY1" fmla="*/ 18404 h 28320"/>
                  <a:gd name="connsiteX2" fmla="*/ 1972 w 83890"/>
                  <a:gd name="connsiteY2" fmla="*/ 15928 h 28320"/>
                  <a:gd name="connsiteX3" fmla="*/ 83809 w 83890"/>
                  <a:gd name="connsiteY3" fmla="*/ 21503 h 28320"/>
                  <a:gd name="connsiteX4" fmla="*/ 46645 w 83890"/>
                  <a:gd name="connsiteY4" fmla="*/ 17731 h 28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90" h="28320">
                    <a:moveTo>
                      <a:pt x="46645" y="17731"/>
                    </a:moveTo>
                    <a:cubicBezTo>
                      <a:pt x="29965" y="16474"/>
                      <a:pt x="28621" y="8778"/>
                      <a:pt x="16089" y="18404"/>
                    </a:cubicBezTo>
                    <a:cubicBezTo>
                      <a:pt x="7146" y="11838"/>
                      <a:pt x="7641" y="1932"/>
                      <a:pt x="1972" y="15928"/>
                    </a:cubicBezTo>
                    <a:cubicBezTo>
                      <a:pt x="-14340" y="-4011"/>
                      <a:pt x="74322" y="-8456"/>
                      <a:pt x="83809" y="21503"/>
                    </a:cubicBezTo>
                    <a:cubicBezTo>
                      <a:pt x="85522" y="44681"/>
                      <a:pt x="46379" y="-138"/>
                      <a:pt x="46645" y="1773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04" name="Vrije vorm 603">
                <a:extLst>
                  <a:ext uri="{FF2B5EF4-FFF2-40B4-BE49-F238E27FC236}">
                    <a16:creationId xmlns:a16="http://schemas.microsoft.com/office/drawing/2014/main" id="{1D9DA20E-3FCA-334A-9A0C-F1D6BF4E07BB}"/>
                  </a:ext>
                </a:extLst>
              </p:cNvPr>
              <p:cNvSpPr/>
              <p:nvPr/>
            </p:nvSpPr>
            <p:spPr>
              <a:xfrm>
                <a:off x="9064904" y="4483259"/>
                <a:ext cx="34666" cy="20196"/>
              </a:xfrm>
              <a:custGeom>
                <a:avLst/>
                <a:gdLst>
                  <a:gd name="connsiteX0" fmla="*/ 34640 w 34666"/>
                  <a:gd name="connsiteY0" fmla="*/ 10775 h 20196"/>
                  <a:gd name="connsiteX1" fmla="*/ 2017 w 34666"/>
                  <a:gd name="connsiteY1" fmla="*/ 602 h 20196"/>
                  <a:gd name="connsiteX2" fmla="*/ 34640 w 34666"/>
                  <a:gd name="connsiteY2" fmla="*/ 10775 h 20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666" h="20196">
                    <a:moveTo>
                      <a:pt x="34640" y="10775"/>
                    </a:moveTo>
                    <a:cubicBezTo>
                      <a:pt x="32839" y="29355"/>
                      <a:pt x="-9717" y="17519"/>
                      <a:pt x="2017" y="602"/>
                    </a:cubicBezTo>
                    <a:cubicBezTo>
                      <a:pt x="15221" y="-1150"/>
                      <a:pt x="33334" y="552"/>
                      <a:pt x="34640" y="10775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05" name="Vrije vorm 604">
                <a:extLst>
                  <a:ext uri="{FF2B5EF4-FFF2-40B4-BE49-F238E27FC236}">
                    <a16:creationId xmlns:a16="http://schemas.microsoft.com/office/drawing/2014/main" id="{ADF0332F-1677-3145-928A-9DB7B72C8203}"/>
                  </a:ext>
                </a:extLst>
              </p:cNvPr>
              <p:cNvSpPr/>
              <p:nvPr/>
            </p:nvSpPr>
            <p:spPr>
              <a:xfrm>
                <a:off x="9297313" y="4549442"/>
                <a:ext cx="15631" cy="25999"/>
              </a:xfrm>
              <a:custGeom>
                <a:avLst/>
                <a:gdLst>
                  <a:gd name="connsiteX0" fmla="*/ 15428 w 15631"/>
                  <a:gd name="connsiteY0" fmla="*/ 20628 h 25999"/>
                  <a:gd name="connsiteX1" fmla="*/ 4595 w 15631"/>
                  <a:gd name="connsiteY1" fmla="*/ 10645 h 25999"/>
                  <a:gd name="connsiteX2" fmla="*/ 7880 w 15631"/>
                  <a:gd name="connsiteY2" fmla="*/ 1870 h 25999"/>
                  <a:gd name="connsiteX3" fmla="*/ 15605 w 15631"/>
                  <a:gd name="connsiteY3" fmla="*/ 13071 h 25999"/>
                  <a:gd name="connsiteX4" fmla="*/ 14844 w 15631"/>
                  <a:gd name="connsiteY4" fmla="*/ 14595 h 25999"/>
                  <a:gd name="connsiteX5" fmla="*/ 11736 w 15631"/>
                  <a:gd name="connsiteY5" fmla="*/ 14506 h 25999"/>
                  <a:gd name="connsiteX6" fmla="*/ 12548 w 15631"/>
                  <a:gd name="connsiteY6" fmla="*/ 14862 h 25999"/>
                  <a:gd name="connsiteX7" fmla="*/ 15428 w 15631"/>
                  <a:gd name="connsiteY7" fmla="*/ 20628 h 25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631" h="25999">
                    <a:moveTo>
                      <a:pt x="15428" y="20628"/>
                    </a:moveTo>
                    <a:cubicBezTo>
                      <a:pt x="12003" y="34585"/>
                      <a:pt x="-3992" y="17758"/>
                      <a:pt x="4595" y="10645"/>
                    </a:cubicBezTo>
                    <a:cubicBezTo>
                      <a:pt x="-7987" y="6962"/>
                      <a:pt x="9263" y="7724"/>
                      <a:pt x="7880" y="1870"/>
                    </a:cubicBezTo>
                    <a:cubicBezTo>
                      <a:pt x="14032" y="-5331"/>
                      <a:pt x="14032" y="10417"/>
                      <a:pt x="15605" y="13071"/>
                    </a:cubicBezTo>
                    <a:cubicBezTo>
                      <a:pt x="14438" y="13884"/>
                      <a:pt x="12459" y="13122"/>
                      <a:pt x="14844" y="14595"/>
                    </a:cubicBezTo>
                    <a:cubicBezTo>
                      <a:pt x="14971" y="15497"/>
                      <a:pt x="12548" y="14773"/>
                      <a:pt x="11736" y="14506"/>
                    </a:cubicBezTo>
                    <a:cubicBezTo>
                      <a:pt x="12003" y="14646"/>
                      <a:pt x="12269" y="14760"/>
                      <a:pt x="12548" y="14862"/>
                    </a:cubicBezTo>
                    <a:cubicBezTo>
                      <a:pt x="17533" y="17656"/>
                      <a:pt x="12726" y="22698"/>
                      <a:pt x="15428" y="20628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06" name="Vrije vorm 605">
                <a:extLst>
                  <a:ext uri="{FF2B5EF4-FFF2-40B4-BE49-F238E27FC236}">
                    <a16:creationId xmlns:a16="http://schemas.microsoft.com/office/drawing/2014/main" id="{201183E7-BA43-3341-885B-69930763C018}"/>
                  </a:ext>
                </a:extLst>
              </p:cNvPr>
              <p:cNvSpPr/>
              <p:nvPr/>
            </p:nvSpPr>
            <p:spPr>
              <a:xfrm>
                <a:off x="9293483" y="4571666"/>
                <a:ext cx="11507" cy="19260"/>
              </a:xfrm>
              <a:custGeom>
                <a:avLst/>
                <a:gdLst>
                  <a:gd name="connsiteX0" fmla="*/ 11481 w 11507"/>
                  <a:gd name="connsiteY0" fmla="*/ 10291 h 19260"/>
                  <a:gd name="connsiteX1" fmla="*/ 1638 w 11507"/>
                  <a:gd name="connsiteY1" fmla="*/ 6735 h 19260"/>
                  <a:gd name="connsiteX2" fmla="*/ 11481 w 11507"/>
                  <a:gd name="connsiteY2" fmla="*/ 10291 h 19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507" h="19260">
                    <a:moveTo>
                      <a:pt x="11481" y="10291"/>
                    </a:moveTo>
                    <a:cubicBezTo>
                      <a:pt x="2755" y="29544"/>
                      <a:pt x="-3042" y="12717"/>
                      <a:pt x="1638" y="6735"/>
                    </a:cubicBezTo>
                    <a:cubicBezTo>
                      <a:pt x="-3080" y="-7806"/>
                      <a:pt x="10353" y="4932"/>
                      <a:pt x="11481" y="1029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07" name="Vrije vorm 606">
                <a:extLst>
                  <a:ext uri="{FF2B5EF4-FFF2-40B4-BE49-F238E27FC236}">
                    <a16:creationId xmlns:a16="http://schemas.microsoft.com/office/drawing/2014/main" id="{82F392EE-049F-1746-B57B-D419B7EC14D4}"/>
                  </a:ext>
                </a:extLst>
              </p:cNvPr>
              <p:cNvSpPr/>
              <p:nvPr/>
            </p:nvSpPr>
            <p:spPr>
              <a:xfrm>
                <a:off x="9208660" y="4597933"/>
                <a:ext cx="17334" cy="24566"/>
              </a:xfrm>
              <a:custGeom>
                <a:avLst/>
                <a:gdLst>
                  <a:gd name="connsiteX0" fmla="*/ 17294 w 17334"/>
                  <a:gd name="connsiteY0" fmla="*/ 2515 h 24566"/>
                  <a:gd name="connsiteX1" fmla="*/ 82 w 17334"/>
                  <a:gd name="connsiteY1" fmla="*/ 21412 h 24566"/>
                  <a:gd name="connsiteX2" fmla="*/ 17294 w 17334"/>
                  <a:gd name="connsiteY2" fmla="*/ 2515 h 24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334" h="24566">
                    <a:moveTo>
                      <a:pt x="17294" y="2515"/>
                    </a:moveTo>
                    <a:cubicBezTo>
                      <a:pt x="17751" y="7010"/>
                      <a:pt x="6640" y="33566"/>
                      <a:pt x="82" y="21412"/>
                    </a:cubicBezTo>
                    <a:cubicBezTo>
                      <a:pt x="-1491" y="21234"/>
                      <a:pt x="14555" y="-8699"/>
                      <a:pt x="17294" y="2515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08" name="Vrije vorm 607">
                <a:extLst>
                  <a:ext uri="{FF2B5EF4-FFF2-40B4-BE49-F238E27FC236}">
                    <a16:creationId xmlns:a16="http://schemas.microsoft.com/office/drawing/2014/main" id="{AA80305A-19F9-8548-BAE9-56B5CC34A252}"/>
                  </a:ext>
                </a:extLst>
              </p:cNvPr>
              <p:cNvSpPr/>
              <p:nvPr/>
            </p:nvSpPr>
            <p:spPr>
              <a:xfrm>
                <a:off x="9394465" y="4604081"/>
                <a:ext cx="38153" cy="30758"/>
              </a:xfrm>
              <a:custGeom>
                <a:avLst/>
                <a:gdLst>
                  <a:gd name="connsiteX0" fmla="*/ 38128 w 38153"/>
                  <a:gd name="connsiteY0" fmla="*/ 7886 h 30758"/>
                  <a:gd name="connsiteX1" fmla="*/ 37087 w 38153"/>
                  <a:gd name="connsiteY1" fmla="*/ 16522 h 30758"/>
                  <a:gd name="connsiteX2" fmla="*/ -26 w 38153"/>
                  <a:gd name="connsiteY2" fmla="*/ 30517 h 30758"/>
                  <a:gd name="connsiteX3" fmla="*/ 36872 w 38153"/>
                  <a:gd name="connsiteY3" fmla="*/ 5320 h 30758"/>
                  <a:gd name="connsiteX4" fmla="*/ 38128 w 38153"/>
                  <a:gd name="connsiteY4" fmla="*/ 7886 h 30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153" h="30758">
                    <a:moveTo>
                      <a:pt x="38128" y="7886"/>
                    </a:moveTo>
                    <a:cubicBezTo>
                      <a:pt x="38064" y="10794"/>
                      <a:pt x="37709" y="13677"/>
                      <a:pt x="37087" y="16522"/>
                    </a:cubicBezTo>
                    <a:cubicBezTo>
                      <a:pt x="27625" y="26783"/>
                      <a:pt x="13863" y="31978"/>
                      <a:pt x="-26" y="30517"/>
                    </a:cubicBezTo>
                    <a:cubicBezTo>
                      <a:pt x="2130" y="15214"/>
                      <a:pt x="22082" y="-11380"/>
                      <a:pt x="36872" y="5320"/>
                    </a:cubicBezTo>
                    <a:cubicBezTo>
                      <a:pt x="37379" y="6120"/>
                      <a:pt x="37798" y="6984"/>
                      <a:pt x="38128" y="7886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09" name="Vrije vorm 608">
                <a:extLst>
                  <a:ext uri="{FF2B5EF4-FFF2-40B4-BE49-F238E27FC236}">
                    <a16:creationId xmlns:a16="http://schemas.microsoft.com/office/drawing/2014/main" id="{E33BC381-98CC-1F44-A295-2BBCF881ADDB}"/>
                  </a:ext>
                </a:extLst>
              </p:cNvPr>
              <p:cNvSpPr/>
              <p:nvPr/>
            </p:nvSpPr>
            <p:spPr>
              <a:xfrm>
                <a:off x="9237689" y="4472776"/>
                <a:ext cx="1691" cy="315"/>
              </a:xfrm>
              <a:custGeom>
                <a:avLst/>
                <a:gdLst>
                  <a:gd name="connsiteX0" fmla="*/ -26 w 1691"/>
                  <a:gd name="connsiteY0" fmla="*/ 12 h 315"/>
                  <a:gd name="connsiteX1" fmla="*/ 1230 w 1691"/>
                  <a:gd name="connsiteY1" fmla="*/ 316 h 315"/>
                  <a:gd name="connsiteX2" fmla="*/ -26 w 1691"/>
                  <a:gd name="connsiteY2" fmla="*/ 12 h 3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91" h="315">
                    <a:moveTo>
                      <a:pt x="-26" y="12"/>
                    </a:moveTo>
                    <a:cubicBezTo>
                      <a:pt x="392" y="151"/>
                      <a:pt x="811" y="202"/>
                      <a:pt x="1230" y="316"/>
                    </a:cubicBezTo>
                    <a:cubicBezTo>
                      <a:pt x="1953" y="101"/>
                      <a:pt x="1927" y="-39"/>
                      <a:pt x="-26" y="12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10" name="Vrije vorm 609">
                <a:extLst>
                  <a:ext uri="{FF2B5EF4-FFF2-40B4-BE49-F238E27FC236}">
                    <a16:creationId xmlns:a16="http://schemas.microsoft.com/office/drawing/2014/main" id="{9ACE6E3C-B3B1-1249-BE86-4E803FAF66D1}"/>
                  </a:ext>
                </a:extLst>
              </p:cNvPr>
              <p:cNvSpPr/>
              <p:nvPr/>
            </p:nvSpPr>
            <p:spPr>
              <a:xfrm>
                <a:off x="9204723" y="4409360"/>
                <a:ext cx="284607" cy="243004"/>
              </a:xfrm>
              <a:custGeom>
                <a:avLst/>
                <a:gdLst>
                  <a:gd name="connsiteX0" fmla="*/ 281081 w 284607"/>
                  <a:gd name="connsiteY0" fmla="*/ 174121 h 243004"/>
                  <a:gd name="connsiteX1" fmla="*/ 282653 w 284607"/>
                  <a:gd name="connsiteY1" fmla="*/ 180738 h 243004"/>
                  <a:gd name="connsiteX2" fmla="*/ 284403 w 284607"/>
                  <a:gd name="connsiteY2" fmla="*/ 188561 h 243004"/>
                  <a:gd name="connsiteX3" fmla="*/ 283097 w 284607"/>
                  <a:gd name="connsiteY3" fmla="*/ 243006 h 243004"/>
                  <a:gd name="connsiteX4" fmla="*/ 259860 w 284607"/>
                  <a:gd name="connsiteY4" fmla="*/ 211560 h 243004"/>
                  <a:gd name="connsiteX5" fmla="*/ 235151 w 284607"/>
                  <a:gd name="connsiteY5" fmla="*/ 216018 h 243004"/>
                  <a:gd name="connsiteX6" fmla="*/ 234390 w 284607"/>
                  <a:gd name="connsiteY6" fmla="*/ 213313 h 243004"/>
                  <a:gd name="connsiteX7" fmla="*/ 226843 w 284607"/>
                  <a:gd name="connsiteY7" fmla="*/ 211243 h 243004"/>
                  <a:gd name="connsiteX8" fmla="*/ 227870 w 284607"/>
                  <a:gd name="connsiteY8" fmla="*/ 202607 h 243004"/>
                  <a:gd name="connsiteX9" fmla="*/ 219309 w 284607"/>
                  <a:gd name="connsiteY9" fmla="*/ 190656 h 243004"/>
                  <a:gd name="connsiteX10" fmla="*/ 218877 w 284607"/>
                  <a:gd name="connsiteY10" fmla="*/ 190593 h 243004"/>
                  <a:gd name="connsiteX11" fmla="*/ 234428 w 284607"/>
                  <a:gd name="connsiteY11" fmla="*/ 189373 h 243004"/>
                  <a:gd name="connsiteX12" fmla="*/ 233756 w 284607"/>
                  <a:gd name="connsiteY12" fmla="*/ 183887 h 243004"/>
                  <a:gd name="connsiteX13" fmla="*/ 187827 w 284607"/>
                  <a:gd name="connsiteY13" fmla="*/ 131335 h 243004"/>
                  <a:gd name="connsiteX14" fmla="*/ 112685 w 284607"/>
                  <a:gd name="connsiteY14" fmla="*/ 97857 h 243004"/>
                  <a:gd name="connsiteX15" fmla="*/ 101409 w 284607"/>
                  <a:gd name="connsiteY15" fmla="*/ 100372 h 243004"/>
                  <a:gd name="connsiteX16" fmla="*/ 89993 w 284607"/>
                  <a:gd name="connsiteY16" fmla="*/ 92638 h 243004"/>
                  <a:gd name="connsiteX17" fmla="*/ 84019 w 284607"/>
                  <a:gd name="connsiteY17" fmla="*/ 73689 h 243004"/>
                  <a:gd name="connsiteX18" fmla="*/ 69724 w 284607"/>
                  <a:gd name="connsiteY18" fmla="*/ 93984 h 243004"/>
                  <a:gd name="connsiteX19" fmla="*/ 54756 w 284607"/>
                  <a:gd name="connsiteY19" fmla="*/ 84802 h 243004"/>
                  <a:gd name="connsiteX20" fmla="*/ 29274 w 284607"/>
                  <a:gd name="connsiteY20" fmla="*/ 69371 h 243004"/>
                  <a:gd name="connsiteX21" fmla="*/ 30758 w 284607"/>
                  <a:gd name="connsiteY21" fmla="*/ 65498 h 243004"/>
                  <a:gd name="connsiteX22" fmla="*/ 34170 w 284607"/>
                  <a:gd name="connsiteY22" fmla="*/ 63745 h 243004"/>
                  <a:gd name="connsiteX23" fmla="*/ 69584 w 284607"/>
                  <a:gd name="connsiteY23" fmla="*/ 62170 h 243004"/>
                  <a:gd name="connsiteX24" fmla="*/ 71474 w 284607"/>
                  <a:gd name="connsiteY24" fmla="*/ 58119 h 243004"/>
                  <a:gd name="connsiteX25" fmla="*/ 77500 w 284607"/>
                  <a:gd name="connsiteY25" fmla="*/ 63389 h 243004"/>
                  <a:gd name="connsiteX26" fmla="*/ 81634 w 284607"/>
                  <a:gd name="connsiteY26" fmla="*/ 58665 h 243004"/>
                  <a:gd name="connsiteX27" fmla="*/ 86670 w 284607"/>
                  <a:gd name="connsiteY27" fmla="*/ 54080 h 243004"/>
                  <a:gd name="connsiteX28" fmla="*/ 81990 w 284607"/>
                  <a:gd name="connsiteY28" fmla="*/ 51604 h 243004"/>
                  <a:gd name="connsiteX29" fmla="*/ 83613 w 284607"/>
                  <a:gd name="connsiteY29" fmla="*/ 48086 h 243004"/>
                  <a:gd name="connsiteX30" fmla="*/ 30403 w 284607"/>
                  <a:gd name="connsiteY30" fmla="*/ 34192 h 243004"/>
                  <a:gd name="connsiteX31" fmla="*/ 29274 w 284607"/>
                  <a:gd name="connsiteY31" fmla="*/ 30090 h 243004"/>
                  <a:gd name="connsiteX32" fmla="*/ 11973 w 284607"/>
                  <a:gd name="connsiteY32" fmla="*/ 26039 h 243004"/>
                  <a:gd name="connsiteX33" fmla="*/ -26 w 284607"/>
                  <a:gd name="connsiteY33" fmla="*/ 26534 h 243004"/>
                  <a:gd name="connsiteX34" fmla="*/ 91388 w 284607"/>
                  <a:gd name="connsiteY34" fmla="*/ 11421 h 243004"/>
                  <a:gd name="connsiteX35" fmla="*/ 94534 w 284607"/>
                  <a:gd name="connsiteY35" fmla="*/ 24794 h 243004"/>
                  <a:gd name="connsiteX36" fmla="*/ 102221 w 284607"/>
                  <a:gd name="connsiteY36" fmla="*/ 57002 h 243004"/>
                  <a:gd name="connsiteX37" fmla="*/ 178212 w 284607"/>
                  <a:gd name="connsiteY37" fmla="*/ 44860 h 243004"/>
                  <a:gd name="connsiteX38" fmla="*/ 284264 w 284607"/>
                  <a:gd name="connsiteY38" fmla="*/ 57725 h 243004"/>
                  <a:gd name="connsiteX39" fmla="*/ 284581 w 284607"/>
                  <a:gd name="connsiteY39" fmla="*/ 131881 h 243004"/>
                  <a:gd name="connsiteX40" fmla="*/ 284403 w 284607"/>
                  <a:gd name="connsiteY40" fmla="*/ 162297 h 243004"/>
                  <a:gd name="connsiteX41" fmla="*/ 283364 w 284607"/>
                  <a:gd name="connsiteY41" fmla="*/ 168508 h 243004"/>
                  <a:gd name="connsiteX42" fmla="*/ 281081 w 284607"/>
                  <a:gd name="connsiteY42" fmla="*/ 174121 h 2430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</a:cxnLst>
                <a:rect l="l" t="t" r="r" b="b"/>
                <a:pathLst>
                  <a:path w="284607" h="243004">
                    <a:moveTo>
                      <a:pt x="281081" y="174121"/>
                    </a:moveTo>
                    <a:cubicBezTo>
                      <a:pt x="280979" y="176432"/>
                      <a:pt x="281524" y="178718"/>
                      <a:pt x="282653" y="180738"/>
                    </a:cubicBezTo>
                    <a:cubicBezTo>
                      <a:pt x="283884" y="183163"/>
                      <a:pt x="284480" y="185856"/>
                      <a:pt x="284403" y="188561"/>
                    </a:cubicBezTo>
                    <a:cubicBezTo>
                      <a:pt x="284403" y="190136"/>
                      <a:pt x="283592" y="223079"/>
                      <a:pt x="283097" y="243006"/>
                    </a:cubicBezTo>
                    <a:cubicBezTo>
                      <a:pt x="267686" y="237570"/>
                      <a:pt x="256587" y="227575"/>
                      <a:pt x="259860" y="211560"/>
                    </a:cubicBezTo>
                    <a:cubicBezTo>
                      <a:pt x="257805" y="212818"/>
                      <a:pt x="239819" y="223841"/>
                      <a:pt x="235151" y="216018"/>
                    </a:cubicBezTo>
                    <a:cubicBezTo>
                      <a:pt x="235786" y="212284"/>
                      <a:pt x="234872" y="209935"/>
                      <a:pt x="234390" y="213313"/>
                    </a:cubicBezTo>
                    <a:cubicBezTo>
                      <a:pt x="223507" y="224337"/>
                      <a:pt x="225257" y="219345"/>
                      <a:pt x="226843" y="211243"/>
                    </a:cubicBezTo>
                    <a:cubicBezTo>
                      <a:pt x="228530" y="208690"/>
                      <a:pt x="228923" y="205490"/>
                      <a:pt x="227870" y="202607"/>
                    </a:cubicBezTo>
                    <a:cubicBezTo>
                      <a:pt x="228796" y="196943"/>
                      <a:pt x="224966" y="191583"/>
                      <a:pt x="219309" y="190656"/>
                    </a:cubicBezTo>
                    <a:cubicBezTo>
                      <a:pt x="219169" y="190631"/>
                      <a:pt x="219029" y="190605"/>
                      <a:pt x="218877" y="190593"/>
                    </a:cubicBezTo>
                    <a:cubicBezTo>
                      <a:pt x="222746" y="187672"/>
                      <a:pt x="231916" y="195089"/>
                      <a:pt x="234428" y="189373"/>
                    </a:cubicBezTo>
                    <a:cubicBezTo>
                      <a:pt x="221846" y="194962"/>
                      <a:pt x="206028" y="172775"/>
                      <a:pt x="233756" y="183887"/>
                    </a:cubicBezTo>
                    <a:cubicBezTo>
                      <a:pt x="198709" y="163275"/>
                      <a:pt x="210886" y="141774"/>
                      <a:pt x="187827" y="131335"/>
                    </a:cubicBezTo>
                    <a:cubicBezTo>
                      <a:pt x="190744" y="128312"/>
                      <a:pt x="82497" y="107306"/>
                      <a:pt x="112685" y="97857"/>
                    </a:cubicBezTo>
                    <a:cubicBezTo>
                      <a:pt x="108753" y="96625"/>
                      <a:pt x="104453" y="97591"/>
                      <a:pt x="101409" y="100372"/>
                    </a:cubicBezTo>
                    <a:cubicBezTo>
                      <a:pt x="93900" y="90974"/>
                      <a:pt x="96335" y="108068"/>
                      <a:pt x="89993" y="92638"/>
                    </a:cubicBezTo>
                    <a:cubicBezTo>
                      <a:pt x="82890" y="99381"/>
                      <a:pt x="68785" y="78998"/>
                      <a:pt x="84019" y="73689"/>
                    </a:cubicBezTo>
                    <a:cubicBezTo>
                      <a:pt x="77322" y="64202"/>
                      <a:pt x="74760" y="88586"/>
                      <a:pt x="69724" y="93984"/>
                    </a:cubicBezTo>
                    <a:cubicBezTo>
                      <a:pt x="64777" y="111358"/>
                      <a:pt x="44292" y="98353"/>
                      <a:pt x="54756" y="84802"/>
                    </a:cubicBezTo>
                    <a:cubicBezTo>
                      <a:pt x="48732" y="80573"/>
                      <a:pt x="43429" y="67390"/>
                      <a:pt x="29274" y="69371"/>
                    </a:cubicBezTo>
                    <a:cubicBezTo>
                      <a:pt x="29959" y="68165"/>
                      <a:pt x="30453" y="66857"/>
                      <a:pt x="30758" y="65498"/>
                    </a:cubicBezTo>
                    <a:cubicBezTo>
                      <a:pt x="25773" y="65371"/>
                      <a:pt x="32382" y="64291"/>
                      <a:pt x="34170" y="63745"/>
                    </a:cubicBezTo>
                    <a:cubicBezTo>
                      <a:pt x="51788" y="68470"/>
                      <a:pt x="66616" y="45965"/>
                      <a:pt x="69584" y="62170"/>
                    </a:cubicBezTo>
                    <a:cubicBezTo>
                      <a:pt x="70345" y="50791"/>
                      <a:pt x="71829" y="65726"/>
                      <a:pt x="71474" y="58119"/>
                    </a:cubicBezTo>
                    <a:cubicBezTo>
                      <a:pt x="73592" y="59643"/>
                      <a:pt x="78083" y="56544"/>
                      <a:pt x="77500" y="63389"/>
                    </a:cubicBezTo>
                    <a:cubicBezTo>
                      <a:pt x="78755" y="51375"/>
                      <a:pt x="80734" y="65371"/>
                      <a:pt x="81634" y="58665"/>
                    </a:cubicBezTo>
                    <a:cubicBezTo>
                      <a:pt x="77816" y="53039"/>
                      <a:pt x="81545" y="56595"/>
                      <a:pt x="86670" y="54080"/>
                    </a:cubicBezTo>
                    <a:cubicBezTo>
                      <a:pt x="78844" y="54715"/>
                      <a:pt x="90310" y="47413"/>
                      <a:pt x="81990" y="51604"/>
                    </a:cubicBezTo>
                    <a:cubicBezTo>
                      <a:pt x="77538" y="49940"/>
                      <a:pt x="88104" y="47464"/>
                      <a:pt x="83613" y="48086"/>
                    </a:cubicBezTo>
                    <a:cubicBezTo>
                      <a:pt x="73415" y="47680"/>
                      <a:pt x="19748" y="58525"/>
                      <a:pt x="30403" y="34192"/>
                    </a:cubicBezTo>
                    <a:cubicBezTo>
                      <a:pt x="27079" y="36034"/>
                      <a:pt x="24733" y="32211"/>
                      <a:pt x="29274" y="30090"/>
                    </a:cubicBezTo>
                    <a:cubicBezTo>
                      <a:pt x="23199" y="31678"/>
                      <a:pt x="16716" y="30166"/>
                      <a:pt x="11973" y="26039"/>
                    </a:cubicBezTo>
                    <a:cubicBezTo>
                      <a:pt x="7254" y="26268"/>
                      <a:pt x="9690" y="32211"/>
                      <a:pt x="-26" y="26534"/>
                    </a:cubicBezTo>
                    <a:cubicBezTo>
                      <a:pt x="17643" y="-7654"/>
                      <a:pt x="58803" y="-4289"/>
                      <a:pt x="91388" y="11421"/>
                    </a:cubicBezTo>
                    <a:cubicBezTo>
                      <a:pt x="82763" y="12640"/>
                      <a:pt x="92783" y="20781"/>
                      <a:pt x="94534" y="24794"/>
                    </a:cubicBezTo>
                    <a:cubicBezTo>
                      <a:pt x="83119" y="36123"/>
                      <a:pt x="98936" y="82059"/>
                      <a:pt x="102221" y="57002"/>
                    </a:cubicBezTo>
                    <a:cubicBezTo>
                      <a:pt x="125763" y="118914"/>
                      <a:pt x="135466" y="49127"/>
                      <a:pt x="178212" y="44860"/>
                    </a:cubicBezTo>
                    <a:cubicBezTo>
                      <a:pt x="177628" y="23931"/>
                      <a:pt x="230115" y="37697"/>
                      <a:pt x="284264" y="57725"/>
                    </a:cubicBezTo>
                    <a:cubicBezTo>
                      <a:pt x="284492" y="84091"/>
                      <a:pt x="284581" y="130712"/>
                      <a:pt x="284581" y="131881"/>
                    </a:cubicBezTo>
                    <a:cubicBezTo>
                      <a:pt x="284581" y="133494"/>
                      <a:pt x="284403" y="162297"/>
                      <a:pt x="284403" y="162297"/>
                    </a:cubicBezTo>
                    <a:cubicBezTo>
                      <a:pt x="284238" y="164393"/>
                      <a:pt x="283884" y="166463"/>
                      <a:pt x="283364" y="168508"/>
                    </a:cubicBezTo>
                    <a:cubicBezTo>
                      <a:pt x="282565" y="171733"/>
                      <a:pt x="280801" y="170247"/>
                      <a:pt x="281081" y="17412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11" name="Vrije vorm 610">
                <a:extLst>
                  <a:ext uri="{FF2B5EF4-FFF2-40B4-BE49-F238E27FC236}">
                    <a16:creationId xmlns:a16="http://schemas.microsoft.com/office/drawing/2014/main" id="{C5C4F744-A574-A349-A688-C3444479AEEC}"/>
                  </a:ext>
                </a:extLst>
              </p:cNvPr>
              <p:cNvSpPr/>
              <p:nvPr/>
            </p:nvSpPr>
            <p:spPr>
              <a:xfrm>
                <a:off x="8243680" y="4354353"/>
                <a:ext cx="24543" cy="25152"/>
              </a:xfrm>
              <a:custGeom>
                <a:avLst/>
                <a:gdLst>
                  <a:gd name="connsiteX0" fmla="*/ 24518 w 24543"/>
                  <a:gd name="connsiteY0" fmla="*/ 13596 h 25152"/>
                  <a:gd name="connsiteX1" fmla="*/ -26 w 24543"/>
                  <a:gd name="connsiteY1" fmla="*/ 1760 h 25152"/>
                  <a:gd name="connsiteX2" fmla="*/ 24518 w 24543"/>
                  <a:gd name="connsiteY2" fmla="*/ 13596 h 25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4543" h="25152">
                    <a:moveTo>
                      <a:pt x="24518" y="13596"/>
                    </a:moveTo>
                    <a:cubicBezTo>
                      <a:pt x="22717" y="43428"/>
                      <a:pt x="10134" y="6662"/>
                      <a:pt x="-26" y="1760"/>
                    </a:cubicBezTo>
                    <a:cubicBezTo>
                      <a:pt x="14814" y="-3498"/>
                      <a:pt x="12430" y="3792"/>
                      <a:pt x="24518" y="13596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12" name="Vrije vorm 611">
                <a:extLst>
                  <a:ext uri="{FF2B5EF4-FFF2-40B4-BE49-F238E27FC236}">
                    <a16:creationId xmlns:a16="http://schemas.microsoft.com/office/drawing/2014/main" id="{AEE272D0-CAEB-7D43-A5F0-D6AD4A22D7B3}"/>
                  </a:ext>
                </a:extLst>
              </p:cNvPr>
              <p:cNvSpPr/>
              <p:nvPr/>
            </p:nvSpPr>
            <p:spPr>
              <a:xfrm>
                <a:off x="8472972" y="4438868"/>
                <a:ext cx="45967" cy="44890"/>
              </a:xfrm>
              <a:custGeom>
                <a:avLst/>
                <a:gdLst>
                  <a:gd name="connsiteX0" fmla="*/ 45941 w 45967"/>
                  <a:gd name="connsiteY0" fmla="*/ 29423 h 44890"/>
                  <a:gd name="connsiteX1" fmla="*/ -26 w 45967"/>
                  <a:gd name="connsiteY1" fmla="*/ 15885 h 44890"/>
                  <a:gd name="connsiteX2" fmla="*/ 15524 w 45967"/>
                  <a:gd name="connsiteY2" fmla="*/ 404 h 44890"/>
                  <a:gd name="connsiteX3" fmla="*/ 45941 w 45967"/>
                  <a:gd name="connsiteY3" fmla="*/ 29423 h 44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967" h="44890">
                    <a:moveTo>
                      <a:pt x="45941" y="29423"/>
                    </a:moveTo>
                    <a:cubicBezTo>
                      <a:pt x="34931" y="73200"/>
                      <a:pt x="26712" y="9484"/>
                      <a:pt x="-26" y="15885"/>
                    </a:cubicBezTo>
                    <a:cubicBezTo>
                      <a:pt x="12873" y="-17237"/>
                      <a:pt x="20737" y="21054"/>
                      <a:pt x="15524" y="404"/>
                    </a:cubicBezTo>
                    <a:cubicBezTo>
                      <a:pt x="34982" y="-4194"/>
                      <a:pt x="22526" y="32166"/>
                      <a:pt x="45941" y="29423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13" name="Vrije vorm 612">
                <a:extLst>
                  <a:ext uri="{FF2B5EF4-FFF2-40B4-BE49-F238E27FC236}">
                    <a16:creationId xmlns:a16="http://schemas.microsoft.com/office/drawing/2014/main" id="{F10D8C11-5463-2943-905C-3732500B3205}"/>
                  </a:ext>
                </a:extLst>
              </p:cNvPr>
              <p:cNvSpPr/>
              <p:nvPr/>
            </p:nvSpPr>
            <p:spPr>
              <a:xfrm>
                <a:off x="8541840" y="4467734"/>
                <a:ext cx="20338" cy="19771"/>
              </a:xfrm>
              <a:custGeom>
                <a:avLst/>
                <a:gdLst>
                  <a:gd name="connsiteX0" fmla="*/ 20313 w 20338"/>
                  <a:gd name="connsiteY0" fmla="*/ 8699 h 19771"/>
                  <a:gd name="connsiteX1" fmla="*/ 1528 w 20338"/>
                  <a:gd name="connsiteY1" fmla="*/ 19773 h 19771"/>
                  <a:gd name="connsiteX2" fmla="*/ 20313 w 20338"/>
                  <a:gd name="connsiteY2" fmla="*/ 8699 h 19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0338" h="19771">
                    <a:moveTo>
                      <a:pt x="20313" y="8699"/>
                    </a:moveTo>
                    <a:cubicBezTo>
                      <a:pt x="8085" y="32778"/>
                      <a:pt x="16533" y="7937"/>
                      <a:pt x="1528" y="19773"/>
                    </a:cubicBezTo>
                    <a:cubicBezTo>
                      <a:pt x="-4637" y="5231"/>
                      <a:pt x="8757" y="-10059"/>
                      <a:pt x="20313" y="8699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14" name="Vrije vorm 613">
                <a:extLst>
                  <a:ext uri="{FF2B5EF4-FFF2-40B4-BE49-F238E27FC236}">
                    <a16:creationId xmlns:a16="http://schemas.microsoft.com/office/drawing/2014/main" id="{BE325DB3-659D-F840-BE44-F1E635D15EFE}"/>
                  </a:ext>
                </a:extLst>
              </p:cNvPr>
              <p:cNvSpPr/>
              <p:nvPr/>
            </p:nvSpPr>
            <p:spPr>
              <a:xfrm>
                <a:off x="8688195" y="4589912"/>
                <a:ext cx="38137" cy="10535"/>
              </a:xfrm>
              <a:custGeom>
                <a:avLst/>
                <a:gdLst>
                  <a:gd name="connsiteX0" fmla="*/ 11557 w 38137"/>
                  <a:gd name="connsiteY0" fmla="*/ 10536 h 10535"/>
                  <a:gd name="connsiteX1" fmla="*/ 37090 w 38137"/>
                  <a:gd name="connsiteY1" fmla="*/ 1672 h 10535"/>
                  <a:gd name="connsiteX2" fmla="*/ 11557 w 38137"/>
                  <a:gd name="connsiteY2" fmla="*/ 10536 h 105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8137" h="10535">
                    <a:moveTo>
                      <a:pt x="11557" y="10536"/>
                    </a:moveTo>
                    <a:cubicBezTo>
                      <a:pt x="-21105" y="4910"/>
                      <a:pt x="24368" y="-3637"/>
                      <a:pt x="37090" y="1672"/>
                    </a:cubicBezTo>
                    <a:cubicBezTo>
                      <a:pt x="44777" y="8593"/>
                      <a:pt x="6394" y="9457"/>
                      <a:pt x="11557" y="10536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15" name="Vrije vorm 614">
                <a:extLst>
                  <a:ext uri="{FF2B5EF4-FFF2-40B4-BE49-F238E27FC236}">
                    <a16:creationId xmlns:a16="http://schemas.microsoft.com/office/drawing/2014/main" id="{3CF3B8E7-C099-AF4A-AAC5-2A5360B29651}"/>
                  </a:ext>
                </a:extLst>
              </p:cNvPr>
              <p:cNvSpPr/>
              <p:nvPr/>
            </p:nvSpPr>
            <p:spPr>
              <a:xfrm>
                <a:off x="8995723" y="4632117"/>
                <a:ext cx="100565" cy="52754"/>
              </a:xfrm>
              <a:custGeom>
                <a:avLst/>
                <a:gdLst>
                  <a:gd name="connsiteX0" fmla="*/ 97568 w 100565"/>
                  <a:gd name="connsiteY0" fmla="*/ 9593 h 52754"/>
                  <a:gd name="connsiteX1" fmla="*/ 25129 w 100565"/>
                  <a:gd name="connsiteY1" fmla="*/ 23995 h 52754"/>
                  <a:gd name="connsiteX2" fmla="*/ 97568 w 100565"/>
                  <a:gd name="connsiteY2" fmla="*/ 9593 h 527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0565" h="52754">
                    <a:moveTo>
                      <a:pt x="97568" y="9593"/>
                    </a:moveTo>
                    <a:cubicBezTo>
                      <a:pt x="62345" y="23677"/>
                      <a:pt x="-49518" y="89997"/>
                      <a:pt x="25129" y="23995"/>
                    </a:cubicBezTo>
                    <a:cubicBezTo>
                      <a:pt x="34160" y="12603"/>
                      <a:pt x="117115" y="-14308"/>
                      <a:pt x="97568" y="9593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16" name="Vrije vorm 615">
                <a:extLst>
                  <a:ext uri="{FF2B5EF4-FFF2-40B4-BE49-F238E27FC236}">
                    <a16:creationId xmlns:a16="http://schemas.microsoft.com/office/drawing/2014/main" id="{99B690B1-B03B-6143-B8C5-36DFC34B85C9}"/>
                  </a:ext>
                </a:extLst>
              </p:cNvPr>
              <p:cNvSpPr/>
              <p:nvPr/>
            </p:nvSpPr>
            <p:spPr>
              <a:xfrm>
                <a:off x="8288314" y="4422340"/>
                <a:ext cx="18512" cy="24134"/>
              </a:xfrm>
              <a:custGeom>
                <a:avLst/>
                <a:gdLst>
                  <a:gd name="connsiteX0" fmla="*/ 15931 w 18512"/>
                  <a:gd name="connsiteY0" fmla="*/ 19624 h 24134"/>
                  <a:gd name="connsiteX1" fmla="*/ 5454 w 18512"/>
                  <a:gd name="connsiteY1" fmla="*/ 18012 h 24134"/>
                  <a:gd name="connsiteX2" fmla="*/ 11302 w 18512"/>
                  <a:gd name="connsiteY2" fmla="*/ 7712 h 24134"/>
                  <a:gd name="connsiteX3" fmla="*/ 18037 w 18512"/>
                  <a:gd name="connsiteY3" fmla="*/ 19853 h 24134"/>
                  <a:gd name="connsiteX4" fmla="*/ 15931 w 18512"/>
                  <a:gd name="connsiteY4" fmla="*/ 19624 h 24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512" h="24134">
                    <a:moveTo>
                      <a:pt x="15931" y="19624"/>
                    </a:moveTo>
                    <a:cubicBezTo>
                      <a:pt x="21906" y="27816"/>
                      <a:pt x="5100" y="23358"/>
                      <a:pt x="5454" y="18012"/>
                    </a:cubicBezTo>
                    <a:cubicBezTo>
                      <a:pt x="-7357" y="6404"/>
                      <a:pt x="5543" y="-9801"/>
                      <a:pt x="11302" y="7712"/>
                    </a:cubicBezTo>
                    <a:cubicBezTo>
                      <a:pt x="13192" y="11941"/>
                      <a:pt x="15450" y="16005"/>
                      <a:pt x="18037" y="19853"/>
                    </a:cubicBezTo>
                    <a:cubicBezTo>
                      <a:pt x="19255" y="25974"/>
                      <a:pt x="17809" y="18824"/>
                      <a:pt x="15931" y="19624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17" name="Vrije vorm 616">
                <a:extLst>
                  <a:ext uri="{FF2B5EF4-FFF2-40B4-BE49-F238E27FC236}">
                    <a16:creationId xmlns:a16="http://schemas.microsoft.com/office/drawing/2014/main" id="{57A834F6-271B-A64B-BE5C-CE55817D8C6D}"/>
                  </a:ext>
                </a:extLst>
              </p:cNvPr>
              <p:cNvSpPr/>
              <p:nvPr/>
            </p:nvSpPr>
            <p:spPr>
              <a:xfrm>
                <a:off x="8738173" y="4625114"/>
                <a:ext cx="34004" cy="21856"/>
              </a:xfrm>
              <a:custGeom>
                <a:avLst/>
                <a:gdLst>
                  <a:gd name="connsiteX0" fmla="*/ 20674 w 34004"/>
                  <a:gd name="connsiteY0" fmla="*/ 19657 h 21856"/>
                  <a:gd name="connsiteX1" fmla="*/ 16895 w 34004"/>
                  <a:gd name="connsiteY1" fmla="*/ 21092 h 21856"/>
                  <a:gd name="connsiteX2" fmla="*/ 16362 w 34004"/>
                  <a:gd name="connsiteY2" fmla="*/ 14031 h 21856"/>
                  <a:gd name="connsiteX3" fmla="*/ 31735 w 34004"/>
                  <a:gd name="connsiteY3" fmla="*/ 5572 h 21856"/>
                  <a:gd name="connsiteX4" fmla="*/ 20674 w 34004"/>
                  <a:gd name="connsiteY4" fmla="*/ 19657 h 21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004" h="21856">
                    <a:moveTo>
                      <a:pt x="20674" y="19657"/>
                    </a:moveTo>
                    <a:cubicBezTo>
                      <a:pt x="21436" y="17853"/>
                      <a:pt x="20231" y="23924"/>
                      <a:pt x="16895" y="21092"/>
                    </a:cubicBezTo>
                    <a:cubicBezTo>
                      <a:pt x="20637" y="18488"/>
                      <a:pt x="19013" y="16901"/>
                      <a:pt x="16362" y="14031"/>
                    </a:cubicBezTo>
                    <a:cubicBezTo>
                      <a:pt x="-22248" y="-143"/>
                      <a:pt x="17617" y="-4689"/>
                      <a:pt x="31735" y="5572"/>
                    </a:cubicBezTo>
                    <a:cubicBezTo>
                      <a:pt x="41172" y="11821"/>
                      <a:pt x="17579" y="13941"/>
                      <a:pt x="20674" y="19657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18" name="Vrije vorm 617">
                <a:extLst>
                  <a:ext uri="{FF2B5EF4-FFF2-40B4-BE49-F238E27FC236}">
                    <a16:creationId xmlns:a16="http://schemas.microsoft.com/office/drawing/2014/main" id="{8B1442D8-6310-E843-A0D2-F79816FE0FD9}"/>
                  </a:ext>
                </a:extLst>
              </p:cNvPr>
              <p:cNvSpPr/>
              <p:nvPr/>
            </p:nvSpPr>
            <p:spPr>
              <a:xfrm>
                <a:off x="8891184" y="4625308"/>
                <a:ext cx="88838" cy="22745"/>
              </a:xfrm>
              <a:custGeom>
                <a:avLst/>
                <a:gdLst>
                  <a:gd name="connsiteX0" fmla="*/ 88812 w 88838"/>
                  <a:gd name="connsiteY0" fmla="*/ 5378 h 22745"/>
                  <a:gd name="connsiteX1" fmla="*/ 5363 w 88838"/>
                  <a:gd name="connsiteY1" fmla="*/ 8211 h 22745"/>
                  <a:gd name="connsiteX2" fmla="*/ 73490 w 88838"/>
                  <a:gd name="connsiteY2" fmla="*/ 10954 h 22745"/>
                  <a:gd name="connsiteX3" fmla="*/ 82115 w 88838"/>
                  <a:gd name="connsiteY3" fmla="*/ 3715 h 22745"/>
                  <a:gd name="connsiteX4" fmla="*/ 88812 w 88838"/>
                  <a:gd name="connsiteY4" fmla="*/ 5378 h 22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8838" h="22745">
                    <a:moveTo>
                      <a:pt x="88812" y="5378"/>
                    </a:moveTo>
                    <a:cubicBezTo>
                      <a:pt x="85578" y="26384"/>
                      <a:pt x="-25421" y="29534"/>
                      <a:pt x="5363" y="8211"/>
                    </a:cubicBezTo>
                    <a:cubicBezTo>
                      <a:pt x="22081" y="-3626"/>
                      <a:pt x="61541" y="23235"/>
                      <a:pt x="73490" y="10954"/>
                    </a:cubicBezTo>
                    <a:cubicBezTo>
                      <a:pt x="77092" y="9468"/>
                      <a:pt x="93036" y="375"/>
                      <a:pt x="82115" y="3715"/>
                    </a:cubicBezTo>
                    <a:cubicBezTo>
                      <a:pt x="78526" y="-425"/>
                      <a:pt x="88369" y="-2597"/>
                      <a:pt x="88812" y="5378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19" name="Vrije vorm 618">
                <a:extLst>
                  <a:ext uri="{FF2B5EF4-FFF2-40B4-BE49-F238E27FC236}">
                    <a16:creationId xmlns:a16="http://schemas.microsoft.com/office/drawing/2014/main" id="{ADAADAB5-410E-5F45-8906-9FE73C6AFC31}"/>
                  </a:ext>
                </a:extLst>
              </p:cNvPr>
              <p:cNvSpPr/>
              <p:nvPr/>
            </p:nvSpPr>
            <p:spPr>
              <a:xfrm>
                <a:off x="8801901" y="4624902"/>
                <a:ext cx="69734" cy="28481"/>
              </a:xfrm>
              <a:custGeom>
                <a:avLst/>
                <a:gdLst>
                  <a:gd name="connsiteX0" fmla="*/ 69708 w 69734"/>
                  <a:gd name="connsiteY0" fmla="*/ 14954 h 28481"/>
                  <a:gd name="connsiteX1" fmla="*/ 58610 w 69734"/>
                  <a:gd name="connsiteY1" fmla="*/ 17799 h 28481"/>
                  <a:gd name="connsiteX2" fmla="*/ 59548 w 69734"/>
                  <a:gd name="connsiteY2" fmla="*/ 21444 h 28481"/>
                  <a:gd name="connsiteX3" fmla="*/ 46699 w 69734"/>
                  <a:gd name="connsiteY3" fmla="*/ 16757 h 28481"/>
                  <a:gd name="connsiteX4" fmla="*/ 47 w 69734"/>
                  <a:gd name="connsiteY4" fmla="*/ 16580 h 28481"/>
                  <a:gd name="connsiteX5" fmla="*/ 24185 w 69734"/>
                  <a:gd name="connsiteY5" fmla="*/ 10280 h 28481"/>
                  <a:gd name="connsiteX6" fmla="*/ 37490 w 69734"/>
                  <a:gd name="connsiteY6" fmla="*/ 16262 h 28481"/>
                  <a:gd name="connsiteX7" fmla="*/ 27368 w 69734"/>
                  <a:gd name="connsiteY7" fmla="*/ 4426 h 28481"/>
                  <a:gd name="connsiteX8" fmla="*/ 40585 w 69734"/>
                  <a:gd name="connsiteY8" fmla="*/ 4159 h 28481"/>
                  <a:gd name="connsiteX9" fmla="*/ 54475 w 69734"/>
                  <a:gd name="connsiteY9" fmla="*/ 13163 h 28481"/>
                  <a:gd name="connsiteX10" fmla="*/ 69708 w 69734"/>
                  <a:gd name="connsiteY10" fmla="*/ 14954 h 284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9734" h="28481">
                    <a:moveTo>
                      <a:pt x="69708" y="14954"/>
                    </a:moveTo>
                    <a:cubicBezTo>
                      <a:pt x="68858" y="21571"/>
                      <a:pt x="63277" y="17748"/>
                      <a:pt x="58610" y="17799"/>
                    </a:cubicBezTo>
                    <a:cubicBezTo>
                      <a:pt x="48006" y="19234"/>
                      <a:pt x="69848" y="21037"/>
                      <a:pt x="59548" y="21444"/>
                    </a:cubicBezTo>
                    <a:cubicBezTo>
                      <a:pt x="38201" y="24187"/>
                      <a:pt x="51646" y="14649"/>
                      <a:pt x="46699" y="16757"/>
                    </a:cubicBezTo>
                    <a:cubicBezTo>
                      <a:pt x="34966" y="23907"/>
                      <a:pt x="-1882" y="39211"/>
                      <a:pt x="47" y="16580"/>
                    </a:cubicBezTo>
                    <a:cubicBezTo>
                      <a:pt x="5577" y="5784"/>
                      <a:pt x="21217" y="10509"/>
                      <a:pt x="24185" y="10280"/>
                    </a:cubicBezTo>
                    <a:cubicBezTo>
                      <a:pt x="27279" y="13341"/>
                      <a:pt x="31199" y="22739"/>
                      <a:pt x="37490" y="16262"/>
                    </a:cubicBezTo>
                    <a:cubicBezTo>
                      <a:pt x="53219" y="15627"/>
                      <a:pt x="31060" y="10547"/>
                      <a:pt x="27368" y="4426"/>
                    </a:cubicBezTo>
                    <a:cubicBezTo>
                      <a:pt x="27152" y="-1010"/>
                      <a:pt x="40674" y="-1823"/>
                      <a:pt x="40585" y="4159"/>
                    </a:cubicBezTo>
                    <a:cubicBezTo>
                      <a:pt x="43731" y="12401"/>
                      <a:pt x="58381" y="-2763"/>
                      <a:pt x="54475" y="13163"/>
                    </a:cubicBezTo>
                    <a:cubicBezTo>
                      <a:pt x="62377" y="-5696"/>
                      <a:pt x="63417" y="17430"/>
                      <a:pt x="69708" y="14954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20" name="Vrije vorm 619">
                <a:extLst>
                  <a:ext uri="{FF2B5EF4-FFF2-40B4-BE49-F238E27FC236}">
                    <a16:creationId xmlns:a16="http://schemas.microsoft.com/office/drawing/2014/main" id="{A458465F-0336-3447-8E00-9BB5BB9CA4D1}"/>
                  </a:ext>
                </a:extLst>
              </p:cNvPr>
              <p:cNvSpPr/>
              <p:nvPr/>
            </p:nvSpPr>
            <p:spPr>
              <a:xfrm>
                <a:off x="8776043" y="4628725"/>
                <a:ext cx="25553" cy="20738"/>
              </a:xfrm>
              <a:custGeom>
                <a:avLst/>
                <a:gdLst>
                  <a:gd name="connsiteX0" fmla="*/ 18180 w 25553"/>
                  <a:gd name="connsiteY0" fmla="*/ 19958 h 20738"/>
                  <a:gd name="connsiteX1" fmla="*/ 18091 w 25553"/>
                  <a:gd name="connsiteY1" fmla="*/ 17659 h 20738"/>
                  <a:gd name="connsiteX2" fmla="*/ 15174 w 25553"/>
                  <a:gd name="connsiteY2" fmla="*/ 19729 h 20738"/>
                  <a:gd name="connsiteX3" fmla="*/ 3797 w 25553"/>
                  <a:gd name="connsiteY3" fmla="*/ 17977 h 20738"/>
                  <a:gd name="connsiteX4" fmla="*/ 6536 w 25553"/>
                  <a:gd name="connsiteY4" fmla="*/ 15411 h 20738"/>
                  <a:gd name="connsiteX5" fmla="*/ 22632 w 25553"/>
                  <a:gd name="connsiteY5" fmla="*/ 1556 h 20738"/>
                  <a:gd name="connsiteX6" fmla="*/ 20019 w 25553"/>
                  <a:gd name="connsiteY6" fmla="*/ 17570 h 20738"/>
                  <a:gd name="connsiteX7" fmla="*/ 18180 w 25553"/>
                  <a:gd name="connsiteY7" fmla="*/ 19958 h 20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553" h="20738">
                    <a:moveTo>
                      <a:pt x="18180" y="19958"/>
                    </a:moveTo>
                    <a:cubicBezTo>
                      <a:pt x="16112" y="20275"/>
                      <a:pt x="17812" y="18739"/>
                      <a:pt x="18091" y="17659"/>
                    </a:cubicBezTo>
                    <a:cubicBezTo>
                      <a:pt x="14260" y="15996"/>
                      <a:pt x="17407" y="23336"/>
                      <a:pt x="15174" y="19729"/>
                    </a:cubicBezTo>
                    <a:cubicBezTo>
                      <a:pt x="9961" y="19056"/>
                      <a:pt x="6092" y="19780"/>
                      <a:pt x="3797" y="17977"/>
                    </a:cubicBezTo>
                    <a:cubicBezTo>
                      <a:pt x="-4651" y="16897"/>
                      <a:pt x="3035" y="13113"/>
                      <a:pt x="6536" y="15411"/>
                    </a:cubicBezTo>
                    <a:cubicBezTo>
                      <a:pt x="4290" y="6953"/>
                      <a:pt x="10950" y="-4121"/>
                      <a:pt x="22632" y="1556"/>
                    </a:cubicBezTo>
                    <a:cubicBezTo>
                      <a:pt x="31841" y="4032"/>
                      <a:pt x="15758" y="16948"/>
                      <a:pt x="20019" y="17570"/>
                    </a:cubicBezTo>
                    <a:cubicBezTo>
                      <a:pt x="22937" y="19234"/>
                      <a:pt x="19525" y="19056"/>
                      <a:pt x="18180" y="19958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21" name="Vrije vorm 620">
                <a:extLst>
                  <a:ext uri="{FF2B5EF4-FFF2-40B4-BE49-F238E27FC236}">
                    <a16:creationId xmlns:a16="http://schemas.microsoft.com/office/drawing/2014/main" id="{12CE34C6-AC2B-C54A-848E-181585DA2B07}"/>
                  </a:ext>
                </a:extLst>
              </p:cNvPr>
              <p:cNvSpPr/>
              <p:nvPr/>
            </p:nvSpPr>
            <p:spPr>
              <a:xfrm>
                <a:off x="8864409" y="4661627"/>
                <a:ext cx="52255" cy="26387"/>
              </a:xfrm>
              <a:custGeom>
                <a:avLst/>
                <a:gdLst>
                  <a:gd name="connsiteX0" fmla="*/ 52229 w 52255"/>
                  <a:gd name="connsiteY0" fmla="*/ 16837 h 26387"/>
                  <a:gd name="connsiteX1" fmla="*/ 12908 w 52255"/>
                  <a:gd name="connsiteY1" fmla="*/ 11935 h 26387"/>
                  <a:gd name="connsiteX2" fmla="*/ 52229 w 52255"/>
                  <a:gd name="connsiteY2" fmla="*/ 16837 h 26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2255" h="26387">
                    <a:moveTo>
                      <a:pt x="52229" y="16837"/>
                    </a:moveTo>
                    <a:cubicBezTo>
                      <a:pt x="48766" y="42529"/>
                      <a:pt x="23652" y="7794"/>
                      <a:pt x="12908" y="11935"/>
                    </a:cubicBezTo>
                    <a:cubicBezTo>
                      <a:pt x="-27542" y="-1248"/>
                      <a:pt x="38568" y="-8309"/>
                      <a:pt x="52229" y="16837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22" name="Vrije vorm 621">
                <a:extLst>
                  <a:ext uri="{FF2B5EF4-FFF2-40B4-BE49-F238E27FC236}">
                    <a16:creationId xmlns:a16="http://schemas.microsoft.com/office/drawing/2014/main" id="{57625C2B-3F3C-F442-A44C-DF446CD12DC3}"/>
                  </a:ext>
                </a:extLst>
              </p:cNvPr>
              <p:cNvSpPr/>
              <p:nvPr/>
            </p:nvSpPr>
            <p:spPr>
              <a:xfrm>
                <a:off x="8579551" y="4271449"/>
                <a:ext cx="286284" cy="239680"/>
              </a:xfrm>
              <a:custGeom>
                <a:avLst/>
                <a:gdLst>
                  <a:gd name="connsiteX0" fmla="*/ 282038 w 286284"/>
                  <a:gd name="connsiteY0" fmla="*/ 100412 h 239680"/>
                  <a:gd name="connsiteX1" fmla="*/ 258395 w 286284"/>
                  <a:gd name="connsiteY1" fmla="*/ 99612 h 239680"/>
                  <a:gd name="connsiteX2" fmla="*/ 242032 w 286284"/>
                  <a:gd name="connsiteY2" fmla="*/ 139198 h 239680"/>
                  <a:gd name="connsiteX3" fmla="*/ 245862 w 286284"/>
                  <a:gd name="connsiteY3" fmla="*/ 142347 h 239680"/>
                  <a:gd name="connsiteX4" fmla="*/ 243428 w 286284"/>
                  <a:gd name="connsiteY4" fmla="*/ 147123 h 239680"/>
                  <a:gd name="connsiteX5" fmla="*/ 223792 w 286284"/>
                  <a:gd name="connsiteY5" fmla="*/ 158959 h 239680"/>
                  <a:gd name="connsiteX6" fmla="*/ 223615 w 286284"/>
                  <a:gd name="connsiteY6" fmla="*/ 159670 h 239680"/>
                  <a:gd name="connsiteX7" fmla="*/ 211704 w 286284"/>
                  <a:gd name="connsiteY7" fmla="*/ 184918 h 239680"/>
                  <a:gd name="connsiteX8" fmla="*/ 214850 w 286284"/>
                  <a:gd name="connsiteY8" fmla="*/ 196843 h 239680"/>
                  <a:gd name="connsiteX9" fmla="*/ 206047 w 286284"/>
                  <a:gd name="connsiteY9" fmla="*/ 205797 h 239680"/>
                  <a:gd name="connsiteX10" fmla="*/ 162362 w 286284"/>
                  <a:gd name="connsiteY10" fmla="*/ 237877 h 239680"/>
                  <a:gd name="connsiteX11" fmla="*/ 152241 w 286284"/>
                  <a:gd name="connsiteY11" fmla="*/ 219525 h 239680"/>
                  <a:gd name="connsiteX12" fmla="*/ 147624 w 286284"/>
                  <a:gd name="connsiteY12" fmla="*/ 215563 h 239680"/>
                  <a:gd name="connsiteX13" fmla="*/ 134051 w 286284"/>
                  <a:gd name="connsiteY13" fmla="*/ 222180 h 239680"/>
                  <a:gd name="connsiteX14" fmla="*/ 117105 w 286284"/>
                  <a:gd name="connsiteY14" fmla="*/ 207105 h 239680"/>
                  <a:gd name="connsiteX15" fmla="*/ 85065 w 286284"/>
                  <a:gd name="connsiteY15" fmla="*/ 225418 h 239680"/>
                  <a:gd name="connsiteX16" fmla="*/ 79002 w 286284"/>
                  <a:gd name="connsiteY16" fmla="*/ 207778 h 239680"/>
                  <a:gd name="connsiteX17" fmla="*/ 58415 w 286284"/>
                  <a:gd name="connsiteY17" fmla="*/ 206432 h 239680"/>
                  <a:gd name="connsiteX18" fmla="*/ 49156 w 286284"/>
                  <a:gd name="connsiteY18" fmla="*/ 210292 h 239680"/>
                  <a:gd name="connsiteX19" fmla="*/ 36802 w 286284"/>
                  <a:gd name="connsiteY19" fmla="*/ 206330 h 239680"/>
                  <a:gd name="connsiteX20" fmla="*/ 28836 w 286284"/>
                  <a:gd name="connsiteY20" fmla="*/ 175736 h 239680"/>
                  <a:gd name="connsiteX21" fmla="*/ 24308 w 286284"/>
                  <a:gd name="connsiteY21" fmla="*/ 149142 h 239680"/>
                  <a:gd name="connsiteX22" fmla="*/ 10368 w 286284"/>
                  <a:gd name="connsiteY22" fmla="*/ 148697 h 239680"/>
                  <a:gd name="connsiteX23" fmla="*/ 13919 w 286284"/>
                  <a:gd name="connsiteY23" fmla="*/ 144418 h 239680"/>
                  <a:gd name="connsiteX24" fmla="*/ 7501 w 286284"/>
                  <a:gd name="connsiteY24" fmla="*/ 140290 h 239680"/>
                  <a:gd name="connsiteX25" fmla="*/ 6550 w 286284"/>
                  <a:gd name="connsiteY25" fmla="*/ 88995 h 239680"/>
                  <a:gd name="connsiteX26" fmla="*/ 19222 w 286284"/>
                  <a:gd name="connsiteY26" fmla="*/ 69145 h 239680"/>
                  <a:gd name="connsiteX27" fmla="*/ 19627 w 286284"/>
                  <a:gd name="connsiteY27" fmla="*/ 75583 h 239680"/>
                  <a:gd name="connsiteX28" fmla="*/ 29154 w 286284"/>
                  <a:gd name="connsiteY28" fmla="*/ 86518 h 239680"/>
                  <a:gd name="connsiteX29" fmla="*/ 37702 w 286284"/>
                  <a:gd name="connsiteY29" fmla="*/ 94608 h 239680"/>
                  <a:gd name="connsiteX30" fmla="*/ 48395 w 286284"/>
                  <a:gd name="connsiteY30" fmla="*/ 99383 h 239680"/>
                  <a:gd name="connsiteX31" fmla="*/ 64974 w 286284"/>
                  <a:gd name="connsiteY31" fmla="*/ 94252 h 239680"/>
                  <a:gd name="connsiteX32" fmla="*/ 75540 w 286284"/>
                  <a:gd name="connsiteY32" fmla="*/ 95472 h 239680"/>
                  <a:gd name="connsiteX33" fmla="*/ 83987 w 286284"/>
                  <a:gd name="connsiteY33" fmla="*/ 90836 h 239680"/>
                  <a:gd name="connsiteX34" fmla="*/ 97382 w 286284"/>
                  <a:gd name="connsiteY34" fmla="*/ 81387 h 239680"/>
                  <a:gd name="connsiteX35" fmla="*/ 108607 w 286284"/>
                  <a:gd name="connsiteY35" fmla="*/ 79939 h 239680"/>
                  <a:gd name="connsiteX36" fmla="*/ 117512 w 286284"/>
                  <a:gd name="connsiteY36" fmla="*/ 84131 h 239680"/>
                  <a:gd name="connsiteX37" fmla="*/ 130361 w 286284"/>
                  <a:gd name="connsiteY37" fmla="*/ 87509 h 239680"/>
                  <a:gd name="connsiteX38" fmla="*/ 142271 w 286284"/>
                  <a:gd name="connsiteY38" fmla="*/ 84131 h 239680"/>
                  <a:gd name="connsiteX39" fmla="*/ 151213 w 286284"/>
                  <a:gd name="connsiteY39" fmla="*/ 83635 h 239680"/>
                  <a:gd name="connsiteX40" fmla="*/ 161145 w 286284"/>
                  <a:gd name="connsiteY40" fmla="*/ 80486 h 239680"/>
                  <a:gd name="connsiteX41" fmla="*/ 166904 w 286284"/>
                  <a:gd name="connsiteY41" fmla="*/ 67214 h 239680"/>
                  <a:gd name="connsiteX42" fmla="*/ 169364 w 286284"/>
                  <a:gd name="connsiteY42" fmla="*/ 59391 h 239680"/>
                  <a:gd name="connsiteX43" fmla="*/ 178218 w 286284"/>
                  <a:gd name="connsiteY43" fmla="*/ 54565 h 239680"/>
                  <a:gd name="connsiteX44" fmla="*/ 176962 w 286284"/>
                  <a:gd name="connsiteY44" fmla="*/ 42246 h 239680"/>
                  <a:gd name="connsiteX45" fmla="*/ 182632 w 286284"/>
                  <a:gd name="connsiteY45" fmla="*/ 36480 h 239680"/>
                  <a:gd name="connsiteX46" fmla="*/ 188606 w 286284"/>
                  <a:gd name="connsiteY46" fmla="*/ 30549 h 239680"/>
                  <a:gd name="connsiteX47" fmla="*/ 188606 w 286284"/>
                  <a:gd name="connsiteY47" fmla="*/ 16554 h 239680"/>
                  <a:gd name="connsiteX48" fmla="*/ 192602 w 286284"/>
                  <a:gd name="connsiteY48" fmla="*/ 7550 h 239680"/>
                  <a:gd name="connsiteX49" fmla="*/ 201772 w 286284"/>
                  <a:gd name="connsiteY49" fmla="*/ 4044 h 239680"/>
                  <a:gd name="connsiteX50" fmla="*/ 215979 w 286284"/>
                  <a:gd name="connsiteY50" fmla="*/ 488 h 239680"/>
                  <a:gd name="connsiteX51" fmla="*/ 227394 w 286284"/>
                  <a:gd name="connsiteY51" fmla="*/ 1924 h 239680"/>
                  <a:gd name="connsiteX52" fmla="*/ 239711 w 286284"/>
                  <a:gd name="connsiteY52" fmla="*/ 3867 h 239680"/>
                  <a:gd name="connsiteX53" fmla="*/ 246624 w 286284"/>
                  <a:gd name="connsiteY53" fmla="*/ 6521 h 239680"/>
                  <a:gd name="connsiteX54" fmla="*/ 240789 w 286284"/>
                  <a:gd name="connsiteY54" fmla="*/ 8896 h 239680"/>
                  <a:gd name="connsiteX55" fmla="*/ 249465 w 286284"/>
                  <a:gd name="connsiteY55" fmla="*/ 17938 h 239680"/>
                  <a:gd name="connsiteX56" fmla="*/ 244239 w 286284"/>
                  <a:gd name="connsiteY56" fmla="*/ 20097 h 239680"/>
                  <a:gd name="connsiteX57" fmla="*/ 235664 w 286284"/>
                  <a:gd name="connsiteY57" fmla="*/ 22891 h 239680"/>
                  <a:gd name="connsiteX58" fmla="*/ 240015 w 286284"/>
                  <a:gd name="connsiteY58" fmla="*/ 31311 h 239680"/>
                  <a:gd name="connsiteX59" fmla="*/ 248159 w 286284"/>
                  <a:gd name="connsiteY59" fmla="*/ 40036 h 239680"/>
                  <a:gd name="connsiteX60" fmla="*/ 259168 w 286284"/>
                  <a:gd name="connsiteY60" fmla="*/ 57410 h 239680"/>
                  <a:gd name="connsiteX61" fmla="*/ 282216 w 286284"/>
                  <a:gd name="connsiteY61" fmla="*/ 94760 h 239680"/>
                  <a:gd name="connsiteX62" fmla="*/ 282038 w 286284"/>
                  <a:gd name="connsiteY62" fmla="*/ 100412 h 239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</a:cxnLst>
                <a:rect l="l" t="t" r="r" b="b"/>
                <a:pathLst>
                  <a:path w="286284" h="239680">
                    <a:moveTo>
                      <a:pt x="282038" y="100412"/>
                    </a:moveTo>
                    <a:cubicBezTo>
                      <a:pt x="272918" y="108870"/>
                      <a:pt x="248247" y="86112"/>
                      <a:pt x="258395" y="99612"/>
                    </a:cubicBezTo>
                    <a:cubicBezTo>
                      <a:pt x="244429" y="104565"/>
                      <a:pt x="243123" y="124313"/>
                      <a:pt x="242032" y="139198"/>
                    </a:cubicBezTo>
                    <a:cubicBezTo>
                      <a:pt x="250391" y="133762"/>
                      <a:pt x="244594" y="139198"/>
                      <a:pt x="245862" y="142347"/>
                    </a:cubicBezTo>
                    <a:cubicBezTo>
                      <a:pt x="240827" y="145548"/>
                      <a:pt x="253270" y="146183"/>
                      <a:pt x="243428" y="147123"/>
                    </a:cubicBezTo>
                    <a:cubicBezTo>
                      <a:pt x="238709" y="145992"/>
                      <a:pt x="230667" y="161842"/>
                      <a:pt x="223792" y="158959"/>
                    </a:cubicBezTo>
                    <a:cubicBezTo>
                      <a:pt x="221585" y="150221"/>
                      <a:pt x="220241" y="156978"/>
                      <a:pt x="223615" y="159670"/>
                    </a:cubicBezTo>
                    <a:cubicBezTo>
                      <a:pt x="201138" y="183889"/>
                      <a:pt x="218312" y="165347"/>
                      <a:pt x="211704" y="184918"/>
                    </a:cubicBezTo>
                    <a:cubicBezTo>
                      <a:pt x="218046" y="187801"/>
                      <a:pt x="221179" y="186632"/>
                      <a:pt x="214850" y="196843"/>
                    </a:cubicBezTo>
                    <a:cubicBezTo>
                      <a:pt x="205096" y="186404"/>
                      <a:pt x="217184" y="218166"/>
                      <a:pt x="206047" y="205797"/>
                    </a:cubicBezTo>
                    <a:cubicBezTo>
                      <a:pt x="214178" y="217722"/>
                      <a:pt x="174666" y="247237"/>
                      <a:pt x="162362" y="237877"/>
                    </a:cubicBezTo>
                    <a:cubicBezTo>
                      <a:pt x="160840" y="215017"/>
                      <a:pt x="158088" y="227755"/>
                      <a:pt x="152241" y="219525"/>
                    </a:cubicBezTo>
                    <a:cubicBezTo>
                      <a:pt x="159572" y="208908"/>
                      <a:pt x="145556" y="228250"/>
                      <a:pt x="147624" y="215563"/>
                    </a:cubicBezTo>
                    <a:cubicBezTo>
                      <a:pt x="145201" y="220681"/>
                      <a:pt x="139557" y="223424"/>
                      <a:pt x="134051" y="222180"/>
                    </a:cubicBezTo>
                    <a:cubicBezTo>
                      <a:pt x="134496" y="205974"/>
                      <a:pt x="123346" y="223259"/>
                      <a:pt x="117105" y="207105"/>
                    </a:cubicBezTo>
                    <a:cubicBezTo>
                      <a:pt x="112247" y="230955"/>
                      <a:pt x="97191" y="210521"/>
                      <a:pt x="85065" y="225418"/>
                    </a:cubicBezTo>
                    <a:cubicBezTo>
                      <a:pt x="80562" y="224377"/>
                      <a:pt x="82363" y="190861"/>
                      <a:pt x="79002" y="207778"/>
                    </a:cubicBezTo>
                    <a:cubicBezTo>
                      <a:pt x="75083" y="208095"/>
                      <a:pt x="42281" y="214394"/>
                      <a:pt x="58415" y="206432"/>
                    </a:cubicBezTo>
                    <a:cubicBezTo>
                      <a:pt x="55943" y="203727"/>
                      <a:pt x="49601" y="214166"/>
                      <a:pt x="49156" y="210292"/>
                    </a:cubicBezTo>
                    <a:cubicBezTo>
                      <a:pt x="49474" y="198456"/>
                      <a:pt x="38324" y="214344"/>
                      <a:pt x="36802" y="206330"/>
                    </a:cubicBezTo>
                    <a:cubicBezTo>
                      <a:pt x="38425" y="195471"/>
                      <a:pt x="35559" y="184422"/>
                      <a:pt x="28836" y="175736"/>
                    </a:cubicBezTo>
                    <a:cubicBezTo>
                      <a:pt x="39580" y="165118"/>
                      <a:pt x="25513" y="158413"/>
                      <a:pt x="24308" y="149142"/>
                    </a:cubicBezTo>
                    <a:cubicBezTo>
                      <a:pt x="20579" y="153688"/>
                      <a:pt x="16076" y="148342"/>
                      <a:pt x="10368" y="148697"/>
                    </a:cubicBezTo>
                    <a:cubicBezTo>
                      <a:pt x="9784" y="144113"/>
                      <a:pt x="8973" y="143122"/>
                      <a:pt x="13919" y="144418"/>
                    </a:cubicBezTo>
                    <a:cubicBezTo>
                      <a:pt x="19589" y="147300"/>
                      <a:pt x="14326" y="140290"/>
                      <a:pt x="7501" y="140290"/>
                    </a:cubicBezTo>
                    <a:cubicBezTo>
                      <a:pt x="8668" y="116782"/>
                      <a:pt x="-9318" y="100514"/>
                      <a:pt x="6550" y="88995"/>
                    </a:cubicBezTo>
                    <a:cubicBezTo>
                      <a:pt x="-1314" y="92627"/>
                      <a:pt x="8389" y="69284"/>
                      <a:pt x="19222" y="69145"/>
                    </a:cubicBezTo>
                    <a:cubicBezTo>
                      <a:pt x="18880" y="71291"/>
                      <a:pt x="19019" y="73488"/>
                      <a:pt x="19627" y="75583"/>
                    </a:cubicBezTo>
                    <a:cubicBezTo>
                      <a:pt x="22532" y="79457"/>
                      <a:pt x="25716" y="83114"/>
                      <a:pt x="29154" y="86518"/>
                    </a:cubicBezTo>
                    <a:cubicBezTo>
                      <a:pt x="31729" y="89490"/>
                      <a:pt x="34595" y="92195"/>
                      <a:pt x="37702" y="94608"/>
                    </a:cubicBezTo>
                    <a:cubicBezTo>
                      <a:pt x="42371" y="98037"/>
                      <a:pt x="42015" y="101847"/>
                      <a:pt x="48395" y="99383"/>
                    </a:cubicBezTo>
                    <a:cubicBezTo>
                      <a:pt x="54775" y="96907"/>
                      <a:pt x="57693" y="92767"/>
                      <a:pt x="64974" y="94252"/>
                    </a:cubicBezTo>
                    <a:cubicBezTo>
                      <a:pt x="72254" y="95738"/>
                      <a:pt x="70821" y="97669"/>
                      <a:pt x="75540" y="95472"/>
                    </a:cubicBezTo>
                    <a:cubicBezTo>
                      <a:pt x="80296" y="93313"/>
                      <a:pt x="75577" y="94430"/>
                      <a:pt x="83987" y="90836"/>
                    </a:cubicBezTo>
                    <a:cubicBezTo>
                      <a:pt x="92384" y="87229"/>
                      <a:pt x="93640" y="82416"/>
                      <a:pt x="97382" y="81387"/>
                    </a:cubicBezTo>
                    <a:cubicBezTo>
                      <a:pt x="100984" y="80117"/>
                      <a:pt x="104802" y="79622"/>
                      <a:pt x="108607" y="79939"/>
                    </a:cubicBezTo>
                    <a:cubicBezTo>
                      <a:pt x="114860" y="80257"/>
                      <a:pt x="108341" y="80841"/>
                      <a:pt x="117512" y="84131"/>
                    </a:cubicBezTo>
                    <a:cubicBezTo>
                      <a:pt x="126682" y="87420"/>
                      <a:pt x="122141" y="88233"/>
                      <a:pt x="130361" y="87509"/>
                    </a:cubicBezTo>
                    <a:cubicBezTo>
                      <a:pt x="138631" y="86836"/>
                      <a:pt x="133379" y="84626"/>
                      <a:pt x="142271" y="84131"/>
                    </a:cubicBezTo>
                    <a:cubicBezTo>
                      <a:pt x="151213" y="83635"/>
                      <a:pt x="143121" y="83013"/>
                      <a:pt x="151213" y="83635"/>
                    </a:cubicBezTo>
                    <a:cubicBezTo>
                      <a:pt x="159255" y="84270"/>
                      <a:pt x="159078" y="84042"/>
                      <a:pt x="161145" y="80486"/>
                    </a:cubicBezTo>
                    <a:cubicBezTo>
                      <a:pt x="163264" y="76980"/>
                      <a:pt x="167893" y="71977"/>
                      <a:pt x="166904" y="67214"/>
                    </a:cubicBezTo>
                    <a:cubicBezTo>
                      <a:pt x="165952" y="62401"/>
                      <a:pt x="162401" y="63569"/>
                      <a:pt x="169364" y="59391"/>
                    </a:cubicBezTo>
                    <a:cubicBezTo>
                      <a:pt x="176341" y="55200"/>
                      <a:pt x="181681" y="61994"/>
                      <a:pt x="178218" y="54565"/>
                    </a:cubicBezTo>
                    <a:cubicBezTo>
                      <a:pt x="174768" y="47148"/>
                      <a:pt x="174222" y="45713"/>
                      <a:pt x="176962" y="42246"/>
                    </a:cubicBezTo>
                    <a:cubicBezTo>
                      <a:pt x="179664" y="38779"/>
                      <a:pt x="178535" y="37648"/>
                      <a:pt x="182632" y="36480"/>
                    </a:cubicBezTo>
                    <a:cubicBezTo>
                      <a:pt x="186767" y="35274"/>
                      <a:pt x="188606" y="33204"/>
                      <a:pt x="188606" y="30549"/>
                    </a:cubicBezTo>
                    <a:cubicBezTo>
                      <a:pt x="187934" y="25901"/>
                      <a:pt x="187934" y="21189"/>
                      <a:pt x="188606" y="16554"/>
                    </a:cubicBezTo>
                    <a:cubicBezTo>
                      <a:pt x="189912" y="10661"/>
                      <a:pt x="186272" y="13036"/>
                      <a:pt x="192602" y="7550"/>
                    </a:cubicBezTo>
                    <a:cubicBezTo>
                      <a:pt x="198944" y="2012"/>
                      <a:pt x="189684" y="5352"/>
                      <a:pt x="201772" y="4044"/>
                    </a:cubicBezTo>
                    <a:cubicBezTo>
                      <a:pt x="213822" y="2736"/>
                      <a:pt x="207975" y="-1404"/>
                      <a:pt x="215979" y="488"/>
                    </a:cubicBezTo>
                    <a:cubicBezTo>
                      <a:pt x="219721" y="1352"/>
                      <a:pt x="223551" y="1822"/>
                      <a:pt x="227394" y="1924"/>
                    </a:cubicBezTo>
                    <a:cubicBezTo>
                      <a:pt x="237821" y="3321"/>
                      <a:pt x="229906" y="615"/>
                      <a:pt x="239711" y="3867"/>
                    </a:cubicBezTo>
                    <a:cubicBezTo>
                      <a:pt x="242222" y="4667"/>
                      <a:pt x="244556" y="5619"/>
                      <a:pt x="246624" y="6521"/>
                    </a:cubicBezTo>
                    <a:cubicBezTo>
                      <a:pt x="244378" y="8274"/>
                      <a:pt x="240383" y="6419"/>
                      <a:pt x="240789" y="8896"/>
                    </a:cubicBezTo>
                    <a:cubicBezTo>
                      <a:pt x="248869" y="12998"/>
                      <a:pt x="253321" y="18395"/>
                      <a:pt x="249465" y="17938"/>
                    </a:cubicBezTo>
                    <a:cubicBezTo>
                      <a:pt x="256784" y="21367"/>
                      <a:pt x="247981" y="23615"/>
                      <a:pt x="244239" y="20097"/>
                    </a:cubicBezTo>
                    <a:cubicBezTo>
                      <a:pt x="244785" y="25368"/>
                      <a:pt x="222232" y="19653"/>
                      <a:pt x="235664" y="22891"/>
                    </a:cubicBezTo>
                    <a:cubicBezTo>
                      <a:pt x="233242" y="28924"/>
                      <a:pt x="247613" y="25546"/>
                      <a:pt x="240015" y="31311"/>
                    </a:cubicBezTo>
                    <a:cubicBezTo>
                      <a:pt x="234714" y="34816"/>
                      <a:pt x="246991" y="37344"/>
                      <a:pt x="248159" y="40036"/>
                    </a:cubicBezTo>
                    <a:cubicBezTo>
                      <a:pt x="246535" y="41928"/>
                      <a:pt x="251571" y="49396"/>
                      <a:pt x="259168" y="57410"/>
                    </a:cubicBezTo>
                    <a:cubicBezTo>
                      <a:pt x="243935" y="76803"/>
                      <a:pt x="270800" y="77247"/>
                      <a:pt x="282216" y="94760"/>
                    </a:cubicBezTo>
                    <a:cubicBezTo>
                      <a:pt x="288329" y="92767"/>
                      <a:pt x="286883" y="99294"/>
                      <a:pt x="282038" y="100412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23" name="Vrije vorm 622">
                <a:extLst>
                  <a:ext uri="{FF2B5EF4-FFF2-40B4-BE49-F238E27FC236}">
                    <a16:creationId xmlns:a16="http://schemas.microsoft.com/office/drawing/2014/main" id="{8FD088FA-7031-174F-878D-2B4807ADD510}"/>
                  </a:ext>
                </a:extLst>
              </p:cNvPr>
              <p:cNvSpPr/>
              <p:nvPr/>
            </p:nvSpPr>
            <p:spPr>
              <a:xfrm>
                <a:off x="8191510" y="4236281"/>
                <a:ext cx="304015" cy="327510"/>
              </a:xfrm>
              <a:custGeom>
                <a:avLst/>
                <a:gdLst>
                  <a:gd name="connsiteX0" fmla="*/ 297925 w 304015"/>
                  <a:gd name="connsiteY0" fmla="*/ 326410 h 327510"/>
                  <a:gd name="connsiteX1" fmla="*/ 266240 w 304015"/>
                  <a:gd name="connsiteY1" fmla="*/ 315120 h 327510"/>
                  <a:gd name="connsiteX2" fmla="*/ 264578 w 304015"/>
                  <a:gd name="connsiteY2" fmla="*/ 327045 h 327510"/>
                  <a:gd name="connsiteX3" fmla="*/ 98974 w 304015"/>
                  <a:gd name="connsiteY3" fmla="*/ 109977 h 327510"/>
                  <a:gd name="connsiteX4" fmla="*/ -26 w 304015"/>
                  <a:gd name="connsiteY4" fmla="*/ 4694 h 327510"/>
                  <a:gd name="connsiteX5" fmla="*/ 35210 w 304015"/>
                  <a:gd name="connsiteY5" fmla="*/ 11895 h 327510"/>
                  <a:gd name="connsiteX6" fmla="*/ 78615 w 304015"/>
                  <a:gd name="connsiteY6" fmla="*/ 31376 h 327510"/>
                  <a:gd name="connsiteX7" fmla="*/ 162293 w 304015"/>
                  <a:gd name="connsiteY7" fmla="*/ 108275 h 327510"/>
                  <a:gd name="connsiteX8" fmla="*/ 197618 w 304015"/>
                  <a:gd name="connsiteY8" fmla="*/ 128608 h 327510"/>
                  <a:gd name="connsiteX9" fmla="*/ 205800 w 304015"/>
                  <a:gd name="connsiteY9" fmla="*/ 153182 h 327510"/>
                  <a:gd name="connsiteX10" fmla="*/ 237701 w 304015"/>
                  <a:gd name="connsiteY10" fmla="*/ 151023 h 327510"/>
                  <a:gd name="connsiteX11" fmla="*/ 234517 w 304015"/>
                  <a:gd name="connsiteY11" fmla="*/ 163126 h 327510"/>
                  <a:gd name="connsiteX12" fmla="*/ 230293 w 304015"/>
                  <a:gd name="connsiteY12" fmla="*/ 169921 h 327510"/>
                  <a:gd name="connsiteX13" fmla="*/ 231105 w 304015"/>
                  <a:gd name="connsiteY13" fmla="*/ 178061 h 327510"/>
                  <a:gd name="connsiteX14" fmla="*/ 263995 w 304015"/>
                  <a:gd name="connsiteY14" fmla="*/ 210104 h 327510"/>
                  <a:gd name="connsiteX15" fmla="*/ 264135 w 304015"/>
                  <a:gd name="connsiteY15" fmla="*/ 237637 h 327510"/>
                  <a:gd name="connsiteX16" fmla="*/ 297925 w 304015"/>
                  <a:gd name="connsiteY16" fmla="*/ 326410 h 327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04015" h="327510">
                    <a:moveTo>
                      <a:pt x="297925" y="326410"/>
                    </a:moveTo>
                    <a:cubicBezTo>
                      <a:pt x="282108" y="304007"/>
                      <a:pt x="286421" y="331490"/>
                      <a:pt x="266240" y="315120"/>
                    </a:cubicBezTo>
                    <a:cubicBezTo>
                      <a:pt x="258376" y="315615"/>
                      <a:pt x="277567" y="330284"/>
                      <a:pt x="264578" y="327045"/>
                    </a:cubicBezTo>
                    <a:cubicBezTo>
                      <a:pt x="196946" y="268498"/>
                      <a:pt x="128147" y="189669"/>
                      <a:pt x="98974" y="109977"/>
                    </a:cubicBezTo>
                    <a:cubicBezTo>
                      <a:pt x="68506" y="82088"/>
                      <a:pt x="15613" y="45004"/>
                      <a:pt x="-26" y="4694"/>
                    </a:cubicBezTo>
                    <a:cubicBezTo>
                      <a:pt x="7026" y="-9848"/>
                      <a:pt x="22894" y="14269"/>
                      <a:pt x="35210" y="11895"/>
                    </a:cubicBezTo>
                    <a:cubicBezTo>
                      <a:pt x="51573" y="12072"/>
                      <a:pt x="76954" y="8783"/>
                      <a:pt x="78615" y="31376"/>
                    </a:cubicBezTo>
                    <a:cubicBezTo>
                      <a:pt x="110707" y="61475"/>
                      <a:pt x="137712" y="78125"/>
                      <a:pt x="162293" y="108275"/>
                    </a:cubicBezTo>
                    <a:cubicBezTo>
                      <a:pt x="146691" y="76106"/>
                      <a:pt x="196768" y="120645"/>
                      <a:pt x="197618" y="128608"/>
                    </a:cubicBezTo>
                    <a:cubicBezTo>
                      <a:pt x="203466" y="143860"/>
                      <a:pt x="246554" y="144228"/>
                      <a:pt x="205800" y="153182"/>
                    </a:cubicBezTo>
                    <a:cubicBezTo>
                      <a:pt x="215326" y="160866"/>
                      <a:pt x="231232" y="133967"/>
                      <a:pt x="237701" y="151023"/>
                    </a:cubicBezTo>
                    <a:cubicBezTo>
                      <a:pt x="248482" y="152052"/>
                      <a:pt x="240668" y="162898"/>
                      <a:pt x="234517" y="163126"/>
                    </a:cubicBezTo>
                    <a:cubicBezTo>
                      <a:pt x="225168" y="170632"/>
                      <a:pt x="241303" y="163355"/>
                      <a:pt x="230293" y="169921"/>
                    </a:cubicBezTo>
                    <a:cubicBezTo>
                      <a:pt x="245083" y="172575"/>
                      <a:pt x="231727" y="172308"/>
                      <a:pt x="231105" y="178061"/>
                    </a:cubicBezTo>
                    <a:cubicBezTo>
                      <a:pt x="238474" y="195384"/>
                      <a:pt x="264224" y="178112"/>
                      <a:pt x="263995" y="210104"/>
                    </a:cubicBezTo>
                    <a:cubicBezTo>
                      <a:pt x="266912" y="225267"/>
                      <a:pt x="283453" y="205963"/>
                      <a:pt x="264135" y="237637"/>
                    </a:cubicBezTo>
                    <a:cubicBezTo>
                      <a:pt x="312258" y="190253"/>
                      <a:pt x="307134" y="291536"/>
                      <a:pt x="297925" y="32641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24" name="Vrije vorm 623">
                <a:extLst>
                  <a:ext uri="{FF2B5EF4-FFF2-40B4-BE49-F238E27FC236}">
                    <a16:creationId xmlns:a16="http://schemas.microsoft.com/office/drawing/2014/main" id="{F2D3AB5B-89C6-4149-8584-4B768CD66F59}"/>
                  </a:ext>
                </a:extLst>
              </p:cNvPr>
              <p:cNvSpPr/>
              <p:nvPr/>
            </p:nvSpPr>
            <p:spPr>
              <a:xfrm>
                <a:off x="8860024" y="4348391"/>
                <a:ext cx="181610" cy="207623"/>
              </a:xfrm>
              <a:custGeom>
                <a:avLst/>
                <a:gdLst>
                  <a:gd name="connsiteX0" fmla="*/ 160067 w 181610"/>
                  <a:gd name="connsiteY0" fmla="*/ 34773 h 207623"/>
                  <a:gd name="connsiteX1" fmla="*/ 74626 w 181610"/>
                  <a:gd name="connsiteY1" fmla="*/ 34049 h 207623"/>
                  <a:gd name="connsiteX2" fmla="*/ 57604 w 181610"/>
                  <a:gd name="connsiteY2" fmla="*/ 86512 h 207623"/>
                  <a:gd name="connsiteX3" fmla="*/ 79129 w 181610"/>
                  <a:gd name="connsiteY3" fmla="*/ 71438 h 207623"/>
                  <a:gd name="connsiteX4" fmla="*/ 95301 w 181610"/>
                  <a:gd name="connsiteY4" fmla="*/ 70180 h 207623"/>
                  <a:gd name="connsiteX5" fmla="*/ 131071 w 181610"/>
                  <a:gd name="connsiteY5" fmla="*/ 66129 h 207623"/>
                  <a:gd name="connsiteX6" fmla="*/ 123473 w 181610"/>
                  <a:gd name="connsiteY6" fmla="*/ 74054 h 207623"/>
                  <a:gd name="connsiteX7" fmla="*/ 75121 w 181610"/>
                  <a:gd name="connsiteY7" fmla="*/ 99606 h 207623"/>
                  <a:gd name="connsiteX8" fmla="*/ 102760 w 181610"/>
                  <a:gd name="connsiteY8" fmla="*/ 139205 h 207623"/>
                  <a:gd name="connsiteX9" fmla="*/ 101149 w 181610"/>
                  <a:gd name="connsiteY9" fmla="*/ 144691 h 207623"/>
                  <a:gd name="connsiteX10" fmla="*/ 99525 w 181610"/>
                  <a:gd name="connsiteY10" fmla="*/ 151397 h 207623"/>
                  <a:gd name="connsiteX11" fmla="*/ 110852 w 181610"/>
                  <a:gd name="connsiteY11" fmla="*/ 164630 h 207623"/>
                  <a:gd name="connsiteX12" fmla="*/ 103077 w 181610"/>
                  <a:gd name="connsiteY12" fmla="*/ 172364 h 207623"/>
                  <a:gd name="connsiteX13" fmla="*/ 76338 w 181610"/>
                  <a:gd name="connsiteY13" fmla="*/ 179299 h 207623"/>
                  <a:gd name="connsiteX14" fmla="*/ 61904 w 181610"/>
                  <a:gd name="connsiteY14" fmla="*/ 139878 h 207623"/>
                  <a:gd name="connsiteX15" fmla="*/ 40962 w 181610"/>
                  <a:gd name="connsiteY15" fmla="*/ 133350 h 207623"/>
                  <a:gd name="connsiteX16" fmla="*/ 29737 w 181610"/>
                  <a:gd name="connsiteY16" fmla="*/ 207594 h 207623"/>
                  <a:gd name="connsiteX17" fmla="*/ 19754 w 181610"/>
                  <a:gd name="connsiteY17" fmla="*/ 146126 h 207623"/>
                  <a:gd name="connsiteX18" fmla="*/ 1464 w 181610"/>
                  <a:gd name="connsiteY18" fmla="*/ 134252 h 207623"/>
                  <a:gd name="connsiteX19" fmla="*/ 9822 w 181610"/>
                  <a:gd name="connsiteY19" fmla="*/ 110173 h 207623"/>
                  <a:gd name="connsiteX20" fmla="*/ 29775 w 181610"/>
                  <a:gd name="connsiteY20" fmla="*/ 72326 h 207623"/>
                  <a:gd name="connsiteX21" fmla="*/ 42053 w 181610"/>
                  <a:gd name="connsiteY21" fmla="*/ 19596 h 207623"/>
                  <a:gd name="connsiteX22" fmla="*/ 53735 w 181610"/>
                  <a:gd name="connsiteY22" fmla="*/ 19545 h 207623"/>
                  <a:gd name="connsiteX23" fmla="*/ 174527 w 181610"/>
                  <a:gd name="connsiteY23" fmla="*/ 152 h 207623"/>
                  <a:gd name="connsiteX24" fmla="*/ 160067 w 181610"/>
                  <a:gd name="connsiteY24" fmla="*/ 34773 h 207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81610" h="207623">
                    <a:moveTo>
                      <a:pt x="160067" y="34773"/>
                    </a:moveTo>
                    <a:cubicBezTo>
                      <a:pt x="131528" y="45022"/>
                      <a:pt x="103394" y="28918"/>
                      <a:pt x="74626" y="34049"/>
                    </a:cubicBezTo>
                    <a:cubicBezTo>
                      <a:pt x="28304" y="23432"/>
                      <a:pt x="25741" y="70320"/>
                      <a:pt x="57604" y="86512"/>
                    </a:cubicBezTo>
                    <a:cubicBezTo>
                      <a:pt x="69426" y="91910"/>
                      <a:pt x="68969" y="73774"/>
                      <a:pt x="79129" y="71438"/>
                    </a:cubicBezTo>
                    <a:cubicBezTo>
                      <a:pt x="79484" y="69240"/>
                      <a:pt x="94451" y="80582"/>
                      <a:pt x="95301" y="70180"/>
                    </a:cubicBezTo>
                    <a:cubicBezTo>
                      <a:pt x="122268" y="71615"/>
                      <a:pt x="108607" y="59296"/>
                      <a:pt x="131071" y="66129"/>
                    </a:cubicBezTo>
                    <a:cubicBezTo>
                      <a:pt x="132326" y="69685"/>
                      <a:pt x="131033" y="83236"/>
                      <a:pt x="123473" y="74054"/>
                    </a:cubicBezTo>
                    <a:cubicBezTo>
                      <a:pt x="111296" y="66980"/>
                      <a:pt x="90811" y="108344"/>
                      <a:pt x="75121" y="99606"/>
                    </a:cubicBezTo>
                    <a:cubicBezTo>
                      <a:pt x="64022" y="97536"/>
                      <a:pt x="105322" y="129934"/>
                      <a:pt x="102760" y="139205"/>
                    </a:cubicBezTo>
                    <a:cubicBezTo>
                      <a:pt x="95974" y="137135"/>
                      <a:pt x="102810" y="143662"/>
                      <a:pt x="101149" y="144691"/>
                    </a:cubicBezTo>
                    <a:cubicBezTo>
                      <a:pt x="100058" y="138303"/>
                      <a:pt x="94173" y="150813"/>
                      <a:pt x="99525" y="151397"/>
                    </a:cubicBezTo>
                    <a:cubicBezTo>
                      <a:pt x="109457" y="157290"/>
                      <a:pt x="107656" y="158153"/>
                      <a:pt x="110852" y="164630"/>
                    </a:cubicBezTo>
                    <a:cubicBezTo>
                      <a:pt x="122535" y="161163"/>
                      <a:pt x="116560" y="177406"/>
                      <a:pt x="103077" y="172364"/>
                    </a:cubicBezTo>
                    <a:cubicBezTo>
                      <a:pt x="83125" y="173990"/>
                      <a:pt x="102760" y="195453"/>
                      <a:pt x="76338" y="179299"/>
                    </a:cubicBezTo>
                    <a:cubicBezTo>
                      <a:pt x="89239" y="151841"/>
                      <a:pt x="53545" y="160985"/>
                      <a:pt x="61904" y="139878"/>
                    </a:cubicBezTo>
                    <a:cubicBezTo>
                      <a:pt x="75172" y="120841"/>
                      <a:pt x="47266" y="116167"/>
                      <a:pt x="40962" y="133350"/>
                    </a:cubicBezTo>
                    <a:cubicBezTo>
                      <a:pt x="47482" y="156337"/>
                      <a:pt x="53279" y="207683"/>
                      <a:pt x="29737" y="207594"/>
                    </a:cubicBezTo>
                    <a:cubicBezTo>
                      <a:pt x="1958" y="208991"/>
                      <a:pt x="31893" y="161747"/>
                      <a:pt x="19754" y="146126"/>
                    </a:cubicBezTo>
                    <a:cubicBezTo>
                      <a:pt x="9468" y="141453"/>
                      <a:pt x="-1543" y="157467"/>
                      <a:pt x="1464" y="134252"/>
                    </a:cubicBezTo>
                    <a:cubicBezTo>
                      <a:pt x="-4422" y="113017"/>
                      <a:pt x="8973" y="129845"/>
                      <a:pt x="9822" y="110173"/>
                    </a:cubicBezTo>
                    <a:cubicBezTo>
                      <a:pt x="14807" y="105220"/>
                      <a:pt x="18727" y="52045"/>
                      <a:pt x="29775" y="72326"/>
                    </a:cubicBezTo>
                    <a:cubicBezTo>
                      <a:pt x="25462" y="43040"/>
                      <a:pt x="26452" y="44475"/>
                      <a:pt x="42053" y="19596"/>
                    </a:cubicBezTo>
                    <a:cubicBezTo>
                      <a:pt x="45871" y="24371"/>
                      <a:pt x="49232" y="28956"/>
                      <a:pt x="53735" y="19545"/>
                    </a:cubicBezTo>
                    <a:cubicBezTo>
                      <a:pt x="77151" y="-4712"/>
                      <a:pt x="145404" y="53162"/>
                      <a:pt x="174527" y="152"/>
                    </a:cubicBezTo>
                    <a:cubicBezTo>
                      <a:pt x="195113" y="-2400"/>
                      <a:pt x="164557" y="28105"/>
                      <a:pt x="160067" y="34773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25" name="Vrije vorm 624">
                <a:extLst>
                  <a:ext uri="{FF2B5EF4-FFF2-40B4-BE49-F238E27FC236}">
                    <a16:creationId xmlns:a16="http://schemas.microsoft.com/office/drawing/2014/main" id="{F2259491-AFF8-0146-8D50-FA145CEA1804}"/>
                  </a:ext>
                </a:extLst>
              </p:cNvPr>
              <p:cNvSpPr/>
              <p:nvPr/>
            </p:nvSpPr>
            <p:spPr>
              <a:xfrm>
                <a:off x="8475696" y="4564172"/>
                <a:ext cx="266066" cy="79378"/>
              </a:xfrm>
              <a:custGeom>
                <a:avLst/>
                <a:gdLst>
                  <a:gd name="connsiteX0" fmla="*/ 266040 w 266066"/>
                  <a:gd name="connsiteY0" fmla="*/ 79379 h 79378"/>
                  <a:gd name="connsiteX1" fmla="*/ 132197 w 266066"/>
                  <a:gd name="connsiteY1" fmla="*/ 53637 h 79378"/>
                  <a:gd name="connsiteX2" fmla="*/ 33425 w 266066"/>
                  <a:gd name="connsiteY2" fmla="*/ 28808 h 79378"/>
                  <a:gd name="connsiteX3" fmla="*/ 1600 w 266066"/>
                  <a:gd name="connsiteY3" fmla="*/ 24528 h 79378"/>
                  <a:gd name="connsiteX4" fmla="*/ 4708 w 266066"/>
                  <a:gd name="connsiteY4" fmla="*/ 22407 h 79378"/>
                  <a:gd name="connsiteX5" fmla="*/ 49914 w 266066"/>
                  <a:gd name="connsiteY5" fmla="*/ 3522 h 79378"/>
                  <a:gd name="connsiteX6" fmla="*/ 83756 w 266066"/>
                  <a:gd name="connsiteY6" fmla="*/ 7878 h 79378"/>
                  <a:gd name="connsiteX7" fmla="*/ 106536 w 266066"/>
                  <a:gd name="connsiteY7" fmla="*/ 23855 h 79378"/>
                  <a:gd name="connsiteX8" fmla="*/ 161104 w 266066"/>
                  <a:gd name="connsiteY8" fmla="*/ 12869 h 79378"/>
                  <a:gd name="connsiteX9" fmla="*/ 208099 w 266066"/>
                  <a:gd name="connsiteY9" fmla="*/ 29519 h 79378"/>
                  <a:gd name="connsiteX10" fmla="*/ 214491 w 266066"/>
                  <a:gd name="connsiteY10" fmla="*/ 41406 h 79378"/>
                  <a:gd name="connsiteX11" fmla="*/ 260777 w 266066"/>
                  <a:gd name="connsiteY11" fmla="*/ 56697 h 79378"/>
                  <a:gd name="connsiteX12" fmla="*/ 266040 w 266066"/>
                  <a:gd name="connsiteY12" fmla="*/ 79379 h 793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66066" h="79378">
                    <a:moveTo>
                      <a:pt x="266040" y="79379"/>
                    </a:moveTo>
                    <a:cubicBezTo>
                      <a:pt x="220504" y="60431"/>
                      <a:pt x="178139" y="77309"/>
                      <a:pt x="132197" y="53637"/>
                    </a:cubicBezTo>
                    <a:cubicBezTo>
                      <a:pt x="97822" y="44873"/>
                      <a:pt x="39171" y="57599"/>
                      <a:pt x="33425" y="28808"/>
                    </a:cubicBezTo>
                    <a:cubicBezTo>
                      <a:pt x="22973" y="26408"/>
                      <a:pt x="12319" y="24973"/>
                      <a:pt x="1600" y="24528"/>
                    </a:cubicBezTo>
                    <a:cubicBezTo>
                      <a:pt x="-3105" y="28668"/>
                      <a:pt x="3807" y="16070"/>
                      <a:pt x="4708" y="22407"/>
                    </a:cubicBezTo>
                    <a:cubicBezTo>
                      <a:pt x="29024" y="11892"/>
                      <a:pt x="1156" y="-7374"/>
                      <a:pt x="49914" y="3522"/>
                    </a:cubicBezTo>
                    <a:cubicBezTo>
                      <a:pt x="52705" y="-9533"/>
                      <a:pt x="78010" y="18724"/>
                      <a:pt x="83756" y="7878"/>
                    </a:cubicBezTo>
                    <a:cubicBezTo>
                      <a:pt x="93421" y="8691"/>
                      <a:pt x="94639" y="31005"/>
                      <a:pt x="106536" y="23855"/>
                    </a:cubicBezTo>
                    <a:cubicBezTo>
                      <a:pt x="131030" y="29341"/>
                      <a:pt x="147126" y="30776"/>
                      <a:pt x="161104" y="12869"/>
                    </a:cubicBezTo>
                    <a:cubicBezTo>
                      <a:pt x="169552" y="26014"/>
                      <a:pt x="199740" y="22102"/>
                      <a:pt x="208099" y="29519"/>
                    </a:cubicBezTo>
                    <a:cubicBezTo>
                      <a:pt x="210040" y="39463"/>
                      <a:pt x="216686" y="33443"/>
                      <a:pt x="214491" y="41406"/>
                    </a:cubicBezTo>
                    <a:cubicBezTo>
                      <a:pt x="214491" y="63314"/>
                      <a:pt x="259825" y="36999"/>
                      <a:pt x="260777" y="56697"/>
                    </a:cubicBezTo>
                    <a:cubicBezTo>
                      <a:pt x="258303" y="70058"/>
                      <a:pt x="257085" y="72001"/>
                      <a:pt x="266040" y="79379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26" name="Vrije vorm 225">
              <a:extLst>
                <a:ext uri="{FF2B5EF4-FFF2-40B4-BE49-F238E27FC236}">
                  <a16:creationId xmlns:a16="http://schemas.microsoft.com/office/drawing/2014/main" id="{B4FD9DD1-9765-2E49-91F5-951D1A7B72F0}"/>
                </a:ext>
              </a:extLst>
            </p:cNvPr>
            <p:cNvSpPr/>
            <p:nvPr/>
          </p:nvSpPr>
          <p:spPr>
            <a:xfrm>
              <a:off x="7752994" y="4117859"/>
              <a:ext cx="59943" cy="111115"/>
            </a:xfrm>
            <a:custGeom>
              <a:avLst/>
              <a:gdLst>
                <a:gd name="connsiteX0" fmla="*/ 59918 w 59943"/>
                <a:gd name="connsiteY0" fmla="*/ 77624 h 111115"/>
                <a:gd name="connsiteX1" fmla="*/ 24148 w 59943"/>
                <a:gd name="connsiteY1" fmla="*/ 10491 h 111115"/>
                <a:gd name="connsiteX2" fmla="*/ 11692 w 59943"/>
                <a:gd name="connsiteY2" fmla="*/ 1398 h 111115"/>
                <a:gd name="connsiteX3" fmla="*/ 10576 w 59943"/>
                <a:gd name="connsiteY3" fmla="*/ 1 h 111115"/>
                <a:gd name="connsiteX4" fmla="*/ 33497 w 59943"/>
                <a:gd name="connsiteY4" fmla="*/ 23268 h 111115"/>
                <a:gd name="connsiteX5" fmla="*/ 59918 w 59943"/>
                <a:gd name="connsiteY5" fmla="*/ 77624 h 111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943" h="111115">
                  <a:moveTo>
                    <a:pt x="59918" y="77624"/>
                  </a:moveTo>
                  <a:cubicBezTo>
                    <a:pt x="4691" y="185751"/>
                    <a:pt x="-23316" y="-3771"/>
                    <a:pt x="24148" y="10491"/>
                  </a:cubicBezTo>
                  <a:cubicBezTo>
                    <a:pt x="13227" y="6796"/>
                    <a:pt x="-6954" y="-3148"/>
                    <a:pt x="11692" y="1398"/>
                  </a:cubicBezTo>
                  <a:cubicBezTo>
                    <a:pt x="21041" y="9005"/>
                    <a:pt x="18212" y="5132"/>
                    <a:pt x="10576" y="1"/>
                  </a:cubicBezTo>
                  <a:cubicBezTo>
                    <a:pt x="20774" y="4726"/>
                    <a:pt x="28917" y="12981"/>
                    <a:pt x="33497" y="23268"/>
                  </a:cubicBezTo>
                  <a:cubicBezTo>
                    <a:pt x="46219" y="39193"/>
                    <a:pt x="55237" y="57761"/>
                    <a:pt x="59918" y="77624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7" name="Vrije vorm 226">
              <a:extLst>
                <a:ext uri="{FF2B5EF4-FFF2-40B4-BE49-F238E27FC236}">
                  <a16:creationId xmlns:a16="http://schemas.microsoft.com/office/drawing/2014/main" id="{6DC769F5-21B4-8947-BC5A-4EEC5BC90739}"/>
                </a:ext>
              </a:extLst>
            </p:cNvPr>
            <p:cNvSpPr/>
            <p:nvPr/>
          </p:nvSpPr>
          <p:spPr>
            <a:xfrm>
              <a:off x="9545851" y="2587931"/>
              <a:ext cx="723" cy="2249"/>
            </a:xfrm>
            <a:custGeom>
              <a:avLst/>
              <a:gdLst>
                <a:gd name="connsiteX0" fmla="*/ -26 w 723"/>
                <a:gd name="connsiteY0" fmla="*/ 1 h 2249"/>
                <a:gd name="connsiteX1" fmla="*/ 697 w 723"/>
                <a:gd name="connsiteY1" fmla="*/ 2250 h 2249"/>
                <a:gd name="connsiteX2" fmla="*/ -26 w 723"/>
                <a:gd name="connsiteY2" fmla="*/ 1 h 2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3" h="2249">
                  <a:moveTo>
                    <a:pt x="-26" y="1"/>
                  </a:moveTo>
                  <a:cubicBezTo>
                    <a:pt x="88" y="786"/>
                    <a:pt x="329" y="1547"/>
                    <a:pt x="697" y="2250"/>
                  </a:cubicBezTo>
                  <a:cubicBezTo>
                    <a:pt x="393" y="1526"/>
                    <a:pt x="139" y="773"/>
                    <a:pt x="-26" y="1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28" name="Graphic 5">
              <a:extLst>
                <a:ext uri="{FF2B5EF4-FFF2-40B4-BE49-F238E27FC236}">
                  <a16:creationId xmlns:a16="http://schemas.microsoft.com/office/drawing/2014/main" id="{A65E4E44-7A7E-1542-9F38-AE7989E4B2A0}"/>
                </a:ext>
              </a:extLst>
            </p:cNvPr>
            <p:cNvGrpSpPr/>
            <p:nvPr/>
          </p:nvGrpSpPr>
          <p:grpSpPr>
            <a:xfrm>
              <a:off x="9165311" y="2951890"/>
              <a:ext cx="459689" cy="522007"/>
              <a:chOff x="9165311" y="2951890"/>
              <a:chExt cx="459689" cy="522007"/>
            </a:xfrm>
            <a:solidFill>
              <a:schemeClr val="bg2"/>
            </a:solidFill>
          </p:grpSpPr>
          <p:sp>
            <p:nvSpPr>
              <p:cNvPr id="589" name="Vrije vorm 588">
                <a:extLst>
                  <a:ext uri="{FF2B5EF4-FFF2-40B4-BE49-F238E27FC236}">
                    <a16:creationId xmlns:a16="http://schemas.microsoft.com/office/drawing/2014/main" id="{289902F5-91BA-CF45-B0CB-4AE4C5E12D18}"/>
                  </a:ext>
                </a:extLst>
              </p:cNvPr>
              <p:cNvSpPr/>
              <p:nvPr/>
            </p:nvSpPr>
            <p:spPr>
              <a:xfrm>
                <a:off x="9456944" y="2951890"/>
                <a:ext cx="168056" cy="155665"/>
              </a:xfrm>
              <a:custGeom>
                <a:avLst/>
                <a:gdLst>
                  <a:gd name="connsiteX0" fmla="*/ 168030 w 168056"/>
                  <a:gd name="connsiteY0" fmla="*/ 81530 h 155665"/>
                  <a:gd name="connsiteX1" fmla="*/ 128075 w 168056"/>
                  <a:gd name="connsiteY1" fmla="*/ 96554 h 155665"/>
                  <a:gd name="connsiteX2" fmla="*/ 58021 w 168056"/>
                  <a:gd name="connsiteY2" fmla="*/ 113115 h 155665"/>
                  <a:gd name="connsiteX3" fmla="*/ 30331 w 168056"/>
                  <a:gd name="connsiteY3" fmla="*/ 120405 h 155665"/>
                  <a:gd name="connsiteX4" fmla="*/ 20044 w 168056"/>
                  <a:gd name="connsiteY4" fmla="*/ 130882 h 155665"/>
                  <a:gd name="connsiteX5" fmla="*/ 25257 w 168056"/>
                  <a:gd name="connsiteY5" fmla="*/ 142769 h 155665"/>
                  <a:gd name="connsiteX6" fmla="*/ 7956 w 168056"/>
                  <a:gd name="connsiteY6" fmla="*/ 140026 h 155665"/>
                  <a:gd name="connsiteX7" fmla="*/ 19410 w 168056"/>
                  <a:gd name="connsiteY7" fmla="*/ 95919 h 155665"/>
                  <a:gd name="connsiteX8" fmla="*/ 43142 w 168056"/>
                  <a:gd name="connsiteY8" fmla="*/ 72120 h 155665"/>
                  <a:gd name="connsiteX9" fmla="*/ 97963 w 168056"/>
                  <a:gd name="connsiteY9" fmla="*/ 41932 h 155665"/>
                  <a:gd name="connsiteX10" fmla="*/ 116127 w 168056"/>
                  <a:gd name="connsiteY10" fmla="*/ 53717 h 155665"/>
                  <a:gd name="connsiteX11" fmla="*/ 123991 w 168056"/>
                  <a:gd name="connsiteY11" fmla="*/ 53133 h 155665"/>
                  <a:gd name="connsiteX12" fmla="*/ 149296 w 168056"/>
                  <a:gd name="connsiteY12" fmla="*/ 62226 h 155665"/>
                  <a:gd name="connsiteX13" fmla="*/ 168030 w 168056"/>
                  <a:gd name="connsiteY13" fmla="*/ 81530 h 1556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68056" h="155665">
                    <a:moveTo>
                      <a:pt x="168030" y="81530"/>
                    </a:moveTo>
                    <a:cubicBezTo>
                      <a:pt x="164174" y="88045"/>
                      <a:pt x="136079" y="104022"/>
                      <a:pt x="128075" y="96554"/>
                    </a:cubicBezTo>
                    <a:cubicBezTo>
                      <a:pt x="85253" y="112937"/>
                      <a:pt x="111675" y="156625"/>
                      <a:pt x="58021" y="113115"/>
                    </a:cubicBezTo>
                    <a:cubicBezTo>
                      <a:pt x="46427" y="103933"/>
                      <a:pt x="33122" y="129041"/>
                      <a:pt x="30331" y="120405"/>
                    </a:cubicBezTo>
                    <a:cubicBezTo>
                      <a:pt x="23279" y="101457"/>
                      <a:pt x="1982" y="122920"/>
                      <a:pt x="20044" y="130882"/>
                    </a:cubicBezTo>
                    <a:cubicBezTo>
                      <a:pt x="31232" y="129536"/>
                      <a:pt x="48393" y="153069"/>
                      <a:pt x="25257" y="142769"/>
                    </a:cubicBezTo>
                    <a:cubicBezTo>
                      <a:pt x="15947" y="150059"/>
                      <a:pt x="-2927" y="169135"/>
                      <a:pt x="7956" y="140026"/>
                    </a:cubicBezTo>
                    <a:cubicBezTo>
                      <a:pt x="-5350" y="116442"/>
                      <a:pt x="-2344" y="114106"/>
                      <a:pt x="19410" y="95919"/>
                    </a:cubicBezTo>
                    <a:cubicBezTo>
                      <a:pt x="-137" y="64919"/>
                      <a:pt x="56853" y="112531"/>
                      <a:pt x="43142" y="72120"/>
                    </a:cubicBezTo>
                    <a:cubicBezTo>
                      <a:pt x="71504" y="21180"/>
                      <a:pt x="23418" y="-44327"/>
                      <a:pt x="97963" y="41932"/>
                    </a:cubicBezTo>
                    <a:cubicBezTo>
                      <a:pt x="107983" y="48002"/>
                      <a:pt x="108123" y="52866"/>
                      <a:pt x="116127" y="53717"/>
                    </a:cubicBezTo>
                    <a:cubicBezTo>
                      <a:pt x="123852" y="46745"/>
                      <a:pt x="120312" y="62937"/>
                      <a:pt x="123991" y="53133"/>
                    </a:cubicBezTo>
                    <a:cubicBezTo>
                      <a:pt x="134189" y="82330"/>
                      <a:pt x="171760" y="18754"/>
                      <a:pt x="149296" y="62226"/>
                    </a:cubicBezTo>
                    <a:cubicBezTo>
                      <a:pt x="153291" y="80666"/>
                      <a:pt x="153113" y="92465"/>
                      <a:pt x="168030" y="81530"/>
                    </a:cubicBezTo>
                    <a:close/>
                  </a:path>
                </a:pathLst>
              </a:custGeom>
              <a:solidFill>
                <a:schemeClr val="tx2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90" name="Vrije vorm 589">
                <a:extLst>
                  <a:ext uri="{FF2B5EF4-FFF2-40B4-BE49-F238E27FC236}">
                    <a16:creationId xmlns:a16="http://schemas.microsoft.com/office/drawing/2014/main" id="{93B2E878-C563-9049-97AC-27F95DDDEA20}"/>
                  </a:ext>
                </a:extLst>
              </p:cNvPr>
              <p:cNvSpPr/>
              <p:nvPr/>
            </p:nvSpPr>
            <p:spPr>
              <a:xfrm>
                <a:off x="9202978" y="3106049"/>
                <a:ext cx="316781" cy="285563"/>
              </a:xfrm>
              <a:custGeom>
                <a:avLst/>
                <a:gdLst>
                  <a:gd name="connsiteX0" fmla="*/ 313648 w 316781"/>
                  <a:gd name="connsiteY0" fmla="*/ 83277 h 285563"/>
                  <a:gd name="connsiteX1" fmla="*/ 313064 w 316781"/>
                  <a:gd name="connsiteY1" fmla="*/ 85576 h 285563"/>
                  <a:gd name="connsiteX2" fmla="*/ 312710 w 316781"/>
                  <a:gd name="connsiteY2" fmla="*/ 88814 h 285563"/>
                  <a:gd name="connsiteX3" fmla="*/ 311492 w 316781"/>
                  <a:gd name="connsiteY3" fmla="*/ 90122 h 285563"/>
                  <a:gd name="connsiteX4" fmla="*/ 301699 w 316781"/>
                  <a:gd name="connsiteY4" fmla="*/ 118913 h 285563"/>
                  <a:gd name="connsiteX5" fmla="*/ 286466 w 316781"/>
                  <a:gd name="connsiteY5" fmla="*/ 160988 h 285563"/>
                  <a:gd name="connsiteX6" fmla="*/ 282825 w 316781"/>
                  <a:gd name="connsiteY6" fmla="*/ 210213 h 285563"/>
                  <a:gd name="connsiteX7" fmla="*/ 251407 w 316781"/>
                  <a:gd name="connsiteY7" fmla="*/ 234915 h 285563"/>
                  <a:gd name="connsiteX8" fmla="*/ 260894 w 316781"/>
                  <a:gd name="connsiteY8" fmla="*/ 214442 h 285563"/>
                  <a:gd name="connsiteX9" fmla="*/ 250734 w 316781"/>
                  <a:gd name="connsiteY9" fmla="*/ 226901 h 285563"/>
                  <a:gd name="connsiteX10" fmla="*/ 247145 w 316781"/>
                  <a:gd name="connsiteY10" fmla="*/ 227091 h 285563"/>
                  <a:gd name="connsiteX11" fmla="*/ 231277 w 316781"/>
                  <a:gd name="connsiteY11" fmla="*/ 242065 h 285563"/>
                  <a:gd name="connsiteX12" fmla="*/ 227459 w 316781"/>
                  <a:gd name="connsiteY12" fmla="*/ 233023 h 285563"/>
                  <a:gd name="connsiteX13" fmla="*/ 208090 w 316781"/>
                  <a:gd name="connsiteY13" fmla="*/ 247285 h 285563"/>
                  <a:gd name="connsiteX14" fmla="*/ 173792 w 316781"/>
                  <a:gd name="connsiteY14" fmla="*/ 248555 h 285563"/>
                  <a:gd name="connsiteX15" fmla="*/ 172714 w 316781"/>
                  <a:gd name="connsiteY15" fmla="*/ 236667 h 285563"/>
                  <a:gd name="connsiteX16" fmla="*/ 169708 w 316781"/>
                  <a:gd name="connsiteY16" fmla="*/ 230864 h 285563"/>
                  <a:gd name="connsiteX17" fmla="*/ 170963 w 316781"/>
                  <a:gd name="connsiteY17" fmla="*/ 253546 h 285563"/>
                  <a:gd name="connsiteX18" fmla="*/ 147955 w 316781"/>
                  <a:gd name="connsiteY18" fmla="*/ 272088 h 285563"/>
                  <a:gd name="connsiteX19" fmla="*/ 118883 w 316781"/>
                  <a:gd name="connsiteY19" fmla="*/ 271592 h 285563"/>
                  <a:gd name="connsiteX20" fmla="*/ 118337 w 316781"/>
                  <a:gd name="connsiteY20" fmla="*/ 259261 h 285563"/>
                  <a:gd name="connsiteX21" fmla="*/ 71875 w 316781"/>
                  <a:gd name="connsiteY21" fmla="*/ 253139 h 285563"/>
                  <a:gd name="connsiteX22" fmla="*/ 67739 w 316781"/>
                  <a:gd name="connsiteY22" fmla="*/ 254625 h 285563"/>
                  <a:gd name="connsiteX23" fmla="*/ 53406 w 316781"/>
                  <a:gd name="connsiteY23" fmla="*/ 260340 h 285563"/>
                  <a:gd name="connsiteX24" fmla="*/ 35560 w 316781"/>
                  <a:gd name="connsiteY24" fmla="*/ 270195 h 285563"/>
                  <a:gd name="connsiteX25" fmla="*/ 26212 w 316781"/>
                  <a:gd name="connsiteY25" fmla="*/ 269345 h 285563"/>
                  <a:gd name="connsiteX26" fmla="*/ 26529 w 316781"/>
                  <a:gd name="connsiteY26" fmla="*/ 267452 h 285563"/>
                  <a:gd name="connsiteX27" fmla="*/ 9595 w 316781"/>
                  <a:gd name="connsiteY27" fmla="*/ 270602 h 285563"/>
                  <a:gd name="connsiteX28" fmla="*/ 691 w 316781"/>
                  <a:gd name="connsiteY28" fmla="*/ 266551 h 285563"/>
                  <a:gd name="connsiteX29" fmla="*/ 10712 w 316781"/>
                  <a:gd name="connsiteY29" fmla="*/ 254409 h 285563"/>
                  <a:gd name="connsiteX30" fmla="*/ 66662 w 316781"/>
                  <a:gd name="connsiteY30" fmla="*/ 214544 h 285563"/>
                  <a:gd name="connsiteX31" fmla="*/ 122167 w 316781"/>
                  <a:gd name="connsiteY31" fmla="*/ 215395 h 285563"/>
                  <a:gd name="connsiteX32" fmla="*/ 128053 w 316781"/>
                  <a:gd name="connsiteY32" fmla="*/ 216512 h 285563"/>
                  <a:gd name="connsiteX33" fmla="*/ 137845 w 316781"/>
                  <a:gd name="connsiteY33" fmla="*/ 215623 h 285563"/>
                  <a:gd name="connsiteX34" fmla="*/ 139646 w 316781"/>
                  <a:gd name="connsiteY34" fmla="*/ 211788 h 285563"/>
                  <a:gd name="connsiteX35" fmla="*/ 145531 w 316781"/>
                  <a:gd name="connsiteY35" fmla="*/ 207521 h 285563"/>
                  <a:gd name="connsiteX36" fmla="*/ 166701 w 316781"/>
                  <a:gd name="connsiteY36" fmla="*/ 167249 h 285563"/>
                  <a:gd name="connsiteX37" fmla="*/ 169987 w 316781"/>
                  <a:gd name="connsiteY37" fmla="*/ 149698 h 285563"/>
                  <a:gd name="connsiteX38" fmla="*/ 174426 w 316781"/>
                  <a:gd name="connsiteY38" fmla="*/ 160544 h 285563"/>
                  <a:gd name="connsiteX39" fmla="*/ 250468 w 316781"/>
                  <a:gd name="connsiteY39" fmla="*/ 57508 h 285563"/>
                  <a:gd name="connsiteX40" fmla="*/ 258383 w 316781"/>
                  <a:gd name="connsiteY40" fmla="*/ 28171 h 285563"/>
                  <a:gd name="connsiteX41" fmla="*/ 269520 w 316781"/>
                  <a:gd name="connsiteY41" fmla="*/ 9502 h 285563"/>
                  <a:gd name="connsiteX42" fmla="*/ 279768 w 316781"/>
                  <a:gd name="connsiteY42" fmla="*/ 24704 h 285563"/>
                  <a:gd name="connsiteX43" fmla="*/ 284043 w 316781"/>
                  <a:gd name="connsiteY43" fmla="*/ 18227 h 285563"/>
                  <a:gd name="connsiteX44" fmla="*/ 291362 w 316781"/>
                  <a:gd name="connsiteY44" fmla="*/ 8105 h 285563"/>
                  <a:gd name="connsiteX45" fmla="*/ 288622 w 316781"/>
                  <a:gd name="connsiteY45" fmla="*/ 460 h 285563"/>
                  <a:gd name="connsiteX46" fmla="*/ 299861 w 316781"/>
                  <a:gd name="connsiteY46" fmla="*/ 3965 h 285563"/>
                  <a:gd name="connsiteX47" fmla="*/ 314016 w 316781"/>
                  <a:gd name="connsiteY47" fmla="*/ 70069 h 285563"/>
                  <a:gd name="connsiteX48" fmla="*/ 312760 w 316781"/>
                  <a:gd name="connsiteY48" fmla="*/ 81626 h 285563"/>
                  <a:gd name="connsiteX49" fmla="*/ 313648 w 316781"/>
                  <a:gd name="connsiteY49" fmla="*/ 83277 h 285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316781" h="285563">
                    <a:moveTo>
                      <a:pt x="313648" y="83277"/>
                    </a:moveTo>
                    <a:cubicBezTo>
                      <a:pt x="314688" y="84991"/>
                      <a:pt x="309247" y="85207"/>
                      <a:pt x="313064" y="85576"/>
                    </a:cubicBezTo>
                    <a:cubicBezTo>
                      <a:pt x="310959" y="87963"/>
                      <a:pt x="310591" y="86109"/>
                      <a:pt x="312710" y="88814"/>
                    </a:cubicBezTo>
                    <a:cubicBezTo>
                      <a:pt x="310680" y="89487"/>
                      <a:pt x="309018" y="87861"/>
                      <a:pt x="311492" y="90122"/>
                    </a:cubicBezTo>
                    <a:cubicBezTo>
                      <a:pt x="301966" y="94173"/>
                      <a:pt x="299987" y="104791"/>
                      <a:pt x="301699" y="118913"/>
                    </a:cubicBezTo>
                    <a:cubicBezTo>
                      <a:pt x="278322" y="100371"/>
                      <a:pt x="289649" y="143526"/>
                      <a:pt x="286466" y="160988"/>
                    </a:cubicBezTo>
                    <a:cubicBezTo>
                      <a:pt x="276445" y="175745"/>
                      <a:pt x="270014" y="194287"/>
                      <a:pt x="282825" y="210213"/>
                    </a:cubicBezTo>
                    <a:cubicBezTo>
                      <a:pt x="267503" y="206975"/>
                      <a:pt x="267185" y="243513"/>
                      <a:pt x="251407" y="234915"/>
                    </a:cubicBezTo>
                    <a:cubicBezTo>
                      <a:pt x="257964" y="232083"/>
                      <a:pt x="249250" y="221681"/>
                      <a:pt x="260894" y="214442"/>
                    </a:cubicBezTo>
                    <a:cubicBezTo>
                      <a:pt x="255097" y="204448"/>
                      <a:pt x="245344" y="221643"/>
                      <a:pt x="250734" y="226901"/>
                    </a:cubicBezTo>
                    <a:cubicBezTo>
                      <a:pt x="248312" y="226495"/>
                      <a:pt x="248527" y="233023"/>
                      <a:pt x="247145" y="227091"/>
                    </a:cubicBezTo>
                    <a:cubicBezTo>
                      <a:pt x="236579" y="213858"/>
                      <a:pt x="233573" y="232527"/>
                      <a:pt x="231277" y="242065"/>
                    </a:cubicBezTo>
                    <a:cubicBezTo>
                      <a:pt x="223907" y="257635"/>
                      <a:pt x="218199" y="233886"/>
                      <a:pt x="227459" y="233023"/>
                    </a:cubicBezTo>
                    <a:cubicBezTo>
                      <a:pt x="218732" y="222545"/>
                      <a:pt x="208306" y="241265"/>
                      <a:pt x="208090" y="247285"/>
                    </a:cubicBezTo>
                    <a:cubicBezTo>
                      <a:pt x="196738" y="244732"/>
                      <a:pt x="184929" y="245164"/>
                      <a:pt x="173792" y="248555"/>
                    </a:cubicBezTo>
                    <a:cubicBezTo>
                      <a:pt x="192806" y="236363"/>
                      <a:pt x="173208" y="247691"/>
                      <a:pt x="172714" y="236667"/>
                    </a:cubicBezTo>
                    <a:cubicBezTo>
                      <a:pt x="170253" y="251780"/>
                      <a:pt x="167589" y="238382"/>
                      <a:pt x="169708" y="230864"/>
                    </a:cubicBezTo>
                    <a:cubicBezTo>
                      <a:pt x="162656" y="234242"/>
                      <a:pt x="153979" y="248186"/>
                      <a:pt x="170963" y="253546"/>
                    </a:cubicBezTo>
                    <a:cubicBezTo>
                      <a:pt x="169568" y="264709"/>
                      <a:pt x="160626" y="250485"/>
                      <a:pt x="147955" y="272088"/>
                    </a:cubicBezTo>
                    <a:cubicBezTo>
                      <a:pt x="139735" y="299088"/>
                      <a:pt x="126658" y="278298"/>
                      <a:pt x="118883" y="271592"/>
                    </a:cubicBezTo>
                    <a:cubicBezTo>
                      <a:pt x="118565" y="267135"/>
                      <a:pt x="124717" y="263083"/>
                      <a:pt x="118337" y="259261"/>
                    </a:cubicBezTo>
                    <a:cubicBezTo>
                      <a:pt x="155958" y="229200"/>
                      <a:pt x="69402" y="252733"/>
                      <a:pt x="71875" y="253139"/>
                    </a:cubicBezTo>
                    <a:cubicBezTo>
                      <a:pt x="69135" y="258054"/>
                      <a:pt x="68500" y="257013"/>
                      <a:pt x="67739" y="254625"/>
                    </a:cubicBezTo>
                    <a:cubicBezTo>
                      <a:pt x="61359" y="263490"/>
                      <a:pt x="64061" y="250853"/>
                      <a:pt x="53406" y="260340"/>
                    </a:cubicBezTo>
                    <a:cubicBezTo>
                      <a:pt x="41991" y="266373"/>
                      <a:pt x="45859" y="240058"/>
                      <a:pt x="35560" y="270195"/>
                    </a:cubicBezTo>
                    <a:cubicBezTo>
                      <a:pt x="34888" y="283111"/>
                      <a:pt x="34304" y="267008"/>
                      <a:pt x="26212" y="269345"/>
                    </a:cubicBezTo>
                    <a:cubicBezTo>
                      <a:pt x="25768" y="270475"/>
                      <a:pt x="24689" y="269027"/>
                      <a:pt x="26529" y="267452"/>
                    </a:cubicBezTo>
                    <a:cubicBezTo>
                      <a:pt x="16965" y="266284"/>
                      <a:pt x="16242" y="268887"/>
                      <a:pt x="9595" y="270602"/>
                    </a:cubicBezTo>
                    <a:cubicBezTo>
                      <a:pt x="5816" y="263134"/>
                      <a:pt x="-1376" y="275326"/>
                      <a:pt x="691" y="266551"/>
                    </a:cubicBezTo>
                    <a:cubicBezTo>
                      <a:pt x="-2189" y="254409"/>
                      <a:pt x="4103" y="253241"/>
                      <a:pt x="10712" y="254409"/>
                    </a:cubicBezTo>
                    <a:cubicBezTo>
                      <a:pt x="23751" y="253330"/>
                      <a:pt x="49271" y="211979"/>
                      <a:pt x="66662" y="214544"/>
                    </a:cubicBezTo>
                    <a:cubicBezTo>
                      <a:pt x="71291" y="227320"/>
                      <a:pt x="130298" y="196637"/>
                      <a:pt x="122167" y="215395"/>
                    </a:cubicBezTo>
                    <a:cubicBezTo>
                      <a:pt x="124413" y="210404"/>
                      <a:pt x="124907" y="221605"/>
                      <a:pt x="128053" y="216512"/>
                    </a:cubicBezTo>
                    <a:cubicBezTo>
                      <a:pt x="124146" y="210124"/>
                      <a:pt x="136183" y="220830"/>
                      <a:pt x="137845" y="215623"/>
                    </a:cubicBezTo>
                    <a:cubicBezTo>
                      <a:pt x="133621" y="213553"/>
                      <a:pt x="143198" y="217554"/>
                      <a:pt x="139646" y="211788"/>
                    </a:cubicBezTo>
                    <a:cubicBezTo>
                      <a:pt x="145798" y="215027"/>
                      <a:pt x="142158" y="210175"/>
                      <a:pt x="145531" y="207521"/>
                    </a:cubicBezTo>
                    <a:cubicBezTo>
                      <a:pt x="139469" y="204727"/>
                      <a:pt x="159155" y="182680"/>
                      <a:pt x="166701" y="167249"/>
                    </a:cubicBezTo>
                    <a:cubicBezTo>
                      <a:pt x="166207" y="160810"/>
                      <a:pt x="160766" y="153165"/>
                      <a:pt x="169987" y="149698"/>
                    </a:cubicBezTo>
                    <a:cubicBezTo>
                      <a:pt x="206162" y="134496"/>
                      <a:pt x="156985" y="165763"/>
                      <a:pt x="174426" y="160544"/>
                    </a:cubicBezTo>
                    <a:cubicBezTo>
                      <a:pt x="188366" y="200053"/>
                      <a:pt x="288267" y="81219"/>
                      <a:pt x="250468" y="57508"/>
                    </a:cubicBezTo>
                    <a:cubicBezTo>
                      <a:pt x="263901" y="56023"/>
                      <a:pt x="253347" y="35004"/>
                      <a:pt x="258383" y="28171"/>
                    </a:cubicBezTo>
                    <a:cubicBezTo>
                      <a:pt x="274010" y="28121"/>
                      <a:pt x="263051" y="12144"/>
                      <a:pt x="269520" y="9502"/>
                    </a:cubicBezTo>
                    <a:cubicBezTo>
                      <a:pt x="281379" y="11700"/>
                      <a:pt x="272804" y="15700"/>
                      <a:pt x="279768" y="24704"/>
                    </a:cubicBezTo>
                    <a:cubicBezTo>
                      <a:pt x="284664" y="24438"/>
                      <a:pt x="281379" y="19040"/>
                      <a:pt x="284043" y="18227"/>
                    </a:cubicBezTo>
                    <a:cubicBezTo>
                      <a:pt x="290144" y="30597"/>
                      <a:pt x="299086" y="13465"/>
                      <a:pt x="291362" y="8105"/>
                    </a:cubicBezTo>
                    <a:cubicBezTo>
                      <a:pt x="279768" y="24120"/>
                      <a:pt x="275989" y="-3858"/>
                      <a:pt x="288622" y="460"/>
                    </a:cubicBezTo>
                    <a:cubicBezTo>
                      <a:pt x="292085" y="7204"/>
                      <a:pt x="299086" y="3114"/>
                      <a:pt x="299861" y="3965"/>
                    </a:cubicBezTo>
                    <a:cubicBezTo>
                      <a:pt x="288178" y="32083"/>
                      <a:pt x="319457" y="45494"/>
                      <a:pt x="314016" y="70069"/>
                    </a:cubicBezTo>
                    <a:cubicBezTo>
                      <a:pt x="320218" y="68621"/>
                      <a:pt x="314143" y="79289"/>
                      <a:pt x="312760" y="81626"/>
                    </a:cubicBezTo>
                    <a:cubicBezTo>
                      <a:pt x="314232" y="81880"/>
                      <a:pt x="310324" y="83861"/>
                      <a:pt x="313648" y="83277"/>
                    </a:cubicBezTo>
                    <a:close/>
                  </a:path>
                </a:pathLst>
              </a:custGeom>
              <a:solidFill>
                <a:schemeClr val="tx2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91" name="Vrije vorm 590">
                <a:extLst>
                  <a:ext uri="{FF2B5EF4-FFF2-40B4-BE49-F238E27FC236}">
                    <a16:creationId xmlns:a16="http://schemas.microsoft.com/office/drawing/2014/main" id="{FAAE9C4B-DD90-234C-9139-5E8BAA165770}"/>
                  </a:ext>
                </a:extLst>
              </p:cNvPr>
              <p:cNvSpPr/>
              <p:nvPr/>
            </p:nvSpPr>
            <p:spPr>
              <a:xfrm>
                <a:off x="9242014" y="3361751"/>
                <a:ext cx="69208" cy="55513"/>
              </a:xfrm>
              <a:custGeom>
                <a:avLst/>
                <a:gdLst>
                  <a:gd name="connsiteX0" fmla="*/ 68785 w 69208"/>
                  <a:gd name="connsiteY0" fmla="*/ 18545 h 55513"/>
                  <a:gd name="connsiteX1" fmla="*/ 19571 w 69208"/>
                  <a:gd name="connsiteY1" fmla="*/ 52822 h 55513"/>
                  <a:gd name="connsiteX2" fmla="*/ 10311 w 69208"/>
                  <a:gd name="connsiteY2" fmla="*/ 54892 h 55513"/>
                  <a:gd name="connsiteX3" fmla="*/ 10044 w 69208"/>
                  <a:gd name="connsiteY3" fmla="*/ 49723 h 55513"/>
                  <a:gd name="connsiteX4" fmla="*/ 3348 w 69208"/>
                  <a:gd name="connsiteY4" fmla="*/ 45900 h 55513"/>
                  <a:gd name="connsiteX5" fmla="*/ 3804 w 69208"/>
                  <a:gd name="connsiteY5" fmla="*/ 40224 h 55513"/>
                  <a:gd name="connsiteX6" fmla="*/ 7838 w 69208"/>
                  <a:gd name="connsiteY6" fmla="*/ 37709 h 55513"/>
                  <a:gd name="connsiteX7" fmla="*/ -26 w 69208"/>
                  <a:gd name="connsiteY7" fmla="*/ 31549 h 55513"/>
                  <a:gd name="connsiteX8" fmla="*/ 27752 w 69208"/>
                  <a:gd name="connsiteY8" fmla="*/ 14176 h 55513"/>
                  <a:gd name="connsiteX9" fmla="*/ 58359 w 69208"/>
                  <a:gd name="connsiteY9" fmla="*/ 3470 h 55513"/>
                  <a:gd name="connsiteX10" fmla="*/ 66451 w 69208"/>
                  <a:gd name="connsiteY10" fmla="*/ 10353 h 55513"/>
                  <a:gd name="connsiteX11" fmla="*/ 69153 w 69208"/>
                  <a:gd name="connsiteY11" fmla="*/ 15890 h 55513"/>
                  <a:gd name="connsiteX12" fmla="*/ 68785 w 69208"/>
                  <a:gd name="connsiteY12" fmla="*/ 18545 h 55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9208" h="55513">
                    <a:moveTo>
                      <a:pt x="68785" y="18545"/>
                    </a:moveTo>
                    <a:cubicBezTo>
                      <a:pt x="52841" y="44046"/>
                      <a:pt x="31214" y="15395"/>
                      <a:pt x="19571" y="52822"/>
                    </a:cubicBezTo>
                    <a:cubicBezTo>
                      <a:pt x="25735" y="59083"/>
                      <a:pt x="14129" y="52073"/>
                      <a:pt x="10311" y="54892"/>
                    </a:cubicBezTo>
                    <a:cubicBezTo>
                      <a:pt x="8827" y="52238"/>
                      <a:pt x="15702" y="48821"/>
                      <a:pt x="10044" y="49723"/>
                    </a:cubicBezTo>
                    <a:cubicBezTo>
                      <a:pt x="4197" y="50764"/>
                      <a:pt x="8649" y="43830"/>
                      <a:pt x="3348" y="45900"/>
                    </a:cubicBezTo>
                    <a:cubicBezTo>
                      <a:pt x="4832" y="44326"/>
                      <a:pt x="7939" y="41900"/>
                      <a:pt x="3804" y="40224"/>
                    </a:cubicBezTo>
                    <a:cubicBezTo>
                      <a:pt x="4514" y="38166"/>
                      <a:pt x="7572" y="42522"/>
                      <a:pt x="7838" y="37709"/>
                    </a:cubicBezTo>
                    <a:cubicBezTo>
                      <a:pt x="1369" y="35283"/>
                      <a:pt x="5961" y="29340"/>
                      <a:pt x="-26" y="31549"/>
                    </a:cubicBezTo>
                    <a:cubicBezTo>
                      <a:pt x="13952" y="22228"/>
                      <a:pt x="12062" y="5540"/>
                      <a:pt x="27752" y="14176"/>
                    </a:cubicBezTo>
                    <a:cubicBezTo>
                      <a:pt x="43175" y="15077"/>
                      <a:pt x="38990" y="-8684"/>
                      <a:pt x="58359" y="3470"/>
                    </a:cubicBezTo>
                    <a:cubicBezTo>
                      <a:pt x="65322" y="8143"/>
                      <a:pt x="68696" y="727"/>
                      <a:pt x="66451" y="10353"/>
                    </a:cubicBezTo>
                    <a:cubicBezTo>
                      <a:pt x="64739" y="13274"/>
                      <a:pt x="69597" y="12779"/>
                      <a:pt x="69153" y="15890"/>
                    </a:cubicBezTo>
                    <a:cubicBezTo>
                      <a:pt x="65373" y="18722"/>
                      <a:pt x="70586" y="17148"/>
                      <a:pt x="68785" y="18545"/>
                    </a:cubicBezTo>
                    <a:close/>
                  </a:path>
                </a:pathLst>
              </a:custGeom>
              <a:solidFill>
                <a:schemeClr val="tx2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92" name="Vrije vorm 591">
                <a:extLst>
                  <a:ext uri="{FF2B5EF4-FFF2-40B4-BE49-F238E27FC236}">
                    <a16:creationId xmlns:a16="http://schemas.microsoft.com/office/drawing/2014/main" id="{C0679A5D-3105-E94D-92B1-742B6F129011}"/>
                  </a:ext>
                </a:extLst>
              </p:cNvPr>
              <p:cNvSpPr/>
              <p:nvPr/>
            </p:nvSpPr>
            <p:spPr>
              <a:xfrm>
                <a:off x="9235266" y="3393312"/>
                <a:ext cx="6760" cy="3352"/>
              </a:xfrm>
              <a:custGeom>
                <a:avLst/>
                <a:gdLst>
                  <a:gd name="connsiteX0" fmla="*/ 6735 w 6760"/>
                  <a:gd name="connsiteY0" fmla="*/ 1 h 3352"/>
                  <a:gd name="connsiteX1" fmla="*/ -26 w 6760"/>
                  <a:gd name="connsiteY1" fmla="*/ 3354 h 3352"/>
                  <a:gd name="connsiteX2" fmla="*/ 6735 w 6760"/>
                  <a:gd name="connsiteY2" fmla="*/ 1 h 33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760" h="3352">
                    <a:moveTo>
                      <a:pt x="6735" y="1"/>
                    </a:moveTo>
                    <a:cubicBezTo>
                      <a:pt x="4401" y="954"/>
                      <a:pt x="2143" y="2084"/>
                      <a:pt x="-26" y="3354"/>
                    </a:cubicBezTo>
                    <a:cubicBezTo>
                      <a:pt x="2358" y="2528"/>
                      <a:pt x="4629" y="1398"/>
                      <a:pt x="6735" y="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93" name="Vrije vorm 592">
                <a:extLst>
                  <a:ext uri="{FF2B5EF4-FFF2-40B4-BE49-F238E27FC236}">
                    <a16:creationId xmlns:a16="http://schemas.microsoft.com/office/drawing/2014/main" id="{3C0C3F16-2EAB-554A-9E76-6951CC82CFCB}"/>
                  </a:ext>
                </a:extLst>
              </p:cNvPr>
              <p:cNvSpPr/>
              <p:nvPr/>
            </p:nvSpPr>
            <p:spPr>
              <a:xfrm>
                <a:off x="9165311" y="3375695"/>
                <a:ext cx="71059" cy="98202"/>
              </a:xfrm>
              <a:custGeom>
                <a:avLst/>
                <a:gdLst>
                  <a:gd name="connsiteX0" fmla="*/ 71033 w 71059"/>
                  <a:gd name="connsiteY0" fmla="*/ 34788 h 98202"/>
                  <a:gd name="connsiteX1" fmla="*/ 59567 w 71059"/>
                  <a:gd name="connsiteY1" fmla="*/ 50180 h 98202"/>
                  <a:gd name="connsiteX2" fmla="*/ 34261 w 71059"/>
                  <a:gd name="connsiteY2" fmla="*/ 97424 h 98202"/>
                  <a:gd name="connsiteX3" fmla="*/ 29543 w 71059"/>
                  <a:gd name="connsiteY3" fmla="*/ 78158 h 98202"/>
                  <a:gd name="connsiteX4" fmla="*/ 18761 w 71059"/>
                  <a:gd name="connsiteY4" fmla="*/ 91112 h 98202"/>
                  <a:gd name="connsiteX5" fmla="*/ 17328 w 71059"/>
                  <a:gd name="connsiteY5" fmla="*/ 73116 h 98202"/>
                  <a:gd name="connsiteX6" fmla="*/ 25192 w 71059"/>
                  <a:gd name="connsiteY6" fmla="*/ 45354 h 98202"/>
                  <a:gd name="connsiteX7" fmla="*/ 18266 w 71059"/>
                  <a:gd name="connsiteY7" fmla="*/ 34280 h 98202"/>
                  <a:gd name="connsiteX8" fmla="*/ 17632 w 71059"/>
                  <a:gd name="connsiteY8" fmla="*/ 46345 h 98202"/>
                  <a:gd name="connsiteX9" fmla="*/ 15121 w 71059"/>
                  <a:gd name="connsiteY9" fmla="*/ 39512 h 98202"/>
                  <a:gd name="connsiteX10" fmla="*/ 6990 w 71059"/>
                  <a:gd name="connsiteY10" fmla="*/ 35512 h 98202"/>
                  <a:gd name="connsiteX11" fmla="*/ 12558 w 71059"/>
                  <a:gd name="connsiteY11" fmla="*/ 37849 h 98202"/>
                  <a:gd name="connsiteX12" fmla="*/ 5684 w 71059"/>
                  <a:gd name="connsiteY12" fmla="*/ 28260 h 98202"/>
                  <a:gd name="connsiteX13" fmla="*/ 1727 w 71059"/>
                  <a:gd name="connsiteY13" fmla="*/ 20475 h 98202"/>
                  <a:gd name="connsiteX14" fmla="*/ 6939 w 71059"/>
                  <a:gd name="connsiteY14" fmla="*/ 16335 h 98202"/>
                  <a:gd name="connsiteX15" fmla="*/ 8335 w 71059"/>
                  <a:gd name="connsiteY15" fmla="*/ 14633 h 98202"/>
                  <a:gd name="connsiteX16" fmla="*/ 15844 w 71059"/>
                  <a:gd name="connsiteY16" fmla="*/ 13770 h 98202"/>
                  <a:gd name="connsiteX17" fmla="*/ 20207 w 71059"/>
                  <a:gd name="connsiteY17" fmla="*/ 11928 h 98202"/>
                  <a:gd name="connsiteX18" fmla="*/ 37458 w 71059"/>
                  <a:gd name="connsiteY18" fmla="*/ 2250 h 98202"/>
                  <a:gd name="connsiteX19" fmla="*/ 40831 w 71059"/>
                  <a:gd name="connsiteY19" fmla="*/ 3013 h 98202"/>
                  <a:gd name="connsiteX20" fmla="*/ 61507 w 71059"/>
                  <a:gd name="connsiteY20" fmla="*/ 15306 h 98202"/>
                  <a:gd name="connsiteX21" fmla="*/ 55305 w 71059"/>
                  <a:gd name="connsiteY21" fmla="*/ 23396 h 98202"/>
                  <a:gd name="connsiteX22" fmla="*/ 69587 w 71059"/>
                  <a:gd name="connsiteY22" fmla="*/ 30470 h 98202"/>
                  <a:gd name="connsiteX23" fmla="*/ 71033 w 71059"/>
                  <a:gd name="connsiteY23" fmla="*/ 34788 h 98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71059" h="98202">
                    <a:moveTo>
                      <a:pt x="71033" y="34788"/>
                    </a:moveTo>
                    <a:cubicBezTo>
                      <a:pt x="66771" y="39576"/>
                      <a:pt x="62927" y="44719"/>
                      <a:pt x="59567" y="50180"/>
                    </a:cubicBezTo>
                    <a:cubicBezTo>
                      <a:pt x="53452" y="76723"/>
                      <a:pt x="51842" y="85766"/>
                      <a:pt x="34261" y="97424"/>
                    </a:cubicBezTo>
                    <a:cubicBezTo>
                      <a:pt x="28198" y="104257"/>
                      <a:pt x="40781" y="63490"/>
                      <a:pt x="29543" y="78158"/>
                    </a:cubicBezTo>
                    <a:cubicBezTo>
                      <a:pt x="21044" y="90719"/>
                      <a:pt x="43698" y="95621"/>
                      <a:pt x="18761" y="91112"/>
                    </a:cubicBezTo>
                    <a:cubicBezTo>
                      <a:pt x="13776" y="85042"/>
                      <a:pt x="29150" y="82883"/>
                      <a:pt x="17328" y="73116"/>
                    </a:cubicBezTo>
                    <a:cubicBezTo>
                      <a:pt x="14042" y="65243"/>
                      <a:pt x="39487" y="44453"/>
                      <a:pt x="25192" y="45354"/>
                    </a:cubicBezTo>
                    <a:cubicBezTo>
                      <a:pt x="38764" y="41709"/>
                      <a:pt x="11671" y="14976"/>
                      <a:pt x="18266" y="34280"/>
                    </a:cubicBezTo>
                    <a:cubicBezTo>
                      <a:pt x="10593" y="40363"/>
                      <a:pt x="34084" y="34420"/>
                      <a:pt x="17632" y="46345"/>
                    </a:cubicBezTo>
                    <a:cubicBezTo>
                      <a:pt x="13776" y="44186"/>
                      <a:pt x="22085" y="39462"/>
                      <a:pt x="15121" y="39512"/>
                    </a:cubicBezTo>
                    <a:cubicBezTo>
                      <a:pt x="1866" y="56340"/>
                      <a:pt x="877" y="17681"/>
                      <a:pt x="6990" y="35512"/>
                    </a:cubicBezTo>
                    <a:cubicBezTo>
                      <a:pt x="4923" y="34432"/>
                      <a:pt x="8652" y="38382"/>
                      <a:pt x="12558" y="37849"/>
                    </a:cubicBezTo>
                    <a:cubicBezTo>
                      <a:pt x="11620" y="30914"/>
                      <a:pt x="5189" y="31283"/>
                      <a:pt x="5684" y="28260"/>
                    </a:cubicBezTo>
                    <a:cubicBezTo>
                      <a:pt x="4199" y="29162"/>
                      <a:pt x="-3398" y="23358"/>
                      <a:pt x="1727" y="20475"/>
                    </a:cubicBezTo>
                    <a:cubicBezTo>
                      <a:pt x="5912" y="18176"/>
                      <a:pt x="10847" y="27003"/>
                      <a:pt x="6939" y="16335"/>
                    </a:cubicBezTo>
                    <a:cubicBezTo>
                      <a:pt x="10618" y="19218"/>
                      <a:pt x="6800" y="16475"/>
                      <a:pt x="8335" y="14633"/>
                    </a:cubicBezTo>
                    <a:cubicBezTo>
                      <a:pt x="10136" y="14811"/>
                      <a:pt x="18178" y="18723"/>
                      <a:pt x="15844" y="13770"/>
                    </a:cubicBezTo>
                    <a:cubicBezTo>
                      <a:pt x="15210" y="11610"/>
                      <a:pt x="18723" y="10214"/>
                      <a:pt x="20207" y="11928"/>
                    </a:cubicBezTo>
                    <a:cubicBezTo>
                      <a:pt x="22757" y="18405"/>
                      <a:pt x="26220" y="-5357"/>
                      <a:pt x="37458" y="2250"/>
                    </a:cubicBezTo>
                    <a:cubicBezTo>
                      <a:pt x="39931" y="2479"/>
                      <a:pt x="41999" y="-3414"/>
                      <a:pt x="40831" y="3013"/>
                    </a:cubicBezTo>
                    <a:cubicBezTo>
                      <a:pt x="37458" y="21732"/>
                      <a:pt x="61989" y="2606"/>
                      <a:pt x="61507" y="15306"/>
                    </a:cubicBezTo>
                    <a:cubicBezTo>
                      <a:pt x="62585" y="21288"/>
                      <a:pt x="53732" y="18367"/>
                      <a:pt x="55305" y="23396"/>
                    </a:cubicBezTo>
                    <a:cubicBezTo>
                      <a:pt x="76513" y="23676"/>
                      <a:pt x="55977" y="27993"/>
                      <a:pt x="69587" y="30470"/>
                    </a:cubicBezTo>
                    <a:cubicBezTo>
                      <a:pt x="62585" y="32718"/>
                      <a:pt x="69853" y="34699"/>
                      <a:pt x="71033" y="34788"/>
                    </a:cubicBezTo>
                    <a:close/>
                  </a:path>
                </a:pathLst>
              </a:custGeom>
              <a:solidFill>
                <a:schemeClr val="tx2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30" name="Vrije vorm 229">
              <a:extLst>
                <a:ext uri="{FF2B5EF4-FFF2-40B4-BE49-F238E27FC236}">
                  <a16:creationId xmlns:a16="http://schemas.microsoft.com/office/drawing/2014/main" id="{14430C01-333D-9A49-BE50-CB5BF77B5B7C}"/>
                </a:ext>
              </a:extLst>
            </p:cNvPr>
            <p:cNvSpPr/>
            <p:nvPr/>
          </p:nvSpPr>
          <p:spPr>
            <a:xfrm>
              <a:off x="8896510" y="3659968"/>
              <a:ext cx="51737" cy="94433"/>
            </a:xfrm>
            <a:custGeom>
              <a:avLst/>
              <a:gdLst>
                <a:gd name="connsiteX0" fmla="*/ 51712 w 51737"/>
                <a:gd name="connsiteY0" fmla="*/ 8656 h 94433"/>
                <a:gd name="connsiteX1" fmla="*/ 2497 w 51737"/>
                <a:gd name="connsiteY1" fmla="*/ 68498 h 94433"/>
                <a:gd name="connsiteX2" fmla="*/ 51712 w 51737"/>
                <a:gd name="connsiteY2" fmla="*/ 8656 h 94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1737" h="94433">
                  <a:moveTo>
                    <a:pt x="51712" y="8656"/>
                  </a:moveTo>
                  <a:cubicBezTo>
                    <a:pt x="42186" y="38171"/>
                    <a:pt x="23363" y="142298"/>
                    <a:pt x="2497" y="68498"/>
                  </a:cubicBezTo>
                  <a:cubicBezTo>
                    <a:pt x="-11608" y="57436"/>
                    <a:pt x="37378" y="-26803"/>
                    <a:pt x="51712" y="8656"/>
                  </a:cubicBezTo>
                  <a:close/>
                </a:path>
              </a:pathLst>
            </a:custGeom>
            <a:solidFill>
              <a:schemeClr val="tx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2" name="Vrije vorm 231">
              <a:extLst>
                <a:ext uri="{FF2B5EF4-FFF2-40B4-BE49-F238E27FC236}">
                  <a16:creationId xmlns:a16="http://schemas.microsoft.com/office/drawing/2014/main" id="{DADB9873-C2FF-D64A-999D-8E26695D1CC4}"/>
                </a:ext>
              </a:extLst>
            </p:cNvPr>
            <p:cNvSpPr/>
            <p:nvPr/>
          </p:nvSpPr>
          <p:spPr>
            <a:xfrm>
              <a:off x="8570899" y="3817533"/>
              <a:ext cx="68522" cy="56905"/>
            </a:xfrm>
            <a:custGeom>
              <a:avLst/>
              <a:gdLst>
                <a:gd name="connsiteX0" fmla="*/ 63060 w 68522"/>
                <a:gd name="connsiteY0" fmla="*/ 14286 h 56905"/>
                <a:gd name="connsiteX1" fmla="*/ 62159 w 68522"/>
                <a:gd name="connsiteY1" fmla="*/ 14387 h 56905"/>
                <a:gd name="connsiteX2" fmla="*/ 53268 w 68522"/>
                <a:gd name="connsiteY2" fmla="*/ 27468 h 56905"/>
                <a:gd name="connsiteX3" fmla="*/ 55652 w 68522"/>
                <a:gd name="connsiteY3" fmla="*/ 30669 h 56905"/>
                <a:gd name="connsiteX4" fmla="*/ 51111 w 68522"/>
                <a:gd name="connsiteY4" fmla="*/ 42416 h 56905"/>
                <a:gd name="connsiteX5" fmla="*/ 51289 w 68522"/>
                <a:gd name="connsiteY5" fmla="*/ 41603 h 56905"/>
                <a:gd name="connsiteX6" fmla="*/ 39429 w 68522"/>
                <a:gd name="connsiteY6" fmla="*/ 48944 h 56905"/>
                <a:gd name="connsiteX7" fmla="*/ 30296 w 68522"/>
                <a:gd name="connsiteY7" fmla="*/ 54253 h 56905"/>
                <a:gd name="connsiteX8" fmla="*/ 28774 w 68522"/>
                <a:gd name="connsiteY8" fmla="*/ 56907 h 56905"/>
                <a:gd name="connsiteX9" fmla="*/ 602 w 68522"/>
                <a:gd name="connsiteY9" fmla="*/ 25855 h 56905"/>
                <a:gd name="connsiteX10" fmla="*/ 19921 w 68522"/>
                <a:gd name="connsiteY10" fmla="*/ 4748 h 56905"/>
                <a:gd name="connsiteX11" fmla="*/ 39835 w 68522"/>
                <a:gd name="connsiteY11" fmla="*/ 5116 h 56905"/>
                <a:gd name="connsiteX12" fmla="*/ 54434 w 68522"/>
                <a:gd name="connsiteY12" fmla="*/ 2005 h 56905"/>
                <a:gd name="connsiteX13" fmla="*/ 68323 w 68522"/>
                <a:gd name="connsiteY13" fmla="*/ 11911 h 56905"/>
                <a:gd name="connsiteX14" fmla="*/ 63060 w 68522"/>
                <a:gd name="connsiteY14" fmla="*/ 14286 h 56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8522" h="56905">
                  <a:moveTo>
                    <a:pt x="63060" y="14286"/>
                  </a:moveTo>
                  <a:cubicBezTo>
                    <a:pt x="65178" y="14070"/>
                    <a:pt x="62844" y="13206"/>
                    <a:pt x="62159" y="14387"/>
                  </a:cubicBezTo>
                  <a:cubicBezTo>
                    <a:pt x="63377" y="16851"/>
                    <a:pt x="56147" y="29411"/>
                    <a:pt x="53268" y="27468"/>
                  </a:cubicBezTo>
                  <a:cubicBezTo>
                    <a:pt x="55881" y="30720"/>
                    <a:pt x="56413" y="26351"/>
                    <a:pt x="55652" y="30669"/>
                  </a:cubicBezTo>
                  <a:cubicBezTo>
                    <a:pt x="49272" y="40930"/>
                    <a:pt x="58126" y="34174"/>
                    <a:pt x="51111" y="42416"/>
                  </a:cubicBezTo>
                  <a:cubicBezTo>
                    <a:pt x="48904" y="42010"/>
                    <a:pt x="48955" y="41921"/>
                    <a:pt x="51289" y="41603"/>
                  </a:cubicBezTo>
                  <a:cubicBezTo>
                    <a:pt x="41674" y="40841"/>
                    <a:pt x="40241" y="55916"/>
                    <a:pt x="39429" y="48944"/>
                  </a:cubicBezTo>
                  <a:cubicBezTo>
                    <a:pt x="34977" y="50239"/>
                    <a:pt x="32275" y="51052"/>
                    <a:pt x="30296" y="54253"/>
                  </a:cubicBezTo>
                  <a:cubicBezTo>
                    <a:pt x="36372" y="56005"/>
                    <a:pt x="26935" y="54253"/>
                    <a:pt x="28774" y="56907"/>
                  </a:cubicBezTo>
                  <a:cubicBezTo>
                    <a:pt x="18081" y="53884"/>
                    <a:pt x="-4027" y="46785"/>
                    <a:pt x="602" y="25855"/>
                  </a:cubicBezTo>
                  <a:cubicBezTo>
                    <a:pt x="9596" y="13346"/>
                    <a:pt x="15608" y="15060"/>
                    <a:pt x="19921" y="4748"/>
                  </a:cubicBezTo>
                  <a:cubicBezTo>
                    <a:pt x="28381" y="11415"/>
                    <a:pt x="25502" y="-3532"/>
                    <a:pt x="39835" y="5116"/>
                  </a:cubicBezTo>
                  <a:cubicBezTo>
                    <a:pt x="44325" y="-1818"/>
                    <a:pt x="50896" y="1332"/>
                    <a:pt x="54434" y="2005"/>
                  </a:cubicBezTo>
                  <a:cubicBezTo>
                    <a:pt x="56958" y="2233"/>
                    <a:pt x="64277" y="-6860"/>
                    <a:pt x="68323" y="11911"/>
                  </a:cubicBezTo>
                  <a:cubicBezTo>
                    <a:pt x="69719" y="11009"/>
                    <a:pt x="62209" y="19874"/>
                    <a:pt x="63060" y="14286"/>
                  </a:cubicBezTo>
                  <a:close/>
                </a:path>
              </a:pathLst>
            </a:custGeom>
            <a:solidFill>
              <a:schemeClr val="tx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33" name="Graphic 5">
              <a:extLst>
                <a:ext uri="{FF2B5EF4-FFF2-40B4-BE49-F238E27FC236}">
                  <a16:creationId xmlns:a16="http://schemas.microsoft.com/office/drawing/2014/main" id="{A74BA3A5-ADD1-4248-974D-751B90234670}"/>
                </a:ext>
              </a:extLst>
            </p:cNvPr>
            <p:cNvGrpSpPr/>
            <p:nvPr/>
          </p:nvGrpSpPr>
          <p:grpSpPr>
            <a:xfrm>
              <a:off x="8815791" y="3863913"/>
              <a:ext cx="265260" cy="373325"/>
              <a:chOff x="8815791" y="3863913"/>
              <a:chExt cx="265260" cy="373325"/>
            </a:xfrm>
            <a:solidFill>
              <a:schemeClr val="bg2"/>
            </a:solidFill>
          </p:grpSpPr>
          <p:sp>
            <p:nvSpPr>
              <p:cNvPr id="579" name="Vrije vorm 578">
                <a:extLst>
                  <a:ext uri="{FF2B5EF4-FFF2-40B4-BE49-F238E27FC236}">
                    <a16:creationId xmlns:a16="http://schemas.microsoft.com/office/drawing/2014/main" id="{73634474-8CF9-6847-BBB9-6282B3910B6A}"/>
                  </a:ext>
                </a:extLst>
              </p:cNvPr>
              <p:cNvSpPr/>
              <p:nvPr/>
            </p:nvSpPr>
            <p:spPr>
              <a:xfrm>
                <a:off x="9016165" y="4038446"/>
                <a:ext cx="41555" cy="44152"/>
              </a:xfrm>
              <a:custGeom>
                <a:avLst/>
                <a:gdLst>
                  <a:gd name="connsiteX0" fmla="*/ 36499 w 41555"/>
                  <a:gd name="connsiteY0" fmla="*/ 41848 h 44152"/>
                  <a:gd name="connsiteX1" fmla="*/ 28812 w 41555"/>
                  <a:gd name="connsiteY1" fmla="*/ 41086 h 44152"/>
                  <a:gd name="connsiteX2" fmla="*/ 21405 w 41555"/>
                  <a:gd name="connsiteY2" fmla="*/ 24842 h 44152"/>
                  <a:gd name="connsiteX3" fmla="*/ 1135 w 41555"/>
                  <a:gd name="connsiteY3" fmla="*/ 5449 h 44152"/>
                  <a:gd name="connsiteX4" fmla="*/ 22661 w 41555"/>
                  <a:gd name="connsiteY4" fmla="*/ 1 h 44152"/>
                  <a:gd name="connsiteX5" fmla="*/ 40012 w 41555"/>
                  <a:gd name="connsiteY5" fmla="*/ 41086 h 44152"/>
                  <a:gd name="connsiteX6" fmla="*/ 36499 w 41555"/>
                  <a:gd name="connsiteY6" fmla="*/ 41848 h 44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1555" h="44152">
                    <a:moveTo>
                      <a:pt x="36499" y="41848"/>
                    </a:moveTo>
                    <a:cubicBezTo>
                      <a:pt x="34749" y="40324"/>
                      <a:pt x="32186" y="44134"/>
                      <a:pt x="28812" y="41086"/>
                    </a:cubicBezTo>
                    <a:cubicBezTo>
                      <a:pt x="22661" y="39689"/>
                      <a:pt x="10712" y="29427"/>
                      <a:pt x="21405" y="24842"/>
                    </a:cubicBezTo>
                    <a:cubicBezTo>
                      <a:pt x="14302" y="18949"/>
                      <a:pt x="5588" y="17413"/>
                      <a:pt x="1135" y="5449"/>
                    </a:cubicBezTo>
                    <a:cubicBezTo>
                      <a:pt x="-5688" y="-5269"/>
                      <a:pt x="19654" y="5132"/>
                      <a:pt x="22661" y="1"/>
                    </a:cubicBezTo>
                    <a:cubicBezTo>
                      <a:pt x="41623" y="8104"/>
                      <a:pt x="27836" y="32132"/>
                      <a:pt x="40012" y="41086"/>
                    </a:cubicBezTo>
                    <a:cubicBezTo>
                      <a:pt x="43920" y="48591"/>
                      <a:pt x="39378" y="39689"/>
                      <a:pt x="36499" y="41848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80" name="Vrije vorm 579">
                <a:extLst>
                  <a:ext uri="{FF2B5EF4-FFF2-40B4-BE49-F238E27FC236}">
                    <a16:creationId xmlns:a16="http://schemas.microsoft.com/office/drawing/2014/main" id="{9E183A0C-275D-6D45-A931-ABA88F12D14E}"/>
                  </a:ext>
                </a:extLst>
              </p:cNvPr>
              <p:cNvSpPr/>
              <p:nvPr/>
            </p:nvSpPr>
            <p:spPr>
              <a:xfrm>
                <a:off x="9016715" y="4069322"/>
                <a:ext cx="27149" cy="41166"/>
              </a:xfrm>
              <a:custGeom>
                <a:avLst/>
                <a:gdLst>
                  <a:gd name="connsiteX0" fmla="*/ 23277 w 27149"/>
                  <a:gd name="connsiteY0" fmla="*/ 35229 h 41166"/>
                  <a:gd name="connsiteX1" fmla="*/ 19015 w 27149"/>
                  <a:gd name="connsiteY1" fmla="*/ 32257 h 41166"/>
                  <a:gd name="connsiteX2" fmla="*/ 12673 w 27149"/>
                  <a:gd name="connsiteY2" fmla="*/ 27939 h 41166"/>
                  <a:gd name="connsiteX3" fmla="*/ 2374 w 27149"/>
                  <a:gd name="connsiteY3" fmla="*/ 5803 h 41166"/>
                  <a:gd name="connsiteX4" fmla="*/ 16529 w 27149"/>
                  <a:gd name="connsiteY4" fmla="*/ 2425 h 41166"/>
                  <a:gd name="connsiteX5" fmla="*/ 27057 w 27149"/>
                  <a:gd name="connsiteY5" fmla="*/ 33921 h 41166"/>
                  <a:gd name="connsiteX6" fmla="*/ 23277 w 27149"/>
                  <a:gd name="connsiteY6" fmla="*/ 35229 h 411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149" h="41166">
                    <a:moveTo>
                      <a:pt x="23277" y="35229"/>
                    </a:moveTo>
                    <a:cubicBezTo>
                      <a:pt x="23100" y="42417"/>
                      <a:pt x="21260" y="32079"/>
                      <a:pt x="19015" y="32257"/>
                    </a:cubicBezTo>
                    <a:cubicBezTo>
                      <a:pt x="23683" y="49440"/>
                      <a:pt x="9211" y="38277"/>
                      <a:pt x="12673" y="27939"/>
                    </a:cubicBezTo>
                    <a:cubicBezTo>
                      <a:pt x="14956" y="1256"/>
                      <a:pt x="-582" y="31038"/>
                      <a:pt x="2374" y="5803"/>
                    </a:cubicBezTo>
                    <a:cubicBezTo>
                      <a:pt x="-5795" y="-9640"/>
                      <a:pt x="8893" y="11696"/>
                      <a:pt x="16529" y="2425"/>
                    </a:cubicBezTo>
                    <a:cubicBezTo>
                      <a:pt x="22643" y="9892"/>
                      <a:pt x="19675" y="25234"/>
                      <a:pt x="27057" y="33921"/>
                    </a:cubicBezTo>
                    <a:cubicBezTo>
                      <a:pt x="27590" y="36981"/>
                      <a:pt x="24761" y="35229"/>
                      <a:pt x="23277" y="35229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81" name="Vrije vorm 580">
                <a:extLst>
                  <a:ext uri="{FF2B5EF4-FFF2-40B4-BE49-F238E27FC236}">
                    <a16:creationId xmlns:a16="http://schemas.microsoft.com/office/drawing/2014/main" id="{9A361F66-4411-0346-8DA2-1F484693CE81}"/>
                  </a:ext>
                </a:extLst>
              </p:cNvPr>
              <p:cNvSpPr/>
              <p:nvPr/>
            </p:nvSpPr>
            <p:spPr>
              <a:xfrm>
                <a:off x="8815791" y="4071695"/>
                <a:ext cx="69099" cy="82590"/>
              </a:xfrm>
              <a:custGeom>
                <a:avLst/>
                <a:gdLst>
                  <a:gd name="connsiteX0" fmla="*/ 69073 w 69099"/>
                  <a:gd name="connsiteY0" fmla="*/ 24969 h 82590"/>
                  <a:gd name="connsiteX1" fmla="*/ 42373 w 69099"/>
                  <a:gd name="connsiteY1" fmla="*/ 47791 h 82590"/>
                  <a:gd name="connsiteX2" fmla="*/ 21748 w 69099"/>
                  <a:gd name="connsiteY2" fmla="*/ 62777 h 82590"/>
                  <a:gd name="connsiteX3" fmla="*/ 56528 w 69099"/>
                  <a:gd name="connsiteY3" fmla="*/ 14543 h 82590"/>
                  <a:gd name="connsiteX4" fmla="*/ 62959 w 69099"/>
                  <a:gd name="connsiteY4" fmla="*/ 16968 h 82590"/>
                  <a:gd name="connsiteX5" fmla="*/ 63949 w 69099"/>
                  <a:gd name="connsiteY5" fmla="*/ 1 h 82590"/>
                  <a:gd name="connsiteX6" fmla="*/ 69073 w 69099"/>
                  <a:gd name="connsiteY6" fmla="*/ 24969 h 82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9099" h="82590">
                    <a:moveTo>
                      <a:pt x="69073" y="24969"/>
                    </a:moveTo>
                    <a:cubicBezTo>
                      <a:pt x="67500" y="32361"/>
                      <a:pt x="43363" y="41213"/>
                      <a:pt x="42373" y="47791"/>
                    </a:cubicBezTo>
                    <a:cubicBezTo>
                      <a:pt x="39950" y="71451"/>
                      <a:pt x="-36358" y="104217"/>
                      <a:pt x="21748" y="62777"/>
                    </a:cubicBezTo>
                    <a:cubicBezTo>
                      <a:pt x="37299" y="39155"/>
                      <a:pt x="63949" y="31192"/>
                      <a:pt x="56528" y="14543"/>
                    </a:cubicBezTo>
                    <a:cubicBezTo>
                      <a:pt x="56719" y="10631"/>
                      <a:pt x="63631" y="25249"/>
                      <a:pt x="62959" y="16968"/>
                    </a:cubicBezTo>
                    <a:cubicBezTo>
                      <a:pt x="55235" y="11025"/>
                      <a:pt x="63048" y="8155"/>
                      <a:pt x="63949" y="1"/>
                    </a:cubicBezTo>
                    <a:cubicBezTo>
                      <a:pt x="67589" y="9450"/>
                      <a:pt x="63226" y="17286"/>
                      <a:pt x="69073" y="24969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82" name="Vrije vorm 581">
                <a:extLst>
                  <a:ext uri="{FF2B5EF4-FFF2-40B4-BE49-F238E27FC236}">
                    <a16:creationId xmlns:a16="http://schemas.microsoft.com/office/drawing/2014/main" id="{1944A098-BFF8-D347-8EFE-4641A4927247}"/>
                  </a:ext>
                </a:extLst>
              </p:cNvPr>
              <p:cNvSpPr/>
              <p:nvPr/>
            </p:nvSpPr>
            <p:spPr>
              <a:xfrm>
                <a:off x="8988536" y="4079844"/>
                <a:ext cx="21097" cy="49623"/>
              </a:xfrm>
              <a:custGeom>
                <a:avLst/>
                <a:gdLst>
                  <a:gd name="connsiteX0" fmla="*/ 20405 w 21097"/>
                  <a:gd name="connsiteY0" fmla="*/ 8768 h 49623"/>
                  <a:gd name="connsiteX1" fmla="*/ 9 w 21097"/>
                  <a:gd name="connsiteY1" fmla="*/ 49624 h 49623"/>
                  <a:gd name="connsiteX2" fmla="*/ 20405 w 21097"/>
                  <a:gd name="connsiteY2" fmla="*/ 8768 h 49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1097" h="49623">
                    <a:moveTo>
                      <a:pt x="20405" y="8768"/>
                    </a:moveTo>
                    <a:cubicBezTo>
                      <a:pt x="19681" y="25151"/>
                      <a:pt x="7644" y="35311"/>
                      <a:pt x="9" y="49624"/>
                    </a:cubicBezTo>
                    <a:cubicBezTo>
                      <a:pt x="-1120" y="37839"/>
                      <a:pt x="25580" y="-22181"/>
                      <a:pt x="20405" y="8768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83" name="Vrije vorm 582">
                <a:extLst>
                  <a:ext uri="{FF2B5EF4-FFF2-40B4-BE49-F238E27FC236}">
                    <a16:creationId xmlns:a16="http://schemas.microsoft.com/office/drawing/2014/main" id="{E01707B3-CC0B-B341-AB9E-6F566D45F797}"/>
                  </a:ext>
                </a:extLst>
              </p:cNvPr>
              <p:cNvSpPr/>
              <p:nvPr/>
            </p:nvSpPr>
            <p:spPr>
              <a:xfrm>
                <a:off x="9003151" y="4108958"/>
                <a:ext cx="21414" cy="15318"/>
              </a:xfrm>
              <a:custGeom>
                <a:avLst/>
                <a:gdLst>
                  <a:gd name="connsiteX0" fmla="*/ 894 w 21414"/>
                  <a:gd name="connsiteY0" fmla="*/ 11557 h 15318"/>
                  <a:gd name="connsiteX1" fmla="*/ 20491 w 21414"/>
                  <a:gd name="connsiteY1" fmla="*/ 7290 h 15318"/>
                  <a:gd name="connsiteX2" fmla="*/ 894 w 21414"/>
                  <a:gd name="connsiteY2" fmla="*/ 11557 h 15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1414" h="15318">
                    <a:moveTo>
                      <a:pt x="894" y="11557"/>
                    </a:moveTo>
                    <a:cubicBezTo>
                      <a:pt x="-5663" y="3276"/>
                      <a:pt x="25122" y="-7379"/>
                      <a:pt x="20491" y="7290"/>
                    </a:cubicBezTo>
                    <a:cubicBezTo>
                      <a:pt x="26237" y="11379"/>
                      <a:pt x="2556" y="20421"/>
                      <a:pt x="894" y="11557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84" name="Vrije vorm 583">
                <a:extLst>
                  <a:ext uri="{FF2B5EF4-FFF2-40B4-BE49-F238E27FC236}">
                    <a16:creationId xmlns:a16="http://schemas.microsoft.com/office/drawing/2014/main" id="{6B21F869-BE04-404D-8696-E1927EFABA5A}"/>
                  </a:ext>
                </a:extLst>
              </p:cNvPr>
              <p:cNvSpPr/>
              <p:nvPr/>
            </p:nvSpPr>
            <p:spPr>
              <a:xfrm>
                <a:off x="8948291" y="4119902"/>
                <a:ext cx="132760" cy="117336"/>
              </a:xfrm>
              <a:custGeom>
                <a:avLst/>
                <a:gdLst>
                  <a:gd name="connsiteX0" fmla="*/ 125682 w 132760"/>
                  <a:gd name="connsiteY0" fmla="*/ 84268 h 117336"/>
                  <a:gd name="connsiteX1" fmla="*/ 121318 w 132760"/>
                  <a:gd name="connsiteY1" fmla="*/ 81512 h 117336"/>
                  <a:gd name="connsiteX2" fmla="*/ 111843 w 132760"/>
                  <a:gd name="connsiteY2" fmla="*/ 70984 h 117336"/>
                  <a:gd name="connsiteX3" fmla="*/ 100021 w 132760"/>
                  <a:gd name="connsiteY3" fmla="*/ 89894 h 117336"/>
                  <a:gd name="connsiteX4" fmla="*/ 93096 w 132760"/>
                  <a:gd name="connsiteY4" fmla="*/ 112830 h 117336"/>
                  <a:gd name="connsiteX5" fmla="*/ 87756 w 132760"/>
                  <a:gd name="connsiteY5" fmla="*/ 110227 h 117336"/>
                  <a:gd name="connsiteX6" fmla="*/ 56832 w 132760"/>
                  <a:gd name="connsiteY6" fmla="*/ 58297 h 117336"/>
                  <a:gd name="connsiteX7" fmla="*/ 37007 w 132760"/>
                  <a:gd name="connsiteY7" fmla="*/ 64278 h 117336"/>
                  <a:gd name="connsiteX8" fmla="*/ 32390 w 132760"/>
                  <a:gd name="connsiteY8" fmla="*/ 59566 h 117336"/>
                  <a:gd name="connsiteX9" fmla="*/ 28609 w 132760"/>
                  <a:gd name="connsiteY9" fmla="*/ 62627 h 117336"/>
                  <a:gd name="connsiteX10" fmla="*/ 5956 w 132760"/>
                  <a:gd name="connsiteY10" fmla="*/ 81157 h 117336"/>
                  <a:gd name="connsiteX11" fmla="*/ 5829 w 132760"/>
                  <a:gd name="connsiteY11" fmla="*/ 61052 h 117336"/>
                  <a:gd name="connsiteX12" fmla="*/ 31349 w 132760"/>
                  <a:gd name="connsiteY12" fmla="*/ 43145 h 117336"/>
                  <a:gd name="connsiteX13" fmla="*/ 50135 w 132760"/>
                  <a:gd name="connsiteY13" fmla="*/ 50791 h 117336"/>
                  <a:gd name="connsiteX14" fmla="*/ 72916 w 132760"/>
                  <a:gd name="connsiteY14" fmla="*/ 33112 h 117336"/>
                  <a:gd name="connsiteX15" fmla="*/ 82632 w 132760"/>
                  <a:gd name="connsiteY15" fmla="*/ 20819 h 117336"/>
                  <a:gd name="connsiteX16" fmla="*/ 93096 w 132760"/>
                  <a:gd name="connsiteY16" fmla="*/ 21809 h 117336"/>
                  <a:gd name="connsiteX17" fmla="*/ 102990 w 132760"/>
                  <a:gd name="connsiteY17" fmla="*/ 15332 h 117336"/>
                  <a:gd name="connsiteX18" fmla="*/ 122270 w 132760"/>
                  <a:gd name="connsiteY18" fmla="*/ 12500 h 117336"/>
                  <a:gd name="connsiteX19" fmla="*/ 120557 w 132760"/>
                  <a:gd name="connsiteY19" fmla="*/ 34725 h 117336"/>
                  <a:gd name="connsiteX20" fmla="*/ 132201 w 132760"/>
                  <a:gd name="connsiteY20" fmla="*/ 69650 h 117336"/>
                  <a:gd name="connsiteX21" fmla="*/ 125682 w 132760"/>
                  <a:gd name="connsiteY21" fmla="*/ 84268 h 117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32760" h="117336">
                    <a:moveTo>
                      <a:pt x="125682" y="84268"/>
                    </a:moveTo>
                    <a:cubicBezTo>
                      <a:pt x="123931" y="84039"/>
                      <a:pt x="122485" y="77105"/>
                      <a:pt x="121318" y="81512"/>
                    </a:cubicBezTo>
                    <a:cubicBezTo>
                      <a:pt x="124781" y="112297"/>
                      <a:pt x="118439" y="84979"/>
                      <a:pt x="111843" y="70984"/>
                    </a:cubicBezTo>
                    <a:cubicBezTo>
                      <a:pt x="111298" y="62310"/>
                      <a:pt x="93730" y="86833"/>
                      <a:pt x="100021" y="89894"/>
                    </a:cubicBezTo>
                    <a:cubicBezTo>
                      <a:pt x="113454" y="91101"/>
                      <a:pt x="103751" y="130382"/>
                      <a:pt x="93096" y="112830"/>
                    </a:cubicBezTo>
                    <a:cubicBezTo>
                      <a:pt x="97675" y="95685"/>
                      <a:pt x="93236" y="106899"/>
                      <a:pt x="87756" y="110227"/>
                    </a:cubicBezTo>
                    <a:cubicBezTo>
                      <a:pt x="47522" y="107928"/>
                      <a:pt x="71432" y="74362"/>
                      <a:pt x="56832" y="58297"/>
                    </a:cubicBezTo>
                    <a:cubicBezTo>
                      <a:pt x="35345" y="45431"/>
                      <a:pt x="49868" y="72432"/>
                      <a:pt x="37007" y="64278"/>
                    </a:cubicBezTo>
                    <a:cubicBezTo>
                      <a:pt x="32567" y="66272"/>
                      <a:pt x="37869" y="52137"/>
                      <a:pt x="32390" y="59566"/>
                    </a:cubicBezTo>
                    <a:cubicBezTo>
                      <a:pt x="32250" y="62132"/>
                      <a:pt x="30715" y="67529"/>
                      <a:pt x="28609" y="62627"/>
                    </a:cubicBezTo>
                    <a:cubicBezTo>
                      <a:pt x="14860" y="50334"/>
                      <a:pt x="18183" y="59020"/>
                      <a:pt x="5956" y="81157"/>
                    </a:cubicBezTo>
                    <a:cubicBezTo>
                      <a:pt x="-7934" y="78553"/>
                      <a:pt x="6856" y="65955"/>
                      <a:pt x="5829" y="61052"/>
                    </a:cubicBezTo>
                    <a:cubicBezTo>
                      <a:pt x="4065" y="44225"/>
                      <a:pt x="23536" y="49889"/>
                      <a:pt x="31349" y="43145"/>
                    </a:cubicBezTo>
                    <a:cubicBezTo>
                      <a:pt x="31210" y="22584"/>
                      <a:pt x="70226" y="31309"/>
                      <a:pt x="50135" y="50791"/>
                    </a:cubicBezTo>
                    <a:cubicBezTo>
                      <a:pt x="61956" y="47552"/>
                      <a:pt x="66713" y="35500"/>
                      <a:pt x="72916" y="33112"/>
                    </a:cubicBezTo>
                    <a:cubicBezTo>
                      <a:pt x="83621" y="41482"/>
                      <a:pt x="79296" y="30001"/>
                      <a:pt x="82632" y="20819"/>
                    </a:cubicBezTo>
                    <a:cubicBezTo>
                      <a:pt x="86805" y="20425"/>
                      <a:pt x="93325" y="31220"/>
                      <a:pt x="93096" y="21809"/>
                    </a:cubicBezTo>
                    <a:cubicBezTo>
                      <a:pt x="91295" y="15790"/>
                      <a:pt x="105729" y="27931"/>
                      <a:pt x="102990" y="15332"/>
                    </a:cubicBezTo>
                    <a:cubicBezTo>
                      <a:pt x="91752" y="-19174"/>
                      <a:pt x="113594" y="15828"/>
                      <a:pt x="122270" y="12500"/>
                    </a:cubicBezTo>
                    <a:cubicBezTo>
                      <a:pt x="122358" y="27575"/>
                      <a:pt x="128294" y="20374"/>
                      <a:pt x="120557" y="34725"/>
                    </a:cubicBezTo>
                    <a:cubicBezTo>
                      <a:pt x="128916" y="30496"/>
                      <a:pt x="130768" y="58627"/>
                      <a:pt x="132201" y="69650"/>
                    </a:cubicBezTo>
                    <a:cubicBezTo>
                      <a:pt x="135562" y="75759"/>
                      <a:pt x="121775" y="77829"/>
                      <a:pt x="125682" y="84268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85" name="Vrije vorm 584">
                <a:extLst>
                  <a:ext uri="{FF2B5EF4-FFF2-40B4-BE49-F238E27FC236}">
                    <a16:creationId xmlns:a16="http://schemas.microsoft.com/office/drawing/2014/main" id="{0EAAF1CD-8DDE-304C-B448-607ACE4C1449}"/>
                  </a:ext>
                </a:extLst>
              </p:cNvPr>
              <p:cNvSpPr/>
              <p:nvPr/>
            </p:nvSpPr>
            <p:spPr>
              <a:xfrm>
                <a:off x="8904298" y="4010594"/>
                <a:ext cx="33695" cy="37524"/>
              </a:xfrm>
              <a:custGeom>
                <a:avLst/>
                <a:gdLst>
                  <a:gd name="connsiteX0" fmla="*/ 33143 w 33695"/>
                  <a:gd name="connsiteY0" fmla="*/ 24069 h 37524"/>
                  <a:gd name="connsiteX1" fmla="*/ -26 w 33695"/>
                  <a:gd name="connsiteY1" fmla="*/ 4498 h 37524"/>
                  <a:gd name="connsiteX2" fmla="*/ 33143 w 33695"/>
                  <a:gd name="connsiteY2" fmla="*/ 24069 h 375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695" h="37524">
                    <a:moveTo>
                      <a:pt x="33143" y="24069"/>
                    </a:moveTo>
                    <a:cubicBezTo>
                      <a:pt x="22450" y="62004"/>
                      <a:pt x="14091" y="8054"/>
                      <a:pt x="-26" y="4498"/>
                    </a:cubicBezTo>
                    <a:cubicBezTo>
                      <a:pt x="6760" y="-7338"/>
                      <a:pt x="38089" y="5933"/>
                      <a:pt x="33143" y="24069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86" name="Vrije vorm 585">
                <a:extLst>
                  <a:ext uri="{FF2B5EF4-FFF2-40B4-BE49-F238E27FC236}">
                    <a16:creationId xmlns:a16="http://schemas.microsoft.com/office/drawing/2014/main" id="{6131DE90-EBB0-CF4E-93FC-D8E74EDC4A4D}"/>
                  </a:ext>
                </a:extLst>
              </p:cNvPr>
              <p:cNvSpPr/>
              <p:nvPr/>
            </p:nvSpPr>
            <p:spPr>
              <a:xfrm>
                <a:off x="8947982" y="4058106"/>
                <a:ext cx="36137" cy="39266"/>
              </a:xfrm>
              <a:custGeom>
                <a:avLst/>
                <a:gdLst>
                  <a:gd name="connsiteX0" fmla="*/ 36111 w 36137"/>
                  <a:gd name="connsiteY0" fmla="*/ 11876 h 39266"/>
                  <a:gd name="connsiteX1" fmla="*/ 7521 w 36137"/>
                  <a:gd name="connsiteY1" fmla="*/ 37390 h 39266"/>
                  <a:gd name="connsiteX2" fmla="*/ -26 w 36137"/>
                  <a:gd name="connsiteY2" fmla="*/ 1 h 39266"/>
                  <a:gd name="connsiteX3" fmla="*/ 28475 w 36137"/>
                  <a:gd name="connsiteY3" fmla="*/ 13095 h 39266"/>
                  <a:gd name="connsiteX4" fmla="*/ 36111 w 36137"/>
                  <a:gd name="connsiteY4" fmla="*/ 11876 h 392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137" h="39266">
                    <a:moveTo>
                      <a:pt x="36111" y="11876"/>
                    </a:moveTo>
                    <a:cubicBezTo>
                      <a:pt x="33816" y="25655"/>
                      <a:pt x="22400" y="32894"/>
                      <a:pt x="7521" y="37390"/>
                    </a:cubicBezTo>
                    <a:cubicBezTo>
                      <a:pt x="-6762" y="48553"/>
                      <a:pt x="12557" y="6567"/>
                      <a:pt x="-26" y="1"/>
                    </a:cubicBezTo>
                    <a:cubicBezTo>
                      <a:pt x="9817" y="3646"/>
                      <a:pt x="26713" y="8548"/>
                      <a:pt x="28475" y="13095"/>
                    </a:cubicBezTo>
                    <a:cubicBezTo>
                      <a:pt x="35527" y="10301"/>
                      <a:pt x="34082" y="7697"/>
                      <a:pt x="36111" y="11876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87" name="Vrije vorm 586">
                <a:extLst>
                  <a:ext uri="{FF2B5EF4-FFF2-40B4-BE49-F238E27FC236}">
                    <a16:creationId xmlns:a16="http://schemas.microsoft.com/office/drawing/2014/main" id="{4BAE857C-6F95-E143-A182-4E1F3423E9C8}"/>
                  </a:ext>
                </a:extLst>
              </p:cNvPr>
              <p:cNvSpPr/>
              <p:nvPr/>
            </p:nvSpPr>
            <p:spPr>
              <a:xfrm>
                <a:off x="8962090" y="4084042"/>
                <a:ext cx="33483" cy="53560"/>
              </a:xfrm>
              <a:custGeom>
                <a:avLst/>
                <a:gdLst>
                  <a:gd name="connsiteX0" fmla="*/ 33457 w 33483"/>
                  <a:gd name="connsiteY0" fmla="*/ 4622 h 53560"/>
                  <a:gd name="connsiteX1" fmla="*/ 1785 w 33483"/>
                  <a:gd name="connsiteY1" fmla="*/ 38861 h 53560"/>
                  <a:gd name="connsiteX2" fmla="*/ 12249 w 33483"/>
                  <a:gd name="connsiteY2" fmla="*/ 26796 h 53560"/>
                  <a:gd name="connsiteX3" fmla="*/ 33457 w 33483"/>
                  <a:gd name="connsiteY3" fmla="*/ 4622 h 53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483" h="53560">
                    <a:moveTo>
                      <a:pt x="33457" y="4622"/>
                    </a:moveTo>
                    <a:cubicBezTo>
                      <a:pt x="15572" y="27837"/>
                      <a:pt x="35119" y="78548"/>
                      <a:pt x="1785" y="38861"/>
                    </a:cubicBezTo>
                    <a:cubicBezTo>
                      <a:pt x="-3885" y="32295"/>
                      <a:pt x="4918" y="28739"/>
                      <a:pt x="12249" y="26796"/>
                    </a:cubicBezTo>
                    <a:cubicBezTo>
                      <a:pt x="12516" y="13308"/>
                      <a:pt x="17906" y="-9920"/>
                      <a:pt x="33457" y="4622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88" name="Vrije vorm 587">
                <a:extLst>
                  <a:ext uri="{FF2B5EF4-FFF2-40B4-BE49-F238E27FC236}">
                    <a16:creationId xmlns:a16="http://schemas.microsoft.com/office/drawing/2014/main" id="{0A60FA28-B620-4044-9B2C-7C5A55C5BD24}"/>
                  </a:ext>
                </a:extLst>
              </p:cNvPr>
              <p:cNvSpPr/>
              <p:nvPr/>
            </p:nvSpPr>
            <p:spPr>
              <a:xfrm>
                <a:off x="8886945" y="3863913"/>
                <a:ext cx="125275" cy="175705"/>
              </a:xfrm>
              <a:custGeom>
                <a:avLst/>
                <a:gdLst>
                  <a:gd name="connsiteX0" fmla="*/ 118812 w 125275"/>
                  <a:gd name="connsiteY0" fmla="*/ 173137 h 175705"/>
                  <a:gd name="connsiteX1" fmla="*/ 117328 w 125275"/>
                  <a:gd name="connsiteY1" fmla="*/ 163193 h 175705"/>
                  <a:gd name="connsiteX2" fmla="*/ 75661 w 125275"/>
                  <a:gd name="connsiteY2" fmla="*/ 134707 h 175705"/>
                  <a:gd name="connsiteX3" fmla="*/ 56165 w 125275"/>
                  <a:gd name="connsiteY3" fmla="*/ 134072 h 175705"/>
                  <a:gd name="connsiteX4" fmla="*/ 35034 w 125275"/>
                  <a:gd name="connsiteY4" fmla="*/ 139559 h 175705"/>
                  <a:gd name="connsiteX5" fmla="*/ 32928 w 125275"/>
                  <a:gd name="connsiteY5" fmla="*/ 140282 h 175705"/>
                  <a:gd name="connsiteX6" fmla="*/ 26053 w 125275"/>
                  <a:gd name="connsiteY6" fmla="*/ 139749 h 175705"/>
                  <a:gd name="connsiteX7" fmla="*/ 24480 w 125275"/>
                  <a:gd name="connsiteY7" fmla="*/ 109371 h 175705"/>
                  <a:gd name="connsiteX8" fmla="*/ 3449 w 125275"/>
                  <a:gd name="connsiteY8" fmla="*/ 82281 h 175705"/>
                  <a:gd name="connsiteX9" fmla="*/ 1927 w 125275"/>
                  <a:gd name="connsiteY9" fmla="*/ 63968 h 175705"/>
                  <a:gd name="connsiteX10" fmla="*/ 17250 w 125275"/>
                  <a:gd name="connsiteY10" fmla="*/ 66813 h 175705"/>
                  <a:gd name="connsiteX11" fmla="*/ 72389 w 125275"/>
                  <a:gd name="connsiteY11" fmla="*/ 3719 h 175705"/>
                  <a:gd name="connsiteX12" fmla="*/ 70549 w 125275"/>
                  <a:gd name="connsiteY12" fmla="*/ 65365 h 175705"/>
                  <a:gd name="connsiteX13" fmla="*/ 52436 w 125275"/>
                  <a:gd name="connsiteY13" fmla="*/ 84313 h 175705"/>
                  <a:gd name="connsiteX14" fmla="*/ 72439 w 125275"/>
                  <a:gd name="connsiteY14" fmla="*/ 133983 h 175705"/>
                  <a:gd name="connsiteX15" fmla="*/ 71450 w 125275"/>
                  <a:gd name="connsiteY15" fmla="*/ 125982 h 175705"/>
                  <a:gd name="connsiteX16" fmla="*/ 83220 w 125275"/>
                  <a:gd name="connsiteY16" fmla="*/ 123010 h 175705"/>
                  <a:gd name="connsiteX17" fmla="*/ 101245 w 125275"/>
                  <a:gd name="connsiteY17" fmla="*/ 138390 h 175705"/>
                  <a:gd name="connsiteX18" fmla="*/ 104162 w 125275"/>
                  <a:gd name="connsiteY18" fmla="*/ 135926 h 175705"/>
                  <a:gd name="connsiteX19" fmla="*/ 108475 w 125275"/>
                  <a:gd name="connsiteY19" fmla="*/ 141235 h 175705"/>
                  <a:gd name="connsiteX20" fmla="*/ 114094 w 125275"/>
                  <a:gd name="connsiteY20" fmla="*/ 155713 h 175705"/>
                  <a:gd name="connsiteX21" fmla="*/ 122985 w 125275"/>
                  <a:gd name="connsiteY21" fmla="*/ 161923 h 175705"/>
                  <a:gd name="connsiteX22" fmla="*/ 118812 w 125275"/>
                  <a:gd name="connsiteY22" fmla="*/ 173137 h 175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25275" h="175705">
                    <a:moveTo>
                      <a:pt x="118812" y="173137"/>
                    </a:moveTo>
                    <a:cubicBezTo>
                      <a:pt x="108018" y="166876"/>
                      <a:pt x="129011" y="164362"/>
                      <a:pt x="117328" y="163193"/>
                    </a:cubicBezTo>
                    <a:cubicBezTo>
                      <a:pt x="101054" y="174356"/>
                      <a:pt x="93456" y="134758"/>
                      <a:pt x="75661" y="134707"/>
                    </a:cubicBezTo>
                    <a:cubicBezTo>
                      <a:pt x="91567" y="171334"/>
                      <a:pt x="77285" y="145464"/>
                      <a:pt x="56165" y="134072"/>
                    </a:cubicBezTo>
                    <a:cubicBezTo>
                      <a:pt x="48022" y="137806"/>
                      <a:pt x="43126" y="151624"/>
                      <a:pt x="35034" y="139559"/>
                    </a:cubicBezTo>
                    <a:cubicBezTo>
                      <a:pt x="34539" y="140511"/>
                      <a:pt x="30543" y="144512"/>
                      <a:pt x="32928" y="140282"/>
                    </a:cubicBezTo>
                    <a:cubicBezTo>
                      <a:pt x="35528" y="133488"/>
                      <a:pt x="24480" y="134301"/>
                      <a:pt x="26053" y="139749"/>
                    </a:cubicBezTo>
                    <a:cubicBezTo>
                      <a:pt x="14903" y="121080"/>
                      <a:pt x="51751" y="118146"/>
                      <a:pt x="24480" y="109371"/>
                    </a:cubicBezTo>
                    <a:cubicBezTo>
                      <a:pt x="22908" y="140193"/>
                      <a:pt x="5555" y="97445"/>
                      <a:pt x="3449" y="82281"/>
                    </a:cubicBezTo>
                    <a:cubicBezTo>
                      <a:pt x="6012" y="76160"/>
                      <a:pt x="-4110" y="73328"/>
                      <a:pt x="1927" y="63968"/>
                    </a:cubicBezTo>
                    <a:cubicBezTo>
                      <a:pt x="7090" y="67308"/>
                      <a:pt x="20345" y="82777"/>
                      <a:pt x="17250" y="66813"/>
                    </a:cubicBezTo>
                    <a:cubicBezTo>
                      <a:pt x="21740" y="-11533"/>
                      <a:pt x="9386" y="-2034"/>
                      <a:pt x="72389" y="3719"/>
                    </a:cubicBezTo>
                    <a:cubicBezTo>
                      <a:pt x="57738" y="52995"/>
                      <a:pt x="89956" y="17397"/>
                      <a:pt x="70549" y="65365"/>
                    </a:cubicBezTo>
                    <a:cubicBezTo>
                      <a:pt x="67035" y="76528"/>
                      <a:pt x="53552" y="62571"/>
                      <a:pt x="52436" y="84313"/>
                    </a:cubicBezTo>
                    <a:cubicBezTo>
                      <a:pt x="43937" y="96328"/>
                      <a:pt x="54326" y="140740"/>
                      <a:pt x="72439" y="133983"/>
                    </a:cubicBezTo>
                    <a:cubicBezTo>
                      <a:pt x="71627" y="129716"/>
                      <a:pt x="66236" y="129716"/>
                      <a:pt x="71450" y="125982"/>
                    </a:cubicBezTo>
                    <a:cubicBezTo>
                      <a:pt x="72845" y="134034"/>
                      <a:pt x="72845" y="122464"/>
                      <a:pt x="83220" y="123010"/>
                    </a:cubicBezTo>
                    <a:cubicBezTo>
                      <a:pt x="95803" y="122287"/>
                      <a:pt x="91351" y="149503"/>
                      <a:pt x="101245" y="138390"/>
                    </a:cubicBezTo>
                    <a:cubicBezTo>
                      <a:pt x="96933" y="130796"/>
                      <a:pt x="102500" y="127684"/>
                      <a:pt x="104162" y="135926"/>
                    </a:cubicBezTo>
                    <a:cubicBezTo>
                      <a:pt x="110402" y="132053"/>
                      <a:pt x="129099" y="144334"/>
                      <a:pt x="108475" y="141235"/>
                    </a:cubicBezTo>
                    <a:cubicBezTo>
                      <a:pt x="103299" y="146226"/>
                      <a:pt x="121058" y="155002"/>
                      <a:pt x="114094" y="155713"/>
                    </a:cubicBezTo>
                    <a:cubicBezTo>
                      <a:pt x="111887" y="164984"/>
                      <a:pt x="118584" y="154506"/>
                      <a:pt x="122985" y="161923"/>
                    </a:cubicBezTo>
                    <a:cubicBezTo>
                      <a:pt x="127755" y="152932"/>
                      <a:pt x="124330" y="184707"/>
                      <a:pt x="118812" y="173137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34" name="Vrije vorm 233">
              <a:extLst>
                <a:ext uri="{FF2B5EF4-FFF2-40B4-BE49-F238E27FC236}">
                  <a16:creationId xmlns:a16="http://schemas.microsoft.com/office/drawing/2014/main" id="{A3A40265-41F1-B045-BDAE-5BB1B106106E}"/>
                </a:ext>
              </a:extLst>
            </p:cNvPr>
            <p:cNvSpPr/>
            <p:nvPr/>
          </p:nvSpPr>
          <p:spPr>
            <a:xfrm>
              <a:off x="9107549" y="3184092"/>
              <a:ext cx="656" cy="3327"/>
            </a:xfrm>
            <a:custGeom>
              <a:avLst/>
              <a:gdLst>
                <a:gd name="connsiteX0" fmla="*/ -26 w 656"/>
                <a:gd name="connsiteY0" fmla="*/ 1 h 3327"/>
                <a:gd name="connsiteX1" fmla="*/ 570 w 656"/>
                <a:gd name="connsiteY1" fmla="*/ 3328 h 3327"/>
                <a:gd name="connsiteX2" fmla="*/ -26 w 656"/>
                <a:gd name="connsiteY2" fmla="*/ 1 h 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56" h="3327">
                  <a:moveTo>
                    <a:pt x="-26" y="1"/>
                  </a:moveTo>
                  <a:cubicBezTo>
                    <a:pt x="113" y="1068"/>
                    <a:pt x="304" y="2173"/>
                    <a:pt x="570" y="3328"/>
                  </a:cubicBezTo>
                  <a:cubicBezTo>
                    <a:pt x="747" y="2185"/>
                    <a:pt x="532" y="1017"/>
                    <a:pt x="-26" y="1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5" name="Vrije vorm 234">
              <a:extLst>
                <a:ext uri="{FF2B5EF4-FFF2-40B4-BE49-F238E27FC236}">
                  <a16:creationId xmlns:a16="http://schemas.microsoft.com/office/drawing/2014/main" id="{D1BD77CE-6E91-534A-9812-1BAC2D432408}"/>
                </a:ext>
              </a:extLst>
            </p:cNvPr>
            <p:cNvSpPr/>
            <p:nvPr/>
          </p:nvSpPr>
          <p:spPr>
            <a:xfrm>
              <a:off x="7736452" y="4133887"/>
              <a:ext cx="7788" cy="2692"/>
            </a:xfrm>
            <a:custGeom>
              <a:avLst/>
              <a:gdLst>
                <a:gd name="connsiteX0" fmla="*/ -26 w 7788"/>
                <a:gd name="connsiteY0" fmla="*/ 1 h 2692"/>
                <a:gd name="connsiteX1" fmla="*/ 7762 w 7788"/>
                <a:gd name="connsiteY1" fmla="*/ 2693 h 2692"/>
                <a:gd name="connsiteX2" fmla="*/ -26 w 7788"/>
                <a:gd name="connsiteY2" fmla="*/ 1 h 2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788" h="2692">
                  <a:moveTo>
                    <a:pt x="-26" y="1"/>
                  </a:moveTo>
                  <a:cubicBezTo>
                    <a:pt x="2422" y="1284"/>
                    <a:pt x="5048" y="2198"/>
                    <a:pt x="7762" y="2693"/>
                  </a:cubicBezTo>
                  <a:cubicBezTo>
                    <a:pt x="5251" y="1563"/>
                    <a:pt x="2650" y="662"/>
                    <a:pt x="-26" y="1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6" name="Vrije vorm 235">
              <a:extLst>
                <a:ext uri="{FF2B5EF4-FFF2-40B4-BE49-F238E27FC236}">
                  <a16:creationId xmlns:a16="http://schemas.microsoft.com/office/drawing/2014/main" id="{D361DF41-4136-4045-B9CB-A71023A40215}"/>
                </a:ext>
              </a:extLst>
            </p:cNvPr>
            <p:cNvSpPr/>
            <p:nvPr/>
          </p:nvSpPr>
          <p:spPr>
            <a:xfrm>
              <a:off x="8896351" y="3610648"/>
              <a:ext cx="101" cy="101"/>
            </a:xfrm>
            <a:custGeom>
              <a:avLst/>
              <a:gdLst>
                <a:gd name="connsiteX0" fmla="*/ 101 w 101"/>
                <a:gd name="connsiteY0" fmla="*/ 0 h 101"/>
                <a:gd name="connsiteX1" fmla="*/ 0 w 101"/>
                <a:gd name="connsiteY1" fmla="*/ 0 h 101"/>
                <a:gd name="connsiteX2" fmla="*/ 51 w 101"/>
                <a:gd name="connsiteY2" fmla="*/ 102 h 101"/>
                <a:gd name="connsiteX3" fmla="*/ 101 w 101"/>
                <a:gd name="connsiteY3" fmla="*/ 0 h 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" h="101">
                  <a:moveTo>
                    <a:pt x="101" y="0"/>
                  </a:moveTo>
                  <a:lnTo>
                    <a:pt x="0" y="0"/>
                  </a:lnTo>
                  <a:lnTo>
                    <a:pt x="51" y="102"/>
                  </a:lnTo>
                  <a:lnTo>
                    <a:pt x="101" y="0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7" name="Vrije vorm 236">
              <a:extLst>
                <a:ext uri="{FF2B5EF4-FFF2-40B4-BE49-F238E27FC236}">
                  <a16:creationId xmlns:a16="http://schemas.microsoft.com/office/drawing/2014/main" id="{23B33BA7-3AF7-024B-BD2C-CEA40D67A95A}"/>
                </a:ext>
              </a:extLst>
            </p:cNvPr>
            <p:cNvSpPr/>
            <p:nvPr/>
          </p:nvSpPr>
          <p:spPr>
            <a:xfrm>
              <a:off x="8867349" y="3662145"/>
              <a:ext cx="139" cy="138"/>
            </a:xfrm>
            <a:custGeom>
              <a:avLst/>
              <a:gdLst>
                <a:gd name="connsiteX0" fmla="*/ 113 w 139"/>
                <a:gd name="connsiteY0" fmla="*/ 1 h 138"/>
                <a:gd name="connsiteX1" fmla="*/ -26 w 139"/>
                <a:gd name="connsiteY1" fmla="*/ 1 h 138"/>
                <a:gd name="connsiteX2" fmla="*/ 113 w 139"/>
                <a:gd name="connsiteY2" fmla="*/ 1 h 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9" h="138">
                  <a:moveTo>
                    <a:pt x="113" y="1"/>
                  </a:moveTo>
                  <a:cubicBezTo>
                    <a:pt x="63" y="1"/>
                    <a:pt x="12" y="1"/>
                    <a:pt x="-26" y="1"/>
                  </a:cubicBezTo>
                  <a:cubicBezTo>
                    <a:pt x="75" y="204"/>
                    <a:pt x="113" y="166"/>
                    <a:pt x="113" y="1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8" name="Vrije vorm 237">
              <a:extLst>
                <a:ext uri="{FF2B5EF4-FFF2-40B4-BE49-F238E27FC236}">
                  <a16:creationId xmlns:a16="http://schemas.microsoft.com/office/drawing/2014/main" id="{E7FF371E-621F-5C4F-89B2-F399DF7EB50B}"/>
                </a:ext>
              </a:extLst>
            </p:cNvPr>
            <p:cNvSpPr/>
            <p:nvPr/>
          </p:nvSpPr>
          <p:spPr>
            <a:xfrm>
              <a:off x="8889409" y="3610748"/>
              <a:ext cx="8991" cy="8030"/>
            </a:xfrm>
            <a:custGeom>
              <a:avLst/>
              <a:gdLst>
                <a:gd name="connsiteX0" fmla="*/ 6935 w 8991"/>
                <a:gd name="connsiteY0" fmla="*/ 5170 h 8030"/>
                <a:gd name="connsiteX1" fmla="*/ 8838 w 8991"/>
                <a:gd name="connsiteY1" fmla="*/ 2643 h 8030"/>
                <a:gd name="connsiteX2" fmla="*/ 7532 w 8991"/>
                <a:gd name="connsiteY2" fmla="*/ 1119 h 8030"/>
                <a:gd name="connsiteX3" fmla="*/ 6960 w 8991"/>
                <a:gd name="connsiteY3" fmla="*/ 1 h 8030"/>
                <a:gd name="connsiteX4" fmla="*/ 6935 w 8991"/>
                <a:gd name="connsiteY4" fmla="*/ 5170 h 8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91" h="8030">
                  <a:moveTo>
                    <a:pt x="6935" y="5170"/>
                  </a:moveTo>
                  <a:cubicBezTo>
                    <a:pt x="10373" y="5322"/>
                    <a:pt x="5756" y="3456"/>
                    <a:pt x="8838" y="2643"/>
                  </a:cubicBezTo>
                  <a:cubicBezTo>
                    <a:pt x="9510" y="1373"/>
                    <a:pt x="7290" y="2312"/>
                    <a:pt x="7532" y="1119"/>
                  </a:cubicBezTo>
                  <a:cubicBezTo>
                    <a:pt x="7290" y="662"/>
                    <a:pt x="7151" y="369"/>
                    <a:pt x="6960" y="1"/>
                  </a:cubicBezTo>
                  <a:cubicBezTo>
                    <a:pt x="3827" y="5881"/>
                    <a:pt x="-7043" y="11660"/>
                    <a:pt x="6935" y="5170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9" name="Vrije vorm 238">
              <a:extLst>
                <a:ext uri="{FF2B5EF4-FFF2-40B4-BE49-F238E27FC236}">
                  <a16:creationId xmlns:a16="http://schemas.microsoft.com/office/drawing/2014/main" id="{BAE9231E-0004-AA40-8B1B-D550B8276A65}"/>
                </a:ext>
              </a:extLst>
            </p:cNvPr>
            <p:cNvSpPr/>
            <p:nvPr/>
          </p:nvSpPr>
          <p:spPr>
            <a:xfrm>
              <a:off x="6084908" y="2497084"/>
              <a:ext cx="5803" cy="14781"/>
            </a:xfrm>
            <a:custGeom>
              <a:avLst/>
              <a:gdLst>
                <a:gd name="connsiteX0" fmla="*/ -26 w 5803"/>
                <a:gd name="connsiteY0" fmla="*/ 14783 h 14781"/>
                <a:gd name="connsiteX1" fmla="*/ -26 w 5803"/>
                <a:gd name="connsiteY1" fmla="*/ 14783 h 14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03" h="14781">
                  <a:moveTo>
                    <a:pt x="-26" y="14783"/>
                  </a:moveTo>
                  <a:cubicBezTo>
                    <a:pt x="8155" y="-10504"/>
                    <a:pt x="7255" y="1554"/>
                    <a:pt x="-26" y="14783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0" name="Vrije vorm 239">
              <a:extLst>
                <a:ext uri="{FF2B5EF4-FFF2-40B4-BE49-F238E27FC236}">
                  <a16:creationId xmlns:a16="http://schemas.microsoft.com/office/drawing/2014/main" id="{D3692930-EA56-2C44-91A4-84B23DBFD752}"/>
                </a:ext>
              </a:extLst>
            </p:cNvPr>
            <p:cNvSpPr/>
            <p:nvPr/>
          </p:nvSpPr>
          <p:spPr>
            <a:xfrm>
              <a:off x="6259293" y="3753306"/>
              <a:ext cx="124996" cy="971994"/>
            </a:xfrm>
            <a:custGeom>
              <a:avLst/>
              <a:gdLst>
                <a:gd name="connsiteX0" fmla="*/ 47 w 124996"/>
                <a:gd name="connsiteY0" fmla="*/ 971996 h 971994"/>
                <a:gd name="connsiteX1" fmla="*/ 47 w 124996"/>
                <a:gd name="connsiteY1" fmla="*/ 971996 h 971994"/>
                <a:gd name="connsiteX2" fmla="*/ 124847 w 124996"/>
                <a:gd name="connsiteY2" fmla="*/ 1 h 971994"/>
                <a:gd name="connsiteX3" fmla="*/ 124847 w 124996"/>
                <a:gd name="connsiteY3" fmla="*/ 1030 h 971994"/>
                <a:gd name="connsiteX4" fmla="*/ 124847 w 124996"/>
                <a:gd name="connsiteY4" fmla="*/ 1 h 971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996" h="971994">
                  <a:moveTo>
                    <a:pt x="47" y="971996"/>
                  </a:moveTo>
                  <a:cubicBezTo>
                    <a:pt x="859" y="971373"/>
                    <a:pt x="-321" y="970827"/>
                    <a:pt x="47" y="971996"/>
                  </a:cubicBezTo>
                  <a:close/>
                  <a:moveTo>
                    <a:pt x="124847" y="1"/>
                  </a:moveTo>
                  <a:lnTo>
                    <a:pt x="124847" y="1030"/>
                  </a:lnTo>
                  <a:cubicBezTo>
                    <a:pt x="125012" y="712"/>
                    <a:pt x="125012" y="319"/>
                    <a:pt x="124847" y="1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1" name="Vrije vorm 240">
              <a:extLst>
                <a:ext uri="{FF2B5EF4-FFF2-40B4-BE49-F238E27FC236}">
                  <a16:creationId xmlns:a16="http://schemas.microsoft.com/office/drawing/2014/main" id="{B87EC8F6-902C-9B42-A9B1-6B6E13C25C62}"/>
                </a:ext>
              </a:extLst>
            </p:cNvPr>
            <p:cNvSpPr/>
            <p:nvPr/>
          </p:nvSpPr>
          <p:spPr>
            <a:xfrm>
              <a:off x="6347521" y="4694084"/>
              <a:ext cx="300031" cy="488518"/>
            </a:xfrm>
            <a:custGeom>
              <a:avLst/>
              <a:gdLst>
                <a:gd name="connsiteX0" fmla="*/ 299384 w 300031"/>
                <a:gd name="connsiteY0" fmla="*/ 125947 h 488518"/>
                <a:gd name="connsiteX1" fmla="*/ 293131 w 300031"/>
                <a:gd name="connsiteY1" fmla="*/ 143625 h 488518"/>
                <a:gd name="connsiteX2" fmla="*/ 292814 w 300031"/>
                <a:gd name="connsiteY2" fmla="*/ 144210 h 488518"/>
                <a:gd name="connsiteX3" fmla="*/ 238703 w 300031"/>
                <a:gd name="connsiteY3" fmla="*/ 190819 h 488518"/>
                <a:gd name="connsiteX4" fmla="*/ 199471 w 300031"/>
                <a:gd name="connsiteY4" fmla="*/ 212015 h 488518"/>
                <a:gd name="connsiteX5" fmla="*/ 198761 w 300031"/>
                <a:gd name="connsiteY5" fmla="*/ 212599 h 488518"/>
                <a:gd name="connsiteX6" fmla="*/ 183882 w 300031"/>
                <a:gd name="connsiteY6" fmla="*/ 228398 h 488518"/>
                <a:gd name="connsiteX7" fmla="*/ 155837 w 300031"/>
                <a:gd name="connsiteY7" fmla="*/ 255525 h 488518"/>
                <a:gd name="connsiteX8" fmla="*/ 139614 w 300031"/>
                <a:gd name="connsiteY8" fmla="*/ 268314 h 488518"/>
                <a:gd name="connsiteX9" fmla="*/ 134490 w 300031"/>
                <a:gd name="connsiteY9" fmla="*/ 272988 h 488518"/>
                <a:gd name="connsiteX10" fmla="*/ 134452 w 300031"/>
                <a:gd name="connsiteY10" fmla="*/ 272988 h 488518"/>
                <a:gd name="connsiteX11" fmla="*/ 133094 w 300031"/>
                <a:gd name="connsiteY11" fmla="*/ 298413 h 488518"/>
                <a:gd name="connsiteX12" fmla="*/ 133196 w 300031"/>
                <a:gd name="connsiteY12" fmla="*/ 298629 h 488518"/>
                <a:gd name="connsiteX13" fmla="*/ 138308 w 300031"/>
                <a:gd name="connsiteY13" fmla="*/ 310110 h 488518"/>
                <a:gd name="connsiteX14" fmla="*/ 149051 w 300031"/>
                <a:gd name="connsiteY14" fmla="*/ 401855 h 488518"/>
                <a:gd name="connsiteX15" fmla="*/ 147707 w 300031"/>
                <a:gd name="connsiteY15" fmla="*/ 405906 h 488518"/>
                <a:gd name="connsiteX16" fmla="*/ 147618 w 300031"/>
                <a:gd name="connsiteY16" fmla="*/ 406134 h 488518"/>
                <a:gd name="connsiteX17" fmla="*/ 133462 w 300031"/>
                <a:gd name="connsiteY17" fmla="*/ 419952 h 488518"/>
                <a:gd name="connsiteX18" fmla="*/ 126499 w 300031"/>
                <a:gd name="connsiteY18" fmla="*/ 423991 h 488518"/>
                <a:gd name="connsiteX19" fmla="*/ 96513 w 300031"/>
                <a:gd name="connsiteY19" fmla="*/ 435243 h 488518"/>
                <a:gd name="connsiteX20" fmla="*/ 76472 w 300031"/>
                <a:gd name="connsiteY20" fmla="*/ 448971 h 488518"/>
                <a:gd name="connsiteX21" fmla="*/ 76434 w 300031"/>
                <a:gd name="connsiteY21" fmla="*/ 449010 h 488518"/>
                <a:gd name="connsiteX22" fmla="*/ 69153 w 300031"/>
                <a:gd name="connsiteY22" fmla="*/ 463411 h 488518"/>
                <a:gd name="connsiteX23" fmla="*/ 76878 w 300031"/>
                <a:gd name="connsiteY23" fmla="*/ 488519 h 488518"/>
                <a:gd name="connsiteX24" fmla="*/ 52169 w 300031"/>
                <a:gd name="connsiteY24" fmla="*/ 488113 h 488518"/>
                <a:gd name="connsiteX25" fmla="*/ 54326 w 300031"/>
                <a:gd name="connsiteY25" fmla="*/ 470968 h 488518"/>
                <a:gd name="connsiteX26" fmla="*/ 49645 w 300031"/>
                <a:gd name="connsiteY26" fmla="*/ 461875 h 488518"/>
                <a:gd name="connsiteX27" fmla="*/ 48935 w 300031"/>
                <a:gd name="connsiteY27" fmla="*/ 453785 h 488518"/>
                <a:gd name="connsiteX28" fmla="*/ 49468 w 300031"/>
                <a:gd name="connsiteY28" fmla="*/ 425337 h 488518"/>
                <a:gd name="connsiteX29" fmla="*/ 34500 w 300031"/>
                <a:gd name="connsiteY29" fmla="*/ 368517 h 488518"/>
                <a:gd name="connsiteX30" fmla="*/ 27676 w 300031"/>
                <a:gd name="connsiteY30" fmla="*/ 349340 h 488518"/>
                <a:gd name="connsiteX31" fmla="*/ 29655 w 300031"/>
                <a:gd name="connsiteY31" fmla="*/ 350788 h 488518"/>
                <a:gd name="connsiteX32" fmla="*/ 52702 w 300031"/>
                <a:gd name="connsiteY32" fmla="*/ 326124 h 488518"/>
                <a:gd name="connsiteX33" fmla="*/ 60744 w 300031"/>
                <a:gd name="connsiteY33" fmla="*/ 316460 h 488518"/>
                <a:gd name="connsiteX34" fmla="*/ 61822 w 300031"/>
                <a:gd name="connsiteY34" fmla="*/ 301461 h 488518"/>
                <a:gd name="connsiteX35" fmla="*/ 69293 w 300031"/>
                <a:gd name="connsiteY35" fmla="*/ 292330 h 488518"/>
                <a:gd name="connsiteX36" fmla="*/ 79491 w 300031"/>
                <a:gd name="connsiteY36" fmla="*/ 279998 h 488518"/>
                <a:gd name="connsiteX37" fmla="*/ 76789 w 300031"/>
                <a:gd name="connsiteY37" fmla="*/ 269787 h 488518"/>
                <a:gd name="connsiteX38" fmla="*/ 72528 w 300031"/>
                <a:gd name="connsiteY38" fmla="*/ 258002 h 488518"/>
                <a:gd name="connsiteX39" fmla="*/ 72528 w 300031"/>
                <a:gd name="connsiteY39" fmla="*/ 252109 h 488518"/>
                <a:gd name="connsiteX40" fmla="*/ 70371 w 300031"/>
                <a:gd name="connsiteY40" fmla="*/ 245670 h 488518"/>
                <a:gd name="connsiteX41" fmla="*/ 75217 w 300031"/>
                <a:gd name="connsiteY41" fmla="*/ 239777 h 488518"/>
                <a:gd name="connsiteX42" fmla="*/ 80024 w 300031"/>
                <a:gd name="connsiteY42" fmla="*/ 230099 h 488518"/>
                <a:gd name="connsiteX43" fmla="*/ 76257 w 300031"/>
                <a:gd name="connsiteY43" fmla="*/ 188253 h 488518"/>
                <a:gd name="connsiteX44" fmla="*/ 77335 w 300031"/>
                <a:gd name="connsiteY44" fmla="*/ 181827 h 488518"/>
                <a:gd name="connsiteX45" fmla="*/ 66096 w 300031"/>
                <a:gd name="connsiteY45" fmla="*/ 175934 h 488518"/>
                <a:gd name="connsiteX46" fmla="*/ 51091 w 300031"/>
                <a:gd name="connsiteY46" fmla="*/ 172734 h 488518"/>
                <a:gd name="connsiteX47" fmla="*/ 40931 w 300031"/>
                <a:gd name="connsiteY47" fmla="*/ 166295 h 488518"/>
                <a:gd name="connsiteX48" fmla="*/ 32889 w 300031"/>
                <a:gd name="connsiteY48" fmla="*/ 163056 h 488518"/>
                <a:gd name="connsiteX49" fmla="*/ 18950 w 300031"/>
                <a:gd name="connsiteY49" fmla="*/ 158789 h 488518"/>
                <a:gd name="connsiteX50" fmla="*/ 4489 w 300031"/>
                <a:gd name="connsiteY50" fmla="*/ 159322 h 488518"/>
                <a:gd name="connsiteX51" fmla="*/ 5022 w 300031"/>
                <a:gd name="connsiteY51" fmla="*/ 151271 h 488518"/>
                <a:gd name="connsiteX52" fmla="*/ 976 w 300031"/>
                <a:gd name="connsiteY52" fmla="*/ 148566 h 488518"/>
                <a:gd name="connsiteX53" fmla="*/ 3411 w 300031"/>
                <a:gd name="connsiteY53" fmla="*/ 131967 h 488518"/>
                <a:gd name="connsiteX54" fmla="*/ 20573 w 300031"/>
                <a:gd name="connsiteY54" fmla="*/ 120181 h 488518"/>
                <a:gd name="connsiteX55" fmla="*/ 70371 w 300031"/>
                <a:gd name="connsiteY55" fmla="*/ 107265 h 488518"/>
                <a:gd name="connsiteX56" fmla="*/ 78451 w 300031"/>
                <a:gd name="connsiteY56" fmla="*/ 102084 h 488518"/>
                <a:gd name="connsiteX57" fmla="*/ 82675 w 300031"/>
                <a:gd name="connsiteY57" fmla="*/ 100293 h 488518"/>
                <a:gd name="connsiteX58" fmla="*/ 89639 w 300031"/>
                <a:gd name="connsiteY58" fmla="*/ 109424 h 488518"/>
                <a:gd name="connsiteX59" fmla="*/ 98771 w 300031"/>
                <a:gd name="connsiteY59" fmla="*/ 120181 h 488518"/>
                <a:gd name="connsiteX60" fmla="*/ 109464 w 300031"/>
                <a:gd name="connsiteY60" fmla="*/ 113742 h 488518"/>
                <a:gd name="connsiteX61" fmla="*/ 119129 w 300031"/>
                <a:gd name="connsiteY61" fmla="*/ 116943 h 488518"/>
                <a:gd name="connsiteX62" fmla="*/ 121285 w 300031"/>
                <a:gd name="connsiteY62" fmla="*/ 138406 h 488518"/>
                <a:gd name="connsiteX63" fmla="*/ 119662 w 300031"/>
                <a:gd name="connsiteY63" fmla="*/ 163056 h 488518"/>
                <a:gd name="connsiteX64" fmla="*/ 134680 w 300031"/>
                <a:gd name="connsiteY64" fmla="*/ 181827 h 488518"/>
                <a:gd name="connsiteX65" fmla="*/ 138409 w 300031"/>
                <a:gd name="connsiteY65" fmla="*/ 191492 h 488518"/>
                <a:gd name="connsiteX66" fmla="*/ 144827 w 300031"/>
                <a:gd name="connsiteY66" fmla="*/ 190958 h 488518"/>
                <a:gd name="connsiteX67" fmla="*/ 143216 w 300031"/>
                <a:gd name="connsiteY67" fmla="*/ 164682 h 488518"/>
                <a:gd name="connsiteX68" fmla="*/ 156598 w 300031"/>
                <a:gd name="connsiteY68" fmla="*/ 160948 h 488518"/>
                <a:gd name="connsiteX69" fmla="*/ 160911 w 300031"/>
                <a:gd name="connsiteY69" fmla="*/ 128728 h 488518"/>
                <a:gd name="connsiteX70" fmla="*/ 147529 w 300031"/>
                <a:gd name="connsiteY70" fmla="*/ 105144 h 488518"/>
                <a:gd name="connsiteX71" fmla="*/ 139703 w 300031"/>
                <a:gd name="connsiteY71" fmla="*/ 98540 h 488518"/>
                <a:gd name="connsiteX72" fmla="*/ 133462 w 300031"/>
                <a:gd name="connsiteY72" fmla="*/ 92952 h 488518"/>
                <a:gd name="connsiteX73" fmla="*/ 132016 w 300031"/>
                <a:gd name="connsiteY73" fmla="*/ 82970 h 488518"/>
                <a:gd name="connsiteX74" fmla="*/ 130088 w 300031"/>
                <a:gd name="connsiteY74" fmla="*/ 79999 h 488518"/>
                <a:gd name="connsiteX75" fmla="*/ 130900 w 300031"/>
                <a:gd name="connsiteY75" fmla="*/ 63387 h 488518"/>
                <a:gd name="connsiteX76" fmla="*/ 127386 w 300031"/>
                <a:gd name="connsiteY76" fmla="*/ 52147 h 488518"/>
                <a:gd name="connsiteX77" fmla="*/ 132206 w 300031"/>
                <a:gd name="connsiteY77" fmla="*/ 44222 h 488518"/>
                <a:gd name="connsiteX78" fmla="*/ 134997 w 300031"/>
                <a:gd name="connsiteY78" fmla="*/ 31586 h 488518"/>
                <a:gd name="connsiteX79" fmla="*/ 146996 w 300031"/>
                <a:gd name="connsiteY79" fmla="*/ 30062 h 488518"/>
                <a:gd name="connsiteX80" fmla="*/ 160378 w 300031"/>
                <a:gd name="connsiteY80" fmla="*/ 25782 h 488518"/>
                <a:gd name="connsiteX81" fmla="*/ 170538 w 300031"/>
                <a:gd name="connsiteY81" fmla="*/ 33249 h 488518"/>
                <a:gd name="connsiteX82" fmla="*/ 182360 w 300031"/>
                <a:gd name="connsiteY82" fmla="*/ 34329 h 488518"/>
                <a:gd name="connsiteX83" fmla="*/ 193598 w 300031"/>
                <a:gd name="connsiteY83" fmla="*/ 32755 h 488518"/>
                <a:gd name="connsiteX84" fmla="*/ 209681 w 300031"/>
                <a:gd name="connsiteY84" fmla="*/ 33796 h 488518"/>
                <a:gd name="connsiteX85" fmla="*/ 218763 w 300031"/>
                <a:gd name="connsiteY85" fmla="*/ 23090 h 488518"/>
                <a:gd name="connsiteX86" fmla="*/ 231067 w 300031"/>
                <a:gd name="connsiteY86" fmla="*/ 24703 h 488518"/>
                <a:gd name="connsiteX87" fmla="*/ 241278 w 300031"/>
                <a:gd name="connsiteY87" fmla="*/ 21997 h 488518"/>
                <a:gd name="connsiteX88" fmla="*/ 252503 w 300031"/>
                <a:gd name="connsiteY88" fmla="*/ 18810 h 488518"/>
                <a:gd name="connsiteX89" fmla="*/ 284150 w 300031"/>
                <a:gd name="connsiteY89" fmla="*/ 4319 h 488518"/>
                <a:gd name="connsiteX90" fmla="*/ 290163 w 300031"/>
                <a:gd name="connsiteY90" fmla="*/ 1 h 488518"/>
                <a:gd name="connsiteX91" fmla="*/ 292370 w 300031"/>
                <a:gd name="connsiteY91" fmla="*/ 14314 h 488518"/>
                <a:gd name="connsiteX92" fmla="*/ 292370 w 300031"/>
                <a:gd name="connsiteY92" fmla="*/ 14352 h 488518"/>
                <a:gd name="connsiteX93" fmla="*/ 292281 w 300031"/>
                <a:gd name="connsiteY93" fmla="*/ 27179 h 488518"/>
                <a:gd name="connsiteX94" fmla="*/ 299739 w 300031"/>
                <a:gd name="connsiteY94" fmla="*/ 112536 h 488518"/>
                <a:gd name="connsiteX95" fmla="*/ 299917 w 300031"/>
                <a:gd name="connsiteY95" fmla="*/ 115101 h 488518"/>
                <a:gd name="connsiteX96" fmla="*/ 299384 w 300031"/>
                <a:gd name="connsiteY96" fmla="*/ 125947 h 48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300031" h="488518">
                  <a:moveTo>
                    <a:pt x="299384" y="125947"/>
                  </a:moveTo>
                  <a:cubicBezTo>
                    <a:pt x="298534" y="132208"/>
                    <a:pt x="296403" y="138228"/>
                    <a:pt x="293131" y="143625"/>
                  </a:cubicBezTo>
                  <a:cubicBezTo>
                    <a:pt x="293055" y="143828"/>
                    <a:pt x="292953" y="144032"/>
                    <a:pt x="292814" y="144210"/>
                  </a:cubicBezTo>
                  <a:cubicBezTo>
                    <a:pt x="280979" y="165762"/>
                    <a:pt x="261763" y="182310"/>
                    <a:pt x="238703" y="190819"/>
                  </a:cubicBezTo>
                  <a:cubicBezTo>
                    <a:pt x="224294" y="195061"/>
                    <a:pt x="210924" y="202287"/>
                    <a:pt x="199471" y="212015"/>
                  </a:cubicBezTo>
                  <a:cubicBezTo>
                    <a:pt x="199255" y="212244"/>
                    <a:pt x="199014" y="212434"/>
                    <a:pt x="198761" y="212599"/>
                  </a:cubicBezTo>
                  <a:cubicBezTo>
                    <a:pt x="193281" y="217362"/>
                    <a:pt x="188296" y="222645"/>
                    <a:pt x="183882" y="228398"/>
                  </a:cubicBezTo>
                  <a:cubicBezTo>
                    <a:pt x="175624" y="238507"/>
                    <a:pt x="166213" y="247613"/>
                    <a:pt x="155837" y="255525"/>
                  </a:cubicBezTo>
                  <a:cubicBezTo>
                    <a:pt x="150447" y="259843"/>
                    <a:pt x="144967" y="264072"/>
                    <a:pt x="139614" y="268314"/>
                  </a:cubicBezTo>
                  <a:cubicBezTo>
                    <a:pt x="137775" y="269724"/>
                    <a:pt x="136063" y="271286"/>
                    <a:pt x="134490" y="272988"/>
                  </a:cubicBezTo>
                  <a:lnTo>
                    <a:pt x="134452" y="272988"/>
                  </a:lnTo>
                  <a:cubicBezTo>
                    <a:pt x="127843" y="280011"/>
                    <a:pt x="127488" y="286843"/>
                    <a:pt x="133094" y="298413"/>
                  </a:cubicBezTo>
                  <a:cubicBezTo>
                    <a:pt x="133094" y="298502"/>
                    <a:pt x="133145" y="298553"/>
                    <a:pt x="133196" y="298629"/>
                  </a:cubicBezTo>
                  <a:cubicBezTo>
                    <a:pt x="135035" y="302413"/>
                    <a:pt x="136735" y="306236"/>
                    <a:pt x="138308" y="310110"/>
                  </a:cubicBezTo>
                  <a:cubicBezTo>
                    <a:pt x="150041" y="339180"/>
                    <a:pt x="153744" y="370866"/>
                    <a:pt x="149051" y="401855"/>
                  </a:cubicBezTo>
                  <a:cubicBezTo>
                    <a:pt x="148835" y="403277"/>
                    <a:pt x="148379" y="404636"/>
                    <a:pt x="147707" y="405906"/>
                  </a:cubicBezTo>
                  <a:lnTo>
                    <a:pt x="147618" y="406134"/>
                  </a:lnTo>
                  <a:cubicBezTo>
                    <a:pt x="144015" y="411761"/>
                    <a:pt x="139170" y="416485"/>
                    <a:pt x="133462" y="419952"/>
                  </a:cubicBezTo>
                  <a:cubicBezTo>
                    <a:pt x="131306" y="421336"/>
                    <a:pt x="128972" y="422644"/>
                    <a:pt x="126499" y="423991"/>
                  </a:cubicBezTo>
                  <a:cubicBezTo>
                    <a:pt x="117062" y="428677"/>
                    <a:pt x="106458" y="431369"/>
                    <a:pt x="96513" y="435243"/>
                  </a:cubicBezTo>
                  <a:cubicBezTo>
                    <a:pt x="88738" y="437948"/>
                    <a:pt x="81812" y="442685"/>
                    <a:pt x="76472" y="448971"/>
                  </a:cubicBezTo>
                  <a:lnTo>
                    <a:pt x="76434" y="449010"/>
                  </a:lnTo>
                  <a:cubicBezTo>
                    <a:pt x="73073" y="453277"/>
                    <a:pt x="70587" y="458166"/>
                    <a:pt x="69153" y="463411"/>
                  </a:cubicBezTo>
                  <a:cubicBezTo>
                    <a:pt x="76827" y="469266"/>
                    <a:pt x="79935" y="479350"/>
                    <a:pt x="76878" y="488519"/>
                  </a:cubicBezTo>
                  <a:cubicBezTo>
                    <a:pt x="70866" y="488202"/>
                    <a:pt x="57827" y="487707"/>
                    <a:pt x="52169" y="488113"/>
                  </a:cubicBezTo>
                  <a:cubicBezTo>
                    <a:pt x="52169" y="488113"/>
                    <a:pt x="53780" y="477407"/>
                    <a:pt x="54326" y="470968"/>
                  </a:cubicBezTo>
                  <a:cubicBezTo>
                    <a:pt x="54592" y="467297"/>
                    <a:pt x="52791" y="463792"/>
                    <a:pt x="49645" y="461875"/>
                  </a:cubicBezTo>
                  <a:cubicBezTo>
                    <a:pt x="49556" y="459170"/>
                    <a:pt x="49315" y="456464"/>
                    <a:pt x="48935" y="453785"/>
                  </a:cubicBezTo>
                  <a:cubicBezTo>
                    <a:pt x="48935" y="451131"/>
                    <a:pt x="50013" y="432855"/>
                    <a:pt x="49468" y="425337"/>
                  </a:cubicBezTo>
                  <a:cubicBezTo>
                    <a:pt x="48935" y="417831"/>
                    <a:pt x="35046" y="371171"/>
                    <a:pt x="34500" y="368517"/>
                  </a:cubicBezTo>
                  <a:cubicBezTo>
                    <a:pt x="34005" y="366040"/>
                    <a:pt x="28526" y="351689"/>
                    <a:pt x="27676" y="349340"/>
                  </a:cubicBezTo>
                  <a:cubicBezTo>
                    <a:pt x="29871" y="349975"/>
                    <a:pt x="29655" y="350788"/>
                    <a:pt x="29655" y="350788"/>
                  </a:cubicBezTo>
                  <a:cubicBezTo>
                    <a:pt x="29655" y="350788"/>
                    <a:pt x="50546" y="327750"/>
                    <a:pt x="52702" y="326124"/>
                  </a:cubicBezTo>
                  <a:cubicBezTo>
                    <a:pt x="56013" y="323483"/>
                    <a:pt x="58753" y="320194"/>
                    <a:pt x="60744" y="316460"/>
                  </a:cubicBezTo>
                  <a:cubicBezTo>
                    <a:pt x="63395" y="311634"/>
                    <a:pt x="61822" y="311634"/>
                    <a:pt x="61822" y="301461"/>
                  </a:cubicBezTo>
                  <a:cubicBezTo>
                    <a:pt x="61822" y="291250"/>
                    <a:pt x="66629" y="298769"/>
                    <a:pt x="69293" y="292330"/>
                  </a:cubicBezTo>
                  <a:cubicBezTo>
                    <a:pt x="71982" y="285903"/>
                    <a:pt x="74684" y="286437"/>
                    <a:pt x="79491" y="279998"/>
                  </a:cubicBezTo>
                  <a:cubicBezTo>
                    <a:pt x="84298" y="273572"/>
                    <a:pt x="81102" y="278385"/>
                    <a:pt x="76789" y="269787"/>
                  </a:cubicBezTo>
                  <a:cubicBezTo>
                    <a:pt x="72528" y="261240"/>
                    <a:pt x="73060" y="264974"/>
                    <a:pt x="72528" y="258002"/>
                  </a:cubicBezTo>
                  <a:cubicBezTo>
                    <a:pt x="71982" y="251029"/>
                    <a:pt x="75217" y="252109"/>
                    <a:pt x="72528" y="252109"/>
                  </a:cubicBezTo>
                  <a:cubicBezTo>
                    <a:pt x="69826" y="252109"/>
                    <a:pt x="67175" y="251029"/>
                    <a:pt x="70371" y="245670"/>
                  </a:cubicBezTo>
                  <a:cubicBezTo>
                    <a:pt x="73606" y="240323"/>
                    <a:pt x="77335" y="243511"/>
                    <a:pt x="75217" y="239777"/>
                  </a:cubicBezTo>
                  <a:cubicBezTo>
                    <a:pt x="73060" y="235993"/>
                    <a:pt x="74684" y="235459"/>
                    <a:pt x="80024" y="230099"/>
                  </a:cubicBezTo>
                  <a:cubicBezTo>
                    <a:pt x="85377" y="224753"/>
                    <a:pt x="76789" y="195772"/>
                    <a:pt x="76257" y="188253"/>
                  </a:cubicBezTo>
                  <a:cubicBezTo>
                    <a:pt x="75711" y="180785"/>
                    <a:pt x="76612" y="183808"/>
                    <a:pt x="77335" y="181827"/>
                  </a:cubicBezTo>
                  <a:cubicBezTo>
                    <a:pt x="78730" y="178004"/>
                    <a:pt x="69826" y="175934"/>
                    <a:pt x="66096" y="175934"/>
                  </a:cubicBezTo>
                  <a:cubicBezTo>
                    <a:pt x="60896" y="176201"/>
                    <a:pt x="55721" y="175096"/>
                    <a:pt x="51091" y="172734"/>
                  </a:cubicBezTo>
                  <a:cubicBezTo>
                    <a:pt x="41464" y="168962"/>
                    <a:pt x="47895" y="168962"/>
                    <a:pt x="40931" y="166295"/>
                  </a:cubicBezTo>
                  <a:cubicBezTo>
                    <a:pt x="33968" y="163602"/>
                    <a:pt x="40931" y="166295"/>
                    <a:pt x="32889" y="163056"/>
                  </a:cubicBezTo>
                  <a:cubicBezTo>
                    <a:pt x="24835" y="159869"/>
                    <a:pt x="27004" y="159322"/>
                    <a:pt x="18950" y="158789"/>
                  </a:cubicBezTo>
                  <a:cubicBezTo>
                    <a:pt x="10908" y="158243"/>
                    <a:pt x="6646" y="159869"/>
                    <a:pt x="4489" y="159322"/>
                  </a:cubicBezTo>
                  <a:cubicBezTo>
                    <a:pt x="2333" y="158789"/>
                    <a:pt x="6646" y="154471"/>
                    <a:pt x="5022" y="151271"/>
                  </a:cubicBezTo>
                  <a:cubicBezTo>
                    <a:pt x="3538" y="148261"/>
                    <a:pt x="3906" y="148528"/>
                    <a:pt x="976" y="148566"/>
                  </a:cubicBezTo>
                  <a:cubicBezTo>
                    <a:pt x="-965" y="142978"/>
                    <a:pt x="-52" y="136780"/>
                    <a:pt x="3411" y="131967"/>
                  </a:cubicBezTo>
                  <a:cubicBezTo>
                    <a:pt x="9830" y="124449"/>
                    <a:pt x="8751" y="122289"/>
                    <a:pt x="20573" y="120181"/>
                  </a:cubicBezTo>
                  <a:cubicBezTo>
                    <a:pt x="32344" y="118022"/>
                    <a:pt x="62317" y="109970"/>
                    <a:pt x="70371" y="107265"/>
                  </a:cubicBezTo>
                  <a:cubicBezTo>
                    <a:pt x="73453" y="106249"/>
                    <a:pt x="76231" y="104471"/>
                    <a:pt x="78451" y="102084"/>
                  </a:cubicBezTo>
                  <a:cubicBezTo>
                    <a:pt x="79466" y="100801"/>
                    <a:pt x="81051" y="100128"/>
                    <a:pt x="82675" y="100293"/>
                  </a:cubicBezTo>
                  <a:cubicBezTo>
                    <a:pt x="86987" y="100826"/>
                    <a:pt x="83753" y="104611"/>
                    <a:pt x="89639" y="109424"/>
                  </a:cubicBezTo>
                  <a:cubicBezTo>
                    <a:pt x="95575" y="114238"/>
                    <a:pt x="91807" y="123369"/>
                    <a:pt x="98771" y="120181"/>
                  </a:cubicBezTo>
                  <a:cubicBezTo>
                    <a:pt x="105735" y="116943"/>
                    <a:pt x="102006" y="113742"/>
                    <a:pt x="109464" y="113742"/>
                  </a:cubicBezTo>
                  <a:cubicBezTo>
                    <a:pt x="116973" y="113742"/>
                    <a:pt x="116427" y="111050"/>
                    <a:pt x="119129" y="116943"/>
                  </a:cubicBezTo>
                  <a:cubicBezTo>
                    <a:pt x="121717" y="123775"/>
                    <a:pt x="122465" y="131180"/>
                    <a:pt x="121285" y="138406"/>
                  </a:cubicBezTo>
                  <a:cubicBezTo>
                    <a:pt x="120740" y="149112"/>
                    <a:pt x="110542" y="144299"/>
                    <a:pt x="119662" y="163056"/>
                  </a:cubicBezTo>
                  <a:cubicBezTo>
                    <a:pt x="128782" y="181827"/>
                    <a:pt x="128249" y="175934"/>
                    <a:pt x="134680" y="181827"/>
                  </a:cubicBezTo>
                  <a:cubicBezTo>
                    <a:pt x="141098" y="187758"/>
                    <a:pt x="134135" y="188253"/>
                    <a:pt x="138409" y="191492"/>
                  </a:cubicBezTo>
                  <a:cubicBezTo>
                    <a:pt x="142722" y="194743"/>
                    <a:pt x="143216" y="203290"/>
                    <a:pt x="144827" y="190958"/>
                  </a:cubicBezTo>
                  <a:cubicBezTo>
                    <a:pt x="146451" y="178627"/>
                    <a:pt x="133589" y="167374"/>
                    <a:pt x="143216" y="164682"/>
                  </a:cubicBezTo>
                  <a:cubicBezTo>
                    <a:pt x="152869" y="161977"/>
                    <a:pt x="152869" y="170029"/>
                    <a:pt x="156598" y="160948"/>
                  </a:cubicBezTo>
                  <a:cubicBezTo>
                    <a:pt x="159655" y="150483"/>
                    <a:pt x="161114" y="139625"/>
                    <a:pt x="160911" y="128728"/>
                  </a:cubicBezTo>
                  <a:cubicBezTo>
                    <a:pt x="161456" y="119102"/>
                    <a:pt x="155025" y="114784"/>
                    <a:pt x="147529" y="105144"/>
                  </a:cubicBezTo>
                  <a:cubicBezTo>
                    <a:pt x="143077" y="99430"/>
                    <a:pt x="141187" y="99023"/>
                    <a:pt x="139703" y="98540"/>
                  </a:cubicBezTo>
                  <a:cubicBezTo>
                    <a:pt x="138802" y="95111"/>
                    <a:pt x="137458" y="91873"/>
                    <a:pt x="133462" y="92952"/>
                  </a:cubicBezTo>
                  <a:cubicBezTo>
                    <a:pt x="129911" y="91784"/>
                    <a:pt x="132701" y="85891"/>
                    <a:pt x="132016" y="82970"/>
                  </a:cubicBezTo>
                  <a:cubicBezTo>
                    <a:pt x="131382" y="82107"/>
                    <a:pt x="129543" y="81484"/>
                    <a:pt x="130088" y="79999"/>
                  </a:cubicBezTo>
                  <a:cubicBezTo>
                    <a:pt x="131712" y="74144"/>
                    <a:pt x="127260" y="69102"/>
                    <a:pt x="130900" y="63387"/>
                  </a:cubicBezTo>
                  <a:cubicBezTo>
                    <a:pt x="128744" y="60021"/>
                    <a:pt x="127539" y="56135"/>
                    <a:pt x="127386" y="52147"/>
                  </a:cubicBezTo>
                  <a:cubicBezTo>
                    <a:pt x="127019" y="48718"/>
                    <a:pt x="128997" y="45467"/>
                    <a:pt x="132206" y="44222"/>
                  </a:cubicBezTo>
                  <a:cubicBezTo>
                    <a:pt x="133957" y="40235"/>
                    <a:pt x="134908" y="35942"/>
                    <a:pt x="134997" y="31586"/>
                  </a:cubicBezTo>
                  <a:cubicBezTo>
                    <a:pt x="138866" y="30367"/>
                    <a:pt x="142937" y="29859"/>
                    <a:pt x="146996" y="30062"/>
                  </a:cubicBezTo>
                  <a:cubicBezTo>
                    <a:pt x="158222" y="30062"/>
                    <a:pt x="153960" y="26277"/>
                    <a:pt x="160378" y="25782"/>
                  </a:cubicBezTo>
                  <a:cubicBezTo>
                    <a:pt x="166809" y="25236"/>
                    <a:pt x="165731" y="29516"/>
                    <a:pt x="170538" y="33249"/>
                  </a:cubicBezTo>
                  <a:cubicBezTo>
                    <a:pt x="173785" y="36221"/>
                    <a:pt x="178618" y="36666"/>
                    <a:pt x="182360" y="34329"/>
                  </a:cubicBezTo>
                  <a:cubicBezTo>
                    <a:pt x="185658" y="32094"/>
                    <a:pt x="189806" y="31522"/>
                    <a:pt x="193598" y="32755"/>
                  </a:cubicBezTo>
                  <a:cubicBezTo>
                    <a:pt x="198773" y="34482"/>
                    <a:pt x="204316" y="34837"/>
                    <a:pt x="209681" y="33796"/>
                  </a:cubicBezTo>
                  <a:cubicBezTo>
                    <a:pt x="217140" y="32755"/>
                    <a:pt x="215034" y="26277"/>
                    <a:pt x="218763" y="23090"/>
                  </a:cubicBezTo>
                  <a:cubicBezTo>
                    <a:pt x="222531" y="19838"/>
                    <a:pt x="225727" y="22544"/>
                    <a:pt x="231067" y="24703"/>
                  </a:cubicBezTo>
                  <a:cubicBezTo>
                    <a:pt x="236470" y="26824"/>
                    <a:pt x="237498" y="24703"/>
                    <a:pt x="241278" y="21997"/>
                  </a:cubicBezTo>
                  <a:cubicBezTo>
                    <a:pt x="245007" y="19343"/>
                    <a:pt x="246618" y="20918"/>
                    <a:pt x="252503" y="18810"/>
                  </a:cubicBezTo>
                  <a:cubicBezTo>
                    <a:pt x="263349" y="14657"/>
                    <a:pt x="273914" y="9818"/>
                    <a:pt x="284150" y="4319"/>
                  </a:cubicBezTo>
                  <a:cubicBezTo>
                    <a:pt x="286243" y="3011"/>
                    <a:pt x="288260" y="1563"/>
                    <a:pt x="290163" y="1"/>
                  </a:cubicBezTo>
                  <a:cubicBezTo>
                    <a:pt x="291697" y="4611"/>
                    <a:pt x="292446" y="9450"/>
                    <a:pt x="292370" y="14314"/>
                  </a:cubicBezTo>
                  <a:lnTo>
                    <a:pt x="292370" y="14352"/>
                  </a:lnTo>
                  <a:cubicBezTo>
                    <a:pt x="292458" y="18454"/>
                    <a:pt x="292319" y="22721"/>
                    <a:pt x="292281" y="27179"/>
                  </a:cubicBezTo>
                  <a:cubicBezTo>
                    <a:pt x="292141" y="55614"/>
                    <a:pt x="297850" y="84012"/>
                    <a:pt x="299739" y="112536"/>
                  </a:cubicBezTo>
                  <a:cubicBezTo>
                    <a:pt x="299828" y="113399"/>
                    <a:pt x="299879" y="114250"/>
                    <a:pt x="299917" y="115101"/>
                  </a:cubicBezTo>
                  <a:cubicBezTo>
                    <a:pt x="300133" y="118721"/>
                    <a:pt x="299955" y="122353"/>
                    <a:pt x="299384" y="125947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2" name="Vrije vorm 241">
              <a:extLst>
                <a:ext uri="{FF2B5EF4-FFF2-40B4-BE49-F238E27FC236}">
                  <a16:creationId xmlns:a16="http://schemas.microsoft.com/office/drawing/2014/main" id="{DA43F1DF-7418-8A47-BC87-E9F9D4FB5F18}"/>
                </a:ext>
              </a:extLst>
            </p:cNvPr>
            <p:cNvSpPr/>
            <p:nvPr/>
          </p:nvSpPr>
          <p:spPr>
            <a:xfrm>
              <a:off x="5825288" y="4881982"/>
              <a:ext cx="377541" cy="368457"/>
            </a:xfrm>
            <a:custGeom>
              <a:avLst/>
              <a:gdLst>
                <a:gd name="connsiteX0" fmla="*/ 373510 w 377541"/>
                <a:gd name="connsiteY0" fmla="*/ 26682 h 368457"/>
                <a:gd name="connsiteX1" fmla="*/ 361739 w 377541"/>
                <a:gd name="connsiteY1" fmla="*/ 32575 h 368457"/>
                <a:gd name="connsiteX2" fmla="*/ 355803 w 377541"/>
                <a:gd name="connsiteY2" fmla="*/ 27724 h 368457"/>
                <a:gd name="connsiteX3" fmla="*/ 342409 w 377541"/>
                <a:gd name="connsiteY3" fmla="*/ 37388 h 368457"/>
                <a:gd name="connsiteX4" fmla="*/ 331716 w 377541"/>
                <a:gd name="connsiteY4" fmla="*/ 42748 h 368457"/>
                <a:gd name="connsiteX5" fmla="*/ 326909 w 377541"/>
                <a:gd name="connsiteY5" fmla="*/ 31495 h 368457"/>
                <a:gd name="connsiteX6" fmla="*/ 294729 w 377541"/>
                <a:gd name="connsiteY6" fmla="*/ 30962 h 368457"/>
                <a:gd name="connsiteX7" fmla="*/ 258870 w 377541"/>
                <a:gd name="connsiteY7" fmla="*/ 70104 h 368457"/>
                <a:gd name="connsiteX8" fmla="*/ 259949 w 377541"/>
                <a:gd name="connsiteY8" fmla="*/ 148933 h 368457"/>
                <a:gd name="connsiteX9" fmla="*/ 239591 w 377541"/>
                <a:gd name="connsiteY9" fmla="*/ 152717 h 368457"/>
                <a:gd name="connsiteX10" fmla="*/ 229393 w 377541"/>
                <a:gd name="connsiteY10" fmla="*/ 195643 h 368457"/>
                <a:gd name="connsiteX11" fmla="*/ 233921 w 377541"/>
                <a:gd name="connsiteY11" fmla="*/ 236677 h 368457"/>
                <a:gd name="connsiteX12" fmla="*/ 232450 w 377541"/>
                <a:gd name="connsiteY12" fmla="*/ 235737 h 368457"/>
                <a:gd name="connsiteX13" fmla="*/ 231460 w 377541"/>
                <a:gd name="connsiteY13" fmla="*/ 235064 h 368457"/>
                <a:gd name="connsiteX14" fmla="*/ 231549 w 377541"/>
                <a:gd name="connsiteY14" fmla="*/ 263220 h 368457"/>
                <a:gd name="connsiteX15" fmla="*/ 232082 w 377541"/>
                <a:gd name="connsiteY15" fmla="*/ 352767 h 368457"/>
                <a:gd name="connsiteX16" fmla="*/ 223507 w 377541"/>
                <a:gd name="connsiteY16" fmla="*/ 354380 h 368457"/>
                <a:gd name="connsiteX17" fmla="*/ 209035 w 377541"/>
                <a:gd name="connsiteY17" fmla="*/ 366179 h 368457"/>
                <a:gd name="connsiteX18" fmla="*/ 196718 w 377541"/>
                <a:gd name="connsiteY18" fmla="*/ 366179 h 368457"/>
                <a:gd name="connsiteX19" fmla="*/ 183324 w 377541"/>
                <a:gd name="connsiteY19" fmla="*/ 367258 h 368457"/>
                <a:gd name="connsiteX20" fmla="*/ 167773 w 377541"/>
                <a:gd name="connsiteY20" fmla="*/ 364058 h 368457"/>
                <a:gd name="connsiteX21" fmla="*/ 159236 w 377541"/>
                <a:gd name="connsiteY21" fmla="*/ 359740 h 368457"/>
                <a:gd name="connsiteX22" fmla="*/ 157625 w 377541"/>
                <a:gd name="connsiteY22" fmla="*/ 348500 h 368457"/>
                <a:gd name="connsiteX23" fmla="*/ 149038 w 377541"/>
                <a:gd name="connsiteY23" fmla="*/ 338823 h 368457"/>
                <a:gd name="connsiteX24" fmla="*/ 139918 w 377541"/>
                <a:gd name="connsiteY24" fmla="*/ 344220 h 368457"/>
                <a:gd name="connsiteX25" fmla="*/ 135111 w 377541"/>
                <a:gd name="connsiteY25" fmla="*/ 356006 h 368457"/>
                <a:gd name="connsiteX26" fmla="*/ 132853 w 377541"/>
                <a:gd name="connsiteY26" fmla="*/ 356997 h 368457"/>
                <a:gd name="connsiteX27" fmla="*/ 131331 w 377541"/>
                <a:gd name="connsiteY27" fmla="*/ 355599 h 368457"/>
                <a:gd name="connsiteX28" fmla="*/ 118888 w 377541"/>
                <a:gd name="connsiteY28" fmla="*/ 343001 h 368457"/>
                <a:gd name="connsiteX29" fmla="*/ 95473 w 377541"/>
                <a:gd name="connsiteY29" fmla="*/ 292697 h 368457"/>
                <a:gd name="connsiteX30" fmla="*/ 90399 w 377541"/>
                <a:gd name="connsiteY30" fmla="*/ 270472 h 368457"/>
                <a:gd name="connsiteX31" fmla="*/ 78717 w 377541"/>
                <a:gd name="connsiteY31" fmla="*/ 193764 h 368457"/>
                <a:gd name="connsiteX32" fmla="*/ 63433 w 377541"/>
                <a:gd name="connsiteY32" fmla="*/ 140220 h 368457"/>
                <a:gd name="connsiteX33" fmla="*/ 28602 w 377541"/>
                <a:gd name="connsiteY33" fmla="*/ 73126 h 368457"/>
                <a:gd name="connsiteX34" fmla="*/ 23883 w 377541"/>
                <a:gd name="connsiteY34" fmla="*/ 63817 h 368457"/>
                <a:gd name="connsiteX35" fmla="*/ 20471 w 377541"/>
                <a:gd name="connsiteY35" fmla="*/ 60033 h 368457"/>
                <a:gd name="connsiteX36" fmla="*/ -26 w 377541"/>
                <a:gd name="connsiteY36" fmla="*/ 8153 h 368457"/>
                <a:gd name="connsiteX37" fmla="*/ 5999 w 377541"/>
                <a:gd name="connsiteY37" fmla="*/ 5232 h 368457"/>
                <a:gd name="connsiteX38" fmla="*/ 14586 w 377541"/>
                <a:gd name="connsiteY38" fmla="*/ 7886 h 368457"/>
                <a:gd name="connsiteX39" fmla="*/ 23706 w 377541"/>
                <a:gd name="connsiteY39" fmla="*/ 6845 h 368457"/>
                <a:gd name="connsiteX40" fmla="*/ 40829 w 377541"/>
                <a:gd name="connsiteY40" fmla="*/ 368 h 368457"/>
                <a:gd name="connsiteX41" fmla="*/ 51028 w 377541"/>
                <a:gd name="connsiteY41" fmla="*/ 4153 h 368457"/>
                <a:gd name="connsiteX42" fmla="*/ 63889 w 377541"/>
                <a:gd name="connsiteY42" fmla="*/ 13779 h 368457"/>
                <a:gd name="connsiteX43" fmla="*/ 188144 w 377541"/>
                <a:gd name="connsiteY43" fmla="*/ 13284 h 368457"/>
                <a:gd name="connsiteX44" fmla="*/ 198342 w 377541"/>
                <a:gd name="connsiteY44" fmla="*/ 22377 h 368457"/>
                <a:gd name="connsiteX45" fmla="*/ 220323 w 377541"/>
                <a:gd name="connsiteY45" fmla="*/ 25615 h 368457"/>
                <a:gd name="connsiteX46" fmla="*/ 242254 w 377541"/>
                <a:gd name="connsiteY46" fmla="*/ 26695 h 368457"/>
                <a:gd name="connsiteX47" fmla="*/ 252453 w 377541"/>
                <a:gd name="connsiteY47" fmla="*/ 31508 h 368457"/>
                <a:gd name="connsiteX48" fmla="*/ 268498 w 377541"/>
                <a:gd name="connsiteY48" fmla="*/ 29349 h 368457"/>
                <a:gd name="connsiteX49" fmla="*/ 274384 w 377541"/>
                <a:gd name="connsiteY49" fmla="*/ 30429 h 368457"/>
                <a:gd name="connsiteX50" fmla="*/ 326287 w 377541"/>
                <a:gd name="connsiteY50" fmla="*/ 20167 h 368457"/>
                <a:gd name="connsiteX51" fmla="*/ 355816 w 377541"/>
                <a:gd name="connsiteY51" fmla="*/ 14859 h 368457"/>
                <a:gd name="connsiteX52" fmla="*/ 371367 w 377541"/>
                <a:gd name="connsiteY52" fmla="*/ 17564 h 368457"/>
                <a:gd name="connsiteX53" fmla="*/ 377290 w 377541"/>
                <a:gd name="connsiteY53" fmla="*/ 21475 h 368457"/>
                <a:gd name="connsiteX54" fmla="*/ 373510 w 377541"/>
                <a:gd name="connsiteY54" fmla="*/ 26682 h 368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377541" h="368457">
                  <a:moveTo>
                    <a:pt x="373510" y="26682"/>
                  </a:moveTo>
                  <a:cubicBezTo>
                    <a:pt x="367079" y="27724"/>
                    <a:pt x="366001" y="30416"/>
                    <a:pt x="361739" y="32575"/>
                  </a:cubicBezTo>
                  <a:cubicBezTo>
                    <a:pt x="357427" y="34696"/>
                    <a:pt x="362767" y="27178"/>
                    <a:pt x="355803" y="27724"/>
                  </a:cubicBezTo>
                  <a:cubicBezTo>
                    <a:pt x="348840" y="28257"/>
                    <a:pt x="346721" y="34696"/>
                    <a:pt x="342409" y="37388"/>
                  </a:cubicBezTo>
                  <a:cubicBezTo>
                    <a:pt x="338147" y="40093"/>
                    <a:pt x="333872" y="49720"/>
                    <a:pt x="331716" y="42748"/>
                  </a:cubicBezTo>
                  <a:cubicBezTo>
                    <a:pt x="329559" y="35775"/>
                    <a:pt x="333339" y="33655"/>
                    <a:pt x="326909" y="31495"/>
                  </a:cubicBezTo>
                  <a:cubicBezTo>
                    <a:pt x="316241" y="29997"/>
                    <a:pt x="305434" y="29806"/>
                    <a:pt x="294729" y="30962"/>
                  </a:cubicBezTo>
                  <a:cubicBezTo>
                    <a:pt x="274612" y="33045"/>
                    <a:pt x="259213" y="49847"/>
                    <a:pt x="258870" y="70104"/>
                  </a:cubicBezTo>
                  <a:cubicBezTo>
                    <a:pt x="255091" y="107137"/>
                    <a:pt x="263132" y="146824"/>
                    <a:pt x="259949" y="148933"/>
                  </a:cubicBezTo>
                  <a:cubicBezTo>
                    <a:pt x="256714" y="151091"/>
                    <a:pt x="244943" y="145745"/>
                    <a:pt x="239591" y="152717"/>
                  </a:cubicBezTo>
                  <a:cubicBezTo>
                    <a:pt x="230813" y="165176"/>
                    <a:pt x="227160" y="180555"/>
                    <a:pt x="229393" y="195643"/>
                  </a:cubicBezTo>
                  <a:cubicBezTo>
                    <a:pt x="230559" y="204279"/>
                    <a:pt x="233160" y="222910"/>
                    <a:pt x="233921" y="236677"/>
                  </a:cubicBezTo>
                  <a:cubicBezTo>
                    <a:pt x="233337" y="236321"/>
                    <a:pt x="232843" y="236004"/>
                    <a:pt x="232450" y="235737"/>
                  </a:cubicBezTo>
                  <a:cubicBezTo>
                    <a:pt x="232044" y="235457"/>
                    <a:pt x="231727" y="235191"/>
                    <a:pt x="231460" y="235064"/>
                  </a:cubicBezTo>
                  <a:cubicBezTo>
                    <a:pt x="231676" y="250317"/>
                    <a:pt x="231549" y="263220"/>
                    <a:pt x="231549" y="263220"/>
                  </a:cubicBezTo>
                  <a:lnTo>
                    <a:pt x="232082" y="352767"/>
                  </a:lnTo>
                  <a:cubicBezTo>
                    <a:pt x="229240" y="350977"/>
                    <a:pt x="225499" y="351688"/>
                    <a:pt x="223507" y="354380"/>
                  </a:cubicBezTo>
                  <a:cubicBezTo>
                    <a:pt x="219410" y="359143"/>
                    <a:pt x="214514" y="363131"/>
                    <a:pt x="209035" y="366179"/>
                  </a:cubicBezTo>
                  <a:cubicBezTo>
                    <a:pt x="202071" y="371030"/>
                    <a:pt x="205838" y="366712"/>
                    <a:pt x="196718" y="366179"/>
                  </a:cubicBezTo>
                  <a:cubicBezTo>
                    <a:pt x="187598" y="365632"/>
                    <a:pt x="189755" y="367258"/>
                    <a:pt x="183324" y="367258"/>
                  </a:cubicBezTo>
                  <a:cubicBezTo>
                    <a:pt x="176893" y="367258"/>
                    <a:pt x="174736" y="364553"/>
                    <a:pt x="167773" y="364058"/>
                  </a:cubicBezTo>
                  <a:cubicBezTo>
                    <a:pt x="160809" y="363524"/>
                    <a:pt x="159782" y="363524"/>
                    <a:pt x="159236" y="359740"/>
                  </a:cubicBezTo>
                  <a:cubicBezTo>
                    <a:pt x="159389" y="355930"/>
                    <a:pt x="158843" y="352120"/>
                    <a:pt x="157625" y="348500"/>
                  </a:cubicBezTo>
                  <a:cubicBezTo>
                    <a:pt x="155951" y="344385"/>
                    <a:pt x="152920" y="340969"/>
                    <a:pt x="149038" y="338823"/>
                  </a:cubicBezTo>
                  <a:cubicBezTo>
                    <a:pt x="145842" y="336702"/>
                    <a:pt x="142075" y="337248"/>
                    <a:pt x="139918" y="344220"/>
                  </a:cubicBezTo>
                  <a:cubicBezTo>
                    <a:pt x="137800" y="351155"/>
                    <a:pt x="144231" y="351688"/>
                    <a:pt x="135111" y="356006"/>
                  </a:cubicBezTo>
                  <a:cubicBezTo>
                    <a:pt x="134426" y="356323"/>
                    <a:pt x="133665" y="356679"/>
                    <a:pt x="132853" y="356997"/>
                  </a:cubicBezTo>
                  <a:cubicBezTo>
                    <a:pt x="132358" y="356501"/>
                    <a:pt x="131864" y="356057"/>
                    <a:pt x="131331" y="355599"/>
                  </a:cubicBezTo>
                  <a:cubicBezTo>
                    <a:pt x="126816" y="351790"/>
                    <a:pt x="122642" y="347573"/>
                    <a:pt x="118888" y="343001"/>
                  </a:cubicBezTo>
                  <a:cubicBezTo>
                    <a:pt x="107472" y="328168"/>
                    <a:pt x="99469" y="310997"/>
                    <a:pt x="95473" y="292697"/>
                  </a:cubicBezTo>
                  <a:cubicBezTo>
                    <a:pt x="93545" y="285407"/>
                    <a:pt x="91972" y="277939"/>
                    <a:pt x="90399" y="270472"/>
                  </a:cubicBezTo>
                  <a:cubicBezTo>
                    <a:pt x="84400" y="245275"/>
                    <a:pt x="80493" y="219608"/>
                    <a:pt x="78717" y="193764"/>
                  </a:cubicBezTo>
                  <a:cubicBezTo>
                    <a:pt x="78907" y="174802"/>
                    <a:pt x="73605" y="156210"/>
                    <a:pt x="63433" y="140220"/>
                  </a:cubicBezTo>
                  <a:cubicBezTo>
                    <a:pt x="50596" y="118516"/>
                    <a:pt x="38977" y="96113"/>
                    <a:pt x="28602" y="73126"/>
                  </a:cubicBezTo>
                  <a:cubicBezTo>
                    <a:pt x="27486" y="69811"/>
                    <a:pt x="25888" y="66674"/>
                    <a:pt x="23883" y="63817"/>
                  </a:cubicBezTo>
                  <a:cubicBezTo>
                    <a:pt x="22678" y="62547"/>
                    <a:pt x="21550" y="61290"/>
                    <a:pt x="20471" y="60033"/>
                  </a:cubicBezTo>
                  <a:cubicBezTo>
                    <a:pt x="7724" y="45707"/>
                    <a:pt x="469" y="27330"/>
                    <a:pt x="-26" y="8153"/>
                  </a:cubicBezTo>
                  <a:cubicBezTo>
                    <a:pt x="1686" y="6654"/>
                    <a:pt x="3766" y="5651"/>
                    <a:pt x="5999" y="5232"/>
                  </a:cubicBezTo>
                  <a:cubicBezTo>
                    <a:pt x="9233" y="5232"/>
                    <a:pt x="9233" y="6845"/>
                    <a:pt x="14586" y="7886"/>
                  </a:cubicBezTo>
                  <a:cubicBezTo>
                    <a:pt x="19939" y="8966"/>
                    <a:pt x="16742" y="9499"/>
                    <a:pt x="23706" y="6845"/>
                  </a:cubicBezTo>
                  <a:cubicBezTo>
                    <a:pt x="29262" y="4292"/>
                    <a:pt x="34982" y="2121"/>
                    <a:pt x="40829" y="368"/>
                  </a:cubicBezTo>
                  <a:cubicBezTo>
                    <a:pt x="42986" y="368"/>
                    <a:pt x="43531" y="-1740"/>
                    <a:pt x="51028" y="4153"/>
                  </a:cubicBezTo>
                  <a:cubicBezTo>
                    <a:pt x="58537" y="10045"/>
                    <a:pt x="59031" y="13284"/>
                    <a:pt x="63889" y="13779"/>
                  </a:cubicBezTo>
                  <a:cubicBezTo>
                    <a:pt x="68697" y="14325"/>
                    <a:pt x="182258" y="11125"/>
                    <a:pt x="188144" y="13284"/>
                  </a:cubicBezTo>
                  <a:cubicBezTo>
                    <a:pt x="194029" y="15405"/>
                    <a:pt x="186571" y="19723"/>
                    <a:pt x="198342" y="22377"/>
                  </a:cubicBezTo>
                  <a:cubicBezTo>
                    <a:pt x="205534" y="24206"/>
                    <a:pt x="212903" y="25298"/>
                    <a:pt x="220323" y="25615"/>
                  </a:cubicBezTo>
                  <a:cubicBezTo>
                    <a:pt x="231562" y="26695"/>
                    <a:pt x="233172" y="24003"/>
                    <a:pt x="242254" y="26695"/>
                  </a:cubicBezTo>
                  <a:cubicBezTo>
                    <a:pt x="251374" y="29349"/>
                    <a:pt x="245489" y="31508"/>
                    <a:pt x="252453" y="31508"/>
                  </a:cubicBezTo>
                  <a:cubicBezTo>
                    <a:pt x="259416" y="31508"/>
                    <a:pt x="262613" y="28270"/>
                    <a:pt x="268498" y="29349"/>
                  </a:cubicBezTo>
                  <a:cubicBezTo>
                    <a:pt x="274384" y="30429"/>
                    <a:pt x="266925" y="29895"/>
                    <a:pt x="274384" y="30429"/>
                  </a:cubicBezTo>
                  <a:cubicBezTo>
                    <a:pt x="278835" y="30746"/>
                    <a:pt x="304813" y="24802"/>
                    <a:pt x="326287" y="20167"/>
                  </a:cubicBezTo>
                  <a:cubicBezTo>
                    <a:pt x="335991" y="17678"/>
                    <a:pt x="345859" y="15900"/>
                    <a:pt x="355816" y="14859"/>
                  </a:cubicBezTo>
                  <a:cubicBezTo>
                    <a:pt x="361207" y="15938"/>
                    <a:pt x="361207" y="11671"/>
                    <a:pt x="371367" y="17564"/>
                  </a:cubicBezTo>
                  <a:cubicBezTo>
                    <a:pt x="373421" y="18745"/>
                    <a:pt x="375400" y="20053"/>
                    <a:pt x="377290" y="21475"/>
                  </a:cubicBezTo>
                  <a:cubicBezTo>
                    <a:pt x="377785" y="23215"/>
                    <a:pt x="377823" y="25971"/>
                    <a:pt x="373510" y="26682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3" name="Vrije vorm 242">
              <a:extLst>
                <a:ext uri="{FF2B5EF4-FFF2-40B4-BE49-F238E27FC236}">
                  <a16:creationId xmlns:a16="http://schemas.microsoft.com/office/drawing/2014/main" id="{9E072740-77AD-B14D-BB36-9D32E0EDA3DF}"/>
                </a:ext>
              </a:extLst>
            </p:cNvPr>
            <p:cNvSpPr/>
            <p:nvPr/>
          </p:nvSpPr>
          <p:spPr>
            <a:xfrm>
              <a:off x="6330386" y="4424740"/>
              <a:ext cx="307323" cy="305164"/>
            </a:xfrm>
            <a:custGeom>
              <a:avLst/>
              <a:gdLst>
                <a:gd name="connsiteX0" fmla="*/ 307298 w 307323"/>
                <a:gd name="connsiteY0" fmla="*/ 269345 h 305164"/>
                <a:gd name="connsiteX1" fmla="*/ 301285 w 307323"/>
                <a:gd name="connsiteY1" fmla="*/ 273663 h 305164"/>
                <a:gd name="connsiteX2" fmla="*/ 269638 w 307323"/>
                <a:gd name="connsiteY2" fmla="*/ 288154 h 305164"/>
                <a:gd name="connsiteX3" fmla="*/ 258413 w 307323"/>
                <a:gd name="connsiteY3" fmla="*/ 291342 h 305164"/>
                <a:gd name="connsiteX4" fmla="*/ 248202 w 307323"/>
                <a:gd name="connsiteY4" fmla="*/ 294047 h 305164"/>
                <a:gd name="connsiteX5" fmla="*/ 235886 w 307323"/>
                <a:gd name="connsiteY5" fmla="*/ 292421 h 305164"/>
                <a:gd name="connsiteX6" fmla="*/ 226816 w 307323"/>
                <a:gd name="connsiteY6" fmla="*/ 303127 h 305164"/>
                <a:gd name="connsiteX7" fmla="*/ 210720 w 307323"/>
                <a:gd name="connsiteY7" fmla="*/ 302099 h 305164"/>
                <a:gd name="connsiteX8" fmla="*/ 199495 w 307323"/>
                <a:gd name="connsiteY8" fmla="*/ 303673 h 305164"/>
                <a:gd name="connsiteX9" fmla="*/ 187673 w 307323"/>
                <a:gd name="connsiteY9" fmla="*/ 302594 h 305164"/>
                <a:gd name="connsiteX10" fmla="*/ 177513 w 307323"/>
                <a:gd name="connsiteY10" fmla="*/ 295126 h 305164"/>
                <a:gd name="connsiteX11" fmla="*/ 164119 w 307323"/>
                <a:gd name="connsiteY11" fmla="*/ 299393 h 305164"/>
                <a:gd name="connsiteX12" fmla="*/ 152119 w 307323"/>
                <a:gd name="connsiteY12" fmla="*/ 300917 h 305164"/>
                <a:gd name="connsiteX13" fmla="*/ 149836 w 307323"/>
                <a:gd name="connsiteY13" fmla="*/ 294301 h 305164"/>
                <a:gd name="connsiteX14" fmla="*/ 146196 w 307323"/>
                <a:gd name="connsiteY14" fmla="*/ 293221 h 305164"/>
                <a:gd name="connsiteX15" fmla="*/ 142276 w 307323"/>
                <a:gd name="connsiteY15" fmla="*/ 286973 h 305164"/>
                <a:gd name="connsiteX16" fmla="*/ 143405 w 307323"/>
                <a:gd name="connsiteY16" fmla="*/ 274552 h 305164"/>
                <a:gd name="connsiteX17" fmla="*/ 141300 w 307323"/>
                <a:gd name="connsiteY17" fmla="*/ 270730 h 305164"/>
                <a:gd name="connsiteX18" fmla="*/ 140703 w 307323"/>
                <a:gd name="connsiteY18" fmla="*/ 266589 h 305164"/>
                <a:gd name="connsiteX19" fmla="*/ 139942 w 307323"/>
                <a:gd name="connsiteY19" fmla="*/ 256379 h 305164"/>
                <a:gd name="connsiteX20" fmla="*/ 124214 w 307323"/>
                <a:gd name="connsiteY20" fmla="*/ 240669 h 305164"/>
                <a:gd name="connsiteX21" fmla="*/ 123415 w 307323"/>
                <a:gd name="connsiteY21" fmla="*/ 245126 h 305164"/>
                <a:gd name="connsiteX22" fmla="*/ 123047 w 307323"/>
                <a:gd name="connsiteY22" fmla="*/ 245571 h 305164"/>
                <a:gd name="connsiteX23" fmla="*/ 102512 w 307323"/>
                <a:gd name="connsiteY23" fmla="*/ 241977 h 305164"/>
                <a:gd name="connsiteX24" fmla="*/ 99594 w 307323"/>
                <a:gd name="connsiteY24" fmla="*/ 241037 h 305164"/>
                <a:gd name="connsiteX25" fmla="*/ 99594 w 307323"/>
                <a:gd name="connsiteY25" fmla="*/ 240986 h 305164"/>
                <a:gd name="connsiteX26" fmla="*/ 91286 w 307323"/>
                <a:gd name="connsiteY26" fmla="*/ 237163 h 305164"/>
                <a:gd name="connsiteX27" fmla="*/ 74657 w 307323"/>
                <a:gd name="connsiteY27" fmla="*/ 230191 h 305164"/>
                <a:gd name="connsiteX28" fmla="*/ 64497 w 307323"/>
                <a:gd name="connsiteY28" fmla="*/ 226991 h 305164"/>
                <a:gd name="connsiteX29" fmla="*/ 58066 w 307323"/>
                <a:gd name="connsiteY29" fmla="*/ 222139 h 305164"/>
                <a:gd name="connsiteX30" fmla="*/ 50570 w 307323"/>
                <a:gd name="connsiteY30" fmla="*/ 214126 h 305164"/>
                <a:gd name="connsiteX31" fmla="*/ 43695 w 307323"/>
                <a:gd name="connsiteY31" fmla="*/ 212500 h 305164"/>
                <a:gd name="connsiteX32" fmla="*/ 43733 w 307323"/>
                <a:gd name="connsiteY32" fmla="*/ 209846 h 305164"/>
                <a:gd name="connsiteX33" fmla="*/ 39065 w 307323"/>
                <a:gd name="connsiteY33" fmla="*/ 205388 h 305164"/>
                <a:gd name="connsiteX34" fmla="*/ 37987 w 307323"/>
                <a:gd name="connsiteY34" fmla="*/ 202429 h 305164"/>
                <a:gd name="connsiteX35" fmla="*/ 37226 w 307323"/>
                <a:gd name="connsiteY35" fmla="*/ 200359 h 305164"/>
                <a:gd name="connsiteX36" fmla="*/ 28905 w 307323"/>
                <a:gd name="connsiteY36" fmla="*/ 185690 h 305164"/>
                <a:gd name="connsiteX37" fmla="*/ 28372 w 307323"/>
                <a:gd name="connsiteY37" fmla="*/ 178667 h 305164"/>
                <a:gd name="connsiteX38" fmla="*/ 25455 w 307323"/>
                <a:gd name="connsiteY38" fmla="*/ 172050 h 305164"/>
                <a:gd name="connsiteX39" fmla="*/ 27243 w 307323"/>
                <a:gd name="connsiteY39" fmla="*/ 167999 h 305164"/>
                <a:gd name="connsiteX40" fmla="*/ 16639 w 307323"/>
                <a:gd name="connsiteY40" fmla="*/ 155718 h 305164"/>
                <a:gd name="connsiteX41" fmla="*/ 3207 w 307323"/>
                <a:gd name="connsiteY41" fmla="*/ 147578 h 305164"/>
                <a:gd name="connsiteX42" fmla="*/ 6035 w 307323"/>
                <a:gd name="connsiteY42" fmla="*/ 127639 h 305164"/>
                <a:gd name="connsiteX43" fmla="*/ 5896 w 307323"/>
                <a:gd name="connsiteY43" fmla="*/ 118139 h 305164"/>
                <a:gd name="connsiteX44" fmla="*/ 6213 w 307323"/>
                <a:gd name="connsiteY44" fmla="*/ 116564 h 305164"/>
                <a:gd name="connsiteX45" fmla="*/ 4019 w 307323"/>
                <a:gd name="connsiteY45" fmla="*/ 111891 h 305164"/>
                <a:gd name="connsiteX46" fmla="*/ 1228 w 307323"/>
                <a:gd name="connsiteY46" fmla="*/ 98657 h 305164"/>
                <a:gd name="connsiteX47" fmla="*/ 10386 w 307323"/>
                <a:gd name="connsiteY47" fmla="*/ 92358 h 305164"/>
                <a:gd name="connsiteX48" fmla="*/ 22170 w 307323"/>
                <a:gd name="connsiteY48" fmla="*/ 76788 h 305164"/>
                <a:gd name="connsiteX49" fmla="*/ 33941 w 307323"/>
                <a:gd name="connsiteY49" fmla="*/ 60138 h 305164"/>
                <a:gd name="connsiteX50" fmla="*/ 24859 w 307323"/>
                <a:gd name="connsiteY50" fmla="*/ 49978 h 305164"/>
                <a:gd name="connsiteX51" fmla="*/ 24859 w 307323"/>
                <a:gd name="connsiteY51" fmla="*/ 41914 h 305164"/>
                <a:gd name="connsiteX52" fmla="*/ 27561 w 307323"/>
                <a:gd name="connsiteY52" fmla="*/ 40478 h 305164"/>
                <a:gd name="connsiteX53" fmla="*/ 34486 w 307323"/>
                <a:gd name="connsiteY53" fmla="*/ 36567 h 305164"/>
                <a:gd name="connsiteX54" fmla="*/ 35019 w 307323"/>
                <a:gd name="connsiteY54" fmla="*/ 20997 h 305164"/>
                <a:gd name="connsiteX55" fmla="*/ 27510 w 307323"/>
                <a:gd name="connsiteY55" fmla="*/ 5973 h 305164"/>
                <a:gd name="connsiteX56" fmla="*/ 22664 w 307323"/>
                <a:gd name="connsiteY56" fmla="*/ 1832 h 305164"/>
                <a:gd name="connsiteX57" fmla="*/ 32863 w 307323"/>
                <a:gd name="connsiteY57" fmla="*/ 80 h 305164"/>
                <a:gd name="connsiteX58" fmla="*/ 61262 w 307323"/>
                <a:gd name="connsiteY58" fmla="*/ 1832 h 305164"/>
                <a:gd name="connsiteX59" fmla="*/ 58700 w 307323"/>
                <a:gd name="connsiteY59" fmla="*/ 36071 h 305164"/>
                <a:gd name="connsiteX60" fmla="*/ 61808 w 307323"/>
                <a:gd name="connsiteY60" fmla="*/ 38459 h 305164"/>
                <a:gd name="connsiteX61" fmla="*/ 63685 w 307323"/>
                <a:gd name="connsiteY61" fmla="*/ 48581 h 305164"/>
                <a:gd name="connsiteX62" fmla="*/ 65359 w 307323"/>
                <a:gd name="connsiteY62" fmla="*/ 46778 h 305164"/>
                <a:gd name="connsiteX63" fmla="*/ 67820 w 307323"/>
                <a:gd name="connsiteY63" fmla="*/ 48441 h 305164"/>
                <a:gd name="connsiteX64" fmla="*/ 69533 w 307323"/>
                <a:gd name="connsiteY64" fmla="*/ 42079 h 305164"/>
                <a:gd name="connsiteX65" fmla="*/ 72183 w 307323"/>
                <a:gd name="connsiteY65" fmla="*/ 41469 h 305164"/>
                <a:gd name="connsiteX66" fmla="*/ 73706 w 307323"/>
                <a:gd name="connsiteY66" fmla="*/ 36516 h 305164"/>
                <a:gd name="connsiteX67" fmla="*/ 80314 w 307323"/>
                <a:gd name="connsiteY67" fmla="*/ 39755 h 305164"/>
                <a:gd name="connsiteX68" fmla="*/ 87011 w 307323"/>
                <a:gd name="connsiteY68" fmla="*/ 39666 h 305164"/>
                <a:gd name="connsiteX69" fmla="*/ 90423 w 307323"/>
                <a:gd name="connsiteY69" fmla="*/ 53572 h 305164"/>
                <a:gd name="connsiteX70" fmla="*/ 96360 w 307323"/>
                <a:gd name="connsiteY70" fmla="*/ 52086 h 305164"/>
                <a:gd name="connsiteX71" fmla="*/ 94051 w 307323"/>
                <a:gd name="connsiteY71" fmla="*/ 42447 h 305164"/>
                <a:gd name="connsiteX72" fmla="*/ 103678 w 307323"/>
                <a:gd name="connsiteY72" fmla="*/ 40136 h 305164"/>
                <a:gd name="connsiteX73" fmla="*/ 106469 w 307323"/>
                <a:gd name="connsiteY73" fmla="*/ 43400 h 305164"/>
                <a:gd name="connsiteX74" fmla="*/ 118874 w 307323"/>
                <a:gd name="connsiteY74" fmla="*/ 31969 h 305164"/>
                <a:gd name="connsiteX75" fmla="*/ 102778 w 307323"/>
                <a:gd name="connsiteY75" fmla="*/ 31436 h 305164"/>
                <a:gd name="connsiteX76" fmla="*/ 111733 w 307323"/>
                <a:gd name="connsiteY76" fmla="*/ 27829 h 305164"/>
                <a:gd name="connsiteX77" fmla="*/ 105835 w 307323"/>
                <a:gd name="connsiteY77" fmla="*/ 24642 h 305164"/>
                <a:gd name="connsiteX78" fmla="*/ 115766 w 307323"/>
                <a:gd name="connsiteY78" fmla="*/ 13339 h 305164"/>
                <a:gd name="connsiteX79" fmla="*/ 122286 w 307323"/>
                <a:gd name="connsiteY79" fmla="*/ 13796 h 305164"/>
                <a:gd name="connsiteX80" fmla="*/ 119546 w 307323"/>
                <a:gd name="connsiteY80" fmla="*/ 10507 h 305164"/>
                <a:gd name="connsiteX81" fmla="*/ 125077 w 307323"/>
                <a:gd name="connsiteY81" fmla="*/ 2048 h 305164"/>
                <a:gd name="connsiteX82" fmla="*/ 212344 w 307323"/>
                <a:gd name="connsiteY82" fmla="*/ 46727 h 305164"/>
                <a:gd name="connsiteX83" fmla="*/ 227349 w 307323"/>
                <a:gd name="connsiteY83" fmla="*/ 70349 h 305164"/>
                <a:gd name="connsiteX84" fmla="*/ 270361 w 307323"/>
                <a:gd name="connsiteY84" fmla="*/ 104321 h 305164"/>
                <a:gd name="connsiteX85" fmla="*/ 267393 w 307323"/>
                <a:gd name="connsiteY85" fmla="*/ 109770 h 305164"/>
                <a:gd name="connsiteX86" fmla="*/ 262713 w 307323"/>
                <a:gd name="connsiteY86" fmla="*/ 134027 h 305164"/>
                <a:gd name="connsiteX87" fmla="*/ 281815 w 307323"/>
                <a:gd name="connsiteY87" fmla="*/ 167009 h 305164"/>
                <a:gd name="connsiteX88" fmla="*/ 280382 w 307323"/>
                <a:gd name="connsiteY88" fmla="*/ 171009 h 305164"/>
                <a:gd name="connsiteX89" fmla="*/ 278987 w 307323"/>
                <a:gd name="connsiteY89" fmla="*/ 175556 h 305164"/>
                <a:gd name="connsiteX90" fmla="*/ 278936 w 307323"/>
                <a:gd name="connsiteY90" fmla="*/ 175695 h 305164"/>
                <a:gd name="connsiteX91" fmla="*/ 276741 w 307323"/>
                <a:gd name="connsiteY91" fmla="*/ 191088 h 305164"/>
                <a:gd name="connsiteX92" fmla="*/ 277185 w 307323"/>
                <a:gd name="connsiteY92" fmla="*/ 203229 h 305164"/>
                <a:gd name="connsiteX93" fmla="*/ 277185 w 307323"/>
                <a:gd name="connsiteY93" fmla="*/ 203280 h 305164"/>
                <a:gd name="connsiteX94" fmla="*/ 289451 w 307323"/>
                <a:gd name="connsiteY94" fmla="*/ 248136 h 305164"/>
                <a:gd name="connsiteX95" fmla="*/ 293231 w 307323"/>
                <a:gd name="connsiteY95" fmla="*/ 254791 h 305164"/>
                <a:gd name="connsiteX96" fmla="*/ 304735 w 307323"/>
                <a:gd name="connsiteY96" fmla="*/ 264253 h 305164"/>
                <a:gd name="connsiteX97" fmla="*/ 307298 w 307323"/>
                <a:gd name="connsiteY97" fmla="*/ 269345 h 305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307323" h="305164">
                  <a:moveTo>
                    <a:pt x="307298" y="269345"/>
                  </a:moveTo>
                  <a:cubicBezTo>
                    <a:pt x="305382" y="270907"/>
                    <a:pt x="303378" y="272355"/>
                    <a:pt x="301285" y="273663"/>
                  </a:cubicBezTo>
                  <a:cubicBezTo>
                    <a:pt x="291049" y="279150"/>
                    <a:pt x="280483" y="284001"/>
                    <a:pt x="269638" y="288154"/>
                  </a:cubicBezTo>
                  <a:cubicBezTo>
                    <a:pt x="263753" y="290262"/>
                    <a:pt x="262142" y="288687"/>
                    <a:pt x="258413" y="291342"/>
                  </a:cubicBezTo>
                  <a:cubicBezTo>
                    <a:pt x="254633" y="294047"/>
                    <a:pt x="253593" y="296155"/>
                    <a:pt x="248202" y="294047"/>
                  </a:cubicBezTo>
                  <a:cubicBezTo>
                    <a:pt x="242862" y="291888"/>
                    <a:pt x="239665" y="289182"/>
                    <a:pt x="235886" y="292421"/>
                  </a:cubicBezTo>
                  <a:cubicBezTo>
                    <a:pt x="232156" y="295622"/>
                    <a:pt x="234275" y="302099"/>
                    <a:pt x="226816" y="303127"/>
                  </a:cubicBezTo>
                  <a:cubicBezTo>
                    <a:pt x="221451" y="304169"/>
                    <a:pt x="215908" y="303813"/>
                    <a:pt x="210720" y="302099"/>
                  </a:cubicBezTo>
                  <a:cubicBezTo>
                    <a:pt x="206940" y="300854"/>
                    <a:pt x="202793" y="301438"/>
                    <a:pt x="199495" y="303673"/>
                  </a:cubicBezTo>
                  <a:cubicBezTo>
                    <a:pt x="195753" y="306010"/>
                    <a:pt x="190920" y="305566"/>
                    <a:pt x="187673" y="302594"/>
                  </a:cubicBezTo>
                  <a:cubicBezTo>
                    <a:pt x="182866" y="298860"/>
                    <a:pt x="183944" y="294580"/>
                    <a:pt x="177513" y="295126"/>
                  </a:cubicBezTo>
                  <a:cubicBezTo>
                    <a:pt x="171095" y="295622"/>
                    <a:pt x="175357" y="299393"/>
                    <a:pt x="164119" y="299393"/>
                  </a:cubicBezTo>
                  <a:cubicBezTo>
                    <a:pt x="160060" y="299190"/>
                    <a:pt x="156001" y="299711"/>
                    <a:pt x="152119" y="300917"/>
                  </a:cubicBezTo>
                  <a:cubicBezTo>
                    <a:pt x="152107" y="298530"/>
                    <a:pt x="151295" y="296206"/>
                    <a:pt x="149836" y="294301"/>
                  </a:cubicBezTo>
                  <a:cubicBezTo>
                    <a:pt x="148885" y="293094"/>
                    <a:pt x="147135" y="293221"/>
                    <a:pt x="146196" y="293221"/>
                  </a:cubicBezTo>
                  <a:cubicBezTo>
                    <a:pt x="145765" y="290707"/>
                    <a:pt x="144356" y="288459"/>
                    <a:pt x="142276" y="286973"/>
                  </a:cubicBezTo>
                  <a:cubicBezTo>
                    <a:pt x="140703" y="282794"/>
                    <a:pt x="144433" y="278286"/>
                    <a:pt x="143405" y="274552"/>
                  </a:cubicBezTo>
                  <a:cubicBezTo>
                    <a:pt x="143113" y="273092"/>
                    <a:pt x="142378" y="271758"/>
                    <a:pt x="141300" y="270730"/>
                  </a:cubicBezTo>
                  <a:cubicBezTo>
                    <a:pt x="141160" y="269205"/>
                    <a:pt x="141566" y="268075"/>
                    <a:pt x="140703" y="266589"/>
                  </a:cubicBezTo>
                  <a:cubicBezTo>
                    <a:pt x="142467" y="263084"/>
                    <a:pt x="139181" y="259566"/>
                    <a:pt x="139942" y="256379"/>
                  </a:cubicBezTo>
                  <a:cubicBezTo>
                    <a:pt x="137571" y="251870"/>
                    <a:pt x="129021" y="239322"/>
                    <a:pt x="124214" y="240669"/>
                  </a:cubicBezTo>
                  <a:cubicBezTo>
                    <a:pt x="122426" y="241659"/>
                    <a:pt x="124087" y="243501"/>
                    <a:pt x="123415" y="245126"/>
                  </a:cubicBezTo>
                  <a:cubicBezTo>
                    <a:pt x="123275" y="245266"/>
                    <a:pt x="123161" y="245418"/>
                    <a:pt x="123047" y="245571"/>
                  </a:cubicBezTo>
                  <a:cubicBezTo>
                    <a:pt x="116806" y="243602"/>
                    <a:pt x="106824" y="243412"/>
                    <a:pt x="102512" y="241977"/>
                  </a:cubicBezTo>
                  <a:cubicBezTo>
                    <a:pt x="101116" y="241532"/>
                    <a:pt x="100266" y="241253"/>
                    <a:pt x="99594" y="241037"/>
                  </a:cubicBezTo>
                  <a:lnTo>
                    <a:pt x="99594" y="240986"/>
                  </a:lnTo>
                  <a:cubicBezTo>
                    <a:pt x="97844" y="240351"/>
                    <a:pt x="97032" y="239856"/>
                    <a:pt x="91286" y="237163"/>
                  </a:cubicBezTo>
                  <a:cubicBezTo>
                    <a:pt x="83244" y="233430"/>
                    <a:pt x="81075" y="232884"/>
                    <a:pt x="74657" y="230191"/>
                  </a:cubicBezTo>
                  <a:cubicBezTo>
                    <a:pt x="68226" y="227537"/>
                    <a:pt x="66615" y="230724"/>
                    <a:pt x="64497" y="226991"/>
                  </a:cubicBezTo>
                  <a:cubicBezTo>
                    <a:pt x="62341" y="223219"/>
                    <a:pt x="61262" y="222139"/>
                    <a:pt x="58066" y="222139"/>
                  </a:cubicBezTo>
                  <a:cubicBezTo>
                    <a:pt x="54832" y="222139"/>
                    <a:pt x="58066" y="217313"/>
                    <a:pt x="50570" y="214126"/>
                  </a:cubicBezTo>
                  <a:cubicBezTo>
                    <a:pt x="48452" y="212995"/>
                    <a:pt x="46080" y="212436"/>
                    <a:pt x="43695" y="212500"/>
                  </a:cubicBezTo>
                  <a:cubicBezTo>
                    <a:pt x="43302" y="211662"/>
                    <a:pt x="43315" y="210684"/>
                    <a:pt x="43733" y="209846"/>
                  </a:cubicBezTo>
                  <a:cubicBezTo>
                    <a:pt x="42287" y="208245"/>
                    <a:pt x="40727" y="206760"/>
                    <a:pt x="39065" y="205388"/>
                  </a:cubicBezTo>
                  <a:cubicBezTo>
                    <a:pt x="38482" y="204588"/>
                    <a:pt x="38520" y="203369"/>
                    <a:pt x="37987" y="202429"/>
                  </a:cubicBezTo>
                  <a:cubicBezTo>
                    <a:pt x="39154" y="201667"/>
                    <a:pt x="38431" y="200803"/>
                    <a:pt x="37226" y="200359"/>
                  </a:cubicBezTo>
                  <a:cubicBezTo>
                    <a:pt x="35311" y="195025"/>
                    <a:pt x="32495" y="190059"/>
                    <a:pt x="28905" y="185690"/>
                  </a:cubicBezTo>
                  <a:cubicBezTo>
                    <a:pt x="26977" y="183481"/>
                    <a:pt x="28956" y="181233"/>
                    <a:pt x="28372" y="178667"/>
                  </a:cubicBezTo>
                  <a:cubicBezTo>
                    <a:pt x="27332" y="176419"/>
                    <a:pt x="26216" y="173765"/>
                    <a:pt x="25455" y="172050"/>
                  </a:cubicBezTo>
                  <a:cubicBezTo>
                    <a:pt x="27383" y="173625"/>
                    <a:pt x="27827" y="169218"/>
                    <a:pt x="27243" y="167999"/>
                  </a:cubicBezTo>
                  <a:cubicBezTo>
                    <a:pt x="22347" y="165078"/>
                    <a:pt x="21637" y="158779"/>
                    <a:pt x="16639" y="155718"/>
                  </a:cubicBezTo>
                  <a:cubicBezTo>
                    <a:pt x="12911" y="149965"/>
                    <a:pt x="10526" y="160087"/>
                    <a:pt x="3207" y="147578"/>
                  </a:cubicBezTo>
                  <a:cubicBezTo>
                    <a:pt x="2712" y="135157"/>
                    <a:pt x="16145" y="143933"/>
                    <a:pt x="6035" y="127639"/>
                  </a:cubicBezTo>
                  <a:cubicBezTo>
                    <a:pt x="1812" y="125111"/>
                    <a:pt x="5997" y="120793"/>
                    <a:pt x="5896" y="118139"/>
                  </a:cubicBezTo>
                  <a:cubicBezTo>
                    <a:pt x="5186" y="117199"/>
                    <a:pt x="5947" y="117694"/>
                    <a:pt x="6213" y="116564"/>
                  </a:cubicBezTo>
                  <a:cubicBezTo>
                    <a:pt x="5947" y="114824"/>
                    <a:pt x="5186" y="113199"/>
                    <a:pt x="4019" y="111891"/>
                  </a:cubicBezTo>
                  <a:cubicBezTo>
                    <a:pt x="-2234" y="110316"/>
                    <a:pt x="416" y="104334"/>
                    <a:pt x="1228" y="98657"/>
                  </a:cubicBezTo>
                  <a:cubicBezTo>
                    <a:pt x="8141" y="97540"/>
                    <a:pt x="5630" y="99025"/>
                    <a:pt x="10386" y="92358"/>
                  </a:cubicBezTo>
                  <a:cubicBezTo>
                    <a:pt x="15739" y="84852"/>
                    <a:pt x="16284" y="80521"/>
                    <a:pt x="22170" y="76788"/>
                  </a:cubicBezTo>
                  <a:cubicBezTo>
                    <a:pt x="28055" y="73016"/>
                    <a:pt x="35019" y="66577"/>
                    <a:pt x="33941" y="60138"/>
                  </a:cubicBezTo>
                  <a:cubicBezTo>
                    <a:pt x="32863" y="53712"/>
                    <a:pt x="26977" y="54245"/>
                    <a:pt x="24859" y="49978"/>
                  </a:cubicBezTo>
                  <a:cubicBezTo>
                    <a:pt x="22703" y="45698"/>
                    <a:pt x="20546" y="44085"/>
                    <a:pt x="24859" y="41914"/>
                  </a:cubicBezTo>
                  <a:cubicBezTo>
                    <a:pt x="25721" y="41469"/>
                    <a:pt x="26660" y="41025"/>
                    <a:pt x="27561" y="40478"/>
                  </a:cubicBezTo>
                  <a:cubicBezTo>
                    <a:pt x="31062" y="38586"/>
                    <a:pt x="34486" y="36567"/>
                    <a:pt x="34486" y="36567"/>
                  </a:cubicBezTo>
                  <a:cubicBezTo>
                    <a:pt x="35514" y="31436"/>
                    <a:pt x="35704" y="26178"/>
                    <a:pt x="35019" y="20997"/>
                  </a:cubicBezTo>
                  <a:cubicBezTo>
                    <a:pt x="34968" y="15091"/>
                    <a:pt x="32203" y="9554"/>
                    <a:pt x="27510" y="5973"/>
                  </a:cubicBezTo>
                  <a:cubicBezTo>
                    <a:pt x="25988" y="4614"/>
                    <a:pt x="24186" y="3128"/>
                    <a:pt x="22664" y="1832"/>
                  </a:cubicBezTo>
                  <a:cubicBezTo>
                    <a:pt x="25962" y="791"/>
                    <a:pt x="29400" y="194"/>
                    <a:pt x="32863" y="80"/>
                  </a:cubicBezTo>
                  <a:cubicBezTo>
                    <a:pt x="34664" y="-377"/>
                    <a:pt x="54882" y="1286"/>
                    <a:pt x="61262" y="1832"/>
                  </a:cubicBezTo>
                  <a:cubicBezTo>
                    <a:pt x="59157" y="13110"/>
                    <a:pt x="58295" y="24591"/>
                    <a:pt x="58700" y="36071"/>
                  </a:cubicBezTo>
                  <a:cubicBezTo>
                    <a:pt x="59740" y="36884"/>
                    <a:pt x="60768" y="37685"/>
                    <a:pt x="61808" y="38459"/>
                  </a:cubicBezTo>
                  <a:cubicBezTo>
                    <a:pt x="59334" y="41520"/>
                    <a:pt x="62303" y="46333"/>
                    <a:pt x="63685" y="48581"/>
                  </a:cubicBezTo>
                  <a:cubicBezTo>
                    <a:pt x="64154" y="47908"/>
                    <a:pt x="64725" y="47298"/>
                    <a:pt x="65359" y="46778"/>
                  </a:cubicBezTo>
                  <a:cubicBezTo>
                    <a:pt x="66298" y="47146"/>
                    <a:pt x="67135" y="47705"/>
                    <a:pt x="67820" y="48441"/>
                  </a:cubicBezTo>
                  <a:cubicBezTo>
                    <a:pt x="66539" y="46219"/>
                    <a:pt x="67300" y="43361"/>
                    <a:pt x="69533" y="42079"/>
                  </a:cubicBezTo>
                  <a:cubicBezTo>
                    <a:pt x="70332" y="41622"/>
                    <a:pt x="71257" y="41406"/>
                    <a:pt x="72183" y="41469"/>
                  </a:cubicBezTo>
                  <a:cubicBezTo>
                    <a:pt x="69710" y="40923"/>
                    <a:pt x="71194" y="36656"/>
                    <a:pt x="73706" y="36516"/>
                  </a:cubicBezTo>
                  <a:cubicBezTo>
                    <a:pt x="76179" y="36376"/>
                    <a:pt x="78196" y="38358"/>
                    <a:pt x="80314" y="39755"/>
                  </a:cubicBezTo>
                  <a:cubicBezTo>
                    <a:pt x="82382" y="41152"/>
                    <a:pt x="85654" y="41825"/>
                    <a:pt x="87011" y="39666"/>
                  </a:cubicBezTo>
                  <a:cubicBezTo>
                    <a:pt x="91096" y="43031"/>
                    <a:pt x="92491" y="48695"/>
                    <a:pt x="90423" y="53572"/>
                  </a:cubicBezTo>
                  <a:cubicBezTo>
                    <a:pt x="91869" y="51832"/>
                    <a:pt x="94267" y="51235"/>
                    <a:pt x="96360" y="52086"/>
                  </a:cubicBezTo>
                  <a:cubicBezTo>
                    <a:pt x="93062" y="50067"/>
                    <a:pt x="92034" y="45749"/>
                    <a:pt x="94051" y="42447"/>
                  </a:cubicBezTo>
                  <a:cubicBezTo>
                    <a:pt x="96068" y="39145"/>
                    <a:pt x="100381" y="38116"/>
                    <a:pt x="103678" y="40136"/>
                  </a:cubicBezTo>
                  <a:cubicBezTo>
                    <a:pt x="104922" y="40910"/>
                    <a:pt x="105898" y="42041"/>
                    <a:pt x="106469" y="43400"/>
                  </a:cubicBezTo>
                  <a:cubicBezTo>
                    <a:pt x="110604" y="39577"/>
                    <a:pt x="114739" y="35792"/>
                    <a:pt x="118874" y="31969"/>
                  </a:cubicBezTo>
                  <a:lnTo>
                    <a:pt x="102778" y="31436"/>
                  </a:lnTo>
                  <a:cubicBezTo>
                    <a:pt x="104579" y="28312"/>
                    <a:pt x="108270" y="26813"/>
                    <a:pt x="111733" y="27829"/>
                  </a:cubicBezTo>
                  <a:cubicBezTo>
                    <a:pt x="110642" y="25632"/>
                    <a:pt x="108283" y="24350"/>
                    <a:pt x="105835" y="24642"/>
                  </a:cubicBezTo>
                  <a:cubicBezTo>
                    <a:pt x="111175" y="23308"/>
                    <a:pt x="115119" y="18812"/>
                    <a:pt x="115766" y="13339"/>
                  </a:cubicBezTo>
                  <a:cubicBezTo>
                    <a:pt x="117923" y="13516"/>
                    <a:pt x="120130" y="13656"/>
                    <a:pt x="122286" y="13796"/>
                  </a:cubicBezTo>
                  <a:cubicBezTo>
                    <a:pt x="121386" y="12716"/>
                    <a:pt x="120447" y="11637"/>
                    <a:pt x="119546" y="10507"/>
                  </a:cubicBezTo>
                  <a:cubicBezTo>
                    <a:pt x="121386" y="7713"/>
                    <a:pt x="123225" y="4880"/>
                    <a:pt x="125077" y="2048"/>
                  </a:cubicBezTo>
                  <a:cubicBezTo>
                    <a:pt x="136442" y="8081"/>
                    <a:pt x="203046" y="43311"/>
                    <a:pt x="212344" y="46727"/>
                  </a:cubicBezTo>
                  <a:cubicBezTo>
                    <a:pt x="222491" y="50512"/>
                    <a:pt x="221958" y="62843"/>
                    <a:pt x="227349" y="70349"/>
                  </a:cubicBezTo>
                  <a:cubicBezTo>
                    <a:pt x="240820" y="82744"/>
                    <a:pt x="255191" y="94098"/>
                    <a:pt x="270361" y="104321"/>
                  </a:cubicBezTo>
                  <a:cubicBezTo>
                    <a:pt x="269372" y="106074"/>
                    <a:pt x="268383" y="107877"/>
                    <a:pt x="267393" y="109770"/>
                  </a:cubicBezTo>
                  <a:cubicBezTo>
                    <a:pt x="263512" y="117225"/>
                    <a:pt x="261888" y="125657"/>
                    <a:pt x="262713" y="134027"/>
                  </a:cubicBezTo>
                  <a:cubicBezTo>
                    <a:pt x="263930" y="147298"/>
                    <a:pt x="270920" y="159363"/>
                    <a:pt x="281815" y="167009"/>
                  </a:cubicBezTo>
                  <a:cubicBezTo>
                    <a:pt x="281282" y="168355"/>
                    <a:pt x="280788" y="169663"/>
                    <a:pt x="280382" y="171009"/>
                  </a:cubicBezTo>
                  <a:cubicBezTo>
                    <a:pt x="279824" y="172495"/>
                    <a:pt x="279354" y="174019"/>
                    <a:pt x="278987" y="175556"/>
                  </a:cubicBezTo>
                  <a:lnTo>
                    <a:pt x="278936" y="175695"/>
                  </a:lnTo>
                  <a:cubicBezTo>
                    <a:pt x="277617" y="180725"/>
                    <a:pt x="276881" y="185881"/>
                    <a:pt x="276741" y="191088"/>
                  </a:cubicBezTo>
                  <a:cubicBezTo>
                    <a:pt x="276551" y="195139"/>
                    <a:pt x="276703" y="199203"/>
                    <a:pt x="277185" y="203229"/>
                  </a:cubicBezTo>
                  <a:lnTo>
                    <a:pt x="277185" y="203280"/>
                  </a:lnTo>
                  <a:cubicBezTo>
                    <a:pt x="279608" y="218634"/>
                    <a:pt x="283730" y="233683"/>
                    <a:pt x="289451" y="248136"/>
                  </a:cubicBezTo>
                  <a:cubicBezTo>
                    <a:pt x="290314" y="250524"/>
                    <a:pt x="291341" y="253851"/>
                    <a:pt x="293231" y="254791"/>
                  </a:cubicBezTo>
                  <a:cubicBezTo>
                    <a:pt x="297835" y="256861"/>
                    <a:pt x="301806" y="260125"/>
                    <a:pt x="304735" y="264253"/>
                  </a:cubicBezTo>
                  <a:cubicBezTo>
                    <a:pt x="305788" y="265840"/>
                    <a:pt x="306651" y="267542"/>
                    <a:pt x="307298" y="269345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4" name="Vrije vorm 243">
              <a:extLst>
                <a:ext uri="{FF2B5EF4-FFF2-40B4-BE49-F238E27FC236}">
                  <a16:creationId xmlns:a16="http://schemas.microsoft.com/office/drawing/2014/main" id="{8B95B8E7-55D9-D443-A66E-8A0C693A619C}"/>
                </a:ext>
              </a:extLst>
            </p:cNvPr>
            <p:cNvSpPr/>
            <p:nvPr/>
          </p:nvSpPr>
          <p:spPr>
            <a:xfrm>
              <a:off x="5497455" y="3715630"/>
              <a:ext cx="440107" cy="344245"/>
            </a:xfrm>
            <a:custGeom>
              <a:avLst/>
              <a:gdLst>
                <a:gd name="connsiteX0" fmla="*/ 439935 w 440107"/>
                <a:gd name="connsiteY0" fmla="*/ 110613 h 344245"/>
                <a:gd name="connsiteX1" fmla="*/ 409911 w 440107"/>
                <a:gd name="connsiteY1" fmla="*/ 217890 h 344245"/>
                <a:gd name="connsiteX2" fmla="*/ 377782 w 440107"/>
                <a:gd name="connsiteY2" fmla="*/ 289746 h 344245"/>
                <a:gd name="connsiteX3" fmla="*/ 361686 w 440107"/>
                <a:gd name="connsiteY3" fmla="*/ 295144 h 344245"/>
                <a:gd name="connsiteX4" fmla="*/ 347759 w 440107"/>
                <a:gd name="connsiteY4" fmla="*/ 306929 h 344245"/>
                <a:gd name="connsiteX5" fmla="*/ 332259 w 440107"/>
                <a:gd name="connsiteY5" fmla="*/ 307475 h 344245"/>
                <a:gd name="connsiteX6" fmla="*/ 310822 w 440107"/>
                <a:gd name="connsiteY6" fmla="*/ 299411 h 344245"/>
                <a:gd name="connsiteX7" fmla="*/ 286152 w 440107"/>
                <a:gd name="connsiteY7" fmla="*/ 301037 h 344245"/>
                <a:gd name="connsiteX8" fmla="*/ 264753 w 440107"/>
                <a:gd name="connsiteY8" fmla="*/ 315527 h 344245"/>
                <a:gd name="connsiteX9" fmla="*/ 234197 w 440107"/>
                <a:gd name="connsiteY9" fmla="*/ 311209 h 344245"/>
                <a:gd name="connsiteX10" fmla="*/ 214917 w 440107"/>
                <a:gd name="connsiteY10" fmla="*/ 299424 h 344245"/>
                <a:gd name="connsiteX11" fmla="*/ 193481 w 440107"/>
                <a:gd name="connsiteY11" fmla="*/ 311209 h 344245"/>
                <a:gd name="connsiteX12" fmla="*/ 179008 w 440107"/>
                <a:gd name="connsiteY12" fmla="*/ 302116 h 344245"/>
                <a:gd name="connsiteX13" fmla="*/ 160274 w 440107"/>
                <a:gd name="connsiteY13" fmla="*/ 288172 h 344245"/>
                <a:gd name="connsiteX14" fmla="*/ 130301 w 440107"/>
                <a:gd name="connsiteY14" fmla="*/ 288172 h 344245"/>
                <a:gd name="connsiteX15" fmla="*/ 108319 w 440107"/>
                <a:gd name="connsiteY15" fmla="*/ 304237 h 344245"/>
                <a:gd name="connsiteX16" fmla="*/ 93847 w 440107"/>
                <a:gd name="connsiteY16" fmla="*/ 343925 h 344245"/>
                <a:gd name="connsiteX17" fmla="*/ 84727 w 440107"/>
                <a:gd name="connsiteY17" fmla="*/ 341270 h 344245"/>
                <a:gd name="connsiteX18" fmla="*/ 76190 w 440107"/>
                <a:gd name="connsiteY18" fmla="*/ 327313 h 344245"/>
                <a:gd name="connsiteX19" fmla="*/ 63291 w 440107"/>
                <a:gd name="connsiteY19" fmla="*/ 331593 h 344245"/>
                <a:gd name="connsiteX20" fmla="*/ 60094 w 440107"/>
                <a:gd name="connsiteY20" fmla="*/ 336940 h 344245"/>
                <a:gd name="connsiteX21" fmla="*/ 61045 w 440107"/>
                <a:gd name="connsiteY21" fmla="*/ 342350 h 344245"/>
                <a:gd name="connsiteX22" fmla="*/ 53131 w 440107"/>
                <a:gd name="connsiteY22" fmla="*/ 329967 h 344245"/>
                <a:gd name="connsiteX23" fmla="*/ 56859 w 440107"/>
                <a:gd name="connsiteY23" fmla="*/ 323541 h 344245"/>
                <a:gd name="connsiteX24" fmla="*/ 46712 w 440107"/>
                <a:gd name="connsiteY24" fmla="*/ 317648 h 344245"/>
                <a:gd name="connsiteX25" fmla="*/ 30616 w 440107"/>
                <a:gd name="connsiteY25" fmla="*/ 316556 h 344245"/>
                <a:gd name="connsiteX26" fmla="*/ 20469 w 440107"/>
                <a:gd name="connsiteY26" fmla="*/ 301037 h 344245"/>
                <a:gd name="connsiteX27" fmla="*/ 15649 w 440107"/>
                <a:gd name="connsiteY27" fmla="*/ 290280 h 344245"/>
                <a:gd name="connsiteX28" fmla="*/ 4918 w 440107"/>
                <a:gd name="connsiteY28" fmla="*/ 279574 h 344245"/>
                <a:gd name="connsiteX29" fmla="*/ 9 w 440107"/>
                <a:gd name="connsiteY29" fmla="*/ 251761 h 344245"/>
                <a:gd name="connsiteX30" fmla="*/ 8152 w 440107"/>
                <a:gd name="connsiteY30" fmla="*/ 252218 h 344245"/>
                <a:gd name="connsiteX31" fmla="*/ 50441 w 440107"/>
                <a:gd name="connsiteY31" fmla="*/ 243074 h 344245"/>
                <a:gd name="connsiteX32" fmla="*/ 83154 w 440107"/>
                <a:gd name="connsiteY32" fmla="*/ 240419 h 344245"/>
                <a:gd name="connsiteX33" fmla="*/ 99199 w 440107"/>
                <a:gd name="connsiteY33" fmla="*/ 235568 h 344245"/>
                <a:gd name="connsiteX34" fmla="*/ 113127 w 440107"/>
                <a:gd name="connsiteY34" fmla="*/ 203386 h 344245"/>
                <a:gd name="connsiteX35" fmla="*/ 112099 w 440107"/>
                <a:gd name="connsiteY35" fmla="*/ 130996 h 344245"/>
                <a:gd name="connsiteX36" fmla="*/ 122792 w 440107"/>
                <a:gd name="connsiteY36" fmla="*/ 128837 h 344245"/>
                <a:gd name="connsiteX37" fmla="*/ 194559 w 440107"/>
                <a:gd name="connsiteY37" fmla="*/ 95589 h 344245"/>
                <a:gd name="connsiteX38" fmla="*/ 260986 w 440107"/>
                <a:gd name="connsiteY38" fmla="*/ 43023 h 344245"/>
                <a:gd name="connsiteX39" fmla="*/ 309199 w 440107"/>
                <a:gd name="connsiteY39" fmla="*/ 6536 h 344245"/>
                <a:gd name="connsiteX40" fmla="*/ 332487 w 440107"/>
                <a:gd name="connsiteY40" fmla="*/ 466 h 344245"/>
                <a:gd name="connsiteX41" fmla="*/ 339222 w 440107"/>
                <a:gd name="connsiteY41" fmla="*/ 97 h 344245"/>
                <a:gd name="connsiteX42" fmla="*/ 374548 w 440107"/>
                <a:gd name="connsiteY42" fmla="*/ 10854 h 344245"/>
                <a:gd name="connsiteX43" fmla="*/ 397062 w 440107"/>
                <a:gd name="connsiteY43" fmla="*/ 26920 h 344245"/>
                <a:gd name="connsiteX44" fmla="*/ 419171 w 440107"/>
                <a:gd name="connsiteY44" fmla="*/ 13864 h 344245"/>
                <a:gd name="connsiteX45" fmla="*/ 439935 w 440107"/>
                <a:gd name="connsiteY45" fmla="*/ 110613 h 344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440107" h="344245">
                  <a:moveTo>
                    <a:pt x="439935" y="110613"/>
                  </a:moveTo>
                  <a:cubicBezTo>
                    <a:pt x="436041" y="147811"/>
                    <a:pt x="425881" y="184082"/>
                    <a:pt x="409911" y="217890"/>
                  </a:cubicBezTo>
                  <a:lnTo>
                    <a:pt x="377782" y="289746"/>
                  </a:lnTo>
                  <a:cubicBezTo>
                    <a:pt x="369195" y="289251"/>
                    <a:pt x="369741" y="289746"/>
                    <a:pt x="361686" y="295144"/>
                  </a:cubicBezTo>
                  <a:cubicBezTo>
                    <a:pt x="353644" y="300490"/>
                    <a:pt x="355268" y="303691"/>
                    <a:pt x="347759" y="306929"/>
                  </a:cubicBezTo>
                  <a:cubicBezTo>
                    <a:pt x="340262" y="310130"/>
                    <a:pt x="336520" y="312822"/>
                    <a:pt x="332259" y="307475"/>
                  </a:cubicBezTo>
                  <a:cubicBezTo>
                    <a:pt x="327109" y="301075"/>
                    <a:pt x="318902" y="297989"/>
                    <a:pt x="310822" y="299411"/>
                  </a:cubicBezTo>
                  <a:cubicBezTo>
                    <a:pt x="302565" y="298801"/>
                    <a:pt x="294257" y="299347"/>
                    <a:pt x="286152" y="301037"/>
                  </a:cubicBezTo>
                  <a:cubicBezTo>
                    <a:pt x="276524" y="303691"/>
                    <a:pt x="275459" y="314448"/>
                    <a:pt x="264753" y="315527"/>
                  </a:cubicBezTo>
                  <a:cubicBezTo>
                    <a:pt x="254022" y="316556"/>
                    <a:pt x="238472" y="317102"/>
                    <a:pt x="234197" y="311209"/>
                  </a:cubicBezTo>
                  <a:cubicBezTo>
                    <a:pt x="229923" y="305316"/>
                    <a:pt x="225077" y="297798"/>
                    <a:pt x="214917" y="299424"/>
                  </a:cubicBezTo>
                  <a:cubicBezTo>
                    <a:pt x="204719" y="301037"/>
                    <a:pt x="200445" y="310663"/>
                    <a:pt x="193481" y="311209"/>
                  </a:cubicBezTo>
                  <a:cubicBezTo>
                    <a:pt x="187316" y="311184"/>
                    <a:pt x="181710" y="307666"/>
                    <a:pt x="179008" y="302116"/>
                  </a:cubicBezTo>
                  <a:cubicBezTo>
                    <a:pt x="175825" y="297265"/>
                    <a:pt x="176903" y="289251"/>
                    <a:pt x="160274" y="288172"/>
                  </a:cubicBezTo>
                  <a:cubicBezTo>
                    <a:pt x="150367" y="286266"/>
                    <a:pt x="140195" y="286266"/>
                    <a:pt x="130301" y="288172"/>
                  </a:cubicBezTo>
                  <a:cubicBezTo>
                    <a:pt x="116906" y="290826"/>
                    <a:pt x="113672" y="291359"/>
                    <a:pt x="108319" y="304237"/>
                  </a:cubicBezTo>
                  <a:cubicBezTo>
                    <a:pt x="103918" y="314765"/>
                    <a:pt x="96637" y="334692"/>
                    <a:pt x="93847" y="343925"/>
                  </a:cubicBezTo>
                  <a:cubicBezTo>
                    <a:pt x="90549" y="344826"/>
                    <a:pt x="87023" y="343797"/>
                    <a:pt x="84727" y="341270"/>
                  </a:cubicBezTo>
                  <a:cubicBezTo>
                    <a:pt x="81530" y="336952"/>
                    <a:pt x="79374" y="326779"/>
                    <a:pt x="76190" y="327313"/>
                  </a:cubicBezTo>
                  <a:cubicBezTo>
                    <a:pt x="71662" y="327935"/>
                    <a:pt x="67286" y="329383"/>
                    <a:pt x="63291" y="331593"/>
                  </a:cubicBezTo>
                  <a:cubicBezTo>
                    <a:pt x="60639" y="333752"/>
                    <a:pt x="59561" y="333206"/>
                    <a:pt x="60094" y="336940"/>
                  </a:cubicBezTo>
                  <a:cubicBezTo>
                    <a:pt x="60373" y="338883"/>
                    <a:pt x="60957" y="340635"/>
                    <a:pt x="61045" y="342350"/>
                  </a:cubicBezTo>
                  <a:cubicBezTo>
                    <a:pt x="58394" y="339187"/>
                    <a:pt x="52281" y="333028"/>
                    <a:pt x="53131" y="329967"/>
                  </a:cubicBezTo>
                  <a:cubicBezTo>
                    <a:pt x="54209" y="326233"/>
                    <a:pt x="61172" y="331593"/>
                    <a:pt x="56859" y="323541"/>
                  </a:cubicBezTo>
                  <a:cubicBezTo>
                    <a:pt x="52598" y="315527"/>
                    <a:pt x="53676" y="314994"/>
                    <a:pt x="46712" y="317648"/>
                  </a:cubicBezTo>
                  <a:cubicBezTo>
                    <a:pt x="39736" y="320341"/>
                    <a:pt x="36502" y="321953"/>
                    <a:pt x="30616" y="316556"/>
                  </a:cubicBezTo>
                  <a:cubicBezTo>
                    <a:pt x="24731" y="311209"/>
                    <a:pt x="17767" y="306929"/>
                    <a:pt x="20469" y="301037"/>
                  </a:cubicBezTo>
                  <a:cubicBezTo>
                    <a:pt x="23107" y="295144"/>
                    <a:pt x="19923" y="293518"/>
                    <a:pt x="15649" y="290280"/>
                  </a:cubicBezTo>
                  <a:cubicBezTo>
                    <a:pt x="11336" y="287092"/>
                    <a:pt x="7074" y="288172"/>
                    <a:pt x="4918" y="279574"/>
                  </a:cubicBezTo>
                  <a:cubicBezTo>
                    <a:pt x="1379" y="270747"/>
                    <a:pt x="-295" y="261273"/>
                    <a:pt x="9" y="251761"/>
                  </a:cubicBezTo>
                  <a:cubicBezTo>
                    <a:pt x="2711" y="252078"/>
                    <a:pt x="5425" y="252231"/>
                    <a:pt x="8152" y="252218"/>
                  </a:cubicBezTo>
                  <a:cubicBezTo>
                    <a:pt x="21788" y="247316"/>
                    <a:pt x="36007" y="244255"/>
                    <a:pt x="50441" y="243074"/>
                  </a:cubicBezTo>
                  <a:cubicBezTo>
                    <a:pt x="61388" y="242883"/>
                    <a:pt x="72309" y="241994"/>
                    <a:pt x="83154" y="240419"/>
                  </a:cubicBezTo>
                  <a:cubicBezTo>
                    <a:pt x="93314" y="240419"/>
                    <a:pt x="93847" y="243074"/>
                    <a:pt x="99199" y="235568"/>
                  </a:cubicBezTo>
                  <a:cubicBezTo>
                    <a:pt x="106493" y="226196"/>
                    <a:pt x="111287" y="215121"/>
                    <a:pt x="113127" y="203386"/>
                  </a:cubicBezTo>
                  <a:cubicBezTo>
                    <a:pt x="113621" y="193087"/>
                    <a:pt x="112315" y="139759"/>
                    <a:pt x="112099" y="130996"/>
                  </a:cubicBezTo>
                  <a:cubicBezTo>
                    <a:pt x="116006" y="130323"/>
                    <a:pt x="119735" y="129510"/>
                    <a:pt x="122792" y="128837"/>
                  </a:cubicBezTo>
                  <a:cubicBezTo>
                    <a:pt x="132407" y="126716"/>
                    <a:pt x="190285" y="97748"/>
                    <a:pt x="194559" y="95589"/>
                  </a:cubicBezTo>
                  <a:cubicBezTo>
                    <a:pt x="198834" y="93468"/>
                    <a:pt x="260986" y="43023"/>
                    <a:pt x="260986" y="43023"/>
                  </a:cubicBezTo>
                  <a:cubicBezTo>
                    <a:pt x="260986" y="43023"/>
                    <a:pt x="300624" y="14055"/>
                    <a:pt x="309199" y="6536"/>
                  </a:cubicBezTo>
                  <a:cubicBezTo>
                    <a:pt x="315896" y="1583"/>
                    <a:pt x="324230" y="-588"/>
                    <a:pt x="332487" y="466"/>
                  </a:cubicBezTo>
                  <a:cubicBezTo>
                    <a:pt x="334593" y="377"/>
                    <a:pt x="336838" y="288"/>
                    <a:pt x="339222" y="97"/>
                  </a:cubicBezTo>
                  <a:cubicBezTo>
                    <a:pt x="352071" y="-931"/>
                    <a:pt x="358502" y="6536"/>
                    <a:pt x="374548" y="10854"/>
                  </a:cubicBezTo>
                  <a:cubicBezTo>
                    <a:pt x="383833" y="13128"/>
                    <a:pt x="391887" y="18868"/>
                    <a:pt x="397062" y="26920"/>
                  </a:cubicBezTo>
                  <a:lnTo>
                    <a:pt x="419171" y="13864"/>
                  </a:lnTo>
                  <a:cubicBezTo>
                    <a:pt x="434075" y="43862"/>
                    <a:pt x="441216" y="77136"/>
                    <a:pt x="439935" y="110613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5" name="Vrije vorm 244">
              <a:extLst>
                <a:ext uri="{FF2B5EF4-FFF2-40B4-BE49-F238E27FC236}">
                  <a16:creationId xmlns:a16="http://schemas.microsoft.com/office/drawing/2014/main" id="{6071A0F0-9EF8-DC4D-B9D9-2E0E6F20F05D}"/>
                </a:ext>
              </a:extLst>
            </p:cNvPr>
            <p:cNvSpPr/>
            <p:nvPr/>
          </p:nvSpPr>
          <p:spPr>
            <a:xfrm>
              <a:off x="5143234" y="3662447"/>
              <a:ext cx="467485" cy="444731"/>
            </a:xfrm>
            <a:custGeom>
              <a:avLst/>
              <a:gdLst>
                <a:gd name="connsiteX0" fmla="*/ 467348 w 467485"/>
                <a:gd name="connsiteY0" fmla="*/ 256582 h 444731"/>
                <a:gd name="connsiteX1" fmla="*/ 453421 w 467485"/>
                <a:gd name="connsiteY1" fmla="*/ 288751 h 444731"/>
                <a:gd name="connsiteX2" fmla="*/ 437375 w 467485"/>
                <a:gd name="connsiteY2" fmla="*/ 293615 h 444731"/>
                <a:gd name="connsiteX3" fmla="*/ 404663 w 467485"/>
                <a:gd name="connsiteY3" fmla="*/ 296270 h 444731"/>
                <a:gd name="connsiteX4" fmla="*/ 362373 w 467485"/>
                <a:gd name="connsiteY4" fmla="*/ 305401 h 444731"/>
                <a:gd name="connsiteX5" fmla="*/ 354230 w 467485"/>
                <a:gd name="connsiteY5" fmla="*/ 304944 h 444731"/>
                <a:gd name="connsiteX6" fmla="*/ 347356 w 467485"/>
                <a:gd name="connsiteY6" fmla="*/ 303775 h 444731"/>
                <a:gd name="connsiteX7" fmla="*/ 332350 w 467485"/>
                <a:gd name="connsiteY7" fmla="*/ 302162 h 444731"/>
                <a:gd name="connsiteX8" fmla="*/ 309836 w 467485"/>
                <a:gd name="connsiteY8" fmla="*/ 314532 h 444731"/>
                <a:gd name="connsiteX9" fmla="*/ 293258 w 467485"/>
                <a:gd name="connsiteY9" fmla="*/ 319346 h 444731"/>
                <a:gd name="connsiteX10" fmla="*/ 287372 w 467485"/>
                <a:gd name="connsiteY10" fmla="*/ 329023 h 444731"/>
                <a:gd name="connsiteX11" fmla="*/ 274510 w 467485"/>
                <a:gd name="connsiteY11" fmla="*/ 329518 h 444731"/>
                <a:gd name="connsiteX12" fmla="*/ 263767 w 467485"/>
                <a:gd name="connsiteY12" fmla="*/ 342434 h 444731"/>
                <a:gd name="connsiteX13" fmla="*/ 256803 w 467485"/>
                <a:gd name="connsiteY13" fmla="*/ 342929 h 444731"/>
                <a:gd name="connsiteX14" fmla="*/ 251996 w 467485"/>
                <a:gd name="connsiteY14" fmla="*/ 356341 h 444731"/>
                <a:gd name="connsiteX15" fmla="*/ 236991 w 467485"/>
                <a:gd name="connsiteY15" fmla="*/ 348860 h 444731"/>
                <a:gd name="connsiteX16" fmla="*/ 226298 w 467485"/>
                <a:gd name="connsiteY16" fmla="*/ 356341 h 444731"/>
                <a:gd name="connsiteX17" fmla="*/ 220945 w 467485"/>
                <a:gd name="connsiteY17" fmla="*/ 371898 h 444731"/>
                <a:gd name="connsiteX18" fmla="*/ 215554 w 467485"/>
                <a:gd name="connsiteY18" fmla="*/ 386389 h 444731"/>
                <a:gd name="connsiteX19" fmla="*/ 199509 w 467485"/>
                <a:gd name="connsiteY19" fmla="*/ 393361 h 444731"/>
                <a:gd name="connsiteX20" fmla="*/ 198976 w 467485"/>
                <a:gd name="connsiteY20" fmla="*/ 408931 h 444731"/>
                <a:gd name="connsiteX21" fmla="*/ 192545 w 467485"/>
                <a:gd name="connsiteY21" fmla="*/ 422889 h 444731"/>
                <a:gd name="connsiteX22" fmla="*/ 189628 w 467485"/>
                <a:gd name="connsiteY22" fmla="*/ 439272 h 444731"/>
                <a:gd name="connsiteX23" fmla="*/ 178072 w 467485"/>
                <a:gd name="connsiteY23" fmla="*/ 438408 h 444731"/>
                <a:gd name="connsiteX24" fmla="*/ 168952 w 467485"/>
                <a:gd name="connsiteY24" fmla="*/ 440567 h 444731"/>
                <a:gd name="connsiteX25" fmla="*/ 166302 w 467485"/>
                <a:gd name="connsiteY25" fmla="*/ 428781 h 444731"/>
                <a:gd name="connsiteX26" fmla="*/ 155025 w 467485"/>
                <a:gd name="connsiteY26" fmla="*/ 435754 h 444731"/>
                <a:gd name="connsiteX27" fmla="*/ 146489 w 467485"/>
                <a:gd name="connsiteY27" fmla="*/ 444301 h 444731"/>
                <a:gd name="connsiteX28" fmla="*/ 133627 w 467485"/>
                <a:gd name="connsiteY28" fmla="*/ 438408 h 444731"/>
                <a:gd name="connsiteX29" fmla="*/ 121539 w 467485"/>
                <a:gd name="connsiteY29" fmla="*/ 440656 h 444731"/>
                <a:gd name="connsiteX30" fmla="*/ 121501 w 467485"/>
                <a:gd name="connsiteY30" fmla="*/ 440707 h 444731"/>
                <a:gd name="connsiteX31" fmla="*/ 113269 w 467485"/>
                <a:gd name="connsiteY31" fmla="*/ 437328 h 444731"/>
                <a:gd name="connsiteX32" fmla="*/ 111113 w 467485"/>
                <a:gd name="connsiteY32" fmla="*/ 423917 h 444731"/>
                <a:gd name="connsiteX33" fmla="*/ 104694 w 467485"/>
                <a:gd name="connsiteY33" fmla="*/ 420730 h 444731"/>
                <a:gd name="connsiteX34" fmla="*/ 103071 w 467485"/>
                <a:gd name="connsiteY34" fmla="*/ 415916 h 444731"/>
                <a:gd name="connsiteX35" fmla="*/ 107878 w 467485"/>
                <a:gd name="connsiteY35" fmla="*/ 408944 h 444731"/>
                <a:gd name="connsiteX36" fmla="*/ 97718 w 467485"/>
                <a:gd name="connsiteY36" fmla="*/ 400346 h 444731"/>
                <a:gd name="connsiteX37" fmla="*/ 94484 w 467485"/>
                <a:gd name="connsiteY37" fmla="*/ 388014 h 444731"/>
                <a:gd name="connsiteX38" fmla="*/ 84336 w 467485"/>
                <a:gd name="connsiteY38" fmla="*/ 376724 h 444731"/>
                <a:gd name="connsiteX39" fmla="*/ 78438 w 467485"/>
                <a:gd name="connsiteY39" fmla="*/ 385855 h 444731"/>
                <a:gd name="connsiteX40" fmla="*/ 67707 w 467485"/>
                <a:gd name="connsiteY40" fmla="*/ 389094 h 444731"/>
                <a:gd name="connsiteX41" fmla="*/ 53273 w 467485"/>
                <a:gd name="connsiteY41" fmla="*/ 388014 h 444731"/>
                <a:gd name="connsiteX42" fmla="*/ 42542 w 467485"/>
                <a:gd name="connsiteY42" fmla="*/ 395533 h 444731"/>
                <a:gd name="connsiteX43" fmla="*/ 36656 w 467485"/>
                <a:gd name="connsiteY43" fmla="*/ 387481 h 444731"/>
                <a:gd name="connsiteX44" fmla="*/ 25951 w 467485"/>
                <a:gd name="connsiteY44" fmla="*/ 391215 h 444731"/>
                <a:gd name="connsiteX45" fmla="*/ 22184 w 467485"/>
                <a:gd name="connsiteY45" fmla="*/ 382122 h 444731"/>
                <a:gd name="connsiteX46" fmla="*/ 23211 w 467485"/>
                <a:gd name="connsiteY46" fmla="*/ 379963 h 444731"/>
                <a:gd name="connsiteX47" fmla="*/ 23795 w 467485"/>
                <a:gd name="connsiteY47" fmla="*/ 366018 h 444731"/>
                <a:gd name="connsiteX48" fmla="*/ 15753 w 467485"/>
                <a:gd name="connsiteY48" fmla="*/ 350981 h 444731"/>
                <a:gd name="connsiteX49" fmla="*/ 5593 w 467485"/>
                <a:gd name="connsiteY49" fmla="*/ 340275 h 444731"/>
                <a:gd name="connsiteX50" fmla="*/ -26 w 467485"/>
                <a:gd name="connsiteY50" fmla="*/ 312424 h 444731"/>
                <a:gd name="connsiteX51" fmla="*/ 9867 w 467485"/>
                <a:gd name="connsiteY51" fmla="*/ 309135 h 444731"/>
                <a:gd name="connsiteX52" fmla="*/ 13051 w 467485"/>
                <a:gd name="connsiteY52" fmla="*/ 294695 h 444731"/>
                <a:gd name="connsiteX53" fmla="*/ 21106 w 467485"/>
                <a:gd name="connsiteY53" fmla="*/ 286643 h 444731"/>
                <a:gd name="connsiteX54" fmla="*/ 33409 w 467485"/>
                <a:gd name="connsiteY54" fmla="*/ 296803 h 444731"/>
                <a:gd name="connsiteX55" fmla="*/ 38267 w 467485"/>
                <a:gd name="connsiteY55" fmla="*/ 302708 h 444731"/>
                <a:gd name="connsiteX56" fmla="*/ 47882 w 467485"/>
                <a:gd name="connsiteY56" fmla="*/ 293615 h 444731"/>
                <a:gd name="connsiteX57" fmla="*/ 73098 w 467485"/>
                <a:gd name="connsiteY57" fmla="*/ 292536 h 444731"/>
                <a:gd name="connsiteX58" fmla="*/ 80556 w 467485"/>
                <a:gd name="connsiteY58" fmla="*/ 285564 h 444731"/>
                <a:gd name="connsiteX59" fmla="*/ 92911 w 467485"/>
                <a:gd name="connsiteY59" fmla="*/ 292536 h 444731"/>
                <a:gd name="connsiteX60" fmla="*/ 173265 w 467485"/>
                <a:gd name="connsiteY60" fmla="*/ 291456 h 444731"/>
                <a:gd name="connsiteX61" fmla="*/ 191467 w 467485"/>
                <a:gd name="connsiteY61" fmla="*/ 289831 h 444731"/>
                <a:gd name="connsiteX62" fmla="*/ 186660 w 467485"/>
                <a:gd name="connsiteY62" fmla="*/ 207763 h 444731"/>
                <a:gd name="connsiteX63" fmla="*/ 166847 w 467485"/>
                <a:gd name="connsiteY63" fmla="*/ 103738 h 444731"/>
                <a:gd name="connsiteX64" fmla="*/ 167925 w 467485"/>
                <a:gd name="connsiteY64" fmla="*/ 19499 h 444731"/>
                <a:gd name="connsiteX65" fmla="*/ 203200 w 467485"/>
                <a:gd name="connsiteY65" fmla="*/ 690 h 444731"/>
                <a:gd name="connsiteX66" fmla="*/ 355943 w 467485"/>
                <a:gd name="connsiteY66" fmla="*/ 110164 h 444731"/>
                <a:gd name="connsiteX67" fmla="*/ 382732 w 467485"/>
                <a:gd name="connsiteY67" fmla="*/ 134827 h 444731"/>
                <a:gd name="connsiteX68" fmla="*/ 397699 w 467485"/>
                <a:gd name="connsiteY68" fmla="*/ 150931 h 444731"/>
                <a:gd name="connsiteX69" fmla="*/ 412705 w 467485"/>
                <a:gd name="connsiteY69" fmla="*/ 152010 h 444731"/>
                <a:gd name="connsiteX70" fmla="*/ 427723 w 467485"/>
                <a:gd name="connsiteY70" fmla="*/ 160557 h 444731"/>
                <a:gd name="connsiteX71" fmla="*/ 436310 w 467485"/>
                <a:gd name="connsiteY71" fmla="*/ 174515 h 444731"/>
                <a:gd name="connsiteX72" fmla="*/ 443806 w 467485"/>
                <a:gd name="connsiteY72" fmla="*/ 185259 h 444731"/>
                <a:gd name="connsiteX73" fmla="*/ 466320 w 467485"/>
                <a:gd name="connsiteY73" fmla="*/ 184179 h 444731"/>
                <a:gd name="connsiteX74" fmla="*/ 467348 w 467485"/>
                <a:gd name="connsiteY74" fmla="*/ 256582 h 44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467485" h="444731">
                  <a:moveTo>
                    <a:pt x="467348" y="256582"/>
                  </a:moveTo>
                  <a:cubicBezTo>
                    <a:pt x="465509" y="268317"/>
                    <a:pt x="460714" y="279379"/>
                    <a:pt x="453421" y="288751"/>
                  </a:cubicBezTo>
                  <a:cubicBezTo>
                    <a:pt x="448068" y="296270"/>
                    <a:pt x="447535" y="293615"/>
                    <a:pt x="437375" y="293615"/>
                  </a:cubicBezTo>
                  <a:cubicBezTo>
                    <a:pt x="426543" y="295177"/>
                    <a:pt x="415609" y="296066"/>
                    <a:pt x="404663" y="296270"/>
                  </a:cubicBezTo>
                  <a:cubicBezTo>
                    <a:pt x="390228" y="297438"/>
                    <a:pt x="376009" y="300511"/>
                    <a:pt x="362373" y="305401"/>
                  </a:cubicBezTo>
                  <a:cubicBezTo>
                    <a:pt x="359646" y="305414"/>
                    <a:pt x="356932" y="305261"/>
                    <a:pt x="354230" y="304944"/>
                  </a:cubicBezTo>
                  <a:cubicBezTo>
                    <a:pt x="351896" y="304677"/>
                    <a:pt x="349651" y="304271"/>
                    <a:pt x="347356" y="303775"/>
                  </a:cubicBezTo>
                  <a:cubicBezTo>
                    <a:pt x="342396" y="302962"/>
                    <a:pt x="337386" y="302429"/>
                    <a:pt x="332350" y="302162"/>
                  </a:cubicBezTo>
                  <a:cubicBezTo>
                    <a:pt x="322735" y="301121"/>
                    <a:pt x="319501" y="309681"/>
                    <a:pt x="309836" y="314532"/>
                  </a:cubicBezTo>
                  <a:cubicBezTo>
                    <a:pt x="300221" y="319346"/>
                    <a:pt x="302378" y="316653"/>
                    <a:pt x="293258" y="319346"/>
                  </a:cubicBezTo>
                  <a:cubicBezTo>
                    <a:pt x="284137" y="322051"/>
                    <a:pt x="294336" y="322546"/>
                    <a:pt x="287372" y="329023"/>
                  </a:cubicBezTo>
                  <a:cubicBezTo>
                    <a:pt x="280396" y="335462"/>
                    <a:pt x="283592" y="326318"/>
                    <a:pt x="274510" y="329518"/>
                  </a:cubicBezTo>
                  <a:cubicBezTo>
                    <a:pt x="265390" y="332757"/>
                    <a:pt x="270743" y="333303"/>
                    <a:pt x="263767" y="342434"/>
                  </a:cubicBezTo>
                  <a:cubicBezTo>
                    <a:pt x="256803" y="351515"/>
                    <a:pt x="260583" y="340808"/>
                    <a:pt x="256803" y="342929"/>
                  </a:cubicBezTo>
                  <a:cubicBezTo>
                    <a:pt x="253074" y="345088"/>
                    <a:pt x="258960" y="353140"/>
                    <a:pt x="251996" y="356341"/>
                  </a:cubicBezTo>
                  <a:cubicBezTo>
                    <a:pt x="245032" y="359579"/>
                    <a:pt x="243421" y="349902"/>
                    <a:pt x="236991" y="348860"/>
                  </a:cubicBezTo>
                  <a:cubicBezTo>
                    <a:pt x="230559" y="347781"/>
                    <a:pt x="232183" y="349902"/>
                    <a:pt x="226298" y="356341"/>
                  </a:cubicBezTo>
                  <a:cubicBezTo>
                    <a:pt x="220399" y="362767"/>
                    <a:pt x="224141" y="367085"/>
                    <a:pt x="220945" y="371898"/>
                  </a:cubicBezTo>
                  <a:cubicBezTo>
                    <a:pt x="217710" y="376724"/>
                    <a:pt x="219867" y="379963"/>
                    <a:pt x="215554" y="386389"/>
                  </a:cubicBezTo>
                  <a:cubicBezTo>
                    <a:pt x="211280" y="392828"/>
                    <a:pt x="208096" y="388014"/>
                    <a:pt x="199509" y="393361"/>
                  </a:cubicBezTo>
                  <a:cubicBezTo>
                    <a:pt x="190921" y="398721"/>
                    <a:pt x="198976" y="398721"/>
                    <a:pt x="198976" y="408931"/>
                  </a:cubicBezTo>
                  <a:cubicBezTo>
                    <a:pt x="198976" y="419104"/>
                    <a:pt x="196274" y="412132"/>
                    <a:pt x="192545" y="422889"/>
                  </a:cubicBezTo>
                  <a:cubicBezTo>
                    <a:pt x="190566" y="428121"/>
                    <a:pt x="189577" y="433671"/>
                    <a:pt x="189628" y="439272"/>
                  </a:cubicBezTo>
                  <a:cubicBezTo>
                    <a:pt x="184820" y="436744"/>
                    <a:pt x="182258" y="435170"/>
                    <a:pt x="178072" y="438408"/>
                  </a:cubicBezTo>
                  <a:cubicBezTo>
                    <a:pt x="173265" y="442193"/>
                    <a:pt x="168952" y="448619"/>
                    <a:pt x="168952" y="440567"/>
                  </a:cubicBezTo>
                  <a:cubicBezTo>
                    <a:pt x="168952" y="432515"/>
                    <a:pt x="173810" y="428235"/>
                    <a:pt x="166302" y="428781"/>
                  </a:cubicBezTo>
                  <a:cubicBezTo>
                    <a:pt x="161418" y="428375"/>
                    <a:pt x="156852" y="431207"/>
                    <a:pt x="155025" y="435754"/>
                  </a:cubicBezTo>
                  <a:cubicBezTo>
                    <a:pt x="152374" y="440034"/>
                    <a:pt x="153453" y="446460"/>
                    <a:pt x="146489" y="444301"/>
                  </a:cubicBezTo>
                  <a:cubicBezTo>
                    <a:pt x="139513" y="442193"/>
                    <a:pt x="141631" y="439487"/>
                    <a:pt x="133627" y="438408"/>
                  </a:cubicBezTo>
                  <a:cubicBezTo>
                    <a:pt x="129466" y="437519"/>
                    <a:pt x="125116" y="438332"/>
                    <a:pt x="121539" y="440656"/>
                  </a:cubicBezTo>
                  <a:lnTo>
                    <a:pt x="121501" y="440707"/>
                  </a:lnTo>
                  <a:cubicBezTo>
                    <a:pt x="120778" y="440935"/>
                    <a:pt x="114753" y="442917"/>
                    <a:pt x="113269" y="437328"/>
                  </a:cubicBezTo>
                  <a:cubicBezTo>
                    <a:pt x="112330" y="432896"/>
                    <a:pt x="111607" y="428426"/>
                    <a:pt x="111113" y="423917"/>
                  </a:cubicBezTo>
                  <a:cubicBezTo>
                    <a:pt x="110035" y="418571"/>
                    <a:pt x="109502" y="420183"/>
                    <a:pt x="104694" y="420730"/>
                  </a:cubicBezTo>
                  <a:cubicBezTo>
                    <a:pt x="99887" y="421263"/>
                    <a:pt x="100915" y="420183"/>
                    <a:pt x="103071" y="415916"/>
                  </a:cubicBezTo>
                  <a:cubicBezTo>
                    <a:pt x="105227" y="411598"/>
                    <a:pt x="110580" y="414291"/>
                    <a:pt x="107878" y="408944"/>
                  </a:cubicBezTo>
                  <a:cubicBezTo>
                    <a:pt x="105227" y="403534"/>
                    <a:pt x="99342" y="405159"/>
                    <a:pt x="97718" y="400346"/>
                  </a:cubicBezTo>
                  <a:cubicBezTo>
                    <a:pt x="96107" y="395533"/>
                    <a:pt x="98809" y="395533"/>
                    <a:pt x="94484" y="388014"/>
                  </a:cubicBezTo>
                  <a:cubicBezTo>
                    <a:pt x="90222" y="380496"/>
                    <a:pt x="88066" y="376229"/>
                    <a:pt x="84336" y="376724"/>
                  </a:cubicBezTo>
                  <a:cubicBezTo>
                    <a:pt x="80556" y="377258"/>
                    <a:pt x="83791" y="383150"/>
                    <a:pt x="78438" y="385855"/>
                  </a:cubicBezTo>
                  <a:cubicBezTo>
                    <a:pt x="73098" y="388548"/>
                    <a:pt x="77905" y="389094"/>
                    <a:pt x="67707" y="389094"/>
                  </a:cubicBezTo>
                  <a:cubicBezTo>
                    <a:pt x="57547" y="389094"/>
                    <a:pt x="60744" y="383150"/>
                    <a:pt x="53273" y="388014"/>
                  </a:cubicBezTo>
                  <a:cubicBezTo>
                    <a:pt x="45776" y="392828"/>
                    <a:pt x="45776" y="399800"/>
                    <a:pt x="42542" y="395533"/>
                  </a:cubicBezTo>
                  <a:cubicBezTo>
                    <a:pt x="39346" y="391215"/>
                    <a:pt x="44698" y="386402"/>
                    <a:pt x="36656" y="387481"/>
                  </a:cubicBezTo>
                  <a:cubicBezTo>
                    <a:pt x="28602" y="388561"/>
                    <a:pt x="29680" y="396066"/>
                    <a:pt x="25951" y="391215"/>
                  </a:cubicBezTo>
                  <a:cubicBezTo>
                    <a:pt x="23579" y="388776"/>
                    <a:pt x="22222" y="385525"/>
                    <a:pt x="22184" y="382122"/>
                  </a:cubicBezTo>
                  <a:cubicBezTo>
                    <a:pt x="22400" y="381347"/>
                    <a:pt x="22742" y="380610"/>
                    <a:pt x="23211" y="379963"/>
                  </a:cubicBezTo>
                  <a:cubicBezTo>
                    <a:pt x="25634" y="375670"/>
                    <a:pt x="25850" y="370488"/>
                    <a:pt x="23795" y="366018"/>
                  </a:cubicBezTo>
                  <a:cubicBezTo>
                    <a:pt x="20027" y="355299"/>
                    <a:pt x="20560" y="350981"/>
                    <a:pt x="15753" y="350981"/>
                  </a:cubicBezTo>
                  <a:cubicBezTo>
                    <a:pt x="10946" y="350981"/>
                    <a:pt x="7711" y="356874"/>
                    <a:pt x="5593" y="340275"/>
                  </a:cubicBezTo>
                  <a:cubicBezTo>
                    <a:pt x="5047" y="330776"/>
                    <a:pt x="3145" y="321403"/>
                    <a:pt x="-26" y="312424"/>
                  </a:cubicBezTo>
                  <a:cubicBezTo>
                    <a:pt x="1192" y="313097"/>
                    <a:pt x="5733" y="315129"/>
                    <a:pt x="9867" y="309135"/>
                  </a:cubicBezTo>
                  <a:cubicBezTo>
                    <a:pt x="14675" y="302162"/>
                    <a:pt x="10400" y="302162"/>
                    <a:pt x="13051" y="294695"/>
                  </a:cubicBezTo>
                  <a:cubicBezTo>
                    <a:pt x="15753" y="287176"/>
                    <a:pt x="14129" y="285017"/>
                    <a:pt x="21106" y="286643"/>
                  </a:cubicBezTo>
                  <a:cubicBezTo>
                    <a:pt x="26332" y="288358"/>
                    <a:pt x="30733" y="291990"/>
                    <a:pt x="33409" y="296803"/>
                  </a:cubicBezTo>
                  <a:cubicBezTo>
                    <a:pt x="36111" y="300054"/>
                    <a:pt x="32382" y="309681"/>
                    <a:pt x="38267" y="302708"/>
                  </a:cubicBezTo>
                  <a:cubicBezTo>
                    <a:pt x="44153" y="295724"/>
                    <a:pt x="28069" y="294695"/>
                    <a:pt x="47882" y="293615"/>
                  </a:cubicBezTo>
                  <a:cubicBezTo>
                    <a:pt x="67707" y="292536"/>
                    <a:pt x="65056" y="294695"/>
                    <a:pt x="73098" y="292536"/>
                  </a:cubicBezTo>
                  <a:cubicBezTo>
                    <a:pt x="81102" y="290377"/>
                    <a:pt x="76282" y="286643"/>
                    <a:pt x="80556" y="285564"/>
                  </a:cubicBezTo>
                  <a:cubicBezTo>
                    <a:pt x="84869" y="284484"/>
                    <a:pt x="83258" y="292536"/>
                    <a:pt x="92911" y="292536"/>
                  </a:cubicBezTo>
                  <a:cubicBezTo>
                    <a:pt x="102525" y="292536"/>
                    <a:pt x="165629" y="292180"/>
                    <a:pt x="173265" y="291456"/>
                  </a:cubicBezTo>
                  <a:cubicBezTo>
                    <a:pt x="179151" y="290910"/>
                    <a:pt x="190528" y="292040"/>
                    <a:pt x="191467" y="289831"/>
                  </a:cubicBezTo>
                  <a:cubicBezTo>
                    <a:pt x="198114" y="274362"/>
                    <a:pt x="188994" y="219511"/>
                    <a:pt x="186660" y="207763"/>
                  </a:cubicBezTo>
                  <a:cubicBezTo>
                    <a:pt x="183958" y="194352"/>
                    <a:pt x="167925" y="121416"/>
                    <a:pt x="166847" y="103738"/>
                  </a:cubicBezTo>
                  <a:cubicBezTo>
                    <a:pt x="165769" y="86046"/>
                    <a:pt x="153985" y="40428"/>
                    <a:pt x="167925" y="19499"/>
                  </a:cubicBezTo>
                  <a:cubicBezTo>
                    <a:pt x="181802" y="-1418"/>
                    <a:pt x="180736" y="-923"/>
                    <a:pt x="203200" y="690"/>
                  </a:cubicBezTo>
                  <a:cubicBezTo>
                    <a:pt x="272544" y="49102"/>
                    <a:pt x="352264" y="106303"/>
                    <a:pt x="355943" y="110164"/>
                  </a:cubicBezTo>
                  <a:cubicBezTo>
                    <a:pt x="362729" y="117327"/>
                    <a:pt x="376669" y="129201"/>
                    <a:pt x="382732" y="134827"/>
                  </a:cubicBezTo>
                  <a:cubicBezTo>
                    <a:pt x="388173" y="139907"/>
                    <a:pt x="395086" y="141253"/>
                    <a:pt x="397699" y="150931"/>
                  </a:cubicBezTo>
                  <a:cubicBezTo>
                    <a:pt x="399766" y="158398"/>
                    <a:pt x="406286" y="148772"/>
                    <a:pt x="412705" y="152010"/>
                  </a:cubicBezTo>
                  <a:cubicBezTo>
                    <a:pt x="419135" y="155211"/>
                    <a:pt x="417017" y="158449"/>
                    <a:pt x="427723" y="160557"/>
                  </a:cubicBezTo>
                  <a:cubicBezTo>
                    <a:pt x="438416" y="162716"/>
                    <a:pt x="435219" y="163796"/>
                    <a:pt x="436310" y="174515"/>
                  </a:cubicBezTo>
                  <a:cubicBezTo>
                    <a:pt x="437388" y="185259"/>
                    <a:pt x="436310" y="183100"/>
                    <a:pt x="443806" y="185259"/>
                  </a:cubicBezTo>
                  <a:cubicBezTo>
                    <a:pt x="451315" y="186313"/>
                    <a:pt x="458951" y="185945"/>
                    <a:pt x="466320" y="184179"/>
                  </a:cubicBezTo>
                  <a:cubicBezTo>
                    <a:pt x="466549" y="192955"/>
                    <a:pt x="467843" y="246270"/>
                    <a:pt x="467348" y="256582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6" name="Vrije vorm 245">
              <a:extLst>
                <a:ext uri="{FF2B5EF4-FFF2-40B4-BE49-F238E27FC236}">
                  <a16:creationId xmlns:a16="http://schemas.microsoft.com/office/drawing/2014/main" id="{9521F996-F4A2-C94B-97F0-5B180FA01C35}"/>
                </a:ext>
              </a:extLst>
            </p:cNvPr>
            <p:cNvSpPr/>
            <p:nvPr/>
          </p:nvSpPr>
          <p:spPr>
            <a:xfrm>
              <a:off x="5489499" y="4080648"/>
              <a:ext cx="50672" cy="143408"/>
            </a:xfrm>
            <a:custGeom>
              <a:avLst/>
              <a:gdLst>
                <a:gd name="connsiteX0" fmla="*/ 50534 w 50672"/>
                <a:gd name="connsiteY0" fmla="*/ 138507 h 143408"/>
                <a:gd name="connsiteX1" fmla="*/ 34259 w 50672"/>
                <a:gd name="connsiteY1" fmla="*/ 143409 h 143408"/>
                <a:gd name="connsiteX2" fmla="*/ 34222 w 50672"/>
                <a:gd name="connsiteY2" fmla="*/ 143409 h 143408"/>
                <a:gd name="connsiteX3" fmla="*/ 17682 w 50672"/>
                <a:gd name="connsiteY3" fmla="*/ 126442 h 143408"/>
                <a:gd name="connsiteX4" fmla="*/ 17682 w 50672"/>
                <a:gd name="connsiteY4" fmla="*/ 108713 h 143408"/>
                <a:gd name="connsiteX5" fmla="*/ 15030 w 50672"/>
                <a:gd name="connsiteY5" fmla="*/ 99087 h 143408"/>
                <a:gd name="connsiteX6" fmla="*/ 18214 w 50672"/>
                <a:gd name="connsiteY6" fmla="*/ 77077 h 143408"/>
                <a:gd name="connsiteX7" fmla="*/ 13407 w 50672"/>
                <a:gd name="connsiteY7" fmla="*/ 62599 h 143408"/>
                <a:gd name="connsiteX8" fmla="*/ 12328 w 50672"/>
                <a:gd name="connsiteY8" fmla="*/ 48642 h 143408"/>
                <a:gd name="connsiteX9" fmla="*/ 10718 w 50672"/>
                <a:gd name="connsiteY9" fmla="*/ 26646 h 143408"/>
                <a:gd name="connsiteX10" fmla="*/ 3259 w 50672"/>
                <a:gd name="connsiteY10" fmla="*/ 16473 h 143408"/>
                <a:gd name="connsiteX11" fmla="*/ 12 w 50672"/>
                <a:gd name="connsiteY11" fmla="*/ 1 h 143408"/>
                <a:gd name="connsiteX12" fmla="*/ 5911 w 50672"/>
                <a:gd name="connsiteY12" fmla="*/ 369 h 143408"/>
                <a:gd name="connsiteX13" fmla="*/ 28869 w 50672"/>
                <a:gd name="connsiteY13" fmla="*/ 2122 h 143408"/>
                <a:gd name="connsiteX14" fmla="*/ 24645 w 50672"/>
                <a:gd name="connsiteY14" fmla="*/ 7875 h 143408"/>
                <a:gd name="connsiteX15" fmla="*/ 24100 w 50672"/>
                <a:gd name="connsiteY15" fmla="*/ 19661 h 143408"/>
                <a:gd name="connsiteX16" fmla="*/ 35376 w 50672"/>
                <a:gd name="connsiteY16" fmla="*/ 33072 h 143408"/>
                <a:gd name="connsiteX17" fmla="*/ 39651 w 50672"/>
                <a:gd name="connsiteY17" fmla="*/ 42749 h 143408"/>
                <a:gd name="connsiteX18" fmla="*/ 43963 w 50672"/>
                <a:gd name="connsiteY18" fmla="*/ 56160 h 143408"/>
                <a:gd name="connsiteX19" fmla="*/ 46068 w 50672"/>
                <a:gd name="connsiteY19" fmla="*/ 76544 h 143408"/>
                <a:gd name="connsiteX20" fmla="*/ 45536 w 50672"/>
                <a:gd name="connsiteY20" fmla="*/ 103900 h 143408"/>
                <a:gd name="connsiteX21" fmla="*/ 45536 w 50672"/>
                <a:gd name="connsiteY21" fmla="*/ 124283 h 143408"/>
                <a:gd name="connsiteX22" fmla="*/ 50394 w 50672"/>
                <a:gd name="connsiteY22" fmla="*/ 136069 h 143408"/>
                <a:gd name="connsiteX23" fmla="*/ 50534 w 50672"/>
                <a:gd name="connsiteY23" fmla="*/ 138507 h 143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0672" h="143408">
                  <a:moveTo>
                    <a:pt x="50534" y="138507"/>
                  </a:moveTo>
                  <a:cubicBezTo>
                    <a:pt x="45054" y="139942"/>
                    <a:pt x="39651" y="141606"/>
                    <a:pt x="34259" y="143409"/>
                  </a:cubicBezTo>
                  <a:lnTo>
                    <a:pt x="34222" y="143409"/>
                  </a:lnTo>
                  <a:cubicBezTo>
                    <a:pt x="28869" y="139091"/>
                    <a:pt x="17682" y="135078"/>
                    <a:pt x="17682" y="126442"/>
                  </a:cubicBezTo>
                  <a:lnTo>
                    <a:pt x="17682" y="108713"/>
                  </a:lnTo>
                  <a:cubicBezTo>
                    <a:pt x="17682" y="104979"/>
                    <a:pt x="11796" y="105525"/>
                    <a:pt x="15030" y="99087"/>
                  </a:cubicBezTo>
                  <a:cubicBezTo>
                    <a:pt x="18620" y="92343"/>
                    <a:pt x="19749" y="84558"/>
                    <a:pt x="18214" y="77077"/>
                  </a:cubicBezTo>
                  <a:cubicBezTo>
                    <a:pt x="17073" y="72112"/>
                    <a:pt x="15462" y="67260"/>
                    <a:pt x="13407" y="62599"/>
                  </a:cubicBezTo>
                  <a:cubicBezTo>
                    <a:pt x="12595" y="57989"/>
                    <a:pt x="12240" y="53316"/>
                    <a:pt x="12328" y="48642"/>
                  </a:cubicBezTo>
                  <a:cubicBezTo>
                    <a:pt x="12328" y="41124"/>
                    <a:pt x="11250" y="35231"/>
                    <a:pt x="10718" y="26646"/>
                  </a:cubicBezTo>
                  <a:cubicBezTo>
                    <a:pt x="10223" y="18086"/>
                    <a:pt x="6989" y="23991"/>
                    <a:pt x="3259" y="16473"/>
                  </a:cubicBezTo>
                  <a:cubicBezTo>
                    <a:pt x="862" y="11330"/>
                    <a:pt x="-254" y="5678"/>
                    <a:pt x="12" y="1"/>
                  </a:cubicBezTo>
                  <a:cubicBezTo>
                    <a:pt x="1966" y="331"/>
                    <a:pt x="3932" y="446"/>
                    <a:pt x="5911" y="369"/>
                  </a:cubicBezTo>
                  <a:cubicBezTo>
                    <a:pt x="13990" y="-126"/>
                    <a:pt x="21322" y="2706"/>
                    <a:pt x="28869" y="2122"/>
                  </a:cubicBezTo>
                  <a:cubicBezTo>
                    <a:pt x="26890" y="3544"/>
                    <a:pt x="25406" y="5564"/>
                    <a:pt x="24645" y="7875"/>
                  </a:cubicBezTo>
                  <a:cubicBezTo>
                    <a:pt x="23072" y="13234"/>
                    <a:pt x="20370" y="14847"/>
                    <a:pt x="24100" y="19661"/>
                  </a:cubicBezTo>
                  <a:cubicBezTo>
                    <a:pt x="27435" y="24474"/>
                    <a:pt x="31215" y="28957"/>
                    <a:pt x="35376" y="33072"/>
                  </a:cubicBezTo>
                  <a:cubicBezTo>
                    <a:pt x="38369" y="35345"/>
                    <a:pt x="39980" y="39003"/>
                    <a:pt x="39651" y="42749"/>
                  </a:cubicBezTo>
                  <a:cubicBezTo>
                    <a:pt x="39651" y="46483"/>
                    <a:pt x="42352" y="49188"/>
                    <a:pt x="43963" y="56160"/>
                  </a:cubicBezTo>
                  <a:cubicBezTo>
                    <a:pt x="45650" y="62815"/>
                    <a:pt x="46360" y="69673"/>
                    <a:pt x="46068" y="76544"/>
                  </a:cubicBezTo>
                  <a:cubicBezTo>
                    <a:pt x="45536" y="82437"/>
                    <a:pt x="45536" y="98007"/>
                    <a:pt x="45536" y="103900"/>
                  </a:cubicBezTo>
                  <a:cubicBezTo>
                    <a:pt x="44204" y="110631"/>
                    <a:pt x="44204" y="117552"/>
                    <a:pt x="45536" y="124283"/>
                  </a:cubicBezTo>
                  <a:cubicBezTo>
                    <a:pt x="48225" y="131256"/>
                    <a:pt x="48770" y="130709"/>
                    <a:pt x="50394" y="136069"/>
                  </a:cubicBezTo>
                  <a:cubicBezTo>
                    <a:pt x="50673" y="136844"/>
                    <a:pt x="50724" y="137694"/>
                    <a:pt x="50534" y="138507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7" name="Vrije vorm 246">
              <a:extLst>
                <a:ext uri="{FF2B5EF4-FFF2-40B4-BE49-F238E27FC236}">
                  <a16:creationId xmlns:a16="http://schemas.microsoft.com/office/drawing/2014/main" id="{28A9F00A-16FC-A741-BB31-86E41E402356}"/>
                </a:ext>
              </a:extLst>
            </p:cNvPr>
            <p:cNvSpPr/>
            <p:nvPr/>
          </p:nvSpPr>
          <p:spPr>
            <a:xfrm>
              <a:off x="5958167" y="5038573"/>
              <a:ext cx="466245" cy="402195"/>
            </a:xfrm>
            <a:custGeom>
              <a:avLst/>
              <a:gdLst>
                <a:gd name="connsiteX0" fmla="*/ 441523 w 466245"/>
                <a:gd name="connsiteY0" fmla="*/ 143624 h 402195"/>
                <a:gd name="connsiteX1" fmla="*/ 437794 w 466245"/>
                <a:gd name="connsiteY1" fmla="*/ 157035 h 402195"/>
                <a:gd name="connsiteX2" fmla="*/ 428129 w 466245"/>
                <a:gd name="connsiteY2" fmla="*/ 159194 h 402195"/>
                <a:gd name="connsiteX3" fmla="*/ 409381 w 466245"/>
                <a:gd name="connsiteY3" fmla="*/ 150596 h 402195"/>
                <a:gd name="connsiteX4" fmla="*/ 407225 w 466245"/>
                <a:gd name="connsiteY4" fmla="*/ 129679 h 402195"/>
                <a:gd name="connsiteX5" fmla="*/ 420619 w 466245"/>
                <a:gd name="connsiteY5" fmla="*/ 111455 h 402195"/>
                <a:gd name="connsiteX6" fmla="*/ 436170 w 466245"/>
                <a:gd name="connsiteY6" fmla="*/ 118961 h 402195"/>
                <a:gd name="connsiteX7" fmla="*/ 438999 w 466245"/>
                <a:gd name="connsiteY7" fmla="*/ 117398 h 402195"/>
                <a:gd name="connsiteX8" fmla="*/ 438289 w 466245"/>
                <a:gd name="connsiteY8" fmla="*/ 109296 h 402195"/>
                <a:gd name="connsiteX9" fmla="*/ 438822 w 466245"/>
                <a:gd name="connsiteY9" fmla="*/ 80861 h 402195"/>
                <a:gd name="connsiteX10" fmla="*/ 423854 w 466245"/>
                <a:gd name="connsiteY10" fmla="*/ 24028 h 402195"/>
                <a:gd name="connsiteX11" fmla="*/ 417017 w 466245"/>
                <a:gd name="connsiteY11" fmla="*/ 4864 h 402195"/>
                <a:gd name="connsiteX12" fmla="*/ 409914 w 466245"/>
                <a:gd name="connsiteY12" fmla="*/ 4178 h 402195"/>
                <a:gd name="connsiteX13" fmla="*/ 394376 w 466245"/>
                <a:gd name="connsiteY13" fmla="*/ 4178 h 402195"/>
                <a:gd name="connsiteX14" fmla="*/ 379358 w 466245"/>
                <a:gd name="connsiteY14" fmla="*/ 406 h 402195"/>
                <a:gd name="connsiteX15" fmla="*/ 360129 w 466245"/>
                <a:gd name="connsiteY15" fmla="*/ 940 h 402195"/>
                <a:gd name="connsiteX16" fmla="*/ 360078 w 466245"/>
                <a:gd name="connsiteY16" fmla="*/ 940 h 402195"/>
                <a:gd name="connsiteX17" fmla="*/ 352582 w 466245"/>
                <a:gd name="connsiteY17" fmla="*/ 5258 h 402195"/>
                <a:gd name="connsiteX18" fmla="*/ 338109 w 466245"/>
                <a:gd name="connsiteY18" fmla="*/ 13271 h 402195"/>
                <a:gd name="connsiteX19" fmla="*/ 325793 w 466245"/>
                <a:gd name="connsiteY19" fmla="*/ 25641 h 402195"/>
                <a:gd name="connsiteX20" fmla="*/ 312398 w 466245"/>
                <a:gd name="connsiteY20" fmla="*/ 33655 h 402195"/>
                <a:gd name="connsiteX21" fmla="*/ 302238 w 466245"/>
                <a:gd name="connsiteY21" fmla="*/ 40081 h 402195"/>
                <a:gd name="connsiteX22" fmla="*/ 296352 w 466245"/>
                <a:gd name="connsiteY22" fmla="*/ 57277 h 402195"/>
                <a:gd name="connsiteX23" fmla="*/ 286700 w 466245"/>
                <a:gd name="connsiteY23" fmla="*/ 70688 h 402195"/>
                <a:gd name="connsiteX24" fmla="*/ 265796 w 466245"/>
                <a:gd name="connsiteY24" fmla="*/ 81394 h 402195"/>
                <a:gd name="connsiteX25" fmla="*/ 260456 w 466245"/>
                <a:gd name="connsiteY25" fmla="*/ 101244 h 402195"/>
                <a:gd name="connsiteX26" fmla="*/ 242737 w 466245"/>
                <a:gd name="connsiteY26" fmla="*/ 111988 h 402195"/>
                <a:gd name="connsiteX27" fmla="*/ 223457 w 466245"/>
                <a:gd name="connsiteY27" fmla="*/ 110376 h 402195"/>
                <a:gd name="connsiteX28" fmla="*/ 208502 w 466245"/>
                <a:gd name="connsiteY28" fmla="*/ 102857 h 402195"/>
                <a:gd name="connsiteX29" fmla="*/ 190249 w 466245"/>
                <a:gd name="connsiteY29" fmla="*/ 96418 h 402195"/>
                <a:gd name="connsiteX30" fmla="*/ 179557 w 466245"/>
                <a:gd name="connsiteY30" fmla="*/ 101778 h 402195"/>
                <a:gd name="connsiteX31" fmla="*/ 174204 w 466245"/>
                <a:gd name="connsiteY31" fmla="*/ 121081 h 402195"/>
                <a:gd name="connsiteX32" fmla="*/ 157042 w 466245"/>
                <a:gd name="connsiteY32" fmla="*/ 136106 h 402195"/>
                <a:gd name="connsiteX33" fmla="*/ 145804 w 466245"/>
                <a:gd name="connsiteY33" fmla="*/ 146329 h 402195"/>
                <a:gd name="connsiteX34" fmla="*/ 122212 w 466245"/>
                <a:gd name="connsiteY34" fmla="*/ 143091 h 402195"/>
                <a:gd name="connsiteX35" fmla="*/ 120106 w 466245"/>
                <a:gd name="connsiteY35" fmla="*/ 131838 h 402195"/>
                <a:gd name="connsiteX36" fmla="*/ 120106 w 466245"/>
                <a:gd name="connsiteY36" fmla="*/ 102857 h 402195"/>
                <a:gd name="connsiteX37" fmla="*/ 106166 w 466245"/>
                <a:gd name="connsiteY37" fmla="*/ 83553 h 402195"/>
                <a:gd name="connsiteX38" fmla="*/ 101042 w 466245"/>
                <a:gd name="connsiteY38" fmla="*/ 80086 h 402195"/>
                <a:gd name="connsiteX39" fmla="*/ 99558 w 466245"/>
                <a:gd name="connsiteY39" fmla="*/ 79146 h 402195"/>
                <a:gd name="connsiteX40" fmla="*/ 98568 w 466245"/>
                <a:gd name="connsiteY40" fmla="*/ 78473 h 402195"/>
                <a:gd name="connsiteX41" fmla="*/ 98670 w 466245"/>
                <a:gd name="connsiteY41" fmla="*/ 106642 h 402195"/>
                <a:gd name="connsiteX42" fmla="*/ 99202 w 466245"/>
                <a:gd name="connsiteY42" fmla="*/ 196177 h 402195"/>
                <a:gd name="connsiteX43" fmla="*/ 90615 w 466245"/>
                <a:gd name="connsiteY43" fmla="*/ 197802 h 402195"/>
                <a:gd name="connsiteX44" fmla="*/ 76142 w 466245"/>
                <a:gd name="connsiteY44" fmla="*/ 209588 h 402195"/>
                <a:gd name="connsiteX45" fmla="*/ 63839 w 466245"/>
                <a:gd name="connsiteY45" fmla="*/ 209588 h 402195"/>
                <a:gd name="connsiteX46" fmla="*/ 50444 w 466245"/>
                <a:gd name="connsiteY46" fmla="*/ 210667 h 402195"/>
                <a:gd name="connsiteX47" fmla="*/ 34894 w 466245"/>
                <a:gd name="connsiteY47" fmla="*/ 207467 h 402195"/>
                <a:gd name="connsiteX48" fmla="*/ 26357 w 466245"/>
                <a:gd name="connsiteY48" fmla="*/ 203149 h 402195"/>
                <a:gd name="connsiteX49" fmla="*/ 24733 w 466245"/>
                <a:gd name="connsiteY49" fmla="*/ 191909 h 402195"/>
                <a:gd name="connsiteX50" fmla="*/ 16159 w 466245"/>
                <a:gd name="connsiteY50" fmla="*/ 182232 h 402195"/>
                <a:gd name="connsiteX51" fmla="*/ 7026 w 466245"/>
                <a:gd name="connsiteY51" fmla="*/ 187629 h 402195"/>
                <a:gd name="connsiteX52" fmla="*/ 2219 w 466245"/>
                <a:gd name="connsiteY52" fmla="*/ 199415 h 402195"/>
                <a:gd name="connsiteX53" fmla="*/ -26 w 466245"/>
                <a:gd name="connsiteY53" fmla="*/ 200406 h 402195"/>
                <a:gd name="connsiteX54" fmla="*/ 17592 w 466245"/>
                <a:gd name="connsiteY54" fmla="*/ 232664 h 402195"/>
                <a:gd name="connsiteX55" fmla="*/ 46043 w 466245"/>
                <a:gd name="connsiteY55" fmla="*/ 293954 h 402195"/>
                <a:gd name="connsiteX56" fmla="*/ 44102 w 466245"/>
                <a:gd name="connsiteY56" fmla="*/ 343001 h 402195"/>
                <a:gd name="connsiteX57" fmla="*/ 56558 w 466245"/>
                <a:gd name="connsiteY57" fmla="*/ 369722 h 402195"/>
                <a:gd name="connsiteX58" fmla="*/ 67340 w 466245"/>
                <a:gd name="connsiteY58" fmla="*/ 384670 h 402195"/>
                <a:gd name="connsiteX59" fmla="*/ 73986 w 466245"/>
                <a:gd name="connsiteY59" fmla="*/ 390334 h 402195"/>
                <a:gd name="connsiteX60" fmla="*/ 74037 w 466245"/>
                <a:gd name="connsiteY60" fmla="*/ 390334 h 402195"/>
                <a:gd name="connsiteX61" fmla="*/ 74671 w 466245"/>
                <a:gd name="connsiteY61" fmla="*/ 390829 h 402195"/>
                <a:gd name="connsiteX62" fmla="*/ 74671 w 466245"/>
                <a:gd name="connsiteY62" fmla="*/ 390880 h 402195"/>
                <a:gd name="connsiteX63" fmla="*/ 76954 w 466245"/>
                <a:gd name="connsiteY63" fmla="*/ 392722 h 402195"/>
                <a:gd name="connsiteX64" fmla="*/ 103743 w 466245"/>
                <a:gd name="connsiteY64" fmla="*/ 402082 h 402195"/>
                <a:gd name="connsiteX65" fmla="*/ 103832 w 466245"/>
                <a:gd name="connsiteY65" fmla="*/ 402031 h 402195"/>
                <a:gd name="connsiteX66" fmla="*/ 120144 w 466245"/>
                <a:gd name="connsiteY66" fmla="*/ 394741 h 402195"/>
                <a:gd name="connsiteX67" fmla="*/ 120994 w 466245"/>
                <a:gd name="connsiteY67" fmla="*/ 394106 h 402195"/>
                <a:gd name="connsiteX68" fmla="*/ 135606 w 466245"/>
                <a:gd name="connsiteY68" fmla="*/ 391718 h 402195"/>
                <a:gd name="connsiteX69" fmla="*/ 140096 w 466245"/>
                <a:gd name="connsiteY69" fmla="*/ 391820 h 402195"/>
                <a:gd name="connsiteX70" fmla="*/ 140641 w 466245"/>
                <a:gd name="connsiteY70" fmla="*/ 391820 h 402195"/>
                <a:gd name="connsiteX71" fmla="*/ 140730 w 466245"/>
                <a:gd name="connsiteY71" fmla="*/ 391820 h 402195"/>
                <a:gd name="connsiteX72" fmla="*/ 151157 w 466245"/>
                <a:gd name="connsiteY72" fmla="*/ 389521 h 402195"/>
                <a:gd name="connsiteX73" fmla="*/ 152679 w 466245"/>
                <a:gd name="connsiteY73" fmla="*/ 388531 h 402195"/>
                <a:gd name="connsiteX74" fmla="*/ 221884 w 466245"/>
                <a:gd name="connsiteY74" fmla="*/ 381419 h 402195"/>
                <a:gd name="connsiteX75" fmla="*/ 223101 w 466245"/>
                <a:gd name="connsiteY75" fmla="*/ 381508 h 402195"/>
                <a:gd name="connsiteX76" fmla="*/ 240403 w 466245"/>
                <a:gd name="connsiteY76" fmla="*/ 379666 h 402195"/>
                <a:gd name="connsiteX77" fmla="*/ 243764 w 466245"/>
                <a:gd name="connsiteY77" fmla="*/ 378714 h 402195"/>
                <a:gd name="connsiteX78" fmla="*/ 243904 w 466245"/>
                <a:gd name="connsiteY78" fmla="*/ 378675 h 402195"/>
                <a:gd name="connsiteX79" fmla="*/ 276210 w 466245"/>
                <a:gd name="connsiteY79" fmla="*/ 369087 h 402195"/>
                <a:gd name="connsiteX80" fmla="*/ 290150 w 466245"/>
                <a:gd name="connsiteY80" fmla="*/ 365899 h 402195"/>
                <a:gd name="connsiteX81" fmla="*/ 290188 w 466245"/>
                <a:gd name="connsiteY81" fmla="*/ 365899 h 402195"/>
                <a:gd name="connsiteX82" fmla="*/ 302771 w 466245"/>
                <a:gd name="connsiteY82" fmla="*/ 360858 h 402195"/>
                <a:gd name="connsiteX83" fmla="*/ 307045 w 466245"/>
                <a:gd name="connsiteY83" fmla="*/ 357746 h 402195"/>
                <a:gd name="connsiteX84" fmla="*/ 348573 w 466245"/>
                <a:gd name="connsiteY84" fmla="*/ 324180 h 402195"/>
                <a:gd name="connsiteX85" fmla="*/ 399945 w 466245"/>
                <a:gd name="connsiteY85" fmla="*/ 263703 h 402195"/>
                <a:gd name="connsiteX86" fmla="*/ 405335 w 466245"/>
                <a:gd name="connsiteY86" fmla="*/ 254749 h 402195"/>
                <a:gd name="connsiteX87" fmla="*/ 444022 w 466245"/>
                <a:gd name="connsiteY87" fmla="*/ 204140 h 402195"/>
                <a:gd name="connsiteX88" fmla="*/ 444783 w 466245"/>
                <a:gd name="connsiteY88" fmla="*/ 203543 h 402195"/>
                <a:gd name="connsiteX89" fmla="*/ 457138 w 466245"/>
                <a:gd name="connsiteY89" fmla="*/ 181444 h 402195"/>
                <a:gd name="connsiteX90" fmla="*/ 460422 w 466245"/>
                <a:gd name="connsiteY90" fmla="*/ 169926 h 402195"/>
                <a:gd name="connsiteX91" fmla="*/ 464012 w 466245"/>
                <a:gd name="connsiteY91" fmla="*/ 153593 h 402195"/>
                <a:gd name="connsiteX92" fmla="*/ 464329 w 466245"/>
                <a:gd name="connsiteY92" fmla="*/ 152298 h 402195"/>
                <a:gd name="connsiteX93" fmla="*/ 466219 w 466245"/>
                <a:gd name="connsiteY93" fmla="*/ 144018 h 402195"/>
                <a:gd name="connsiteX94" fmla="*/ 441523 w 466245"/>
                <a:gd name="connsiteY94" fmla="*/ 143624 h 402195"/>
                <a:gd name="connsiteX95" fmla="*/ 363325 w 466245"/>
                <a:gd name="connsiteY95" fmla="*/ 223532 h 402195"/>
                <a:gd name="connsiteX96" fmla="*/ 359545 w 466245"/>
                <a:gd name="connsiteY96" fmla="*/ 239103 h 402195"/>
                <a:gd name="connsiteX97" fmla="*/ 347229 w 466245"/>
                <a:gd name="connsiteY97" fmla="*/ 251980 h 402195"/>
                <a:gd name="connsiteX98" fmla="*/ 329573 w 466245"/>
                <a:gd name="connsiteY98" fmla="*/ 262140 h 402195"/>
                <a:gd name="connsiteX99" fmla="*/ 312411 w 466245"/>
                <a:gd name="connsiteY99" fmla="*/ 261112 h 402195"/>
                <a:gd name="connsiteX100" fmla="*/ 300094 w 466245"/>
                <a:gd name="connsiteY100" fmla="*/ 247154 h 402195"/>
                <a:gd name="connsiteX101" fmla="*/ 305434 w 466245"/>
                <a:gd name="connsiteY101" fmla="*/ 222999 h 402195"/>
                <a:gd name="connsiteX102" fmla="*/ 325793 w 466245"/>
                <a:gd name="connsiteY102" fmla="*/ 205321 h 402195"/>
                <a:gd name="connsiteX103" fmla="*/ 346696 w 466245"/>
                <a:gd name="connsiteY103" fmla="*/ 202070 h 402195"/>
                <a:gd name="connsiteX104" fmla="*/ 361169 w 466245"/>
                <a:gd name="connsiteY104" fmla="*/ 211213 h 402195"/>
                <a:gd name="connsiteX105" fmla="*/ 363325 w 466245"/>
                <a:gd name="connsiteY105" fmla="*/ 223532 h 402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</a:cxnLst>
              <a:rect l="l" t="t" r="r" b="b"/>
              <a:pathLst>
                <a:path w="466245" h="402195">
                  <a:moveTo>
                    <a:pt x="441523" y="143624"/>
                  </a:moveTo>
                  <a:cubicBezTo>
                    <a:pt x="434014" y="144170"/>
                    <a:pt x="438822" y="150596"/>
                    <a:pt x="437794" y="157035"/>
                  </a:cubicBezTo>
                  <a:cubicBezTo>
                    <a:pt x="436716" y="163461"/>
                    <a:pt x="434547" y="160274"/>
                    <a:pt x="428129" y="159194"/>
                  </a:cubicBezTo>
                  <a:cubicBezTo>
                    <a:pt x="421355" y="157658"/>
                    <a:pt x="414962" y="154736"/>
                    <a:pt x="409381" y="150596"/>
                  </a:cubicBezTo>
                  <a:cubicBezTo>
                    <a:pt x="405069" y="147358"/>
                    <a:pt x="405614" y="139357"/>
                    <a:pt x="407225" y="129679"/>
                  </a:cubicBezTo>
                  <a:cubicBezTo>
                    <a:pt x="408849" y="120040"/>
                    <a:pt x="414189" y="116802"/>
                    <a:pt x="420619" y="111455"/>
                  </a:cubicBezTo>
                  <a:cubicBezTo>
                    <a:pt x="427051" y="106096"/>
                    <a:pt x="431312" y="116268"/>
                    <a:pt x="436170" y="118961"/>
                  </a:cubicBezTo>
                  <a:cubicBezTo>
                    <a:pt x="438149" y="120040"/>
                    <a:pt x="438822" y="119100"/>
                    <a:pt x="438999" y="117398"/>
                  </a:cubicBezTo>
                  <a:cubicBezTo>
                    <a:pt x="438910" y="114681"/>
                    <a:pt x="438669" y="111975"/>
                    <a:pt x="438289" y="109296"/>
                  </a:cubicBezTo>
                  <a:cubicBezTo>
                    <a:pt x="438289" y="106642"/>
                    <a:pt x="439354" y="88366"/>
                    <a:pt x="438822" y="80861"/>
                  </a:cubicBezTo>
                  <a:cubicBezTo>
                    <a:pt x="438289" y="73342"/>
                    <a:pt x="424399" y="26682"/>
                    <a:pt x="423854" y="24028"/>
                  </a:cubicBezTo>
                  <a:cubicBezTo>
                    <a:pt x="423359" y="21551"/>
                    <a:pt x="417880" y="7200"/>
                    <a:pt x="417017" y="4864"/>
                  </a:cubicBezTo>
                  <a:cubicBezTo>
                    <a:pt x="414696" y="4330"/>
                    <a:pt x="412311" y="4102"/>
                    <a:pt x="409914" y="4178"/>
                  </a:cubicBezTo>
                  <a:cubicBezTo>
                    <a:pt x="400262" y="4178"/>
                    <a:pt x="404029" y="6299"/>
                    <a:pt x="394376" y="4178"/>
                  </a:cubicBezTo>
                  <a:cubicBezTo>
                    <a:pt x="384711" y="2019"/>
                    <a:pt x="392752" y="406"/>
                    <a:pt x="379358" y="406"/>
                  </a:cubicBezTo>
                  <a:cubicBezTo>
                    <a:pt x="372952" y="-280"/>
                    <a:pt x="366484" y="-89"/>
                    <a:pt x="360129" y="940"/>
                  </a:cubicBezTo>
                  <a:lnTo>
                    <a:pt x="360078" y="940"/>
                  </a:lnTo>
                  <a:cubicBezTo>
                    <a:pt x="357922" y="2019"/>
                    <a:pt x="356894" y="-1220"/>
                    <a:pt x="352582" y="5258"/>
                  </a:cubicBezTo>
                  <a:cubicBezTo>
                    <a:pt x="348307" y="11696"/>
                    <a:pt x="350958" y="10071"/>
                    <a:pt x="338109" y="13271"/>
                  </a:cubicBezTo>
                  <a:cubicBezTo>
                    <a:pt x="325247" y="16510"/>
                    <a:pt x="332756" y="21323"/>
                    <a:pt x="325793" y="25641"/>
                  </a:cubicBezTo>
                  <a:cubicBezTo>
                    <a:pt x="321061" y="27826"/>
                    <a:pt x="316571" y="30518"/>
                    <a:pt x="312398" y="33655"/>
                  </a:cubicBezTo>
                  <a:cubicBezTo>
                    <a:pt x="307591" y="37973"/>
                    <a:pt x="305980" y="32080"/>
                    <a:pt x="302238" y="40081"/>
                  </a:cubicBezTo>
                  <a:cubicBezTo>
                    <a:pt x="299866" y="45669"/>
                    <a:pt x="297900" y="51409"/>
                    <a:pt x="296352" y="57277"/>
                  </a:cubicBezTo>
                  <a:cubicBezTo>
                    <a:pt x="294196" y="63170"/>
                    <a:pt x="294742" y="68529"/>
                    <a:pt x="286700" y="70688"/>
                  </a:cubicBezTo>
                  <a:cubicBezTo>
                    <a:pt x="278836" y="72136"/>
                    <a:pt x="271568" y="75857"/>
                    <a:pt x="265796" y="81394"/>
                  </a:cubicBezTo>
                  <a:cubicBezTo>
                    <a:pt x="262600" y="86258"/>
                    <a:pt x="266342" y="96418"/>
                    <a:pt x="260456" y="101244"/>
                  </a:cubicBezTo>
                  <a:cubicBezTo>
                    <a:pt x="254558" y="106096"/>
                    <a:pt x="252947" y="113068"/>
                    <a:pt x="242737" y="111988"/>
                  </a:cubicBezTo>
                  <a:cubicBezTo>
                    <a:pt x="232589" y="110909"/>
                    <a:pt x="233667" y="116268"/>
                    <a:pt x="223457" y="110376"/>
                  </a:cubicBezTo>
                  <a:cubicBezTo>
                    <a:pt x="218814" y="107239"/>
                    <a:pt x="213779" y="104711"/>
                    <a:pt x="208502" y="102857"/>
                  </a:cubicBezTo>
                  <a:cubicBezTo>
                    <a:pt x="200448" y="99656"/>
                    <a:pt x="196135" y="94805"/>
                    <a:pt x="190249" y="96418"/>
                  </a:cubicBezTo>
                  <a:cubicBezTo>
                    <a:pt x="184364" y="98044"/>
                    <a:pt x="183286" y="92151"/>
                    <a:pt x="179557" y="101778"/>
                  </a:cubicBezTo>
                  <a:cubicBezTo>
                    <a:pt x="175777" y="111455"/>
                    <a:pt x="184364" y="113563"/>
                    <a:pt x="174204" y="121081"/>
                  </a:cubicBezTo>
                  <a:cubicBezTo>
                    <a:pt x="164006" y="128600"/>
                    <a:pt x="167240" y="130213"/>
                    <a:pt x="157042" y="136106"/>
                  </a:cubicBezTo>
                  <a:cubicBezTo>
                    <a:pt x="146882" y="141998"/>
                    <a:pt x="161850" y="147904"/>
                    <a:pt x="145804" y="146329"/>
                  </a:cubicBezTo>
                  <a:cubicBezTo>
                    <a:pt x="129720" y="144703"/>
                    <a:pt x="125446" y="147904"/>
                    <a:pt x="122212" y="143091"/>
                  </a:cubicBezTo>
                  <a:cubicBezTo>
                    <a:pt x="119015" y="138265"/>
                    <a:pt x="117937" y="146862"/>
                    <a:pt x="120106" y="131838"/>
                  </a:cubicBezTo>
                  <a:cubicBezTo>
                    <a:pt x="122212" y="116802"/>
                    <a:pt x="124368" y="112534"/>
                    <a:pt x="120106" y="102857"/>
                  </a:cubicBezTo>
                  <a:cubicBezTo>
                    <a:pt x="117277" y="95288"/>
                    <a:pt x="112470" y="88607"/>
                    <a:pt x="106166" y="83553"/>
                  </a:cubicBezTo>
                  <a:cubicBezTo>
                    <a:pt x="104149" y="82207"/>
                    <a:pt x="102348" y="81038"/>
                    <a:pt x="101042" y="80086"/>
                  </a:cubicBezTo>
                  <a:cubicBezTo>
                    <a:pt x="100458" y="79730"/>
                    <a:pt x="99963" y="79413"/>
                    <a:pt x="99558" y="79146"/>
                  </a:cubicBezTo>
                  <a:cubicBezTo>
                    <a:pt x="99164" y="78879"/>
                    <a:pt x="98797" y="78651"/>
                    <a:pt x="98568" y="78473"/>
                  </a:cubicBezTo>
                  <a:cubicBezTo>
                    <a:pt x="98797" y="93726"/>
                    <a:pt x="98670" y="106642"/>
                    <a:pt x="98670" y="106642"/>
                  </a:cubicBezTo>
                  <a:lnTo>
                    <a:pt x="99202" y="196177"/>
                  </a:lnTo>
                  <a:cubicBezTo>
                    <a:pt x="96361" y="194386"/>
                    <a:pt x="92619" y="195097"/>
                    <a:pt x="90615" y="197802"/>
                  </a:cubicBezTo>
                  <a:cubicBezTo>
                    <a:pt x="86531" y="202552"/>
                    <a:pt x="81635" y="206553"/>
                    <a:pt x="76142" y="209588"/>
                  </a:cubicBezTo>
                  <a:cubicBezTo>
                    <a:pt x="69179" y="214452"/>
                    <a:pt x="72959" y="210134"/>
                    <a:pt x="63839" y="209588"/>
                  </a:cubicBezTo>
                  <a:cubicBezTo>
                    <a:pt x="54719" y="209054"/>
                    <a:pt x="56863" y="210667"/>
                    <a:pt x="50444" y="210667"/>
                  </a:cubicBezTo>
                  <a:cubicBezTo>
                    <a:pt x="44014" y="210667"/>
                    <a:pt x="41857" y="207962"/>
                    <a:pt x="34894" y="207467"/>
                  </a:cubicBezTo>
                  <a:cubicBezTo>
                    <a:pt x="27930" y="206934"/>
                    <a:pt x="26890" y="206934"/>
                    <a:pt x="26357" y="203149"/>
                  </a:cubicBezTo>
                  <a:cubicBezTo>
                    <a:pt x="26509" y="199339"/>
                    <a:pt x="25964" y="195529"/>
                    <a:pt x="24733" y="191909"/>
                  </a:cubicBezTo>
                  <a:cubicBezTo>
                    <a:pt x="23059" y="187794"/>
                    <a:pt x="20040" y="184378"/>
                    <a:pt x="16159" y="182232"/>
                  </a:cubicBezTo>
                  <a:cubicBezTo>
                    <a:pt x="12963" y="180124"/>
                    <a:pt x="9183" y="180657"/>
                    <a:pt x="7026" y="187629"/>
                  </a:cubicBezTo>
                  <a:cubicBezTo>
                    <a:pt x="4921" y="194564"/>
                    <a:pt x="11339" y="195097"/>
                    <a:pt x="2219" y="199415"/>
                  </a:cubicBezTo>
                  <a:cubicBezTo>
                    <a:pt x="1547" y="199732"/>
                    <a:pt x="786" y="200101"/>
                    <a:pt x="-26" y="200406"/>
                  </a:cubicBezTo>
                  <a:cubicBezTo>
                    <a:pt x="7572" y="210134"/>
                    <a:pt x="13521" y="221030"/>
                    <a:pt x="17592" y="232664"/>
                  </a:cubicBezTo>
                  <a:cubicBezTo>
                    <a:pt x="27347" y="252958"/>
                    <a:pt x="35566" y="274066"/>
                    <a:pt x="46043" y="293954"/>
                  </a:cubicBezTo>
                  <a:cubicBezTo>
                    <a:pt x="55252" y="311454"/>
                    <a:pt x="60059" y="327571"/>
                    <a:pt x="44102" y="343001"/>
                  </a:cubicBezTo>
                  <a:cubicBezTo>
                    <a:pt x="49252" y="351409"/>
                    <a:pt x="53425" y="360375"/>
                    <a:pt x="56558" y="369722"/>
                  </a:cubicBezTo>
                  <a:cubicBezTo>
                    <a:pt x="58093" y="375907"/>
                    <a:pt x="61962" y="381254"/>
                    <a:pt x="67340" y="384670"/>
                  </a:cubicBezTo>
                  <a:cubicBezTo>
                    <a:pt x="69585" y="386601"/>
                    <a:pt x="71779" y="388531"/>
                    <a:pt x="73986" y="390334"/>
                  </a:cubicBezTo>
                  <a:lnTo>
                    <a:pt x="74037" y="390334"/>
                  </a:lnTo>
                  <a:cubicBezTo>
                    <a:pt x="74253" y="390512"/>
                    <a:pt x="74481" y="390690"/>
                    <a:pt x="74671" y="390829"/>
                  </a:cubicBezTo>
                  <a:lnTo>
                    <a:pt x="74671" y="390880"/>
                  </a:lnTo>
                  <a:cubicBezTo>
                    <a:pt x="75432" y="391515"/>
                    <a:pt x="76193" y="392087"/>
                    <a:pt x="76954" y="392722"/>
                  </a:cubicBezTo>
                  <a:cubicBezTo>
                    <a:pt x="84171" y="399478"/>
                    <a:pt x="93900" y="402882"/>
                    <a:pt x="103743" y="402082"/>
                  </a:cubicBezTo>
                  <a:lnTo>
                    <a:pt x="103832" y="402031"/>
                  </a:lnTo>
                  <a:cubicBezTo>
                    <a:pt x="109781" y="400951"/>
                    <a:pt x="115375" y="398449"/>
                    <a:pt x="120144" y="394741"/>
                  </a:cubicBezTo>
                  <a:cubicBezTo>
                    <a:pt x="120410" y="394525"/>
                    <a:pt x="120728" y="394335"/>
                    <a:pt x="120994" y="394106"/>
                  </a:cubicBezTo>
                  <a:cubicBezTo>
                    <a:pt x="125484" y="391782"/>
                    <a:pt x="130608" y="390944"/>
                    <a:pt x="135606" y="391718"/>
                  </a:cubicBezTo>
                  <a:cubicBezTo>
                    <a:pt x="137103" y="391642"/>
                    <a:pt x="138600" y="391680"/>
                    <a:pt x="140096" y="391820"/>
                  </a:cubicBezTo>
                  <a:cubicBezTo>
                    <a:pt x="140274" y="391795"/>
                    <a:pt x="140464" y="391795"/>
                    <a:pt x="140641" y="391820"/>
                  </a:cubicBezTo>
                  <a:lnTo>
                    <a:pt x="140730" y="391820"/>
                  </a:lnTo>
                  <a:cubicBezTo>
                    <a:pt x="144345" y="392023"/>
                    <a:pt x="147961" y="391236"/>
                    <a:pt x="151157" y="389521"/>
                  </a:cubicBezTo>
                  <a:cubicBezTo>
                    <a:pt x="151651" y="389204"/>
                    <a:pt x="152184" y="388848"/>
                    <a:pt x="152679" y="388531"/>
                  </a:cubicBezTo>
                  <a:cubicBezTo>
                    <a:pt x="175104" y="374764"/>
                    <a:pt x="198380" y="379666"/>
                    <a:pt x="221884" y="381419"/>
                  </a:cubicBezTo>
                  <a:cubicBezTo>
                    <a:pt x="222290" y="381469"/>
                    <a:pt x="222696" y="381469"/>
                    <a:pt x="223101" y="381508"/>
                  </a:cubicBezTo>
                  <a:cubicBezTo>
                    <a:pt x="228924" y="381812"/>
                    <a:pt x="234771" y="381190"/>
                    <a:pt x="240403" y="379666"/>
                  </a:cubicBezTo>
                  <a:cubicBezTo>
                    <a:pt x="241519" y="379399"/>
                    <a:pt x="242648" y="379082"/>
                    <a:pt x="243764" y="378714"/>
                  </a:cubicBezTo>
                  <a:lnTo>
                    <a:pt x="243904" y="378675"/>
                  </a:lnTo>
                  <a:cubicBezTo>
                    <a:pt x="254736" y="375793"/>
                    <a:pt x="265479" y="372287"/>
                    <a:pt x="276210" y="369087"/>
                  </a:cubicBezTo>
                  <a:cubicBezTo>
                    <a:pt x="280662" y="367741"/>
                    <a:pt x="285469" y="366979"/>
                    <a:pt x="290150" y="365899"/>
                  </a:cubicBezTo>
                  <a:lnTo>
                    <a:pt x="290188" y="365899"/>
                  </a:lnTo>
                  <a:cubicBezTo>
                    <a:pt x="294666" y="365036"/>
                    <a:pt x="298940" y="363334"/>
                    <a:pt x="302771" y="360858"/>
                  </a:cubicBezTo>
                  <a:cubicBezTo>
                    <a:pt x="304217" y="359816"/>
                    <a:pt x="305612" y="358826"/>
                    <a:pt x="307045" y="357746"/>
                  </a:cubicBezTo>
                  <a:cubicBezTo>
                    <a:pt x="321544" y="347396"/>
                    <a:pt x="335407" y="336194"/>
                    <a:pt x="348573" y="324180"/>
                  </a:cubicBezTo>
                  <a:cubicBezTo>
                    <a:pt x="368310" y="306412"/>
                    <a:pt x="385586" y="286067"/>
                    <a:pt x="399945" y="263703"/>
                  </a:cubicBezTo>
                  <a:cubicBezTo>
                    <a:pt x="401784" y="260781"/>
                    <a:pt x="403585" y="257772"/>
                    <a:pt x="405335" y="254749"/>
                  </a:cubicBezTo>
                  <a:cubicBezTo>
                    <a:pt x="414366" y="235242"/>
                    <a:pt x="427570" y="217970"/>
                    <a:pt x="444022" y="204140"/>
                  </a:cubicBezTo>
                  <a:cubicBezTo>
                    <a:pt x="444250" y="203911"/>
                    <a:pt x="444504" y="203720"/>
                    <a:pt x="444783" y="203543"/>
                  </a:cubicBezTo>
                  <a:cubicBezTo>
                    <a:pt x="450833" y="197447"/>
                    <a:pt x="455108" y="189814"/>
                    <a:pt x="457138" y="181444"/>
                  </a:cubicBezTo>
                  <a:cubicBezTo>
                    <a:pt x="458482" y="177685"/>
                    <a:pt x="459585" y="173837"/>
                    <a:pt x="460422" y="169926"/>
                  </a:cubicBezTo>
                  <a:cubicBezTo>
                    <a:pt x="461678" y="164490"/>
                    <a:pt x="462668" y="159004"/>
                    <a:pt x="464012" y="153593"/>
                  </a:cubicBezTo>
                  <a:cubicBezTo>
                    <a:pt x="464101" y="153149"/>
                    <a:pt x="464241" y="152743"/>
                    <a:pt x="464329" y="152298"/>
                  </a:cubicBezTo>
                  <a:cubicBezTo>
                    <a:pt x="465052" y="149504"/>
                    <a:pt x="465724" y="146761"/>
                    <a:pt x="466219" y="144018"/>
                  </a:cubicBezTo>
                  <a:cubicBezTo>
                    <a:pt x="460207" y="143713"/>
                    <a:pt x="447180" y="143218"/>
                    <a:pt x="441523" y="143624"/>
                  </a:cubicBezTo>
                  <a:close/>
                  <a:moveTo>
                    <a:pt x="363325" y="223532"/>
                  </a:moveTo>
                  <a:cubicBezTo>
                    <a:pt x="362856" y="228892"/>
                    <a:pt x="361587" y="234137"/>
                    <a:pt x="359545" y="239103"/>
                  </a:cubicBezTo>
                  <a:cubicBezTo>
                    <a:pt x="357541" y="245008"/>
                    <a:pt x="353038" y="249720"/>
                    <a:pt x="347229" y="251980"/>
                  </a:cubicBezTo>
                  <a:cubicBezTo>
                    <a:pt x="341889" y="254139"/>
                    <a:pt x="339733" y="261112"/>
                    <a:pt x="329573" y="262140"/>
                  </a:cubicBezTo>
                  <a:cubicBezTo>
                    <a:pt x="323852" y="263232"/>
                    <a:pt x="317954" y="262877"/>
                    <a:pt x="312411" y="261112"/>
                  </a:cubicBezTo>
                  <a:cubicBezTo>
                    <a:pt x="307718" y="257010"/>
                    <a:pt x="303583" y="252323"/>
                    <a:pt x="300094" y="247154"/>
                  </a:cubicBezTo>
                  <a:cubicBezTo>
                    <a:pt x="294742" y="240728"/>
                    <a:pt x="305434" y="228892"/>
                    <a:pt x="305434" y="222999"/>
                  </a:cubicBezTo>
                  <a:cubicBezTo>
                    <a:pt x="305434" y="217106"/>
                    <a:pt x="318829" y="209588"/>
                    <a:pt x="325793" y="205321"/>
                  </a:cubicBezTo>
                  <a:cubicBezTo>
                    <a:pt x="332033" y="201422"/>
                    <a:pt x="339580" y="200253"/>
                    <a:pt x="346696" y="202070"/>
                  </a:cubicBezTo>
                  <a:cubicBezTo>
                    <a:pt x="346696" y="202070"/>
                    <a:pt x="355816" y="207480"/>
                    <a:pt x="361169" y="211213"/>
                  </a:cubicBezTo>
                  <a:cubicBezTo>
                    <a:pt x="366509" y="214947"/>
                    <a:pt x="363325" y="219265"/>
                    <a:pt x="363325" y="223532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48" name="Graphic 5">
              <a:extLst>
                <a:ext uri="{FF2B5EF4-FFF2-40B4-BE49-F238E27FC236}">
                  <a16:creationId xmlns:a16="http://schemas.microsoft.com/office/drawing/2014/main" id="{4B6A2E20-8E55-9F4D-8D26-1459D6FF3FFF}"/>
                </a:ext>
              </a:extLst>
            </p:cNvPr>
            <p:cNvGrpSpPr/>
            <p:nvPr/>
          </p:nvGrpSpPr>
          <p:grpSpPr>
            <a:xfrm>
              <a:off x="5825228" y="4519708"/>
              <a:ext cx="347373" cy="393767"/>
              <a:chOff x="5825228" y="4519708"/>
              <a:chExt cx="347373" cy="393767"/>
            </a:xfrm>
            <a:solidFill>
              <a:schemeClr val="bg2"/>
            </a:solidFill>
          </p:grpSpPr>
          <p:sp>
            <p:nvSpPr>
              <p:cNvPr id="577" name="Vrije vorm 576">
                <a:extLst>
                  <a:ext uri="{FF2B5EF4-FFF2-40B4-BE49-F238E27FC236}">
                    <a16:creationId xmlns:a16="http://schemas.microsoft.com/office/drawing/2014/main" id="{EB9647E5-B4A4-664A-9829-83242CE8752B}"/>
                  </a:ext>
                </a:extLst>
              </p:cNvPr>
              <p:cNvSpPr/>
              <p:nvPr/>
            </p:nvSpPr>
            <p:spPr>
              <a:xfrm>
                <a:off x="5830907" y="4519708"/>
                <a:ext cx="29389" cy="38150"/>
              </a:xfrm>
              <a:custGeom>
                <a:avLst/>
                <a:gdLst>
                  <a:gd name="connsiteX0" fmla="*/ 13774 w 29389"/>
                  <a:gd name="connsiteY0" fmla="*/ 32225 h 38150"/>
                  <a:gd name="connsiteX1" fmla="*/ 9817 w 29389"/>
                  <a:gd name="connsiteY1" fmla="*/ 37585 h 38150"/>
                  <a:gd name="connsiteX2" fmla="*/ 6532 w 29389"/>
                  <a:gd name="connsiteY2" fmla="*/ 30244 h 38150"/>
                  <a:gd name="connsiteX3" fmla="*/ -26 w 29389"/>
                  <a:gd name="connsiteY3" fmla="*/ 16973 h 38150"/>
                  <a:gd name="connsiteX4" fmla="*/ 11656 w 29389"/>
                  <a:gd name="connsiteY4" fmla="*/ 4374 h 38150"/>
                  <a:gd name="connsiteX5" fmla="*/ 22894 w 29389"/>
                  <a:gd name="connsiteY5" fmla="*/ 57 h 38150"/>
                  <a:gd name="connsiteX6" fmla="*/ 29363 w 29389"/>
                  <a:gd name="connsiteY6" fmla="*/ 5327 h 38150"/>
                  <a:gd name="connsiteX7" fmla="*/ 13762 w 29389"/>
                  <a:gd name="connsiteY7" fmla="*/ 17786 h 38150"/>
                  <a:gd name="connsiteX8" fmla="*/ 13774 w 29389"/>
                  <a:gd name="connsiteY8" fmla="*/ 32225 h 38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9389" h="38150">
                    <a:moveTo>
                      <a:pt x="13774" y="32225"/>
                    </a:moveTo>
                    <a:cubicBezTo>
                      <a:pt x="13774" y="41497"/>
                      <a:pt x="12328" y="36950"/>
                      <a:pt x="9817" y="37585"/>
                    </a:cubicBezTo>
                    <a:cubicBezTo>
                      <a:pt x="8777" y="35108"/>
                      <a:pt x="7660" y="32683"/>
                      <a:pt x="6532" y="30244"/>
                    </a:cubicBezTo>
                    <a:cubicBezTo>
                      <a:pt x="4464" y="25749"/>
                      <a:pt x="2308" y="21342"/>
                      <a:pt x="-26" y="16973"/>
                    </a:cubicBezTo>
                    <a:cubicBezTo>
                      <a:pt x="2625" y="14052"/>
                      <a:pt x="9094" y="6902"/>
                      <a:pt x="11656" y="4374"/>
                    </a:cubicBezTo>
                    <a:cubicBezTo>
                      <a:pt x="14535" y="1276"/>
                      <a:pt x="18683" y="-324"/>
                      <a:pt x="22894" y="57"/>
                    </a:cubicBezTo>
                    <a:cubicBezTo>
                      <a:pt x="25710" y="793"/>
                      <a:pt x="28069" y="2723"/>
                      <a:pt x="29363" y="5327"/>
                    </a:cubicBezTo>
                    <a:cubicBezTo>
                      <a:pt x="28019" y="6445"/>
                      <a:pt x="17313" y="15271"/>
                      <a:pt x="13762" y="17786"/>
                    </a:cubicBezTo>
                    <a:cubicBezTo>
                      <a:pt x="10045" y="20440"/>
                      <a:pt x="13774" y="22599"/>
                      <a:pt x="13774" y="32225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8" name="Vrije vorm 577">
                <a:extLst>
                  <a:ext uri="{FF2B5EF4-FFF2-40B4-BE49-F238E27FC236}">
                    <a16:creationId xmlns:a16="http://schemas.microsoft.com/office/drawing/2014/main" id="{47D47E6F-4FC8-4341-AA93-57A27E03332E}"/>
                  </a:ext>
                </a:extLst>
              </p:cNvPr>
              <p:cNvSpPr/>
              <p:nvPr/>
            </p:nvSpPr>
            <p:spPr>
              <a:xfrm>
                <a:off x="5825228" y="4560530"/>
                <a:ext cx="347373" cy="352946"/>
              </a:xfrm>
              <a:custGeom>
                <a:avLst/>
                <a:gdLst>
                  <a:gd name="connsiteX0" fmla="*/ 347327 w 347373"/>
                  <a:gd name="connsiteY0" fmla="*/ 188266 h 352946"/>
                  <a:gd name="connsiteX1" fmla="*/ 309807 w 347373"/>
                  <a:gd name="connsiteY1" fmla="*/ 205450 h 352946"/>
                  <a:gd name="connsiteX2" fmla="*/ 286253 w 347373"/>
                  <a:gd name="connsiteY2" fmla="*/ 247791 h 352946"/>
                  <a:gd name="connsiteX3" fmla="*/ 289449 w 347373"/>
                  <a:gd name="connsiteY3" fmla="*/ 304675 h 352946"/>
                  <a:gd name="connsiteX4" fmla="*/ 297491 w 347373"/>
                  <a:gd name="connsiteY4" fmla="*/ 312180 h 352946"/>
                  <a:gd name="connsiteX5" fmla="*/ 326347 w 347373"/>
                  <a:gd name="connsiteY5" fmla="*/ 341619 h 352946"/>
                  <a:gd name="connsiteX6" fmla="*/ 274444 w 347373"/>
                  <a:gd name="connsiteY6" fmla="*/ 351868 h 352946"/>
                  <a:gd name="connsiteX7" fmla="*/ 268546 w 347373"/>
                  <a:gd name="connsiteY7" fmla="*/ 350789 h 352946"/>
                  <a:gd name="connsiteX8" fmla="*/ 252513 w 347373"/>
                  <a:gd name="connsiteY8" fmla="*/ 352947 h 352946"/>
                  <a:gd name="connsiteX9" fmla="*/ 242302 w 347373"/>
                  <a:gd name="connsiteY9" fmla="*/ 348134 h 352946"/>
                  <a:gd name="connsiteX10" fmla="*/ 220371 w 347373"/>
                  <a:gd name="connsiteY10" fmla="*/ 347055 h 352946"/>
                  <a:gd name="connsiteX11" fmla="*/ 198402 w 347373"/>
                  <a:gd name="connsiteY11" fmla="*/ 343816 h 352946"/>
                  <a:gd name="connsiteX12" fmla="*/ 188204 w 347373"/>
                  <a:gd name="connsiteY12" fmla="*/ 334723 h 352946"/>
                  <a:gd name="connsiteX13" fmla="*/ 63937 w 347373"/>
                  <a:gd name="connsiteY13" fmla="*/ 335218 h 352946"/>
                  <a:gd name="connsiteX14" fmla="*/ 51088 w 347373"/>
                  <a:gd name="connsiteY14" fmla="*/ 325592 h 352946"/>
                  <a:gd name="connsiteX15" fmla="*/ 40890 w 347373"/>
                  <a:gd name="connsiteY15" fmla="*/ 321820 h 352946"/>
                  <a:gd name="connsiteX16" fmla="*/ 23766 w 347373"/>
                  <a:gd name="connsiteY16" fmla="*/ 328296 h 352946"/>
                  <a:gd name="connsiteX17" fmla="*/ 14634 w 347373"/>
                  <a:gd name="connsiteY17" fmla="*/ 329325 h 352946"/>
                  <a:gd name="connsiteX18" fmla="*/ 6059 w 347373"/>
                  <a:gd name="connsiteY18" fmla="*/ 326671 h 352946"/>
                  <a:gd name="connsiteX19" fmla="*/ 34 w 347373"/>
                  <a:gd name="connsiteY19" fmla="*/ 329592 h 352946"/>
                  <a:gd name="connsiteX20" fmla="*/ 351 w 347373"/>
                  <a:gd name="connsiteY20" fmla="*/ 317489 h 352946"/>
                  <a:gd name="connsiteX21" fmla="*/ 2330 w 347373"/>
                  <a:gd name="connsiteY21" fmla="*/ 303493 h 352946"/>
                  <a:gd name="connsiteX22" fmla="*/ 6592 w 347373"/>
                  <a:gd name="connsiteY22" fmla="*/ 280913 h 352946"/>
                  <a:gd name="connsiteX23" fmla="*/ 15902 w 347373"/>
                  <a:gd name="connsiteY23" fmla="*/ 248325 h 352946"/>
                  <a:gd name="connsiteX24" fmla="*/ 20126 w 347373"/>
                  <a:gd name="connsiteY24" fmla="*/ 230468 h 352946"/>
                  <a:gd name="connsiteX25" fmla="*/ 38417 w 347373"/>
                  <a:gd name="connsiteY25" fmla="*/ 198337 h 352946"/>
                  <a:gd name="connsiteX26" fmla="*/ 38455 w 347373"/>
                  <a:gd name="connsiteY26" fmla="*/ 198249 h 352946"/>
                  <a:gd name="connsiteX27" fmla="*/ 46902 w 347373"/>
                  <a:gd name="connsiteY27" fmla="*/ 190413 h 352946"/>
                  <a:gd name="connsiteX28" fmla="*/ 54094 w 347373"/>
                  <a:gd name="connsiteY28" fmla="*/ 132323 h 352946"/>
                  <a:gd name="connsiteX29" fmla="*/ 53333 w 347373"/>
                  <a:gd name="connsiteY29" fmla="*/ 130748 h 352946"/>
                  <a:gd name="connsiteX30" fmla="*/ 41423 w 347373"/>
                  <a:gd name="connsiteY30" fmla="*/ 103799 h 352946"/>
                  <a:gd name="connsiteX31" fmla="*/ 40712 w 347373"/>
                  <a:gd name="connsiteY31" fmla="*/ 101906 h 352946"/>
                  <a:gd name="connsiteX32" fmla="*/ 39190 w 347373"/>
                  <a:gd name="connsiteY32" fmla="*/ 91734 h 352946"/>
                  <a:gd name="connsiteX33" fmla="*/ 36222 w 347373"/>
                  <a:gd name="connsiteY33" fmla="*/ 48681 h 352946"/>
                  <a:gd name="connsiteX34" fmla="*/ 19733 w 347373"/>
                  <a:gd name="connsiteY34" fmla="*/ 6745 h 352946"/>
                  <a:gd name="connsiteX35" fmla="*/ 19505 w 347373"/>
                  <a:gd name="connsiteY35" fmla="*/ 6250 h 352946"/>
                  <a:gd name="connsiteX36" fmla="*/ 38239 w 347373"/>
                  <a:gd name="connsiteY36" fmla="*/ 2694 h 352946"/>
                  <a:gd name="connsiteX37" fmla="*/ 66068 w 347373"/>
                  <a:gd name="connsiteY37" fmla="*/ 1614 h 352946"/>
                  <a:gd name="connsiteX38" fmla="*/ 93390 w 347373"/>
                  <a:gd name="connsiteY38" fmla="*/ 1068 h 352946"/>
                  <a:gd name="connsiteX39" fmla="*/ 135184 w 347373"/>
                  <a:gd name="connsiteY39" fmla="*/ 3227 h 352946"/>
                  <a:gd name="connsiteX40" fmla="*/ 141070 w 347373"/>
                  <a:gd name="connsiteY40" fmla="*/ 19293 h 352946"/>
                  <a:gd name="connsiteX41" fmla="*/ 146422 w 347373"/>
                  <a:gd name="connsiteY41" fmla="*/ 34863 h 352946"/>
                  <a:gd name="connsiteX42" fmla="*/ 154464 w 347373"/>
                  <a:gd name="connsiteY42" fmla="*/ 52008 h 352946"/>
                  <a:gd name="connsiteX43" fmla="*/ 164117 w 347373"/>
                  <a:gd name="connsiteY43" fmla="*/ 64924 h 352946"/>
                  <a:gd name="connsiteX44" fmla="*/ 180162 w 347373"/>
                  <a:gd name="connsiteY44" fmla="*/ 63845 h 352946"/>
                  <a:gd name="connsiteX45" fmla="*/ 196259 w 347373"/>
                  <a:gd name="connsiteY45" fmla="*/ 60606 h 352946"/>
                  <a:gd name="connsiteX46" fmla="*/ 212342 w 347373"/>
                  <a:gd name="connsiteY46" fmla="*/ 61686 h 352946"/>
                  <a:gd name="connsiteX47" fmla="*/ 216071 w 347373"/>
                  <a:gd name="connsiteY47" fmla="*/ 47728 h 352946"/>
                  <a:gd name="connsiteX48" fmla="*/ 228920 w 347373"/>
                  <a:gd name="connsiteY48" fmla="*/ 33250 h 352946"/>
                  <a:gd name="connsiteX49" fmla="*/ 242860 w 347373"/>
                  <a:gd name="connsiteY49" fmla="*/ 32171 h 352946"/>
                  <a:gd name="connsiteX50" fmla="*/ 249278 w 347373"/>
                  <a:gd name="connsiteY50" fmla="*/ 32704 h 352946"/>
                  <a:gd name="connsiteX51" fmla="*/ 247667 w 347373"/>
                  <a:gd name="connsiteY51" fmla="*/ 41302 h 352946"/>
                  <a:gd name="connsiteX52" fmla="*/ 283577 w 347373"/>
                  <a:gd name="connsiteY52" fmla="*/ 42915 h 352946"/>
                  <a:gd name="connsiteX53" fmla="*/ 285187 w 347373"/>
                  <a:gd name="connsiteY53" fmla="*/ 54167 h 352946"/>
                  <a:gd name="connsiteX54" fmla="*/ 284109 w 347373"/>
                  <a:gd name="connsiteY54" fmla="*/ 101906 h 352946"/>
                  <a:gd name="connsiteX55" fmla="*/ 291618 w 347373"/>
                  <a:gd name="connsiteY55" fmla="*/ 116943 h 352946"/>
                  <a:gd name="connsiteX56" fmla="*/ 295893 w 347373"/>
                  <a:gd name="connsiteY56" fmla="*/ 141061 h 352946"/>
                  <a:gd name="connsiteX57" fmla="*/ 297504 w 347373"/>
                  <a:gd name="connsiteY57" fmla="*/ 153380 h 352946"/>
                  <a:gd name="connsiteX58" fmla="*/ 313054 w 347373"/>
                  <a:gd name="connsiteY58" fmla="*/ 150738 h 352946"/>
                  <a:gd name="connsiteX59" fmla="*/ 324293 w 347373"/>
                  <a:gd name="connsiteY59" fmla="*/ 149646 h 352946"/>
                  <a:gd name="connsiteX60" fmla="*/ 336064 w 347373"/>
                  <a:gd name="connsiteY60" fmla="*/ 147487 h 352946"/>
                  <a:gd name="connsiteX61" fmla="*/ 344334 w 347373"/>
                  <a:gd name="connsiteY61" fmla="*/ 144832 h 352946"/>
                  <a:gd name="connsiteX62" fmla="*/ 347327 w 347373"/>
                  <a:gd name="connsiteY62" fmla="*/ 188266 h 352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</a:cxnLst>
                <a:rect l="l" t="t" r="r" b="b"/>
                <a:pathLst>
                  <a:path w="347373" h="352946">
                    <a:moveTo>
                      <a:pt x="347327" y="188266"/>
                    </a:moveTo>
                    <a:cubicBezTo>
                      <a:pt x="346249" y="203837"/>
                      <a:pt x="333400" y="207570"/>
                      <a:pt x="309807" y="205450"/>
                    </a:cubicBezTo>
                    <a:cubicBezTo>
                      <a:pt x="286253" y="203291"/>
                      <a:pt x="286798" y="240819"/>
                      <a:pt x="286253" y="247791"/>
                    </a:cubicBezTo>
                    <a:cubicBezTo>
                      <a:pt x="285720" y="254776"/>
                      <a:pt x="285175" y="299315"/>
                      <a:pt x="289449" y="304675"/>
                    </a:cubicBezTo>
                    <a:cubicBezTo>
                      <a:pt x="293762" y="310021"/>
                      <a:pt x="293229" y="306287"/>
                      <a:pt x="297491" y="312180"/>
                    </a:cubicBezTo>
                    <a:cubicBezTo>
                      <a:pt x="301626" y="317895"/>
                      <a:pt x="324902" y="340260"/>
                      <a:pt x="326347" y="341619"/>
                    </a:cubicBezTo>
                    <a:cubicBezTo>
                      <a:pt x="304860" y="346242"/>
                      <a:pt x="278883" y="352185"/>
                      <a:pt x="274444" y="351868"/>
                    </a:cubicBezTo>
                    <a:cubicBezTo>
                      <a:pt x="266986" y="351335"/>
                      <a:pt x="274444" y="351868"/>
                      <a:pt x="268546" y="350789"/>
                    </a:cubicBezTo>
                    <a:cubicBezTo>
                      <a:pt x="262660" y="349709"/>
                      <a:pt x="259476" y="352947"/>
                      <a:pt x="252513" y="352947"/>
                    </a:cubicBezTo>
                    <a:cubicBezTo>
                      <a:pt x="245536" y="352947"/>
                      <a:pt x="251435" y="350789"/>
                      <a:pt x="242302" y="348134"/>
                    </a:cubicBezTo>
                    <a:cubicBezTo>
                      <a:pt x="233233" y="345442"/>
                      <a:pt x="231609" y="348134"/>
                      <a:pt x="220371" y="347055"/>
                    </a:cubicBezTo>
                    <a:cubicBezTo>
                      <a:pt x="212964" y="346737"/>
                      <a:pt x="205594" y="345657"/>
                      <a:pt x="198402" y="343816"/>
                    </a:cubicBezTo>
                    <a:cubicBezTo>
                      <a:pt x="186631" y="341162"/>
                      <a:pt x="194089" y="336844"/>
                      <a:pt x="188204" y="334723"/>
                    </a:cubicBezTo>
                    <a:cubicBezTo>
                      <a:pt x="182306" y="332564"/>
                      <a:pt x="68744" y="335764"/>
                      <a:pt x="63937" y="335218"/>
                    </a:cubicBezTo>
                    <a:cubicBezTo>
                      <a:pt x="59092" y="334723"/>
                      <a:pt x="58597" y="331484"/>
                      <a:pt x="51088" y="325592"/>
                    </a:cubicBezTo>
                    <a:cubicBezTo>
                      <a:pt x="43579" y="319699"/>
                      <a:pt x="43046" y="321820"/>
                      <a:pt x="40890" y="321820"/>
                    </a:cubicBezTo>
                    <a:cubicBezTo>
                      <a:pt x="35030" y="323560"/>
                      <a:pt x="29309" y="325731"/>
                      <a:pt x="23766" y="328296"/>
                    </a:cubicBezTo>
                    <a:cubicBezTo>
                      <a:pt x="16803" y="330951"/>
                      <a:pt x="19986" y="330405"/>
                      <a:pt x="14634" y="329325"/>
                    </a:cubicBezTo>
                    <a:cubicBezTo>
                      <a:pt x="9293" y="328296"/>
                      <a:pt x="9293" y="326671"/>
                      <a:pt x="6059" y="326671"/>
                    </a:cubicBezTo>
                    <a:cubicBezTo>
                      <a:pt x="3827" y="327090"/>
                      <a:pt x="1746" y="328093"/>
                      <a:pt x="34" y="329592"/>
                    </a:cubicBezTo>
                    <a:cubicBezTo>
                      <a:pt x="-105" y="325553"/>
                      <a:pt x="-4" y="321515"/>
                      <a:pt x="351" y="317489"/>
                    </a:cubicBezTo>
                    <a:cubicBezTo>
                      <a:pt x="732" y="312790"/>
                      <a:pt x="1391" y="308116"/>
                      <a:pt x="2330" y="303493"/>
                    </a:cubicBezTo>
                    <a:cubicBezTo>
                      <a:pt x="3814" y="295975"/>
                      <a:pt x="4715" y="288292"/>
                      <a:pt x="6592" y="280913"/>
                    </a:cubicBezTo>
                    <a:cubicBezTo>
                      <a:pt x="9420" y="269978"/>
                      <a:pt x="14050" y="259399"/>
                      <a:pt x="15902" y="248325"/>
                    </a:cubicBezTo>
                    <a:cubicBezTo>
                      <a:pt x="16904" y="242292"/>
                      <a:pt x="18312" y="236323"/>
                      <a:pt x="20126" y="230468"/>
                    </a:cubicBezTo>
                    <a:cubicBezTo>
                      <a:pt x="23665" y="218492"/>
                      <a:pt x="29918" y="207494"/>
                      <a:pt x="38417" y="198337"/>
                    </a:cubicBezTo>
                    <a:lnTo>
                      <a:pt x="38455" y="198249"/>
                    </a:lnTo>
                    <a:cubicBezTo>
                      <a:pt x="41067" y="195417"/>
                      <a:pt x="43896" y="192800"/>
                      <a:pt x="46902" y="190413"/>
                    </a:cubicBezTo>
                    <a:cubicBezTo>
                      <a:pt x="61375" y="178805"/>
                      <a:pt x="63315" y="151398"/>
                      <a:pt x="54094" y="132323"/>
                    </a:cubicBezTo>
                    <a:cubicBezTo>
                      <a:pt x="53828" y="131789"/>
                      <a:pt x="53599" y="131294"/>
                      <a:pt x="53333" y="130748"/>
                    </a:cubicBezTo>
                    <a:cubicBezTo>
                      <a:pt x="49109" y="121883"/>
                      <a:pt x="45063" y="112892"/>
                      <a:pt x="41423" y="103799"/>
                    </a:cubicBezTo>
                    <a:cubicBezTo>
                      <a:pt x="41207" y="103214"/>
                      <a:pt x="40928" y="102580"/>
                      <a:pt x="40712" y="101906"/>
                    </a:cubicBezTo>
                    <a:cubicBezTo>
                      <a:pt x="39228" y="98084"/>
                      <a:pt x="37744" y="93220"/>
                      <a:pt x="39190" y="91734"/>
                    </a:cubicBezTo>
                    <a:cubicBezTo>
                      <a:pt x="54158" y="75998"/>
                      <a:pt x="41791" y="62397"/>
                      <a:pt x="36222" y="48681"/>
                    </a:cubicBezTo>
                    <a:cubicBezTo>
                      <a:pt x="30552" y="34825"/>
                      <a:pt x="25390" y="20652"/>
                      <a:pt x="19733" y="6745"/>
                    </a:cubicBezTo>
                    <a:cubicBezTo>
                      <a:pt x="19669" y="6567"/>
                      <a:pt x="19593" y="6402"/>
                      <a:pt x="19505" y="6250"/>
                    </a:cubicBezTo>
                    <a:cubicBezTo>
                      <a:pt x="25821" y="5450"/>
                      <a:pt x="32075" y="4269"/>
                      <a:pt x="38239" y="2694"/>
                    </a:cubicBezTo>
                    <a:cubicBezTo>
                      <a:pt x="47460" y="1475"/>
                      <a:pt x="56771" y="1119"/>
                      <a:pt x="66068" y="1614"/>
                    </a:cubicBezTo>
                    <a:cubicBezTo>
                      <a:pt x="75188" y="2148"/>
                      <a:pt x="73032" y="-11"/>
                      <a:pt x="93390" y="1068"/>
                    </a:cubicBezTo>
                    <a:cubicBezTo>
                      <a:pt x="113748" y="2148"/>
                      <a:pt x="131455" y="-3199"/>
                      <a:pt x="135184" y="3227"/>
                    </a:cubicBezTo>
                    <a:cubicBezTo>
                      <a:pt x="138355" y="8066"/>
                      <a:pt x="140359" y="13565"/>
                      <a:pt x="141070" y="19293"/>
                    </a:cubicBezTo>
                    <a:cubicBezTo>
                      <a:pt x="142681" y="27345"/>
                      <a:pt x="145928" y="28424"/>
                      <a:pt x="146422" y="34863"/>
                    </a:cubicBezTo>
                    <a:cubicBezTo>
                      <a:pt x="146993" y="41353"/>
                      <a:pt x="149834" y="47423"/>
                      <a:pt x="154464" y="52008"/>
                    </a:cubicBezTo>
                    <a:cubicBezTo>
                      <a:pt x="160349" y="59526"/>
                      <a:pt x="157699" y="63845"/>
                      <a:pt x="164117" y="64924"/>
                    </a:cubicBezTo>
                    <a:cubicBezTo>
                      <a:pt x="169495" y="65280"/>
                      <a:pt x="174886" y="64924"/>
                      <a:pt x="180162" y="63845"/>
                    </a:cubicBezTo>
                    <a:cubicBezTo>
                      <a:pt x="188749" y="63298"/>
                      <a:pt x="187126" y="59526"/>
                      <a:pt x="196259" y="60606"/>
                    </a:cubicBezTo>
                    <a:cubicBezTo>
                      <a:pt x="205378" y="61686"/>
                      <a:pt x="209640" y="65953"/>
                      <a:pt x="212342" y="61686"/>
                    </a:cubicBezTo>
                    <a:cubicBezTo>
                      <a:pt x="214993" y="57406"/>
                      <a:pt x="211264" y="57406"/>
                      <a:pt x="216071" y="47728"/>
                    </a:cubicBezTo>
                    <a:cubicBezTo>
                      <a:pt x="220878" y="38102"/>
                      <a:pt x="221957" y="34330"/>
                      <a:pt x="228920" y="33250"/>
                    </a:cubicBezTo>
                    <a:cubicBezTo>
                      <a:pt x="233512" y="32310"/>
                      <a:pt x="238193" y="31942"/>
                      <a:pt x="242860" y="32171"/>
                    </a:cubicBezTo>
                    <a:cubicBezTo>
                      <a:pt x="250902" y="32171"/>
                      <a:pt x="249278" y="30050"/>
                      <a:pt x="249278" y="32704"/>
                    </a:cubicBezTo>
                    <a:cubicBezTo>
                      <a:pt x="248999" y="35612"/>
                      <a:pt x="248467" y="38495"/>
                      <a:pt x="247667" y="41302"/>
                    </a:cubicBezTo>
                    <a:cubicBezTo>
                      <a:pt x="247667" y="41302"/>
                      <a:pt x="282498" y="38597"/>
                      <a:pt x="283577" y="42915"/>
                    </a:cubicBezTo>
                    <a:cubicBezTo>
                      <a:pt x="284363" y="46636"/>
                      <a:pt x="284895" y="50382"/>
                      <a:pt x="285187" y="54167"/>
                    </a:cubicBezTo>
                    <a:cubicBezTo>
                      <a:pt x="283691" y="70042"/>
                      <a:pt x="283323" y="85993"/>
                      <a:pt x="284109" y="101906"/>
                    </a:cubicBezTo>
                    <a:cubicBezTo>
                      <a:pt x="286265" y="107266"/>
                      <a:pt x="287889" y="108879"/>
                      <a:pt x="291618" y="116943"/>
                    </a:cubicBezTo>
                    <a:cubicBezTo>
                      <a:pt x="294802" y="124563"/>
                      <a:pt x="296261" y="132806"/>
                      <a:pt x="295893" y="141061"/>
                    </a:cubicBezTo>
                    <a:cubicBezTo>
                      <a:pt x="296426" y="151817"/>
                      <a:pt x="287889" y="154459"/>
                      <a:pt x="297504" y="153380"/>
                    </a:cubicBezTo>
                    <a:cubicBezTo>
                      <a:pt x="307169" y="152351"/>
                      <a:pt x="305013" y="150192"/>
                      <a:pt x="313054" y="150738"/>
                    </a:cubicBezTo>
                    <a:cubicBezTo>
                      <a:pt x="321096" y="151271"/>
                      <a:pt x="316251" y="151817"/>
                      <a:pt x="324293" y="149646"/>
                    </a:cubicBezTo>
                    <a:cubicBezTo>
                      <a:pt x="332335" y="147487"/>
                      <a:pt x="324825" y="145912"/>
                      <a:pt x="336064" y="147487"/>
                    </a:cubicBezTo>
                    <a:cubicBezTo>
                      <a:pt x="341860" y="148300"/>
                      <a:pt x="343522" y="146458"/>
                      <a:pt x="344334" y="144832"/>
                    </a:cubicBezTo>
                    <a:cubicBezTo>
                      <a:pt x="346503" y="159209"/>
                      <a:pt x="347505" y="173738"/>
                      <a:pt x="347327" y="188266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49" name="Vrije vorm 248">
              <a:extLst>
                <a:ext uri="{FF2B5EF4-FFF2-40B4-BE49-F238E27FC236}">
                  <a16:creationId xmlns:a16="http://schemas.microsoft.com/office/drawing/2014/main" id="{A2C0169B-8522-BC4E-AEB7-5736716A273D}"/>
                </a:ext>
              </a:extLst>
            </p:cNvPr>
            <p:cNvSpPr/>
            <p:nvPr/>
          </p:nvSpPr>
          <p:spPr>
            <a:xfrm>
              <a:off x="5768237" y="4332578"/>
              <a:ext cx="43973" cy="36172"/>
            </a:xfrm>
            <a:custGeom>
              <a:avLst/>
              <a:gdLst>
                <a:gd name="connsiteX0" fmla="*/ 43947 w 43973"/>
                <a:gd name="connsiteY0" fmla="*/ 35231 h 36172"/>
                <a:gd name="connsiteX1" fmla="*/ 4131 w 43973"/>
                <a:gd name="connsiteY1" fmla="*/ 35955 h 36172"/>
                <a:gd name="connsiteX2" fmla="*/ -4 w 43973"/>
                <a:gd name="connsiteY2" fmla="*/ 36044 h 36172"/>
                <a:gd name="connsiteX3" fmla="*/ -4 w 43973"/>
                <a:gd name="connsiteY3" fmla="*/ 33618 h 36172"/>
                <a:gd name="connsiteX4" fmla="*/ 2419 w 43973"/>
                <a:gd name="connsiteY4" fmla="*/ 1627 h 36172"/>
                <a:gd name="connsiteX5" fmla="*/ 42324 w 43973"/>
                <a:gd name="connsiteY5" fmla="*/ 2706 h 36172"/>
                <a:gd name="connsiteX6" fmla="*/ 43769 w 43973"/>
                <a:gd name="connsiteY6" fmla="*/ 1 h 36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973" h="36172">
                  <a:moveTo>
                    <a:pt x="43947" y="35231"/>
                  </a:moveTo>
                  <a:cubicBezTo>
                    <a:pt x="43947" y="35231"/>
                    <a:pt x="8939" y="34875"/>
                    <a:pt x="4131" y="35955"/>
                  </a:cubicBezTo>
                  <a:cubicBezTo>
                    <a:pt x="2761" y="36209"/>
                    <a:pt x="1366" y="36247"/>
                    <a:pt x="-4" y="36044"/>
                  </a:cubicBezTo>
                  <a:cubicBezTo>
                    <a:pt x="-54" y="35231"/>
                    <a:pt x="-4" y="34431"/>
                    <a:pt x="-4" y="33618"/>
                  </a:cubicBezTo>
                  <a:cubicBezTo>
                    <a:pt x="85" y="22683"/>
                    <a:pt x="1391" y="12384"/>
                    <a:pt x="2419" y="1627"/>
                  </a:cubicBezTo>
                  <a:cubicBezTo>
                    <a:pt x="7049" y="1716"/>
                    <a:pt x="42324" y="2706"/>
                    <a:pt x="42324" y="2706"/>
                  </a:cubicBezTo>
                  <a:cubicBezTo>
                    <a:pt x="42755" y="1779"/>
                    <a:pt x="43237" y="877"/>
                    <a:pt x="43769" y="1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0" name="Vrije vorm 249">
              <a:extLst>
                <a:ext uri="{FF2B5EF4-FFF2-40B4-BE49-F238E27FC236}">
                  <a16:creationId xmlns:a16="http://schemas.microsoft.com/office/drawing/2014/main" id="{078ECCD3-9E42-4E43-A37E-521272E636C8}"/>
                </a:ext>
              </a:extLst>
            </p:cNvPr>
            <p:cNvSpPr/>
            <p:nvPr/>
          </p:nvSpPr>
          <p:spPr>
            <a:xfrm>
              <a:off x="5745479" y="4330419"/>
              <a:ext cx="157105" cy="170943"/>
            </a:xfrm>
            <a:custGeom>
              <a:avLst/>
              <a:gdLst>
                <a:gd name="connsiteX0" fmla="*/ 155469 w 157105"/>
                <a:gd name="connsiteY0" fmla="*/ 99264 h 170943"/>
                <a:gd name="connsiteX1" fmla="*/ 148493 w 157105"/>
                <a:gd name="connsiteY1" fmla="*/ 127115 h 170943"/>
                <a:gd name="connsiteX2" fmla="*/ 141529 w 157105"/>
                <a:gd name="connsiteY2" fmla="*/ 134088 h 170943"/>
                <a:gd name="connsiteX3" fmla="*/ 135644 w 157105"/>
                <a:gd name="connsiteY3" fmla="*/ 127115 h 170943"/>
                <a:gd name="connsiteX4" fmla="*/ 127057 w 157105"/>
                <a:gd name="connsiteY4" fmla="*/ 134634 h 170943"/>
                <a:gd name="connsiteX5" fmla="*/ 113130 w 157105"/>
                <a:gd name="connsiteY5" fmla="*/ 128741 h 170943"/>
                <a:gd name="connsiteX6" fmla="*/ 105621 w 157105"/>
                <a:gd name="connsiteY6" fmla="*/ 116955 h 170943"/>
                <a:gd name="connsiteX7" fmla="*/ 98657 w 157105"/>
                <a:gd name="connsiteY7" fmla="*/ 120689 h 170943"/>
                <a:gd name="connsiteX8" fmla="*/ 94395 w 157105"/>
                <a:gd name="connsiteY8" fmla="*/ 130354 h 170943"/>
                <a:gd name="connsiteX9" fmla="*/ 82611 w 157105"/>
                <a:gd name="connsiteY9" fmla="*/ 131433 h 170943"/>
                <a:gd name="connsiteX10" fmla="*/ 75648 w 157105"/>
                <a:gd name="connsiteY10" fmla="*/ 130354 h 170943"/>
                <a:gd name="connsiteX11" fmla="*/ 72414 w 157105"/>
                <a:gd name="connsiteY11" fmla="*/ 143232 h 170943"/>
                <a:gd name="connsiteX12" fmla="*/ 79922 w 157105"/>
                <a:gd name="connsiteY12" fmla="*/ 150737 h 170943"/>
                <a:gd name="connsiteX13" fmla="*/ 82611 w 157105"/>
                <a:gd name="connsiteY13" fmla="*/ 160910 h 170943"/>
                <a:gd name="connsiteX14" fmla="*/ 78844 w 157105"/>
                <a:gd name="connsiteY14" fmla="*/ 170042 h 170943"/>
                <a:gd name="connsiteX15" fmla="*/ 71335 w 157105"/>
                <a:gd name="connsiteY15" fmla="*/ 165774 h 170943"/>
                <a:gd name="connsiteX16" fmla="*/ 64904 w 157105"/>
                <a:gd name="connsiteY16" fmla="*/ 166854 h 170943"/>
                <a:gd name="connsiteX17" fmla="*/ 61087 w 157105"/>
                <a:gd name="connsiteY17" fmla="*/ 170537 h 170943"/>
                <a:gd name="connsiteX18" fmla="*/ 31608 w 157105"/>
                <a:gd name="connsiteY18" fmla="*/ 138774 h 170943"/>
                <a:gd name="connsiteX19" fmla="*/ 29997 w 157105"/>
                <a:gd name="connsiteY19" fmla="*/ 137110 h 170943"/>
                <a:gd name="connsiteX20" fmla="*/ 29680 w 157105"/>
                <a:gd name="connsiteY20" fmla="*/ 136793 h 170943"/>
                <a:gd name="connsiteX21" fmla="*/ 13407 w 157105"/>
                <a:gd name="connsiteY21" fmla="*/ 111825 h 170943"/>
                <a:gd name="connsiteX22" fmla="*/ 13090 w 157105"/>
                <a:gd name="connsiteY22" fmla="*/ 109615 h 170943"/>
                <a:gd name="connsiteX23" fmla="*/ 12874 w 157105"/>
                <a:gd name="connsiteY23" fmla="*/ 108446 h 170943"/>
                <a:gd name="connsiteX24" fmla="*/ 9957 w 157105"/>
                <a:gd name="connsiteY24" fmla="*/ 103582 h 170943"/>
                <a:gd name="connsiteX25" fmla="*/ 9145 w 157105"/>
                <a:gd name="connsiteY25" fmla="*/ 102681 h 170943"/>
                <a:gd name="connsiteX26" fmla="*/ -26 w 157105"/>
                <a:gd name="connsiteY26" fmla="*/ 93372 h 170943"/>
                <a:gd name="connsiteX27" fmla="*/ 13952 w 157105"/>
                <a:gd name="connsiteY27" fmla="*/ 63895 h 170943"/>
                <a:gd name="connsiteX28" fmla="*/ 15703 w 157105"/>
                <a:gd name="connsiteY28" fmla="*/ 61380 h 170943"/>
                <a:gd name="connsiteX29" fmla="*/ 18176 w 157105"/>
                <a:gd name="connsiteY29" fmla="*/ 58497 h 170943"/>
                <a:gd name="connsiteX30" fmla="*/ 23338 w 157105"/>
                <a:gd name="connsiteY30" fmla="*/ 50395 h 170943"/>
                <a:gd name="connsiteX31" fmla="*/ 22755 w 157105"/>
                <a:gd name="connsiteY31" fmla="*/ 38203 h 170943"/>
                <a:gd name="connsiteX32" fmla="*/ 26890 w 157105"/>
                <a:gd name="connsiteY32" fmla="*/ 38114 h 170943"/>
                <a:gd name="connsiteX33" fmla="*/ 66706 w 157105"/>
                <a:gd name="connsiteY33" fmla="*/ 37403 h 170943"/>
                <a:gd name="connsiteX34" fmla="*/ 66528 w 157105"/>
                <a:gd name="connsiteY34" fmla="*/ 2160 h 170943"/>
                <a:gd name="connsiteX35" fmla="*/ 68684 w 157105"/>
                <a:gd name="connsiteY35" fmla="*/ 1 h 170943"/>
                <a:gd name="connsiteX36" fmla="*/ 82079 w 157105"/>
                <a:gd name="connsiteY36" fmla="*/ 547 h 170943"/>
                <a:gd name="connsiteX37" fmla="*/ 97084 w 157105"/>
                <a:gd name="connsiteY37" fmla="*/ 547 h 170943"/>
                <a:gd name="connsiteX38" fmla="*/ 104593 w 157105"/>
                <a:gd name="connsiteY38" fmla="*/ 2706 h 170943"/>
                <a:gd name="connsiteX39" fmla="*/ 116364 w 157105"/>
                <a:gd name="connsiteY39" fmla="*/ 1081 h 170943"/>
                <a:gd name="connsiteX40" fmla="*/ 120093 w 157105"/>
                <a:gd name="connsiteY40" fmla="*/ 2160 h 170943"/>
                <a:gd name="connsiteX41" fmla="*/ 118482 w 157105"/>
                <a:gd name="connsiteY41" fmla="*/ 15038 h 170943"/>
                <a:gd name="connsiteX42" fmla="*/ 119560 w 157105"/>
                <a:gd name="connsiteY42" fmla="*/ 27357 h 170943"/>
                <a:gd name="connsiteX43" fmla="*/ 136722 w 157105"/>
                <a:gd name="connsiteY43" fmla="*/ 24169 h 170943"/>
                <a:gd name="connsiteX44" fmla="*/ 146882 w 157105"/>
                <a:gd name="connsiteY44" fmla="*/ 26824 h 170943"/>
                <a:gd name="connsiteX45" fmla="*/ 152768 w 157105"/>
                <a:gd name="connsiteY45" fmla="*/ 42927 h 170943"/>
                <a:gd name="connsiteX46" fmla="*/ 143153 w 157105"/>
                <a:gd name="connsiteY46" fmla="*/ 49366 h 170943"/>
                <a:gd name="connsiteX47" fmla="*/ 136722 w 157105"/>
                <a:gd name="connsiteY47" fmla="*/ 64936 h 170943"/>
                <a:gd name="connsiteX48" fmla="*/ 144231 w 157105"/>
                <a:gd name="connsiteY48" fmla="*/ 74030 h 170943"/>
                <a:gd name="connsiteX49" fmla="*/ 153846 w 157105"/>
                <a:gd name="connsiteY49" fmla="*/ 82615 h 170943"/>
                <a:gd name="connsiteX50" fmla="*/ 155469 w 157105"/>
                <a:gd name="connsiteY50" fmla="*/ 99264 h 170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157105" h="170943">
                  <a:moveTo>
                    <a:pt x="155469" y="99264"/>
                  </a:moveTo>
                  <a:cubicBezTo>
                    <a:pt x="154391" y="105703"/>
                    <a:pt x="149571" y="122848"/>
                    <a:pt x="148493" y="127115"/>
                  </a:cubicBezTo>
                  <a:cubicBezTo>
                    <a:pt x="147415" y="131433"/>
                    <a:pt x="145804" y="134088"/>
                    <a:pt x="141529" y="134088"/>
                  </a:cubicBezTo>
                  <a:cubicBezTo>
                    <a:pt x="137268" y="134088"/>
                    <a:pt x="137268" y="127115"/>
                    <a:pt x="135644" y="127115"/>
                  </a:cubicBezTo>
                  <a:cubicBezTo>
                    <a:pt x="134021" y="127115"/>
                    <a:pt x="130291" y="133554"/>
                    <a:pt x="127057" y="134634"/>
                  </a:cubicBezTo>
                  <a:cubicBezTo>
                    <a:pt x="123873" y="135713"/>
                    <a:pt x="116910" y="131980"/>
                    <a:pt x="113130" y="128741"/>
                  </a:cubicBezTo>
                  <a:cubicBezTo>
                    <a:pt x="109400" y="125541"/>
                    <a:pt x="108855" y="120143"/>
                    <a:pt x="105621" y="116955"/>
                  </a:cubicBezTo>
                  <a:cubicBezTo>
                    <a:pt x="102437" y="113704"/>
                    <a:pt x="101891" y="117489"/>
                    <a:pt x="98657" y="120689"/>
                  </a:cubicBezTo>
                  <a:cubicBezTo>
                    <a:pt x="95473" y="123928"/>
                    <a:pt x="96006" y="127662"/>
                    <a:pt x="94395" y="130354"/>
                  </a:cubicBezTo>
                  <a:cubicBezTo>
                    <a:pt x="92771" y="133059"/>
                    <a:pt x="87419" y="131433"/>
                    <a:pt x="82611" y="131433"/>
                  </a:cubicBezTo>
                  <a:cubicBezTo>
                    <a:pt x="80239" y="131573"/>
                    <a:pt x="77868" y="131205"/>
                    <a:pt x="75648" y="130354"/>
                  </a:cubicBezTo>
                  <a:cubicBezTo>
                    <a:pt x="74303" y="134570"/>
                    <a:pt x="73225" y="138876"/>
                    <a:pt x="72414" y="143232"/>
                  </a:cubicBezTo>
                  <a:cubicBezTo>
                    <a:pt x="71881" y="147499"/>
                    <a:pt x="79922" y="150737"/>
                    <a:pt x="79922" y="150737"/>
                  </a:cubicBezTo>
                  <a:cubicBezTo>
                    <a:pt x="81039" y="154065"/>
                    <a:pt x="81939" y="157468"/>
                    <a:pt x="82611" y="160910"/>
                  </a:cubicBezTo>
                  <a:cubicBezTo>
                    <a:pt x="82916" y="164390"/>
                    <a:pt x="81508" y="167794"/>
                    <a:pt x="78844" y="170042"/>
                  </a:cubicBezTo>
                  <a:cubicBezTo>
                    <a:pt x="76193" y="173280"/>
                    <a:pt x="73492" y="166854"/>
                    <a:pt x="71335" y="165774"/>
                  </a:cubicBezTo>
                  <a:cubicBezTo>
                    <a:pt x="69217" y="164695"/>
                    <a:pt x="68684" y="166308"/>
                    <a:pt x="64904" y="166854"/>
                  </a:cubicBezTo>
                  <a:cubicBezTo>
                    <a:pt x="63611" y="166981"/>
                    <a:pt x="62304" y="168556"/>
                    <a:pt x="61087" y="170537"/>
                  </a:cubicBezTo>
                  <a:cubicBezTo>
                    <a:pt x="51738" y="159602"/>
                    <a:pt x="41451" y="149214"/>
                    <a:pt x="31608" y="138774"/>
                  </a:cubicBezTo>
                  <a:cubicBezTo>
                    <a:pt x="31025" y="138228"/>
                    <a:pt x="30530" y="137644"/>
                    <a:pt x="29997" y="137110"/>
                  </a:cubicBezTo>
                  <a:lnTo>
                    <a:pt x="29680" y="136793"/>
                  </a:lnTo>
                  <a:cubicBezTo>
                    <a:pt x="21753" y="130405"/>
                    <a:pt x="16057" y="121655"/>
                    <a:pt x="13407" y="111825"/>
                  </a:cubicBezTo>
                  <a:cubicBezTo>
                    <a:pt x="13280" y="111101"/>
                    <a:pt x="13178" y="110377"/>
                    <a:pt x="13090" y="109615"/>
                  </a:cubicBezTo>
                  <a:cubicBezTo>
                    <a:pt x="13039" y="109221"/>
                    <a:pt x="12963" y="108827"/>
                    <a:pt x="12874" y="108446"/>
                  </a:cubicBezTo>
                  <a:cubicBezTo>
                    <a:pt x="12252" y="106643"/>
                    <a:pt x="11250" y="104979"/>
                    <a:pt x="9957" y="103582"/>
                  </a:cubicBezTo>
                  <a:cubicBezTo>
                    <a:pt x="9677" y="103265"/>
                    <a:pt x="9411" y="102998"/>
                    <a:pt x="9145" y="102681"/>
                  </a:cubicBezTo>
                  <a:cubicBezTo>
                    <a:pt x="6443" y="99760"/>
                    <a:pt x="2853" y="96788"/>
                    <a:pt x="-26" y="93372"/>
                  </a:cubicBezTo>
                  <a:cubicBezTo>
                    <a:pt x="4515" y="83834"/>
                    <a:pt x="9322" y="73928"/>
                    <a:pt x="13952" y="63895"/>
                  </a:cubicBezTo>
                  <a:cubicBezTo>
                    <a:pt x="14447" y="63006"/>
                    <a:pt x="15043" y="62155"/>
                    <a:pt x="15703" y="61380"/>
                  </a:cubicBezTo>
                  <a:cubicBezTo>
                    <a:pt x="16426" y="60479"/>
                    <a:pt x="17275" y="59488"/>
                    <a:pt x="18176" y="58497"/>
                  </a:cubicBezTo>
                  <a:cubicBezTo>
                    <a:pt x="20827" y="55615"/>
                    <a:pt x="23567" y="52516"/>
                    <a:pt x="23338" y="50395"/>
                  </a:cubicBezTo>
                  <a:cubicBezTo>
                    <a:pt x="22945" y="46217"/>
                    <a:pt x="22755" y="42127"/>
                    <a:pt x="22755" y="38203"/>
                  </a:cubicBezTo>
                  <a:cubicBezTo>
                    <a:pt x="24138" y="38406"/>
                    <a:pt x="25533" y="38368"/>
                    <a:pt x="26890" y="38114"/>
                  </a:cubicBezTo>
                  <a:cubicBezTo>
                    <a:pt x="31697" y="37034"/>
                    <a:pt x="66706" y="37403"/>
                    <a:pt x="66706" y="37403"/>
                  </a:cubicBezTo>
                  <a:lnTo>
                    <a:pt x="66528" y="2160"/>
                  </a:lnTo>
                  <a:cubicBezTo>
                    <a:pt x="67200" y="1043"/>
                    <a:pt x="68012" y="1"/>
                    <a:pt x="68684" y="1"/>
                  </a:cubicBezTo>
                  <a:cubicBezTo>
                    <a:pt x="79377" y="1"/>
                    <a:pt x="79922" y="547"/>
                    <a:pt x="82079" y="547"/>
                  </a:cubicBezTo>
                  <a:lnTo>
                    <a:pt x="97084" y="547"/>
                  </a:lnTo>
                  <a:cubicBezTo>
                    <a:pt x="97084" y="547"/>
                    <a:pt x="97629" y="3252"/>
                    <a:pt x="104593" y="2706"/>
                  </a:cubicBezTo>
                  <a:cubicBezTo>
                    <a:pt x="108551" y="2427"/>
                    <a:pt x="112483" y="1881"/>
                    <a:pt x="116364" y="1081"/>
                  </a:cubicBezTo>
                  <a:lnTo>
                    <a:pt x="120093" y="2160"/>
                  </a:lnTo>
                  <a:cubicBezTo>
                    <a:pt x="119243" y="6415"/>
                    <a:pt x="118698" y="10707"/>
                    <a:pt x="118482" y="15038"/>
                  </a:cubicBezTo>
                  <a:cubicBezTo>
                    <a:pt x="117734" y="19165"/>
                    <a:pt x="118102" y="23420"/>
                    <a:pt x="119560" y="27357"/>
                  </a:cubicBezTo>
                  <a:cubicBezTo>
                    <a:pt x="121717" y="31142"/>
                    <a:pt x="128680" y="24169"/>
                    <a:pt x="136722" y="24169"/>
                  </a:cubicBezTo>
                  <a:cubicBezTo>
                    <a:pt x="144764" y="24169"/>
                    <a:pt x="142075" y="23623"/>
                    <a:pt x="146882" y="26824"/>
                  </a:cubicBezTo>
                  <a:cubicBezTo>
                    <a:pt x="152463" y="30075"/>
                    <a:pt x="154937" y="36844"/>
                    <a:pt x="152768" y="42927"/>
                  </a:cubicBezTo>
                  <a:cubicBezTo>
                    <a:pt x="151195" y="52071"/>
                    <a:pt x="146882" y="46661"/>
                    <a:pt x="143153" y="49366"/>
                  </a:cubicBezTo>
                  <a:cubicBezTo>
                    <a:pt x="139373" y="52071"/>
                    <a:pt x="137268" y="62777"/>
                    <a:pt x="136722" y="64936"/>
                  </a:cubicBezTo>
                  <a:cubicBezTo>
                    <a:pt x="136189" y="67057"/>
                    <a:pt x="139373" y="69750"/>
                    <a:pt x="144231" y="74030"/>
                  </a:cubicBezTo>
                  <a:cubicBezTo>
                    <a:pt x="149039" y="78348"/>
                    <a:pt x="148493" y="76189"/>
                    <a:pt x="153846" y="82615"/>
                  </a:cubicBezTo>
                  <a:cubicBezTo>
                    <a:pt x="159199" y="89054"/>
                    <a:pt x="156535" y="92838"/>
                    <a:pt x="155469" y="99264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1" name="Vrije vorm 250">
              <a:extLst>
                <a:ext uri="{FF2B5EF4-FFF2-40B4-BE49-F238E27FC236}">
                  <a16:creationId xmlns:a16="http://schemas.microsoft.com/office/drawing/2014/main" id="{C30F778F-125E-954D-9C58-D995E9353559}"/>
                </a:ext>
              </a:extLst>
            </p:cNvPr>
            <p:cNvSpPr/>
            <p:nvPr/>
          </p:nvSpPr>
          <p:spPr>
            <a:xfrm>
              <a:off x="5806604" y="4292357"/>
              <a:ext cx="211024" cy="244322"/>
            </a:xfrm>
            <a:custGeom>
              <a:avLst/>
              <a:gdLst>
                <a:gd name="connsiteX0" fmla="*/ 210062 w 211024"/>
                <a:gd name="connsiteY0" fmla="*/ 13412 h 244322"/>
                <a:gd name="connsiteX1" fmla="*/ 178961 w 211024"/>
                <a:gd name="connsiteY1" fmla="*/ 117984 h 244322"/>
                <a:gd name="connsiteX2" fmla="*/ 144181 w 211024"/>
                <a:gd name="connsiteY2" fmla="*/ 189345 h 244322"/>
                <a:gd name="connsiteX3" fmla="*/ 105037 w 211024"/>
                <a:gd name="connsiteY3" fmla="*/ 236539 h 244322"/>
                <a:gd name="connsiteX4" fmla="*/ 99685 w 211024"/>
                <a:gd name="connsiteY4" fmla="*/ 241898 h 244322"/>
                <a:gd name="connsiteX5" fmla="*/ 91643 w 211024"/>
                <a:gd name="connsiteY5" fmla="*/ 240273 h 244322"/>
                <a:gd name="connsiteX6" fmla="*/ 90603 w 211024"/>
                <a:gd name="connsiteY6" fmla="*/ 225299 h 244322"/>
                <a:gd name="connsiteX7" fmla="*/ 77716 w 211024"/>
                <a:gd name="connsiteY7" fmla="*/ 231192 h 244322"/>
                <a:gd name="connsiteX8" fmla="*/ 67555 w 211024"/>
                <a:gd name="connsiteY8" fmla="*/ 241352 h 244322"/>
                <a:gd name="connsiteX9" fmla="*/ 55239 w 211024"/>
                <a:gd name="connsiteY9" fmla="*/ 234926 h 244322"/>
                <a:gd name="connsiteX10" fmla="*/ 53717 w 211024"/>
                <a:gd name="connsiteY10" fmla="*/ 232665 h 244322"/>
                <a:gd name="connsiteX11" fmla="*/ 53679 w 211024"/>
                <a:gd name="connsiteY11" fmla="*/ 232665 h 244322"/>
                <a:gd name="connsiteX12" fmla="*/ 47210 w 211024"/>
                <a:gd name="connsiteY12" fmla="*/ 227407 h 244322"/>
                <a:gd name="connsiteX13" fmla="*/ 35972 w 211024"/>
                <a:gd name="connsiteY13" fmla="*/ 231725 h 244322"/>
                <a:gd name="connsiteX14" fmla="*/ 24290 w 211024"/>
                <a:gd name="connsiteY14" fmla="*/ 244324 h 244322"/>
                <a:gd name="connsiteX15" fmla="*/ 18937 w 211024"/>
                <a:gd name="connsiteY15" fmla="*/ 234608 h 244322"/>
                <a:gd name="connsiteX16" fmla="*/ 18670 w 211024"/>
                <a:gd name="connsiteY16" fmla="*/ 234151 h 244322"/>
                <a:gd name="connsiteX17" fmla="*/ -26 w 211024"/>
                <a:gd name="connsiteY17" fmla="*/ 208599 h 244322"/>
                <a:gd name="connsiteX18" fmla="*/ 3792 w 211024"/>
                <a:gd name="connsiteY18" fmla="*/ 204903 h 244322"/>
                <a:gd name="connsiteX19" fmla="*/ 10223 w 211024"/>
                <a:gd name="connsiteY19" fmla="*/ 203823 h 244322"/>
                <a:gd name="connsiteX20" fmla="*/ 17719 w 211024"/>
                <a:gd name="connsiteY20" fmla="*/ 208103 h 244322"/>
                <a:gd name="connsiteX21" fmla="*/ 21499 w 211024"/>
                <a:gd name="connsiteY21" fmla="*/ 198972 h 244322"/>
                <a:gd name="connsiteX22" fmla="*/ 18797 w 211024"/>
                <a:gd name="connsiteY22" fmla="*/ 188799 h 244322"/>
                <a:gd name="connsiteX23" fmla="*/ 11301 w 211024"/>
                <a:gd name="connsiteY23" fmla="*/ 181281 h 244322"/>
                <a:gd name="connsiteX24" fmla="*/ 14535 w 211024"/>
                <a:gd name="connsiteY24" fmla="*/ 168416 h 244322"/>
                <a:gd name="connsiteX25" fmla="*/ 21499 w 211024"/>
                <a:gd name="connsiteY25" fmla="*/ 169495 h 244322"/>
                <a:gd name="connsiteX26" fmla="*/ 33270 w 211024"/>
                <a:gd name="connsiteY26" fmla="*/ 168416 h 244322"/>
                <a:gd name="connsiteX27" fmla="*/ 37544 w 211024"/>
                <a:gd name="connsiteY27" fmla="*/ 158738 h 244322"/>
                <a:gd name="connsiteX28" fmla="*/ 44508 w 211024"/>
                <a:gd name="connsiteY28" fmla="*/ 155005 h 244322"/>
                <a:gd name="connsiteX29" fmla="*/ 52017 w 211024"/>
                <a:gd name="connsiteY29" fmla="*/ 166790 h 244322"/>
                <a:gd name="connsiteX30" fmla="*/ 65945 w 211024"/>
                <a:gd name="connsiteY30" fmla="*/ 172696 h 244322"/>
                <a:gd name="connsiteX31" fmla="*/ 74532 w 211024"/>
                <a:gd name="connsiteY31" fmla="*/ 165177 h 244322"/>
                <a:gd name="connsiteX32" fmla="*/ 80417 w 211024"/>
                <a:gd name="connsiteY32" fmla="*/ 172150 h 244322"/>
                <a:gd name="connsiteX33" fmla="*/ 87381 w 211024"/>
                <a:gd name="connsiteY33" fmla="*/ 165177 h 244322"/>
                <a:gd name="connsiteX34" fmla="*/ 94344 w 211024"/>
                <a:gd name="connsiteY34" fmla="*/ 137326 h 244322"/>
                <a:gd name="connsiteX35" fmla="*/ 92734 w 211024"/>
                <a:gd name="connsiteY35" fmla="*/ 120677 h 244322"/>
                <a:gd name="connsiteX36" fmla="*/ 83106 w 211024"/>
                <a:gd name="connsiteY36" fmla="*/ 112079 h 244322"/>
                <a:gd name="connsiteX37" fmla="*/ 75610 w 211024"/>
                <a:gd name="connsiteY37" fmla="*/ 102985 h 244322"/>
                <a:gd name="connsiteX38" fmla="*/ 82028 w 211024"/>
                <a:gd name="connsiteY38" fmla="*/ 87428 h 244322"/>
                <a:gd name="connsiteX39" fmla="*/ 91655 w 211024"/>
                <a:gd name="connsiteY39" fmla="*/ 80989 h 244322"/>
                <a:gd name="connsiteX40" fmla="*/ 85757 w 211024"/>
                <a:gd name="connsiteY40" fmla="*/ 64885 h 244322"/>
                <a:gd name="connsiteX41" fmla="*/ 75610 w 211024"/>
                <a:gd name="connsiteY41" fmla="*/ 62231 h 244322"/>
                <a:gd name="connsiteX42" fmla="*/ 58435 w 211024"/>
                <a:gd name="connsiteY42" fmla="*/ 65419 h 244322"/>
                <a:gd name="connsiteX43" fmla="*/ 57357 w 211024"/>
                <a:gd name="connsiteY43" fmla="*/ 53087 h 244322"/>
                <a:gd name="connsiteX44" fmla="*/ 58981 w 211024"/>
                <a:gd name="connsiteY44" fmla="*/ 40222 h 244322"/>
                <a:gd name="connsiteX45" fmla="*/ 69724 w 211024"/>
                <a:gd name="connsiteY45" fmla="*/ 41848 h 244322"/>
                <a:gd name="connsiteX46" fmla="*/ 93812 w 211024"/>
                <a:gd name="connsiteY46" fmla="*/ 42927 h 244322"/>
                <a:gd name="connsiteX47" fmla="*/ 103464 w 211024"/>
                <a:gd name="connsiteY47" fmla="*/ 43423 h 244322"/>
                <a:gd name="connsiteX48" fmla="*/ 114170 w 211024"/>
                <a:gd name="connsiteY48" fmla="*/ 46661 h 244322"/>
                <a:gd name="connsiteX49" fmla="*/ 129720 w 211024"/>
                <a:gd name="connsiteY49" fmla="*/ 50395 h 244322"/>
                <a:gd name="connsiteX50" fmla="*/ 139335 w 211024"/>
                <a:gd name="connsiteY50" fmla="*/ 56326 h 244322"/>
                <a:gd name="connsiteX51" fmla="*/ 139335 w 211024"/>
                <a:gd name="connsiteY51" fmla="*/ 46115 h 244322"/>
                <a:gd name="connsiteX52" fmla="*/ 142024 w 211024"/>
                <a:gd name="connsiteY52" fmla="*/ 40768 h 244322"/>
                <a:gd name="connsiteX53" fmla="*/ 149533 w 211024"/>
                <a:gd name="connsiteY53" fmla="*/ 31091 h 244322"/>
                <a:gd name="connsiteX54" fmla="*/ 152184 w 211024"/>
                <a:gd name="connsiteY54" fmla="*/ 14479 h 244322"/>
                <a:gd name="connsiteX55" fmla="*/ 158120 w 211024"/>
                <a:gd name="connsiteY55" fmla="*/ 4268 h 244322"/>
                <a:gd name="connsiteX56" fmla="*/ 170970 w 211024"/>
                <a:gd name="connsiteY56" fmla="*/ 2160 h 244322"/>
                <a:gd name="connsiteX57" fmla="*/ 179506 w 211024"/>
                <a:gd name="connsiteY57" fmla="*/ 1 h 244322"/>
                <a:gd name="connsiteX58" fmla="*/ 193433 w 211024"/>
                <a:gd name="connsiteY58" fmla="*/ 3735 h 244322"/>
                <a:gd name="connsiteX59" fmla="*/ 203644 w 211024"/>
                <a:gd name="connsiteY59" fmla="*/ 2160 h 244322"/>
                <a:gd name="connsiteX60" fmla="*/ 209707 w 211024"/>
                <a:gd name="connsiteY60" fmla="*/ 3011 h 244322"/>
                <a:gd name="connsiteX61" fmla="*/ 210062 w 211024"/>
                <a:gd name="connsiteY61" fmla="*/ 3189 h 244322"/>
                <a:gd name="connsiteX62" fmla="*/ 210062 w 211024"/>
                <a:gd name="connsiteY62" fmla="*/ 13412 h 244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211024" h="244322">
                  <a:moveTo>
                    <a:pt x="210062" y="13412"/>
                  </a:moveTo>
                  <a:cubicBezTo>
                    <a:pt x="210062" y="13412"/>
                    <a:pt x="185924" y="100293"/>
                    <a:pt x="178961" y="117984"/>
                  </a:cubicBezTo>
                  <a:cubicBezTo>
                    <a:pt x="169105" y="142571"/>
                    <a:pt x="157474" y="166422"/>
                    <a:pt x="144181" y="189345"/>
                  </a:cubicBezTo>
                  <a:cubicBezTo>
                    <a:pt x="132093" y="205855"/>
                    <a:pt x="119015" y="221616"/>
                    <a:pt x="105037" y="236539"/>
                  </a:cubicBezTo>
                  <a:cubicBezTo>
                    <a:pt x="103540" y="238596"/>
                    <a:pt x="101739" y="240412"/>
                    <a:pt x="99685" y="241898"/>
                  </a:cubicBezTo>
                  <a:cubicBezTo>
                    <a:pt x="97579" y="242978"/>
                    <a:pt x="91643" y="241898"/>
                    <a:pt x="91643" y="240273"/>
                  </a:cubicBezTo>
                  <a:cubicBezTo>
                    <a:pt x="91643" y="238710"/>
                    <a:pt x="92175" y="225299"/>
                    <a:pt x="90603" y="225299"/>
                  </a:cubicBezTo>
                  <a:cubicBezTo>
                    <a:pt x="88992" y="225299"/>
                    <a:pt x="79872" y="231192"/>
                    <a:pt x="77716" y="231192"/>
                  </a:cubicBezTo>
                  <a:cubicBezTo>
                    <a:pt x="75597" y="231192"/>
                    <a:pt x="71284" y="242431"/>
                    <a:pt x="67555" y="241352"/>
                  </a:cubicBezTo>
                  <a:cubicBezTo>
                    <a:pt x="62913" y="240438"/>
                    <a:pt x="58638" y="238202"/>
                    <a:pt x="55239" y="234926"/>
                  </a:cubicBezTo>
                  <a:cubicBezTo>
                    <a:pt x="54744" y="234202"/>
                    <a:pt x="54250" y="233402"/>
                    <a:pt x="53717" y="232665"/>
                  </a:cubicBezTo>
                  <a:lnTo>
                    <a:pt x="53679" y="232665"/>
                  </a:lnTo>
                  <a:cubicBezTo>
                    <a:pt x="52372" y="230062"/>
                    <a:pt x="50013" y="228144"/>
                    <a:pt x="47210" y="227407"/>
                  </a:cubicBezTo>
                  <a:cubicBezTo>
                    <a:pt x="42999" y="227026"/>
                    <a:pt x="38851" y="228627"/>
                    <a:pt x="35972" y="231725"/>
                  </a:cubicBezTo>
                  <a:cubicBezTo>
                    <a:pt x="33410" y="234240"/>
                    <a:pt x="26941" y="241403"/>
                    <a:pt x="24290" y="244324"/>
                  </a:cubicBezTo>
                  <a:cubicBezTo>
                    <a:pt x="22628" y="241034"/>
                    <a:pt x="20827" y="237796"/>
                    <a:pt x="18937" y="234608"/>
                  </a:cubicBezTo>
                  <a:cubicBezTo>
                    <a:pt x="18848" y="234469"/>
                    <a:pt x="18759" y="234291"/>
                    <a:pt x="18670" y="234151"/>
                  </a:cubicBezTo>
                  <a:cubicBezTo>
                    <a:pt x="13140" y="225134"/>
                    <a:pt x="6887" y="216587"/>
                    <a:pt x="-26" y="208599"/>
                  </a:cubicBezTo>
                  <a:cubicBezTo>
                    <a:pt x="1192" y="206617"/>
                    <a:pt x="2486" y="205043"/>
                    <a:pt x="3792" y="204903"/>
                  </a:cubicBezTo>
                  <a:cubicBezTo>
                    <a:pt x="7572" y="204369"/>
                    <a:pt x="8105" y="202744"/>
                    <a:pt x="10223" y="203823"/>
                  </a:cubicBezTo>
                  <a:cubicBezTo>
                    <a:pt x="12379" y="204903"/>
                    <a:pt x="15068" y="211342"/>
                    <a:pt x="17719" y="208103"/>
                  </a:cubicBezTo>
                  <a:cubicBezTo>
                    <a:pt x="20396" y="205855"/>
                    <a:pt x="21803" y="202452"/>
                    <a:pt x="21499" y="198972"/>
                  </a:cubicBezTo>
                  <a:cubicBezTo>
                    <a:pt x="20827" y="195518"/>
                    <a:pt x="19926" y="192127"/>
                    <a:pt x="18797" y="188799"/>
                  </a:cubicBezTo>
                  <a:cubicBezTo>
                    <a:pt x="18797" y="188799"/>
                    <a:pt x="10755" y="185561"/>
                    <a:pt x="11301" y="181281"/>
                  </a:cubicBezTo>
                  <a:cubicBezTo>
                    <a:pt x="12113" y="176938"/>
                    <a:pt x="13191" y="172632"/>
                    <a:pt x="14535" y="168416"/>
                  </a:cubicBezTo>
                  <a:cubicBezTo>
                    <a:pt x="16755" y="169254"/>
                    <a:pt x="19127" y="169622"/>
                    <a:pt x="21499" y="169495"/>
                  </a:cubicBezTo>
                  <a:cubicBezTo>
                    <a:pt x="26306" y="169495"/>
                    <a:pt x="31659" y="171121"/>
                    <a:pt x="33270" y="168416"/>
                  </a:cubicBezTo>
                  <a:cubicBezTo>
                    <a:pt x="34894" y="165711"/>
                    <a:pt x="34348" y="161977"/>
                    <a:pt x="37544" y="158738"/>
                  </a:cubicBezTo>
                  <a:cubicBezTo>
                    <a:pt x="40779" y="155551"/>
                    <a:pt x="41312" y="151766"/>
                    <a:pt x="44508" y="155005"/>
                  </a:cubicBezTo>
                  <a:cubicBezTo>
                    <a:pt x="47743" y="158205"/>
                    <a:pt x="48288" y="163603"/>
                    <a:pt x="52017" y="166790"/>
                  </a:cubicBezTo>
                  <a:cubicBezTo>
                    <a:pt x="55785" y="170041"/>
                    <a:pt x="62761" y="173775"/>
                    <a:pt x="65945" y="172696"/>
                  </a:cubicBezTo>
                  <a:cubicBezTo>
                    <a:pt x="69179" y="171616"/>
                    <a:pt x="72908" y="165177"/>
                    <a:pt x="74532" y="165177"/>
                  </a:cubicBezTo>
                  <a:cubicBezTo>
                    <a:pt x="76142" y="165177"/>
                    <a:pt x="76142" y="172150"/>
                    <a:pt x="80417" y="172150"/>
                  </a:cubicBezTo>
                  <a:cubicBezTo>
                    <a:pt x="84692" y="172150"/>
                    <a:pt x="86302" y="169495"/>
                    <a:pt x="87381" y="165177"/>
                  </a:cubicBezTo>
                  <a:cubicBezTo>
                    <a:pt x="88459" y="160898"/>
                    <a:pt x="93266" y="143765"/>
                    <a:pt x="94344" y="137326"/>
                  </a:cubicBezTo>
                  <a:cubicBezTo>
                    <a:pt x="95423" y="130887"/>
                    <a:pt x="98073" y="127103"/>
                    <a:pt x="92734" y="120677"/>
                  </a:cubicBezTo>
                  <a:cubicBezTo>
                    <a:pt x="87381" y="114238"/>
                    <a:pt x="87913" y="116397"/>
                    <a:pt x="83106" y="112079"/>
                  </a:cubicBezTo>
                  <a:cubicBezTo>
                    <a:pt x="78261" y="107811"/>
                    <a:pt x="75064" y="105106"/>
                    <a:pt x="75610" y="102985"/>
                  </a:cubicBezTo>
                  <a:cubicBezTo>
                    <a:pt x="76142" y="100826"/>
                    <a:pt x="78261" y="90120"/>
                    <a:pt x="82028" y="87428"/>
                  </a:cubicBezTo>
                  <a:cubicBezTo>
                    <a:pt x="85770" y="84723"/>
                    <a:pt x="90082" y="90120"/>
                    <a:pt x="91655" y="80989"/>
                  </a:cubicBezTo>
                  <a:cubicBezTo>
                    <a:pt x="93824" y="74906"/>
                    <a:pt x="91351" y="68124"/>
                    <a:pt x="85757" y="64885"/>
                  </a:cubicBezTo>
                  <a:cubicBezTo>
                    <a:pt x="80950" y="61685"/>
                    <a:pt x="83652" y="62231"/>
                    <a:pt x="75610" y="62231"/>
                  </a:cubicBezTo>
                  <a:cubicBezTo>
                    <a:pt x="67555" y="62231"/>
                    <a:pt x="60592" y="69204"/>
                    <a:pt x="58435" y="65419"/>
                  </a:cubicBezTo>
                  <a:cubicBezTo>
                    <a:pt x="56990" y="61482"/>
                    <a:pt x="56621" y="57227"/>
                    <a:pt x="57357" y="53087"/>
                  </a:cubicBezTo>
                  <a:cubicBezTo>
                    <a:pt x="57573" y="48769"/>
                    <a:pt x="58118" y="44464"/>
                    <a:pt x="58981" y="40222"/>
                  </a:cubicBezTo>
                  <a:cubicBezTo>
                    <a:pt x="58981" y="40222"/>
                    <a:pt x="68101" y="41848"/>
                    <a:pt x="69724" y="41848"/>
                  </a:cubicBezTo>
                  <a:cubicBezTo>
                    <a:pt x="71297" y="41848"/>
                    <a:pt x="90615" y="42927"/>
                    <a:pt x="93812" y="42927"/>
                  </a:cubicBezTo>
                  <a:cubicBezTo>
                    <a:pt x="97046" y="42927"/>
                    <a:pt x="102386" y="41848"/>
                    <a:pt x="103464" y="43423"/>
                  </a:cubicBezTo>
                  <a:cubicBezTo>
                    <a:pt x="104505" y="45035"/>
                    <a:pt x="109350" y="45581"/>
                    <a:pt x="114170" y="46661"/>
                  </a:cubicBezTo>
                  <a:cubicBezTo>
                    <a:pt x="118977" y="47740"/>
                    <a:pt x="122212" y="48820"/>
                    <a:pt x="129720" y="50395"/>
                  </a:cubicBezTo>
                  <a:cubicBezTo>
                    <a:pt x="137217" y="52008"/>
                    <a:pt x="137217" y="57367"/>
                    <a:pt x="139335" y="56326"/>
                  </a:cubicBezTo>
                  <a:cubicBezTo>
                    <a:pt x="141491" y="55246"/>
                    <a:pt x="139868" y="48820"/>
                    <a:pt x="139335" y="46115"/>
                  </a:cubicBezTo>
                  <a:cubicBezTo>
                    <a:pt x="138790" y="43423"/>
                    <a:pt x="139868" y="42927"/>
                    <a:pt x="142024" y="40768"/>
                  </a:cubicBezTo>
                  <a:cubicBezTo>
                    <a:pt x="144181" y="38609"/>
                    <a:pt x="149533" y="35942"/>
                    <a:pt x="149533" y="31091"/>
                  </a:cubicBezTo>
                  <a:cubicBezTo>
                    <a:pt x="149520" y="25452"/>
                    <a:pt x="150408" y="19838"/>
                    <a:pt x="152184" y="14479"/>
                  </a:cubicBezTo>
                  <a:cubicBezTo>
                    <a:pt x="153681" y="10822"/>
                    <a:pt x="155673" y="7380"/>
                    <a:pt x="158120" y="4268"/>
                  </a:cubicBezTo>
                  <a:cubicBezTo>
                    <a:pt x="159693" y="3189"/>
                    <a:pt x="167190" y="3189"/>
                    <a:pt x="170970" y="2160"/>
                  </a:cubicBezTo>
                  <a:cubicBezTo>
                    <a:pt x="174699" y="1081"/>
                    <a:pt x="173620" y="1"/>
                    <a:pt x="179506" y="1"/>
                  </a:cubicBezTo>
                  <a:cubicBezTo>
                    <a:pt x="184326" y="433"/>
                    <a:pt x="189044" y="1690"/>
                    <a:pt x="193433" y="3735"/>
                  </a:cubicBezTo>
                  <a:cubicBezTo>
                    <a:pt x="198786" y="5348"/>
                    <a:pt x="199331" y="2694"/>
                    <a:pt x="203644" y="2160"/>
                  </a:cubicBezTo>
                  <a:cubicBezTo>
                    <a:pt x="205686" y="1538"/>
                    <a:pt x="207906" y="1855"/>
                    <a:pt x="209707" y="3011"/>
                  </a:cubicBezTo>
                  <a:cubicBezTo>
                    <a:pt x="209821" y="3087"/>
                    <a:pt x="209948" y="3138"/>
                    <a:pt x="210062" y="3189"/>
                  </a:cubicBezTo>
                  <a:cubicBezTo>
                    <a:pt x="212168" y="4281"/>
                    <a:pt x="210062" y="13412"/>
                    <a:pt x="210062" y="13412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2" name="Vrije vorm 251">
              <a:extLst>
                <a:ext uri="{FF2B5EF4-FFF2-40B4-BE49-F238E27FC236}">
                  <a16:creationId xmlns:a16="http://schemas.microsoft.com/office/drawing/2014/main" id="{C6A79CC7-2105-C449-AFE9-7406C6B9FDC1}"/>
                </a:ext>
              </a:extLst>
            </p:cNvPr>
            <p:cNvSpPr/>
            <p:nvPr/>
          </p:nvSpPr>
          <p:spPr>
            <a:xfrm>
              <a:off x="5840750" y="4245664"/>
              <a:ext cx="536595" cy="532641"/>
            </a:xfrm>
            <a:custGeom>
              <a:avLst/>
              <a:gdLst>
                <a:gd name="connsiteX0" fmla="*/ 534841 w 536595"/>
                <a:gd name="connsiteY0" fmla="*/ 92821 h 532641"/>
                <a:gd name="connsiteX1" fmla="*/ 516068 w 536595"/>
                <a:gd name="connsiteY1" fmla="*/ 110500 h 532641"/>
                <a:gd name="connsiteX2" fmla="*/ 497321 w 536595"/>
                <a:gd name="connsiteY2" fmla="*/ 134655 h 532641"/>
                <a:gd name="connsiteX3" fmla="*/ 488733 w 536595"/>
                <a:gd name="connsiteY3" fmla="*/ 165757 h 532641"/>
                <a:gd name="connsiteX4" fmla="*/ 488061 w 536595"/>
                <a:gd name="connsiteY4" fmla="*/ 189735 h 532641"/>
                <a:gd name="connsiteX5" fmla="*/ 479119 w 536595"/>
                <a:gd name="connsiteY5" fmla="*/ 194726 h 532641"/>
                <a:gd name="connsiteX6" fmla="*/ 475352 w 536595"/>
                <a:gd name="connsiteY6" fmla="*/ 205445 h 532641"/>
                <a:gd name="connsiteX7" fmla="*/ 472155 w 536595"/>
                <a:gd name="connsiteY7" fmla="*/ 216189 h 532641"/>
                <a:gd name="connsiteX8" fmla="*/ 469466 w 536595"/>
                <a:gd name="connsiteY8" fmla="*/ 225282 h 532641"/>
                <a:gd name="connsiteX9" fmla="*/ 480197 w 536595"/>
                <a:gd name="connsiteY9" fmla="*/ 225828 h 532641"/>
                <a:gd name="connsiteX10" fmla="*/ 488733 w 536595"/>
                <a:gd name="connsiteY10" fmla="*/ 230146 h 532641"/>
                <a:gd name="connsiteX11" fmla="*/ 498944 w 536595"/>
                <a:gd name="connsiteY11" fmla="*/ 225828 h 532641"/>
                <a:gd name="connsiteX12" fmla="*/ 497866 w 536595"/>
                <a:gd name="connsiteY12" fmla="*/ 217268 h 532641"/>
                <a:gd name="connsiteX13" fmla="*/ 508064 w 536595"/>
                <a:gd name="connsiteY13" fmla="*/ 215656 h 532641"/>
                <a:gd name="connsiteX14" fmla="*/ 517184 w 536595"/>
                <a:gd name="connsiteY14" fmla="*/ 219567 h 532641"/>
                <a:gd name="connsiteX15" fmla="*/ 514495 w 536595"/>
                <a:gd name="connsiteY15" fmla="*/ 221002 h 532641"/>
                <a:gd name="connsiteX16" fmla="*/ 514495 w 536595"/>
                <a:gd name="connsiteY16" fmla="*/ 229067 h 532641"/>
                <a:gd name="connsiteX17" fmla="*/ 523564 w 536595"/>
                <a:gd name="connsiteY17" fmla="*/ 239227 h 532641"/>
                <a:gd name="connsiteX18" fmla="*/ 511793 w 536595"/>
                <a:gd name="connsiteY18" fmla="*/ 255876 h 532641"/>
                <a:gd name="connsiteX19" fmla="*/ 500023 w 536595"/>
                <a:gd name="connsiteY19" fmla="*/ 271447 h 532641"/>
                <a:gd name="connsiteX20" fmla="*/ 490852 w 536595"/>
                <a:gd name="connsiteY20" fmla="*/ 277746 h 532641"/>
                <a:gd name="connsiteX21" fmla="*/ 491118 w 536595"/>
                <a:gd name="connsiteY21" fmla="*/ 275180 h 532641"/>
                <a:gd name="connsiteX22" fmla="*/ 482226 w 536595"/>
                <a:gd name="connsiteY22" fmla="*/ 246428 h 532641"/>
                <a:gd name="connsiteX23" fmla="*/ 476785 w 536595"/>
                <a:gd name="connsiteY23" fmla="*/ 254263 h 532641"/>
                <a:gd name="connsiteX24" fmla="*/ 475479 w 536595"/>
                <a:gd name="connsiteY24" fmla="*/ 260423 h 532641"/>
                <a:gd name="connsiteX25" fmla="*/ 475352 w 536595"/>
                <a:gd name="connsiteY25" fmla="*/ 269872 h 532641"/>
                <a:gd name="connsiteX26" fmla="*/ 476430 w 536595"/>
                <a:gd name="connsiteY26" fmla="*/ 273161 h 532641"/>
                <a:gd name="connsiteX27" fmla="*/ 479880 w 536595"/>
                <a:gd name="connsiteY27" fmla="*/ 266684 h 532641"/>
                <a:gd name="connsiteX28" fmla="*/ 479576 w 536595"/>
                <a:gd name="connsiteY28" fmla="*/ 303032 h 532641"/>
                <a:gd name="connsiteX29" fmla="*/ 482315 w 536595"/>
                <a:gd name="connsiteY29" fmla="*/ 313115 h 532641"/>
                <a:gd name="connsiteX30" fmla="*/ 477774 w 536595"/>
                <a:gd name="connsiteY30" fmla="*/ 319376 h 532641"/>
                <a:gd name="connsiteX31" fmla="*/ 481643 w 536595"/>
                <a:gd name="connsiteY31" fmla="*/ 325587 h 532641"/>
                <a:gd name="connsiteX32" fmla="*/ 486311 w 536595"/>
                <a:gd name="connsiteY32" fmla="*/ 334540 h 532641"/>
                <a:gd name="connsiteX33" fmla="*/ 493008 w 536595"/>
                <a:gd name="connsiteY33" fmla="*/ 347139 h 532641"/>
                <a:gd name="connsiteX34" fmla="*/ 500149 w 536595"/>
                <a:gd name="connsiteY34" fmla="*/ 351495 h 532641"/>
                <a:gd name="connsiteX35" fmla="*/ 508698 w 536595"/>
                <a:gd name="connsiteY35" fmla="*/ 372513 h 532641"/>
                <a:gd name="connsiteX36" fmla="*/ 517273 w 536595"/>
                <a:gd name="connsiteY36" fmla="*/ 381149 h 532641"/>
                <a:gd name="connsiteX37" fmla="*/ 512872 w 536595"/>
                <a:gd name="connsiteY37" fmla="*/ 383537 h 532641"/>
                <a:gd name="connsiteX38" fmla="*/ 488201 w 536595"/>
                <a:gd name="connsiteY38" fmla="*/ 385696 h 532641"/>
                <a:gd name="connsiteX39" fmla="*/ 460384 w 536595"/>
                <a:gd name="connsiteY39" fmla="*/ 409267 h 532641"/>
                <a:gd name="connsiteX40" fmla="*/ 460917 w 536595"/>
                <a:gd name="connsiteY40" fmla="*/ 418944 h 532641"/>
                <a:gd name="connsiteX41" fmla="*/ 463035 w 536595"/>
                <a:gd name="connsiteY41" fmla="*/ 446846 h 532641"/>
                <a:gd name="connsiteX42" fmla="*/ 457683 w 536595"/>
                <a:gd name="connsiteY42" fmla="*/ 459712 h 532641"/>
                <a:gd name="connsiteX43" fmla="*/ 455526 w 536595"/>
                <a:gd name="connsiteY43" fmla="*/ 482749 h 532641"/>
                <a:gd name="connsiteX44" fmla="*/ 466802 w 536595"/>
                <a:gd name="connsiteY44" fmla="*/ 494040 h 532641"/>
                <a:gd name="connsiteX45" fmla="*/ 477508 w 536595"/>
                <a:gd name="connsiteY45" fmla="*/ 502586 h 532641"/>
                <a:gd name="connsiteX46" fmla="*/ 485550 w 536595"/>
                <a:gd name="connsiteY46" fmla="*/ 497773 h 532641"/>
                <a:gd name="connsiteX47" fmla="*/ 493591 w 536595"/>
                <a:gd name="connsiteY47" fmla="*/ 494586 h 532641"/>
                <a:gd name="connsiteX48" fmla="*/ 495165 w 536595"/>
                <a:gd name="connsiteY48" fmla="*/ 522970 h 532641"/>
                <a:gd name="connsiteX49" fmla="*/ 489824 w 536595"/>
                <a:gd name="connsiteY49" fmla="*/ 529943 h 532641"/>
                <a:gd name="connsiteX50" fmla="*/ 483926 w 536595"/>
                <a:gd name="connsiteY50" fmla="*/ 529943 h 532641"/>
                <a:gd name="connsiteX51" fmla="*/ 469999 w 536595"/>
                <a:gd name="connsiteY51" fmla="*/ 530489 h 532641"/>
                <a:gd name="connsiteX52" fmla="*/ 461957 w 536595"/>
                <a:gd name="connsiteY52" fmla="*/ 518703 h 532641"/>
                <a:gd name="connsiteX53" fmla="*/ 453421 w 536595"/>
                <a:gd name="connsiteY53" fmla="*/ 505292 h 532641"/>
                <a:gd name="connsiteX54" fmla="*/ 438403 w 536595"/>
                <a:gd name="connsiteY54" fmla="*/ 501012 h 532641"/>
                <a:gd name="connsiteX55" fmla="*/ 423930 w 536595"/>
                <a:gd name="connsiteY55" fmla="*/ 486521 h 532641"/>
                <a:gd name="connsiteX56" fmla="*/ 418590 w 536595"/>
                <a:gd name="connsiteY56" fmla="*/ 479638 h 532641"/>
                <a:gd name="connsiteX57" fmla="*/ 418590 w 536595"/>
                <a:gd name="connsiteY57" fmla="*/ 479638 h 532641"/>
                <a:gd name="connsiteX58" fmla="*/ 417512 w 536595"/>
                <a:gd name="connsiteY58" fmla="*/ 480095 h 532641"/>
                <a:gd name="connsiteX59" fmla="*/ 411627 w 536595"/>
                <a:gd name="connsiteY59" fmla="*/ 488642 h 532641"/>
                <a:gd name="connsiteX60" fmla="*/ 400883 w 536595"/>
                <a:gd name="connsiteY60" fmla="*/ 490801 h 532641"/>
                <a:gd name="connsiteX61" fmla="*/ 392879 w 536595"/>
                <a:gd name="connsiteY61" fmla="*/ 487067 h 532641"/>
                <a:gd name="connsiteX62" fmla="*/ 383759 w 536595"/>
                <a:gd name="connsiteY62" fmla="*/ 486521 h 532641"/>
                <a:gd name="connsiteX63" fmla="*/ 374639 w 536595"/>
                <a:gd name="connsiteY63" fmla="*/ 484362 h 532641"/>
                <a:gd name="connsiteX64" fmla="*/ 368208 w 536595"/>
                <a:gd name="connsiteY64" fmla="*/ 478469 h 532641"/>
                <a:gd name="connsiteX65" fmla="*/ 366103 w 536595"/>
                <a:gd name="connsiteY65" fmla="*/ 469338 h 532641"/>
                <a:gd name="connsiteX66" fmla="*/ 352708 w 536595"/>
                <a:gd name="connsiteY66" fmla="*/ 471497 h 532641"/>
                <a:gd name="connsiteX67" fmla="*/ 341420 w 536595"/>
                <a:gd name="connsiteY67" fmla="*/ 474697 h 532641"/>
                <a:gd name="connsiteX68" fmla="*/ 339314 w 536595"/>
                <a:gd name="connsiteY68" fmla="*/ 463979 h 532641"/>
                <a:gd name="connsiteX69" fmla="*/ 331272 w 536595"/>
                <a:gd name="connsiteY69" fmla="*/ 458086 h 532641"/>
                <a:gd name="connsiteX70" fmla="*/ 328799 w 536595"/>
                <a:gd name="connsiteY70" fmla="*/ 459712 h 532641"/>
                <a:gd name="connsiteX71" fmla="*/ 320529 w 536595"/>
                <a:gd name="connsiteY71" fmla="*/ 462366 h 532641"/>
                <a:gd name="connsiteX72" fmla="*/ 308758 w 536595"/>
                <a:gd name="connsiteY72" fmla="*/ 464525 h 532641"/>
                <a:gd name="connsiteX73" fmla="*/ 297520 w 536595"/>
                <a:gd name="connsiteY73" fmla="*/ 465604 h 532641"/>
                <a:gd name="connsiteX74" fmla="*/ 281969 w 536595"/>
                <a:gd name="connsiteY74" fmla="*/ 468258 h 532641"/>
                <a:gd name="connsiteX75" fmla="*/ 280358 w 536595"/>
                <a:gd name="connsiteY75" fmla="*/ 455927 h 532641"/>
                <a:gd name="connsiteX76" fmla="*/ 276083 w 536595"/>
                <a:gd name="connsiteY76" fmla="*/ 431809 h 532641"/>
                <a:gd name="connsiteX77" fmla="*/ 268574 w 536595"/>
                <a:gd name="connsiteY77" fmla="*/ 416786 h 532641"/>
                <a:gd name="connsiteX78" fmla="*/ 269652 w 536595"/>
                <a:gd name="connsiteY78" fmla="*/ 369046 h 532641"/>
                <a:gd name="connsiteX79" fmla="*/ 268041 w 536595"/>
                <a:gd name="connsiteY79" fmla="*/ 357794 h 532641"/>
                <a:gd name="connsiteX80" fmla="*/ 232133 w 536595"/>
                <a:gd name="connsiteY80" fmla="*/ 356168 h 532641"/>
                <a:gd name="connsiteX81" fmla="*/ 233756 w 536595"/>
                <a:gd name="connsiteY81" fmla="*/ 347583 h 532641"/>
                <a:gd name="connsiteX82" fmla="*/ 227325 w 536595"/>
                <a:gd name="connsiteY82" fmla="*/ 347037 h 532641"/>
                <a:gd name="connsiteX83" fmla="*/ 213398 w 536595"/>
                <a:gd name="connsiteY83" fmla="*/ 348116 h 532641"/>
                <a:gd name="connsiteX84" fmla="*/ 200536 w 536595"/>
                <a:gd name="connsiteY84" fmla="*/ 362607 h 532641"/>
                <a:gd name="connsiteX85" fmla="*/ 196807 w 536595"/>
                <a:gd name="connsiteY85" fmla="*/ 376552 h 532641"/>
                <a:gd name="connsiteX86" fmla="*/ 180723 w 536595"/>
                <a:gd name="connsiteY86" fmla="*/ 375472 h 532641"/>
                <a:gd name="connsiteX87" fmla="*/ 164627 w 536595"/>
                <a:gd name="connsiteY87" fmla="*/ 378711 h 532641"/>
                <a:gd name="connsiteX88" fmla="*/ 148582 w 536595"/>
                <a:gd name="connsiteY88" fmla="*/ 379790 h 532641"/>
                <a:gd name="connsiteX89" fmla="*/ 138929 w 536595"/>
                <a:gd name="connsiteY89" fmla="*/ 366887 h 532641"/>
                <a:gd name="connsiteX90" fmla="*/ 130887 w 536595"/>
                <a:gd name="connsiteY90" fmla="*/ 349729 h 532641"/>
                <a:gd name="connsiteX91" fmla="*/ 125534 w 536595"/>
                <a:gd name="connsiteY91" fmla="*/ 334172 h 532641"/>
                <a:gd name="connsiteX92" fmla="*/ 119649 w 536595"/>
                <a:gd name="connsiteY92" fmla="*/ 318106 h 532641"/>
                <a:gd name="connsiteX93" fmla="*/ 77855 w 536595"/>
                <a:gd name="connsiteY93" fmla="*/ 315947 h 532641"/>
                <a:gd name="connsiteX94" fmla="*/ 50533 w 536595"/>
                <a:gd name="connsiteY94" fmla="*/ 316481 h 532641"/>
                <a:gd name="connsiteX95" fmla="*/ 22717 w 536595"/>
                <a:gd name="connsiteY95" fmla="*/ 317560 h 532641"/>
                <a:gd name="connsiteX96" fmla="*/ 3969 w 536595"/>
                <a:gd name="connsiteY96" fmla="*/ 321116 h 532641"/>
                <a:gd name="connsiteX97" fmla="*/ 3475 w 536595"/>
                <a:gd name="connsiteY97" fmla="*/ 319897 h 532641"/>
                <a:gd name="connsiteX98" fmla="*/ -26 w 536595"/>
                <a:gd name="connsiteY98" fmla="*/ 311629 h 532641"/>
                <a:gd name="connsiteX99" fmla="*/ 3931 w 536595"/>
                <a:gd name="connsiteY99" fmla="*/ 306270 h 532641"/>
                <a:gd name="connsiteX100" fmla="*/ 3931 w 536595"/>
                <a:gd name="connsiteY100" fmla="*/ 291830 h 532641"/>
                <a:gd name="connsiteX101" fmla="*/ 19520 w 536595"/>
                <a:gd name="connsiteY101" fmla="*/ 279359 h 532641"/>
                <a:gd name="connsiteX102" fmla="*/ 19571 w 536595"/>
                <a:gd name="connsiteY102" fmla="*/ 279359 h 532641"/>
                <a:gd name="connsiteX103" fmla="*/ 21093 w 536595"/>
                <a:gd name="connsiteY103" fmla="*/ 281607 h 532641"/>
                <a:gd name="connsiteX104" fmla="*/ 33397 w 536595"/>
                <a:gd name="connsiteY104" fmla="*/ 288046 h 532641"/>
                <a:gd name="connsiteX105" fmla="*/ 43557 w 536595"/>
                <a:gd name="connsiteY105" fmla="*/ 277873 h 532641"/>
                <a:gd name="connsiteX106" fmla="*/ 56457 w 536595"/>
                <a:gd name="connsiteY106" fmla="*/ 271980 h 532641"/>
                <a:gd name="connsiteX107" fmla="*/ 57484 w 536595"/>
                <a:gd name="connsiteY107" fmla="*/ 286966 h 532641"/>
                <a:gd name="connsiteX108" fmla="*/ 65538 w 536595"/>
                <a:gd name="connsiteY108" fmla="*/ 288592 h 532641"/>
                <a:gd name="connsiteX109" fmla="*/ 70878 w 536595"/>
                <a:gd name="connsiteY109" fmla="*/ 283232 h 532641"/>
                <a:gd name="connsiteX110" fmla="*/ 110022 w 536595"/>
                <a:gd name="connsiteY110" fmla="*/ 236039 h 532641"/>
                <a:gd name="connsiteX111" fmla="*/ 144802 w 536595"/>
                <a:gd name="connsiteY111" fmla="*/ 164665 h 532641"/>
                <a:gd name="connsiteX112" fmla="*/ 175903 w 536595"/>
                <a:gd name="connsiteY112" fmla="*/ 60093 h 532641"/>
                <a:gd name="connsiteX113" fmla="*/ 175903 w 536595"/>
                <a:gd name="connsiteY113" fmla="*/ 49883 h 532641"/>
                <a:gd name="connsiteX114" fmla="*/ 175548 w 536595"/>
                <a:gd name="connsiteY114" fmla="*/ 49705 h 532641"/>
                <a:gd name="connsiteX115" fmla="*/ 175371 w 536595"/>
                <a:gd name="connsiteY115" fmla="*/ 27391 h 532641"/>
                <a:gd name="connsiteX116" fmla="*/ 186596 w 536595"/>
                <a:gd name="connsiteY116" fmla="*/ 16088 h 532641"/>
                <a:gd name="connsiteX117" fmla="*/ 204849 w 536595"/>
                <a:gd name="connsiteY117" fmla="*/ 4302 h 532641"/>
                <a:gd name="connsiteX118" fmla="*/ 227313 w 536595"/>
                <a:gd name="connsiteY118" fmla="*/ 17713 h 532641"/>
                <a:gd name="connsiteX119" fmla="*/ 241252 w 536595"/>
                <a:gd name="connsiteY119" fmla="*/ 25232 h 532641"/>
                <a:gd name="connsiteX120" fmla="*/ 258909 w 536595"/>
                <a:gd name="connsiteY120" fmla="*/ 31125 h 532641"/>
                <a:gd name="connsiteX121" fmla="*/ 277694 w 536595"/>
                <a:gd name="connsiteY121" fmla="*/ 33284 h 532641"/>
                <a:gd name="connsiteX122" fmla="*/ 289465 w 536595"/>
                <a:gd name="connsiteY122" fmla="*/ 24686 h 532641"/>
                <a:gd name="connsiteX123" fmla="*/ 297507 w 536595"/>
                <a:gd name="connsiteY123" fmla="*/ 14513 h 532641"/>
                <a:gd name="connsiteX124" fmla="*/ 316254 w 536595"/>
                <a:gd name="connsiteY124" fmla="*/ 17713 h 532641"/>
                <a:gd name="connsiteX125" fmla="*/ 332883 w 536595"/>
                <a:gd name="connsiteY125" fmla="*/ 10195 h 532641"/>
                <a:gd name="connsiteX126" fmla="*/ 346772 w 536595"/>
                <a:gd name="connsiteY126" fmla="*/ 10195 h 532641"/>
                <a:gd name="connsiteX127" fmla="*/ 365557 w 536595"/>
                <a:gd name="connsiteY127" fmla="*/ 3223 h 532641"/>
                <a:gd name="connsiteX128" fmla="*/ 378939 w 536595"/>
                <a:gd name="connsiteY128" fmla="*/ 2194 h 532641"/>
                <a:gd name="connsiteX129" fmla="*/ 393907 w 536595"/>
                <a:gd name="connsiteY129" fmla="*/ 4302 h 532641"/>
                <a:gd name="connsiteX130" fmla="*/ 409457 w 536595"/>
                <a:gd name="connsiteY130" fmla="*/ 7007 h 532641"/>
                <a:gd name="connsiteX131" fmla="*/ 426632 w 536595"/>
                <a:gd name="connsiteY131" fmla="*/ 5928 h 532641"/>
                <a:gd name="connsiteX132" fmla="*/ 448017 w 536595"/>
                <a:gd name="connsiteY132" fmla="*/ 27924 h 532641"/>
                <a:gd name="connsiteX133" fmla="*/ 467843 w 536595"/>
                <a:gd name="connsiteY133" fmla="*/ 25232 h 532641"/>
                <a:gd name="connsiteX134" fmla="*/ 478573 w 536595"/>
                <a:gd name="connsiteY134" fmla="*/ 29004 h 532641"/>
                <a:gd name="connsiteX135" fmla="*/ 488733 w 536595"/>
                <a:gd name="connsiteY135" fmla="*/ 20952 h 532641"/>
                <a:gd name="connsiteX136" fmla="*/ 498399 w 536595"/>
                <a:gd name="connsiteY136" fmla="*/ 29004 h 532641"/>
                <a:gd name="connsiteX137" fmla="*/ 506986 w 536595"/>
                <a:gd name="connsiteY137" fmla="*/ 39176 h 532641"/>
                <a:gd name="connsiteX138" fmla="*/ 517133 w 536595"/>
                <a:gd name="connsiteY138" fmla="*/ 47228 h 532641"/>
                <a:gd name="connsiteX139" fmla="*/ 523120 w 536595"/>
                <a:gd name="connsiteY139" fmla="*/ 48993 h 532641"/>
                <a:gd name="connsiteX140" fmla="*/ 523564 w 536595"/>
                <a:gd name="connsiteY140" fmla="*/ 48714 h 532641"/>
                <a:gd name="connsiteX141" fmla="*/ 523019 w 536595"/>
                <a:gd name="connsiteY141" fmla="*/ 56855 h 532641"/>
                <a:gd name="connsiteX142" fmla="*/ 525175 w 536595"/>
                <a:gd name="connsiteY142" fmla="*/ 81023 h 532641"/>
                <a:gd name="connsiteX143" fmla="*/ 533229 w 536595"/>
                <a:gd name="connsiteY143" fmla="*/ 84757 h 532641"/>
                <a:gd name="connsiteX144" fmla="*/ 534841 w 536595"/>
                <a:gd name="connsiteY144" fmla="*/ 92821 h 532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536595" h="532641">
                  <a:moveTo>
                    <a:pt x="534841" y="92821"/>
                  </a:moveTo>
                  <a:cubicBezTo>
                    <a:pt x="534841" y="98168"/>
                    <a:pt x="527877" y="104607"/>
                    <a:pt x="516068" y="110500"/>
                  </a:cubicBezTo>
                  <a:cubicBezTo>
                    <a:pt x="504284" y="116443"/>
                    <a:pt x="501101" y="129308"/>
                    <a:pt x="497321" y="134655"/>
                  </a:cubicBezTo>
                  <a:cubicBezTo>
                    <a:pt x="493591" y="140014"/>
                    <a:pt x="493591" y="153426"/>
                    <a:pt x="488733" y="165757"/>
                  </a:cubicBezTo>
                  <a:cubicBezTo>
                    <a:pt x="486362" y="173542"/>
                    <a:pt x="486133" y="181823"/>
                    <a:pt x="488061" y="189735"/>
                  </a:cubicBezTo>
                  <a:cubicBezTo>
                    <a:pt x="484155" y="190865"/>
                    <a:pt x="481821" y="189735"/>
                    <a:pt x="479119" y="194726"/>
                  </a:cubicBezTo>
                  <a:cubicBezTo>
                    <a:pt x="475884" y="200619"/>
                    <a:pt x="478586" y="196885"/>
                    <a:pt x="475352" y="205445"/>
                  </a:cubicBezTo>
                  <a:cubicBezTo>
                    <a:pt x="472155" y="214030"/>
                    <a:pt x="475884" y="211871"/>
                    <a:pt x="472155" y="216189"/>
                  </a:cubicBezTo>
                  <a:cubicBezTo>
                    <a:pt x="469936" y="218665"/>
                    <a:pt x="468946" y="222006"/>
                    <a:pt x="469466" y="225282"/>
                  </a:cubicBezTo>
                  <a:cubicBezTo>
                    <a:pt x="474312" y="223161"/>
                    <a:pt x="476963" y="223161"/>
                    <a:pt x="480197" y="225828"/>
                  </a:cubicBezTo>
                  <a:cubicBezTo>
                    <a:pt x="483393" y="228521"/>
                    <a:pt x="482315" y="229600"/>
                    <a:pt x="488733" y="230146"/>
                  </a:cubicBezTo>
                  <a:cubicBezTo>
                    <a:pt x="495165" y="230680"/>
                    <a:pt x="493591" y="230146"/>
                    <a:pt x="498944" y="225828"/>
                  </a:cubicBezTo>
                  <a:cubicBezTo>
                    <a:pt x="504284" y="221548"/>
                    <a:pt x="497866" y="217268"/>
                    <a:pt x="497866" y="217268"/>
                  </a:cubicBezTo>
                  <a:cubicBezTo>
                    <a:pt x="501342" y="217802"/>
                    <a:pt x="504906" y="217230"/>
                    <a:pt x="508064" y="215656"/>
                  </a:cubicBezTo>
                  <a:cubicBezTo>
                    <a:pt x="511654" y="213992"/>
                    <a:pt x="515078" y="217002"/>
                    <a:pt x="517184" y="219567"/>
                  </a:cubicBezTo>
                  <a:cubicBezTo>
                    <a:pt x="516283" y="220113"/>
                    <a:pt x="515345" y="220558"/>
                    <a:pt x="514495" y="221002"/>
                  </a:cubicBezTo>
                  <a:cubicBezTo>
                    <a:pt x="510182" y="223161"/>
                    <a:pt x="512339" y="224787"/>
                    <a:pt x="514495" y="229067"/>
                  </a:cubicBezTo>
                  <a:cubicBezTo>
                    <a:pt x="516601" y="233334"/>
                    <a:pt x="522486" y="232801"/>
                    <a:pt x="523564" y="239227"/>
                  </a:cubicBezTo>
                  <a:cubicBezTo>
                    <a:pt x="524642" y="245666"/>
                    <a:pt x="517679" y="252104"/>
                    <a:pt x="511793" y="255876"/>
                  </a:cubicBezTo>
                  <a:cubicBezTo>
                    <a:pt x="505908" y="259610"/>
                    <a:pt x="505362" y="263928"/>
                    <a:pt x="500023" y="271447"/>
                  </a:cubicBezTo>
                  <a:cubicBezTo>
                    <a:pt x="495253" y="278101"/>
                    <a:pt x="497777" y="276628"/>
                    <a:pt x="490852" y="277746"/>
                  </a:cubicBezTo>
                  <a:cubicBezTo>
                    <a:pt x="491029" y="276908"/>
                    <a:pt x="491118" y="276044"/>
                    <a:pt x="491118" y="275180"/>
                  </a:cubicBezTo>
                  <a:cubicBezTo>
                    <a:pt x="484763" y="267002"/>
                    <a:pt x="481592" y="256778"/>
                    <a:pt x="482226" y="246428"/>
                  </a:cubicBezTo>
                  <a:cubicBezTo>
                    <a:pt x="476963" y="239366"/>
                    <a:pt x="475529" y="250441"/>
                    <a:pt x="476785" y="254263"/>
                  </a:cubicBezTo>
                  <a:cubicBezTo>
                    <a:pt x="474578" y="256054"/>
                    <a:pt x="476151" y="258175"/>
                    <a:pt x="475479" y="260423"/>
                  </a:cubicBezTo>
                  <a:cubicBezTo>
                    <a:pt x="475123" y="263560"/>
                    <a:pt x="475073" y="266722"/>
                    <a:pt x="475352" y="269872"/>
                  </a:cubicBezTo>
                  <a:cubicBezTo>
                    <a:pt x="472878" y="271396"/>
                    <a:pt x="474312" y="272526"/>
                    <a:pt x="476430" y="273161"/>
                  </a:cubicBezTo>
                  <a:cubicBezTo>
                    <a:pt x="477508" y="271637"/>
                    <a:pt x="478941" y="261376"/>
                    <a:pt x="479880" y="266684"/>
                  </a:cubicBezTo>
                  <a:cubicBezTo>
                    <a:pt x="478041" y="278787"/>
                    <a:pt x="470621" y="290751"/>
                    <a:pt x="479576" y="303032"/>
                  </a:cubicBezTo>
                  <a:cubicBezTo>
                    <a:pt x="481960" y="305813"/>
                    <a:pt x="482962" y="309521"/>
                    <a:pt x="482315" y="313115"/>
                  </a:cubicBezTo>
                  <a:cubicBezTo>
                    <a:pt x="481909" y="316265"/>
                    <a:pt x="477051" y="316405"/>
                    <a:pt x="477774" y="319376"/>
                  </a:cubicBezTo>
                  <a:cubicBezTo>
                    <a:pt x="477508" y="322247"/>
                    <a:pt x="479753" y="323428"/>
                    <a:pt x="481643" y="325587"/>
                  </a:cubicBezTo>
                  <a:cubicBezTo>
                    <a:pt x="482810" y="328101"/>
                    <a:pt x="483165" y="334540"/>
                    <a:pt x="486311" y="334540"/>
                  </a:cubicBezTo>
                  <a:cubicBezTo>
                    <a:pt x="484700" y="340154"/>
                    <a:pt x="490180" y="343049"/>
                    <a:pt x="493008" y="347139"/>
                  </a:cubicBezTo>
                  <a:cubicBezTo>
                    <a:pt x="494175" y="350288"/>
                    <a:pt x="497410" y="350606"/>
                    <a:pt x="500149" y="351495"/>
                  </a:cubicBezTo>
                  <a:cubicBezTo>
                    <a:pt x="508064" y="356092"/>
                    <a:pt x="506086" y="365579"/>
                    <a:pt x="508698" y="372513"/>
                  </a:cubicBezTo>
                  <a:cubicBezTo>
                    <a:pt x="514394" y="376425"/>
                    <a:pt x="516689" y="379130"/>
                    <a:pt x="517273" y="381149"/>
                  </a:cubicBezTo>
                  <a:cubicBezTo>
                    <a:pt x="516106" y="381733"/>
                    <a:pt x="514394" y="382584"/>
                    <a:pt x="512872" y="383537"/>
                  </a:cubicBezTo>
                  <a:cubicBezTo>
                    <a:pt x="504843" y="385721"/>
                    <a:pt x="496484" y="386445"/>
                    <a:pt x="488201" y="385696"/>
                  </a:cubicBezTo>
                  <a:cubicBezTo>
                    <a:pt x="478041" y="385150"/>
                    <a:pt x="468376" y="396948"/>
                    <a:pt x="460384" y="409267"/>
                  </a:cubicBezTo>
                  <a:cubicBezTo>
                    <a:pt x="452343" y="421599"/>
                    <a:pt x="460917" y="418944"/>
                    <a:pt x="460917" y="418944"/>
                  </a:cubicBezTo>
                  <a:cubicBezTo>
                    <a:pt x="460917" y="418944"/>
                    <a:pt x="463035" y="441436"/>
                    <a:pt x="463035" y="446846"/>
                  </a:cubicBezTo>
                  <a:cubicBezTo>
                    <a:pt x="463771" y="451786"/>
                    <a:pt x="461716" y="456740"/>
                    <a:pt x="457683" y="459712"/>
                  </a:cubicBezTo>
                  <a:cubicBezTo>
                    <a:pt x="452343" y="464525"/>
                    <a:pt x="454993" y="479015"/>
                    <a:pt x="455526" y="482749"/>
                  </a:cubicBezTo>
                  <a:cubicBezTo>
                    <a:pt x="456072" y="486521"/>
                    <a:pt x="460917" y="487613"/>
                    <a:pt x="466802" y="494040"/>
                  </a:cubicBezTo>
                  <a:cubicBezTo>
                    <a:pt x="472688" y="500478"/>
                    <a:pt x="469454" y="498853"/>
                    <a:pt x="477508" y="502586"/>
                  </a:cubicBezTo>
                  <a:cubicBezTo>
                    <a:pt x="485550" y="506371"/>
                    <a:pt x="483926" y="501507"/>
                    <a:pt x="485550" y="497773"/>
                  </a:cubicBezTo>
                  <a:cubicBezTo>
                    <a:pt x="487161" y="494040"/>
                    <a:pt x="493591" y="494586"/>
                    <a:pt x="493591" y="494586"/>
                  </a:cubicBezTo>
                  <a:cubicBezTo>
                    <a:pt x="494936" y="503984"/>
                    <a:pt x="495456" y="513483"/>
                    <a:pt x="495165" y="522970"/>
                  </a:cubicBezTo>
                  <a:cubicBezTo>
                    <a:pt x="494137" y="531568"/>
                    <a:pt x="494137" y="533194"/>
                    <a:pt x="489824" y="529943"/>
                  </a:cubicBezTo>
                  <a:cubicBezTo>
                    <a:pt x="485550" y="526755"/>
                    <a:pt x="490357" y="528380"/>
                    <a:pt x="483926" y="529943"/>
                  </a:cubicBezTo>
                  <a:cubicBezTo>
                    <a:pt x="477508" y="531568"/>
                    <a:pt x="479664" y="534807"/>
                    <a:pt x="469999" y="530489"/>
                  </a:cubicBezTo>
                  <a:cubicBezTo>
                    <a:pt x="460384" y="526209"/>
                    <a:pt x="466802" y="520316"/>
                    <a:pt x="461957" y="518703"/>
                  </a:cubicBezTo>
                  <a:cubicBezTo>
                    <a:pt x="457150" y="517077"/>
                    <a:pt x="457150" y="511730"/>
                    <a:pt x="453421" y="505292"/>
                  </a:cubicBezTo>
                  <a:cubicBezTo>
                    <a:pt x="449641" y="498853"/>
                    <a:pt x="444288" y="501507"/>
                    <a:pt x="438403" y="501012"/>
                  </a:cubicBezTo>
                  <a:cubicBezTo>
                    <a:pt x="432517" y="500478"/>
                    <a:pt x="434090" y="496694"/>
                    <a:pt x="423930" y="486521"/>
                  </a:cubicBezTo>
                  <a:cubicBezTo>
                    <a:pt x="421685" y="484641"/>
                    <a:pt x="419858" y="482292"/>
                    <a:pt x="418590" y="479638"/>
                  </a:cubicBezTo>
                  <a:cubicBezTo>
                    <a:pt x="419402" y="479003"/>
                    <a:pt x="418222" y="478469"/>
                    <a:pt x="418590" y="479638"/>
                  </a:cubicBezTo>
                  <a:cubicBezTo>
                    <a:pt x="418260" y="479854"/>
                    <a:pt x="417892" y="480006"/>
                    <a:pt x="417512" y="480095"/>
                  </a:cubicBezTo>
                  <a:cubicBezTo>
                    <a:pt x="413237" y="481175"/>
                    <a:pt x="415355" y="485988"/>
                    <a:pt x="411627" y="488642"/>
                  </a:cubicBezTo>
                  <a:cubicBezTo>
                    <a:pt x="407847" y="491347"/>
                    <a:pt x="406273" y="490801"/>
                    <a:pt x="400883" y="490801"/>
                  </a:cubicBezTo>
                  <a:cubicBezTo>
                    <a:pt x="395530" y="490801"/>
                    <a:pt x="397687" y="488642"/>
                    <a:pt x="392879" y="487067"/>
                  </a:cubicBezTo>
                  <a:cubicBezTo>
                    <a:pt x="388034" y="485442"/>
                    <a:pt x="389645" y="488096"/>
                    <a:pt x="383759" y="486521"/>
                  </a:cubicBezTo>
                  <a:cubicBezTo>
                    <a:pt x="377874" y="484908"/>
                    <a:pt x="381058" y="484908"/>
                    <a:pt x="374639" y="484362"/>
                  </a:cubicBezTo>
                  <a:cubicBezTo>
                    <a:pt x="368208" y="483829"/>
                    <a:pt x="371988" y="483829"/>
                    <a:pt x="368208" y="478469"/>
                  </a:cubicBezTo>
                  <a:cubicBezTo>
                    <a:pt x="364479" y="473123"/>
                    <a:pt x="368208" y="469871"/>
                    <a:pt x="366103" y="469338"/>
                  </a:cubicBezTo>
                  <a:cubicBezTo>
                    <a:pt x="363947" y="468792"/>
                    <a:pt x="359672" y="471497"/>
                    <a:pt x="352708" y="471497"/>
                  </a:cubicBezTo>
                  <a:cubicBezTo>
                    <a:pt x="345745" y="471497"/>
                    <a:pt x="351085" y="478469"/>
                    <a:pt x="341420" y="474697"/>
                  </a:cubicBezTo>
                  <a:cubicBezTo>
                    <a:pt x="331805" y="470964"/>
                    <a:pt x="341965" y="468792"/>
                    <a:pt x="339314" y="463979"/>
                  </a:cubicBezTo>
                  <a:cubicBezTo>
                    <a:pt x="336612" y="459165"/>
                    <a:pt x="335001" y="460791"/>
                    <a:pt x="331272" y="458086"/>
                  </a:cubicBezTo>
                  <a:cubicBezTo>
                    <a:pt x="329433" y="456778"/>
                    <a:pt x="329521" y="458136"/>
                    <a:pt x="328799" y="459712"/>
                  </a:cubicBezTo>
                  <a:cubicBezTo>
                    <a:pt x="327987" y="461324"/>
                    <a:pt x="326325" y="463178"/>
                    <a:pt x="320529" y="462366"/>
                  </a:cubicBezTo>
                  <a:cubicBezTo>
                    <a:pt x="309290" y="460791"/>
                    <a:pt x="316799" y="462366"/>
                    <a:pt x="308758" y="464525"/>
                  </a:cubicBezTo>
                  <a:cubicBezTo>
                    <a:pt x="300716" y="466684"/>
                    <a:pt x="305561" y="466138"/>
                    <a:pt x="297520" y="465604"/>
                  </a:cubicBezTo>
                  <a:cubicBezTo>
                    <a:pt x="289478" y="465058"/>
                    <a:pt x="291634" y="467217"/>
                    <a:pt x="281969" y="468258"/>
                  </a:cubicBezTo>
                  <a:cubicBezTo>
                    <a:pt x="272354" y="469338"/>
                    <a:pt x="280891" y="466684"/>
                    <a:pt x="280358" y="455927"/>
                  </a:cubicBezTo>
                  <a:cubicBezTo>
                    <a:pt x="280726" y="447672"/>
                    <a:pt x="279267" y="439429"/>
                    <a:pt x="276083" y="431809"/>
                  </a:cubicBezTo>
                  <a:cubicBezTo>
                    <a:pt x="272354" y="423758"/>
                    <a:pt x="270731" y="422132"/>
                    <a:pt x="268574" y="416786"/>
                  </a:cubicBezTo>
                  <a:cubicBezTo>
                    <a:pt x="267788" y="400860"/>
                    <a:pt x="268156" y="384908"/>
                    <a:pt x="269652" y="369046"/>
                  </a:cubicBezTo>
                  <a:cubicBezTo>
                    <a:pt x="269361" y="365262"/>
                    <a:pt x="268828" y="361502"/>
                    <a:pt x="268041" y="357794"/>
                  </a:cubicBezTo>
                  <a:cubicBezTo>
                    <a:pt x="266963" y="353476"/>
                    <a:pt x="232133" y="356168"/>
                    <a:pt x="232133" y="356168"/>
                  </a:cubicBezTo>
                  <a:cubicBezTo>
                    <a:pt x="232932" y="353362"/>
                    <a:pt x="233464" y="350491"/>
                    <a:pt x="233756" y="347583"/>
                  </a:cubicBezTo>
                  <a:cubicBezTo>
                    <a:pt x="233756" y="344916"/>
                    <a:pt x="235367" y="347037"/>
                    <a:pt x="227325" y="347037"/>
                  </a:cubicBezTo>
                  <a:cubicBezTo>
                    <a:pt x="222657" y="346821"/>
                    <a:pt x="217977" y="347177"/>
                    <a:pt x="213398" y="348116"/>
                  </a:cubicBezTo>
                  <a:cubicBezTo>
                    <a:pt x="206422" y="349196"/>
                    <a:pt x="205344" y="352981"/>
                    <a:pt x="200536" y="362607"/>
                  </a:cubicBezTo>
                  <a:cubicBezTo>
                    <a:pt x="195729" y="372285"/>
                    <a:pt x="199458" y="372285"/>
                    <a:pt x="196807" y="376552"/>
                  </a:cubicBezTo>
                  <a:cubicBezTo>
                    <a:pt x="194118" y="380832"/>
                    <a:pt x="189843" y="376552"/>
                    <a:pt x="180723" y="375472"/>
                  </a:cubicBezTo>
                  <a:cubicBezTo>
                    <a:pt x="171604" y="374393"/>
                    <a:pt x="173214" y="378177"/>
                    <a:pt x="164627" y="378711"/>
                  </a:cubicBezTo>
                  <a:cubicBezTo>
                    <a:pt x="159351" y="379790"/>
                    <a:pt x="153960" y="380159"/>
                    <a:pt x="148582" y="379790"/>
                  </a:cubicBezTo>
                  <a:cubicBezTo>
                    <a:pt x="142163" y="378711"/>
                    <a:pt x="144815" y="374393"/>
                    <a:pt x="138929" y="366887"/>
                  </a:cubicBezTo>
                  <a:cubicBezTo>
                    <a:pt x="134312" y="362302"/>
                    <a:pt x="131458" y="356219"/>
                    <a:pt x="130887" y="349729"/>
                  </a:cubicBezTo>
                  <a:cubicBezTo>
                    <a:pt x="130392" y="343303"/>
                    <a:pt x="127145" y="342224"/>
                    <a:pt x="125534" y="334172"/>
                  </a:cubicBezTo>
                  <a:cubicBezTo>
                    <a:pt x="124837" y="328432"/>
                    <a:pt x="122820" y="322933"/>
                    <a:pt x="119649" y="318106"/>
                  </a:cubicBezTo>
                  <a:cubicBezTo>
                    <a:pt x="115920" y="311668"/>
                    <a:pt x="98213" y="317027"/>
                    <a:pt x="77855" y="315947"/>
                  </a:cubicBezTo>
                  <a:cubicBezTo>
                    <a:pt x="57497" y="314868"/>
                    <a:pt x="59653" y="317027"/>
                    <a:pt x="50533" y="316481"/>
                  </a:cubicBezTo>
                  <a:cubicBezTo>
                    <a:pt x="41248" y="315985"/>
                    <a:pt x="31925" y="316354"/>
                    <a:pt x="22717" y="317560"/>
                  </a:cubicBezTo>
                  <a:cubicBezTo>
                    <a:pt x="16539" y="319135"/>
                    <a:pt x="10286" y="320329"/>
                    <a:pt x="3969" y="321116"/>
                  </a:cubicBezTo>
                  <a:cubicBezTo>
                    <a:pt x="3842" y="320710"/>
                    <a:pt x="3652" y="320304"/>
                    <a:pt x="3475" y="319897"/>
                  </a:cubicBezTo>
                  <a:cubicBezTo>
                    <a:pt x="2358" y="317103"/>
                    <a:pt x="1179" y="314373"/>
                    <a:pt x="-26" y="311629"/>
                  </a:cubicBezTo>
                  <a:cubicBezTo>
                    <a:pt x="2485" y="310994"/>
                    <a:pt x="3931" y="315541"/>
                    <a:pt x="3931" y="306270"/>
                  </a:cubicBezTo>
                  <a:cubicBezTo>
                    <a:pt x="3931" y="296643"/>
                    <a:pt x="202" y="294484"/>
                    <a:pt x="3931" y="291830"/>
                  </a:cubicBezTo>
                  <a:cubicBezTo>
                    <a:pt x="7483" y="289303"/>
                    <a:pt x="18176" y="280489"/>
                    <a:pt x="19520" y="279359"/>
                  </a:cubicBezTo>
                  <a:lnTo>
                    <a:pt x="19571" y="279359"/>
                  </a:lnTo>
                  <a:cubicBezTo>
                    <a:pt x="20104" y="280083"/>
                    <a:pt x="20598" y="280883"/>
                    <a:pt x="21093" y="281607"/>
                  </a:cubicBezTo>
                  <a:cubicBezTo>
                    <a:pt x="24492" y="284896"/>
                    <a:pt x="28767" y="287131"/>
                    <a:pt x="33397" y="288046"/>
                  </a:cubicBezTo>
                  <a:cubicBezTo>
                    <a:pt x="37126" y="289125"/>
                    <a:pt x="41451" y="277873"/>
                    <a:pt x="43557" y="277873"/>
                  </a:cubicBezTo>
                  <a:cubicBezTo>
                    <a:pt x="45713" y="277873"/>
                    <a:pt x="54833" y="271980"/>
                    <a:pt x="56457" y="271980"/>
                  </a:cubicBezTo>
                  <a:cubicBezTo>
                    <a:pt x="58029" y="271980"/>
                    <a:pt x="57484" y="285391"/>
                    <a:pt x="57484" y="286966"/>
                  </a:cubicBezTo>
                  <a:cubicBezTo>
                    <a:pt x="57484" y="288592"/>
                    <a:pt x="63420" y="289671"/>
                    <a:pt x="65538" y="288592"/>
                  </a:cubicBezTo>
                  <a:cubicBezTo>
                    <a:pt x="67593" y="287106"/>
                    <a:pt x="69394" y="285290"/>
                    <a:pt x="70878" y="283232"/>
                  </a:cubicBezTo>
                  <a:cubicBezTo>
                    <a:pt x="84869" y="268310"/>
                    <a:pt x="97934" y="252549"/>
                    <a:pt x="110022" y="236039"/>
                  </a:cubicBezTo>
                  <a:cubicBezTo>
                    <a:pt x="123328" y="213116"/>
                    <a:pt x="134946" y="189265"/>
                    <a:pt x="144802" y="164665"/>
                  </a:cubicBezTo>
                  <a:cubicBezTo>
                    <a:pt x="151778" y="146987"/>
                    <a:pt x="175903" y="60093"/>
                    <a:pt x="175903" y="60093"/>
                  </a:cubicBezTo>
                  <a:cubicBezTo>
                    <a:pt x="175903" y="60093"/>
                    <a:pt x="178022" y="50962"/>
                    <a:pt x="175903" y="49883"/>
                  </a:cubicBezTo>
                  <a:cubicBezTo>
                    <a:pt x="175776" y="49832"/>
                    <a:pt x="175662" y="49781"/>
                    <a:pt x="175548" y="49705"/>
                  </a:cubicBezTo>
                  <a:cubicBezTo>
                    <a:pt x="175548" y="49705"/>
                    <a:pt x="171591" y="28470"/>
                    <a:pt x="175371" y="27391"/>
                  </a:cubicBezTo>
                  <a:cubicBezTo>
                    <a:pt x="179100" y="26311"/>
                    <a:pt x="182334" y="22527"/>
                    <a:pt x="186596" y="16088"/>
                  </a:cubicBezTo>
                  <a:cubicBezTo>
                    <a:pt x="190275" y="9306"/>
                    <a:pt x="197149" y="4861"/>
                    <a:pt x="204849" y="4302"/>
                  </a:cubicBezTo>
                  <a:cubicBezTo>
                    <a:pt x="214463" y="3223"/>
                    <a:pt x="219816" y="10195"/>
                    <a:pt x="227313" y="17713"/>
                  </a:cubicBezTo>
                  <a:cubicBezTo>
                    <a:pt x="234821" y="25232"/>
                    <a:pt x="233211" y="24686"/>
                    <a:pt x="241252" y="25232"/>
                  </a:cubicBezTo>
                  <a:cubicBezTo>
                    <a:pt x="249294" y="25765"/>
                    <a:pt x="247670" y="30045"/>
                    <a:pt x="258909" y="31125"/>
                  </a:cubicBezTo>
                  <a:cubicBezTo>
                    <a:pt x="270185" y="32204"/>
                    <a:pt x="264299" y="32204"/>
                    <a:pt x="277694" y="33284"/>
                  </a:cubicBezTo>
                  <a:cubicBezTo>
                    <a:pt x="291088" y="34363"/>
                    <a:pt x="284125" y="32204"/>
                    <a:pt x="289465" y="24686"/>
                  </a:cubicBezTo>
                  <a:cubicBezTo>
                    <a:pt x="294818" y="17167"/>
                    <a:pt x="292662" y="18793"/>
                    <a:pt x="297507" y="14513"/>
                  </a:cubicBezTo>
                  <a:cubicBezTo>
                    <a:pt x="302327" y="10195"/>
                    <a:pt x="308745" y="20952"/>
                    <a:pt x="316254" y="17713"/>
                  </a:cubicBezTo>
                  <a:cubicBezTo>
                    <a:pt x="323763" y="14513"/>
                    <a:pt x="318943" y="13433"/>
                    <a:pt x="332883" y="10195"/>
                  </a:cubicBezTo>
                  <a:cubicBezTo>
                    <a:pt x="346772" y="7007"/>
                    <a:pt x="341420" y="5382"/>
                    <a:pt x="346772" y="10195"/>
                  </a:cubicBezTo>
                  <a:cubicBezTo>
                    <a:pt x="352163" y="15059"/>
                    <a:pt x="357503" y="9115"/>
                    <a:pt x="365557" y="3223"/>
                  </a:cubicBezTo>
                  <a:cubicBezTo>
                    <a:pt x="373548" y="-2670"/>
                    <a:pt x="371976" y="1114"/>
                    <a:pt x="378939" y="2194"/>
                  </a:cubicBezTo>
                  <a:cubicBezTo>
                    <a:pt x="383987" y="2435"/>
                    <a:pt x="388998" y="3146"/>
                    <a:pt x="393907" y="4302"/>
                  </a:cubicBezTo>
                  <a:cubicBezTo>
                    <a:pt x="398967" y="5813"/>
                    <a:pt x="404194" y="6715"/>
                    <a:pt x="409457" y="7007"/>
                  </a:cubicBezTo>
                  <a:cubicBezTo>
                    <a:pt x="415203" y="7312"/>
                    <a:pt x="420962" y="6956"/>
                    <a:pt x="426632" y="5928"/>
                  </a:cubicBezTo>
                  <a:cubicBezTo>
                    <a:pt x="431972" y="5928"/>
                    <a:pt x="441599" y="24686"/>
                    <a:pt x="448017" y="27924"/>
                  </a:cubicBezTo>
                  <a:cubicBezTo>
                    <a:pt x="454448" y="31125"/>
                    <a:pt x="457683" y="26311"/>
                    <a:pt x="467843" y="25232"/>
                  </a:cubicBezTo>
                  <a:cubicBezTo>
                    <a:pt x="478041" y="24152"/>
                    <a:pt x="475884" y="29004"/>
                    <a:pt x="478573" y="29004"/>
                  </a:cubicBezTo>
                  <a:cubicBezTo>
                    <a:pt x="481275" y="29004"/>
                    <a:pt x="483393" y="23060"/>
                    <a:pt x="488733" y="20952"/>
                  </a:cubicBezTo>
                  <a:cubicBezTo>
                    <a:pt x="494124" y="18793"/>
                    <a:pt x="495165" y="26311"/>
                    <a:pt x="498399" y="29004"/>
                  </a:cubicBezTo>
                  <a:cubicBezTo>
                    <a:pt x="501582" y="31658"/>
                    <a:pt x="495165" y="34363"/>
                    <a:pt x="506986" y="39176"/>
                  </a:cubicBezTo>
                  <a:cubicBezTo>
                    <a:pt x="518757" y="43990"/>
                    <a:pt x="513950" y="42415"/>
                    <a:pt x="517133" y="47228"/>
                  </a:cubicBezTo>
                  <a:cubicBezTo>
                    <a:pt x="518300" y="49374"/>
                    <a:pt x="520989" y="50162"/>
                    <a:pt x="523120" y="48993"/>
                  </a:cubicBezTo>
                  <a:cubicBezTo>
                    <a:pt x="523273" y="48904"/>
                    <a:pt x="523425" y="48816"/>
                    <a:pt x="523564" y="48714"/>
                  </a:cubicBezTo>
                  <a:cubicBezTo>
                    <a:pt x="523856" y="51444"/>
                    <a:pt x="523678" y="54200"/>
                    <a:pt x="523019" y="56855"/>
                  </a:cubicBezTo>
                  <a:cubicBezTo>
                    <a:pt x="521446" y="64957"/>
                    <a:pt x="522194" y="73339"/>
                    <a:pt x="525175" y="81023"/>
                  </a:cubicBezTo>
                  <a:cubicBezTo>
                    <a:pt x="528917" y="88541"/>
                    <a:pt x="526799" y="83677"/>
                    <a:pt x="533229" y="84757"/>
                  </a:cubicBezTo>
                  <a:cubicBezTo>
                    <a:pt x="539648" y="85836"/>
                    <a:pt x="534841" y="87462"/>
                    <a:pt x="534841" y="92821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3" name="Vrije vorm 252">
              <a:extLst>
                <a:ext uri="{FF2B5EF4-FFF2-40B4-BE49-F238E27FC236}">
                  <a16:creationId xmlns:a16="http://schemas.microsoft.com/office/drawing/2014/main" id="{0FF08F96-3500-0A48-B865-E3EF71D63062}"/>
                </a:ext>
              </a:extLst>
            </p:cNvPr>
            <p:cNvSpPr/>
            <p:nvPr/>
          </p:nvSpPr>
          <p:spPr>
            <a:xfrm>
              <a:off x="5511752" y="4042922"/>
              <a:ext cx="88628" cy="176232"/>
            </a:xfrm>
            <a:custGeom>
              <a:avLst/>
              <a:gdLst>
                <a:gd name="connsiteX0" fmla="*/ 81173 w 88628"/>
                <a:gd name="connsiteY0" fmla="*/ 70265 h 176232"/>
                <a:gd name="connsiteX1" fmla="*/ 63999 w 88628"/>
                <a:gd name="connsiteY1" fmla="*/ 97621 h 176232"/>
                <a:gd name="connsiteX2" fmla="*/ 54929 w 88628"/>
                <a:gd name="connsiteY2" fmla="*/ 103564 h 176232"/>
                <a:gd name="connsiteX3" fmla="*/ 55424 w 88628"/>
                <a:gd name="connsiteY3" fmla="*/ 170468 h 176232"/>
                <a:gd name="connsiteX4" fmla="*/ 28280 w 88628"/>
                <a:gd name="connsiteY4" fmla="*/ 176234 h 176232"/>
                <a:gd name="connsiteX5" fmla="*/ 28140 w 88628"/>
                <a:gd name="connsiteY5" fmla="*/ 173796 h 176232"/>
                <a:gd name="connsiteX6" fmla="*/ 23295 w 88628"/>
                <a:gd name="connsiteY6" fmla="*/ 162010 h 176232"/>
                <a:gd name="connsiteX7" fmla="*/ 23295 w 88628"/>
                <a:gd name="connsiteY7" fmla="*/ 141626 h 176232"/>
                <a:gd name="connsiteX8" fmla="*/ 23828 w 88628"/>
                <a:gd name="connsiteY8" fmla="*/ 114271 h 176232"/>
                <a:gd name="connsiteX9" fmla="*/ 21710 w 88628"/>
                <a:gd name="connsiteY9" fmla="*/ 93887 h 176232"/>
                <a:gd name="connsiteX10" fmla="*/ 17397 w 88628"/>
                <a:gd name="connsiteY10" fmla="*/ 80476 h 176232"/>
                <a:gd name="connsiteX11" fmla="*/ 13135 w 88628"/>
                <a:gd name="connsiteY11" fmla="*/ 70799 h 176232"/>
                <a:gd name="connsiteX12" fmla="*/ 1859 w 88628"/>
                <a:gd name="connsiteY12" fmla="*/ 57387 h 176232"/>
                <a:gd name="connsiteX13" fmla="*/ 2392 w 88628"/>
                <a:gd name="connsiteY13" fmla="*/ 45602 h 176232"/>
                <a:gd name="connsiteX14" fmla="*/ 6616 w 88628"/>
                <a:gd name="connsiteY14" fmla="*/ 39849 h 176232"/>
                <a:gd name="connsiteX15" fmla="*/ 8328 w 88628"/>
                <a:gd name="connsiteY15" fmla="*/ 36470 h 176232"/>
                <a:gd name="connsiteX16" fmla="*/ 20644 w 88628"/>
                <a:gd name="connsiteY16" fmla="*/ 30032 h 176232"/>
                <a:gd name="connsiteX17" fmla="*/ 35612 w 88628"/>
                <a:gd name="connsiteY17" fmla="*/ 30032 h 176232"/>
                <a:gd name="connsiteX18" fmla="*/ 45264 w 88628"/>
                <a:gd name="connsiteY18" fmla="*/ 19871 h 176232"/>
                <a:gd name="connsiteX19" fmla="*/ 46748 w 88628"/>
                <a:gd name="connsiteY19" fmla="*/ 15046 h 176232"/>
                <a:gd name="connsiteX20" fmla="*/ 45810 w 88628"/>
                <a:gd name="connsiteY20" fmla="*/ 9648 h 176232"/>
                <a:gd name="connsiteX21" fmla="*/ 48993 w 88628"/>
                <a:gd name="connsiteY21" fmla="*/ 4301 h 176232"/>
                <a:gd name="connsiteX22" fmla="*/ 61893 w 88628"/>
                <a:gd name="connsiteY22" fmla="*/ 21 h 176232"/>
                <a:gd name="connsiteX23" fmla="*/ 70430 w 88628"/>
                <a:gd name="connsiteY23" fmla="*/ 13979 h 176232"/>
                <a:gd name="connsiteX24" fmla="*/ 79562 w 88628"/>
                <a:gd name="connsiteY24" fmla="*/ 16633 h 176232"/>
                <a:gd name="connsiteX25" fmla="*/ 78484 w 88628"/>
                <a:gd name="connsiteY25" fmla="*/ 20938 h 176232"/>
                <a:gd name="connsiteX26" fmla="*/ 81173 w 88628"/>
                <a:gd name="connsiteY26" fmla="*/ 37004 h 176232"/>
                <a:gd name="connsiteX27" fmla="*/ 87604 w 88628"/>
                <a:gd name="connsiteY27" fmla="*/ 54200 h 176232"/>
                <a:gd name="connsiteX28" fmla="*/ 81173 w 88628"/>
                <a:gd name="connsiteY28" fmla="*/ 70265 h 176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88628" h="176232">
                  <a:moveTo>
                    <a:pt x="81173" y="70265"/>
                  </a:moveTo>
                  <a:cubicBezTo>
                    <a:pt x="66701" y="83664"/>
                    <a:pt x="73664" y="96580"/>
                    <a:pt x="63999" y="97621"/>
                  </a:cubicBezTo>
                  <a:cubicBezTo>
                    <a:pt x="54384" y="98700"/>
                    <a:pt x="54929" y="95500"/>
                    <a:pt x="54929" y="103564"/>
                  </a:cubicBezTo>
                  <a:cubicBezTo>
                    <a:pt x="54929" y="110448"/>
                    <a:pt x="55336" y="157463"/>
                    <a:pt x="55424" y="170468"/>
                  </a:cubicBezTo>
                  <a:cubicBezTo>
                    <a:pt x="46266" y="171814"/>
                    <a:pt x="37197" y="173745"/>
                    <a:pt x="28280" y="176234"/>
                  </a:cubicBezTo>
                  <a:cubicBezTo>
                    <a:pt x="28470" y="175421"/>
                    <a:pt x="28420" y="174583"/>
                    <a:pt x="28140" y="173796"/>
                  </a:cubicBezTo>
                  <a:cubicBezTo>
                    <a:pt x="26530" y="168436"/>
                    <a:pt x="25984" y="168982"/>
                    <a:pt x="23295" y="162010"/>
                  </a:cubicBezTo>
                  <a:cubicBezTo>
                    <a:pt x="21963" y="155279"/>
                    <a:pt x="21963" y="148357"/>
                    <a:pt x="23295" y="141626"/>
                  </a:cubicBezTo>
                  <a:cubicBezTo>
                    <a:pt x="23295" y="135734"/>
                    <a:pt x="23295" y="120163"/>
                    <a:pt x="23828" y="114271"/>
                  </a:cubicBezTo>
                  <a:cubicBezTo>
                    <a:pt x="24120" y="107400"/>
                    <a:pt x="23409" y="100542"/>
                    <a:pt x="21710" y="93887"/>
                  </a:cubicBezTo>
                  <a:cubicBezTo>
                    <a:pt x="20099" y="86915"/>
                    <a:pt x="17397" y="84210"/>
                    <a:pt x="17397" y="80476"/>
                  </a:cubicBezTo>
                  <a:cubicBezTo>
                    <a:pt x="17740" y="76729"/>
                    <a:pt x="16129" y="73085"/>
                    <a:pt x="13135" y="70799"/>
                  </a:cubicBezTo>
                  <a:cubicBezTo>
                    <a:pt x="8975" y="66684"/>
                    <a:pt x="5195" y="62201"/>
                    <a:pt x="1859" y="57387"/>
                  </a:cubicBezTo>
                  <a:cubicBezTo>
                    <a:pt x="-1870" y="52574"/>
                    <a:pt x="819" y="50961"/>
                    <a:pt x="2392" y="45602"/>
                  </a:cubicBezTo>
                  <a:cubicBezTo>
                    <a:pt x="3165" y="43290"/>
                    <a:pt x="4649" y="41271"/>
                    <a:pt x="6616" y="39849"/>
                  </a:cubicBezTo>
                  <a:cubicBezTo>
                    <a:pt x="7605" y="38985"/>
                    <a:pt x="8214" y="37779"/>
                    <a:pt x="8328" y="36470"/>
                  </a:cubicBezTo>
                  <a:cubicBezTo>
                    <a:pt x="8823" y="32191"/>
                    <a:pt x="14213" y="32191"/>
                    <a:pt x="20644" y="30032"/>
                  </a:cubicBezTo>
                  <a:cubicBezTo>
                    <a:pt x="27062" y="27923"/>
                    <a:pt x="31337" y="30578"/>
                    <a:pt x="35612" y="30032"/>
                  </a:cubicBezTo>
                  <a:cubicBezTo>
                    <a:pt x="39924" y="29498"/>
                    <a:pt x="42575" y="23059"/>
                    <a:pt x="45264" y="19871"/>
                  </a:cubicBezTo>
                  <a:cubicBezTo>
                    <a:pt x="46406" y="18538"/>
                    <a:pt x="46951" y="16798"/>
                    <a:pt x="46748" y="15046"/>
                  </a:cubicBezTo>
                  <a:cubicBezTo>
                    <a:pt x="46660" y="13344"/>
                    <a:pt x="46076" y="11591"/>
                    <a:pt x="45810" y="9648"/>
                  </a:cubicBezTo>
                  <a:cubicBezTo>
                    <a:pt x="45264" y="5914"/>
                    <a:pt x="46342" y="6460"/>
                    <a:pt x="48993" y="4301"/>
                  </a:cubicBezTo>
                  <a:cubicBezTo>
                    <a:pt x="53002" y="2092"/>
                    <a:pt x="57378" y="644"/>
                    <a:pt x="61893" y="21"/>
                  </a:cubicBezTo>
                  <a:cubicBezTo>
                    <a:pt x="65089" y="-512"/>
                    <a:pt x="67246" y="9648"/>
                    <a:pt x="70430" y="13979"/>
                  </a:cubicBezTo>
                  <a:cubicBezTo>
                    <a:pt x="72738" y="16506"/>
                    <a:pt x="76264" y="17535"/>
                    <a:pt x="79562" y="16633"/>
                  </a:cubicBezTo>
                  <a:cubicBezTo>
                    <a:pt x="79106" y="18043"/>
                    <a:pt x="78751" y="19491"/>
                    <a:pt x="78484" y="20938"/>
                  </a:cubicBezTo>
                  <a:cubicBezTo>
                    <a:pt x="78319" y="26425"/>
                    <a:pt x="79233" y="31886"/>
                    <a:pt x="81173" y="37004"/>
                  </a:cubicBezTo>
                  <a:cubicBezTo>
                    <a:pt x="82746" y="41322"/>
                    <a:pt x="91333" y="50415"/>
                    <a:pt x="87604" y="54200"/>
                  </a:cubicBezTo>
                  <a:cubicBezTo>
                    <a:pt x="83824" y="57934"/>
                    <a:pt x="95646" y="56854"/>
                    <a:pt x="81173" y="70265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4" name="Vrije vorm 253">
              <a:extLst>
                <a:ext uri="{FF2B5EF4-FFF2-40B4-BE49-F238E27FC236}">
                  <a16:creationId xmlns:a16="http://schemas.microsoft.com/office/drawing/2014/main" id="{1342C415-4137-CF46-A851-261FC5C92CBD}"/>
                </a:ext>
              </a:extLst>
            </p:cNvPr>
            <p:cNvSpPr/>
            <p:nvPr/>
          </p:nvSpPr>
          <p:spPr>
            <a:xfrm>
              <a:off x="5400611" y="4077507"/>
              <a:ext cx="123135" cy="179017"/>
            </a:xfrm>
            <a:custGeom>
              <a:avLst/>
              <a:gdLst>
                <a:gd name="connsiteX0" fmla="*/ 123109 w 123135"/>
                <a:gd name="connsiteY0" fmla="*/ 146551 h 179017"/>
                <a:gd name="connsiteX1" fmla="*/ 43376 w 123135"/>
                <a:gd name="connsiteY1" fmla="*/ 176650 h 179017"/>
                <a:gd name="connsiteX2" fmla="*/ 21407 w 123135"/>
                <a:gd name="connsiteY2" fmla="*/ 176739 h 179017"/>
                <a:gd name="connsiteX3" fmla="*/ 12110 w 123135"/>
                <a:gd name="connsiteY3" fmla="*/ 173094 h 179017"/>
                <a:gd name="connsiteX4" fmla="*/ 11247 w 123135"/>
                <a:gd name="connsiteY4" fmla="*/ 167112 h 179017"/>
                <a:gd name="connsiteX5" fmla="*/ 2660 w 123135"/>
                <a:gd name="connsiteY5" fmla="*/ 154781 h 179017"/>
                <a:gd name="connsiteX6" fmla="*/ 5311 w 123135"/>
                <a:gd name="connsiteY6" fmla="*/ 107575 h 179017"/>
                <a:gd name="connsiteX7" fmla="*/ 17678 w 123135"/>
                <a:gd name="connsiteY7" fmla="*/ 82873 h 179017"/>
                <a:gd name="connsiteX8" fmla="*/ 13543 w 123135"/>
                <a:gd name="connsiteY8" fmla="*/ 52952 h 179017"/>
                <a:gd name="connsiteX9" fmla="*/ 13493 w 123135"/>
                <a:gd name="connsiteY9" fmla="*/ 52774 h 179017"/>
                <a:gd name="connsiteX10" fmla="*/ 13366 w 123135"/>
                <a:gd name="connsiteY10" fmla="*/ 51784 h 179017"/>
                <a:gd name="connsiteX11" fmla="*/ 10169 w 123135"/>
                <a:gd name="connsiteY11" fmla="*/ 20148 h 179017"/>
                <a:gd name="connsiteX12" fmla="*/ 11742 w 123135"/>
                <a:gd name="connsiteY12" fmla="*/ 6203 h 179017"/>
                <a:gd name="connsiteX13" fmla="*/ 25669 w 123135"/>
                <a:gd name="connsiteY13" fmla="*/ 5657 h 179017"/>
                <a:gd name="connsiteX14" fmla="*/ 64813 w 123135"/>
                <a:gd name="connsiteY14" fmla="*/ 5657 h 179017"/>
                <a:gd name="connsiteX15" fmla="*/ 80326 w 123135"/>
                <a:gd name="connsiteY15" fmla="*/ 310 h 179017"/>
                <a:gd name="connsiteX16" fmla="*/ 88900 w 123135"/>
                <a:gd name="connsiteY16" fmla="*/ 2876 h 179017"/>
                <a:gd name="connsiteX17" fmla="*/ 88900 w 123135"/>
                <a:gd name="connsiteY17" fmla="*/ 3143 h 179017"/>
                <a:gd name="connsiteX18" fmla="*/ 92147 w 123135"/>
                <a:gd name="connsiteY18" fmla="*/ 19614 h 179017"/>
                <a:gd name="connsiteX19" fmla="*/ 99606 w 123135"/>
                <a:gd name="connsiteY19" fmla="*/ 29774 h 179017"/>
                <a:gd name="connsiteX20" fmla="*/ 101216 w 123135"/>
                <a:gd name="connsiteY20" fmla="*/ 51784 h 179017"/>
                <a:gd name="connsiteX21" fmla="*/ 102295 w 123135"/>
                <a:gd name="connsiteY21" fmla="*/ 65728 h 179017"/>
                <a:gd name="connsiteX22" fmla="*/ 107102 w 123135"/>
                <a:gd name="connsiteY22" fmla="*/ 80219 h 179017"/>
                <a:gd name="connsiteX23" fmla="*/ 103918 w 123135"/>
                <a:gd name="connsiteY23" fmla="*/ 102228 h 179017"/>
                <a:gd name="connsiteX24" fmla="*/ 106569 w 123135"/>
                <a:gd name="connsiteY24" fmla="*/ 111855 h 179017"/>
                <a:gd name="connsiteX25" fmla="*/ 106569 w 123135"/>
                <a:gd name="connsiteY25" fmla="*/ 129584 h 179017"/>
                <a:gd name="connsiteX26" fmla="*/ 123109 w 123135"/>
                <a:gd name="connsiteY26" fmla="*/ 146551 h 179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23135" h="179017">
                  <a:moveTo>
                    <a:pt x="123109" y="146551"/>
                  </a:moveTo>
                  <a:cubicBezTo>
                    <a:pt x="96092" y="155365"/>
                    <a:pt x="70165" y="167252"/>
                    <a:pt x="43376" y="176650"/>
                  </a:cubicBezTo>
                  <a:cubicBezTo>
                    <a:pt x="36400" y="179774"/>
                    <a:pt x="28422" y="179812"/>
                    <a:pt x="21407" y="176739"/>
                  </a:cubicBezTo>
                  <a:cubicBezTo>
                    <a:pt x="18300" y="175393"/>
                    <a:pt x="15205" y="174173"/>
                    <a:pt x="12110" y="173094"/>
                  </a:cubicBezTo>
                  <a:cubicBezTo>
                    <a:pt x="12592" y="172103"/>
                    <a:pt x="12415" y="170478"/>
                    <a:pt x="11247" y="167112"/>
                  </a:cubicBezTo>
                  <a:cubicBezTo>
                    <a:pt x="8013" y="157968"/>
                    <a:pt x="3751" y="161219"/>
                    <a:pt x="2660" y="154781"/>
                  </a:cubicBezTo>
                  <a:cubicBezTo>
                    <a:pt x="-1678" y="139185"/>
                    <a:pt x="-739" y="122586"/>
                    <a:pt x="5311" y="107575"/>
                  </a:cubicBezTo>
                  <a:cubicBezTo>
                    <a:pt x="14977" y="88271"/>
                    <a:pt x="17133" y="90392"/>
                    <a:pt x="17678" y="82873"/>
                  </a:cubicBezTo>
                  <a:cubicBezTo>
                    <a:pt x="17108" y="72802"/>
                    <a:pt x="15725" y="62794"/>
                    <a:pt x="13543" y="52952"/>
                  </a:cubicBezTo>
                  <a:lnTo>
                    <a:pt x="13493" y="52774"/>
                  </a:lnTo>
                  <a:cubicBezTo>
                    <a:pt x="13455" y="52419"/>
                    <a:pt x="13404" y="52101"/>
                    <a:pt x="13366" y="51784"/>
                  </a:cubicBezTo>
                  <a:cubicBezTo>
                    <a:pt x="12288" y="44265"/>
                    <a:pt x="11247" y="29241"/>
                    <a:pt x="10169" y="20148"/>
                  </a:cubicBezTo>
                  <a:cubicBezTo>
                    <a:pt x="9091" y="11017"/>
                    <a:pt x="9637" y="8362"/>
                    <a:pt x="11742" y="6203"/>
                  </a:cubicBezTo>
                  <a:cubicBezTo>
                    <a:pt x="13899" y="4044"/>
                    <a:pt x="16600" y="6203"/>
                    <a:pt x="25669" y="5657"/>
                  </a:cubicBezTo>
                  <a:cubicBezTo>
                    <a:pt x="34802" y="5124"/>
                    <a:pt x="58889" y="6203"/>
                    <a:pt x="64813" y="5657"/>
                  </a:cubicBezTo>
                  <a:cubicBezTo>
                    <a:pt x="70229" y="4692"/>
                    <a:pt x="75455" y="2876"/>
                    <a:pt x="80326" y="310"/>
                  </a:cubicBezTo>
                  <a:cubicBezTo>
                    <a:pt x="83014" y="-858"/>
                    <a:pt x="84905" y="1568"/>
                    <a:pt x="88900" y="2876"/>
                  </a:cubicBezTo>
                  <a:lnTo>
                    <a:pt x="88900" y="3143"/>
                  </a:lnTo>
                  <a:cubicBezTo>
                    <a:pt x="88634" y="8819"/>
                    <a:pt x="89750" y="14471"/>
                    <a:pt x="92147" y="19614"/>
                  </a:cubicBezTo>
                  <a:cubicBezTo>
                    <a:pt x="95876" y="27120"/>
                    <a:pt x="99111" y="21227"/>
                    <a:pt x="99606" y="29774"/>
                  </a:cubicBezTo>
                  <a:cubicBezTo>
                    <a:pt x="100138" y="38372"/>
                    <a:pt x="101216" y="44265"/>
                    <a:pt x="101216" y="51784"/>
                  </a:cubicBezTo>
                  <a:cubicBezTo>
                    <a:pt x="101128" y="56457"/>
                    <a:pt x="101483" y="61131"/>
                    <a:pt x="102295" y="65728"/>
                  </a:cubicBezTo>
                  <a:cubicBezTo>
                    <a:pt x="104349" y="70402"/>
                    <a:pt x="105960" y="75253"/>
                    <a:pt x="107102" y="80219"/>
                  </a:cubicBezTo>
                  <a:cubicBezTo>
                    <a:pt x="108637" y="87699"/>
                    <a:pt x="107508" y="95484"/>
                    <a:pt x="103918" y="102228"/>
                  </a:cubicBezTo>
                  <a:cubicBezTo>
                    <a:pt x="100684" y="108654"/>
                    <a:pt x="106569" y="108121"/>
                    <a:pt x="106569" y="111855"/>
                  </a:cubicBezTo>
                  <a:lnTo>
                    <a:pt x="106569" y="129584"/>
                  </a:lnTo>
                  <a:cubicBezTo>
                    <a:pt x="106569" y="138220"/>
                    <a:pt x="117757" y="142233"/>
                    <a:pt x="123109" y="146551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5" name="Vrije vorm 254">
              <a:extLst>
                <a:ext uri="{FF2B5EF4-FFF2-40B4-BE49-F238E27FC236}">
                  <a16:creationId xmlns:a16="http://schemas.microsoft.com/office/drawing/2014/main" id="{D65DF301-B092-3946-851F-83C8173185EF}"/>
                </a:ext>
              </a:extLst>
            </p:cNvPr>
            <p:cNvSpPr/>
            <p:nvPr/>
          </p:nvSpPr>
          <p:spPr>
            <a:xfrm>
              <a:off x="5246537" y="4091170"/>
              <a:ext cx="171778" cy="176060"/>
            </a:xfrm>
            <a:custGeom>
              <a:avLst/>
              <a:gdLst>
                <a:gd name="connsiteX0" fmla="*/ 159386 w 171778"/>
                <a:gd name="connsiteY0" fmla="*/ 93911 h 176060"/>
                <a:gd name="connsiteX1" fmla="*/ 156734 w 171778"/>
                <a:gd name="connsiteY1" fmla="*/ 141117 h 176060"/>
                <a:gd name="connsiteX2" fmla="*/ 165322 w 171778"/>
                <a:gd name="connsiteY2" fmla="*/ 153449 h 176060"/>
                <a:gd name="connsiteX3" fmla="*/ 166184 w 171778"/>
                <a:gd name="connsiteY3" fmla="*/ 159431 h 176060"/>
                <a:gd name="connsiteX4" fmla="*/ 154451 w 171778"/>
                <a:gd name="connsiteY4" fmla="*/ 155875 h 176060"/>
                <a:gd name="connsiteX5" fmla="*/ 151711 w 171778"/>
                <a:gd name="connsiteY5" fmla="*/ 155240 h 176060"/>
                <a:gd name="connsiteX6" fmla="*/ 60525 w 171778"/>
                <a:gd name="connsiteY6" fmla="*/ 168295 h 176060"/>
                <a:gd name="connsiteX7" fmla="*/ 42869 w 171778"/>
                <a:gd name="connsiteY7" fmla="*/ 174683 h 176060"/>
                <a:gd name="connsiteX8" fmla="*/ 26772 w 171778"/>
                <a:gd name="connsiteY8" fmla="*/ 175941 h 176060"/>
                <a:gd name="connsiteX9" fmla="*/ 34053 w 171778"/>
                <a:gd name="connsiteY9" fmla="*/ 156141 h 176060"/>
                <a:gd name="connsiteX10" fmla="*/ 31897 w 171778"/>
                <a:gd name="connsiteY10" fmla="*/ 141117 h 176060"/>
                <a:gd name="connsiteX11" fmla="*/ 19580 w 171778"/>
                <a:gd name="connsiteY11" fmla="*/ 129319 h 176060"/>
                <a:gd name="connsiteX12" fmla="*/ 2457 w 171778"/>
                <a:gd name="connsiteY12" fmla="*/ 121267 h 176060"/>
                <a:gd name="connsiteX13" fmla="*/ 7809 w 171778"/>
                <a:gd name="connsiteY13" fmla="*/ 106243 h 176060"/>
                <a:gd name="connsiteX14" fmla="*/ 2457 w 171778"/>
                <a:gd name="connsiteY14" fmla="*/ 91206 h 176060"/>
                <a:gd name="connsiteX15" fmla="*/ 12084 w 171778"/>
                <a:gd name="connsiteY15" fmla="*/ 88552 h 176060"/>
                <a:gd name="connsiteX16" fmla="*/ 14773 w 171778"/>
                <a:gd name="connsiteY16" fmla="*/ 76716 h 176060"/>
                <a:gd name="connsiteX17" fmla="*/ 9966 w 171778"/>
                <a:gd name="connsiteY17" fmla="*/ 67089 h 176060"/>
                <a:gd name="connsiteX18" fmla="*/ 24933 w 171778"/>
                <a:gd name="connsiteY18" fmla="*/ 62238 h 176060"/>
                <a:gd name="connsiteX19" fmla="*/ 17969 w 171778"/>
                <a:gd name="connsiteY19" fmla="*/ 53678 h 176060"/>
                <a:gd name="connsiteX20" fmla="*/ 21749 w 171778"/>
                <a:gd name="connsiteY20" fmla="*/ 45093 h 176060"/>
                <a:gd name="connsiteX21" fmla="*/ 13695 w 171778"/>
                <a:gd name="connsiteY21" fmla="*/ 38654 h 176060"/>
                <a:gd name="connsiteX22" fmla="*/ 13162 w 171778"/>
                <a:gd name="connsiteY22" fmla="*/ 20975 h 176060"/>
                <a:gd name="connsiteX23" fmla="*/ 18198 w 171778"/>
                <a:gd name="connsiteY23" fmla="*/ 11971 h 176060"/>
                <a:gd name="connsiteX24" fmla="*/ 18236 w 171778"/>
                <a:gd name="connsiteY24" fmla="*/ 11933 h 176060"/>
                <a:gd name="connsiteX25" fmla="*/ 30324 w 171778"/>
                <a:gd name="connsiteY25" fmla="*/ 9685 h 176060"/>
                <a:gd name="connsiteX26" fmla="*/ 43186 w 171778"/>
                <a:gd name="connsiteY26" fmla="*/ 15578 h 176060"/>
                <a:gd name="connsiteX27" fmla="*/ 51722 w 171778"/>
                <a:gd name="connsiteY27" fmla="*/ 7018 h 176060"/>
                <a:gd name="connsiteX28" fmla="*/ 62998 w 171778"/>
                <a:gd name="connsiteY28" fmla="*/ 46 h 176060"/>
                <a:gd name="connsiteX29" fmla="*/ 65649 w 171778"/>
                <a:gd name="connsiteY29" fmla="*/ 11831 h 176060"/>
                <a:gd name="connsiteX30" fmla="*/ 74769 w 171778"/>
                <a:gd name="connsiteY30" fmla="*/ 9685 h 176060"/>
                <a:gd name="connsiteX31" fmla="*/ 86325 w 171778"/>
                <a:gd name="connsiteY31" fmla="*/ 10536 h 176060"/>
                <a:gd name="connsiteX32" fmla="*/ 86362 w 171778"/>
                <a:gd name="connsiteY32" fmla="*/ 10574 h 176060"/>
                <a:gd name="connsiteX33" fmla="*/ 88709 w 171778"/>
                <a:gd name="connsiteY33" fmla="*/ 11831 h 176060"/>
                <a:gd name="connsiteX34" fmla="*/ 101558 w 171778"/>
                <a:gd name="connsiteY34" fmla="*/ 19350 h 176060"/>
                <a:gd name="connsiteX35" fmla="*/ 110678 w 171778"/>
                <a:gd name="connsiteY35" fmla="*/ 28494 h 176060"/>
                <a:gd name="connsiteX36" fmla="*/ 120838 w 171778"/>
                <a:gd name="connsiteY36" fmla="*/ 30056 h 176060"/>
                <a:gd name="connsiteX37" fmla="*/ 136922 w 171778"/>
                <a:gd name="connsiteY37" fmla="*/ 23630 h 176060"/>
                <a:gd name="connsiteX38" fmla="*/ 157825 w 171778"/>
                <a:gd name="connsiteY38" fmla="*/ 30056 h 176060"/>
                <a:gd name="connsiteX39" fmla="*/ 167567 w 171778"/>
                <a:gd name="connsiteY39" fmla="*/ 39111 h 176060"/>
                <a:gd name="connsiteX40" fmla="*/ 167617 w 171778"/>
                <a:gd name="connsiteY40" fmla="*/ 39289 h 176060"/>
                <a:gd name="connsiteX41" fmla="*/ 171752 w 171778"/>
                <a:gd name="connsiteY41" fmla="*/ 69210 h 176060"/>
                <a:gd name="connsiteX42" fmla="*/ 159386 w 171778"/>
                <a:gd name="connsiteY42" fmla="*/ 93911 h 176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1778" h="176060">
                  <a:moveTo>
                    <a:pt x="159386" y="93911"/>
                  </a:moveTo>
                  <a:cubicBezTo>
                    <a:pt x="153335" y="108923"/>
                    <a:pt x="152396" y="125522"/>
                    <a:pt x="156734" y="141117"/>
                  </a:cubicBezTo>
                  <a:cubicBezTo>
                    <a:pt x="157825" y="147556"/>
                    <a:pt x="162087" y="144318"/>
                    <a:pt x="165322" y="153449"/>
                  </a:cubicBezTo>
                  <a:cubicBezTo>
                    <a:pt x="166489" y="156827"/>
                    <a:pt x="166666" y="158440"/>
                    <a:pt x="166184" y="159431"/>
                  </a:cubicBezTo>
                  <a:cubicBezTo>
                    <a:pt x="162265" y="158034"/>
                    <a:pt x="158358" y="156865"/>
                    <a:pt x="154451" y="155875"/>
                  </a:cubicBezTo>
                  <a:cubicBezTo>
                    <a:pt x="153500" y="155646"/>
                    <a:pt x="152599" y="155468"/>
                    <a:pt x="151711" y="155240"/>
                  </a:cubicBezTo>
                  <a:cubicBezTo>
                    <a:pt x="120724" y="148775"/>
                    <a:pt x="88455" y="153385"/>
                    <a:pt x="60525" y="168295"/>
                  </a:cubicBezTo>
                  <a:cubicBezTo>
                    <a:pt x="54944" y="171178"/>
                    <a:pt x="48995" y="173325"/>
                    <a:pt x="42869" y="174683"/>
                  </a:cubicBezTo>
                  <a:cubicBezTo>
                    <a:pt x="37592" y="175865"/>
                    <a:pt x="32176" y="176296"/>
                    <a:pt x="26772" y="175941"/>
                  </a:cubicBezTo>
                  <a:cubicBezTo>
                    <a:pt x="27216" y="168765"/>
                    <a:pt x="29740" y="161882"/>
                    <a:pt x="34053" y="156141"/>
                  </a:cubicBezTo>
                  <a:cubicBezTo>
                    <a:pt x="39938" y="146464"/>
                    <a:pt x="35676" y="150198"/>
                    <a:pt x="31897" y="141117"/>
                  </a:cubicBezTo>
                  <a:cubicBezTo>
                    <a:pt x="28168" y="131973"/>
                    <a:pt x="26557" y="133053"/>
                    <a:pt x="19580" y="129319"/>
                  </a:cubicBezTo>
                  <a:cubicBezTo>
                    <a:pt x="12617" y="125547"/>
                    <a:pt x="9433" y="125001"/>
                    <a:pt x="2457" y="121267"/>
                  </a:cubicBezTo>
                  <a:cubicBezTo>
                    <a:pt x="-4507" y="117483"/>
                    <a:pt x="5108" y="114828"/>
                    <a:pt x="7809" y="106243"/>
                  </a:cubicBezTo>
                  <a:cubicBezTo>
                    <a:pt x="10511" y="97645"/>
                    <a:pt x="3535" y="95524"/>
                    <a:pt x="2457" y="91206"/>
                  </a:cubicBezTo>
                  <a:cubicBezTo>
                    <a:pt x="1379" y="86939"/>
                    <a:pt x="8355" y="93365"/>
                    <a:pt x="12084" y="88552"/>
                  </a:cubicBezTo>
                  <a:cubicBezTo>
                    <a:pt x="15851" y="83701"/>
                    <a:pt x="13695" y="81046"/>
                    <a:pt x="14773" y="76716"/>
                  </a:cubicBezTo>
                  <a:cubicBezTo>
                    <a:pt x="15851" y="72449"/>
                    <a:pt x="12617" y="75687"/>
                    <a:pt x="9966" y="67089"/>
                  </a:cubicBezTo>
                  <a:cubicBezTo>
                    <a:pt x="7264" y="58504"/>
                    <a:pt x="16397" y="66556"/>
                    <a:pt x="24933" y="62238"/>
                  </a:cubicBezTo>
                  <a:cubicBezTo>
                    <a:pt x="33520" y="57958"/>
                    <a:pt x="23360" y="56878"/>
                    <a:pt x="17969" y="53678"/>
                  </a:cubicBezTo>
                  <a:cubicBezTo>
                    <a:pt x="12617" y="50439"/>
                    <a:pt x="17969" y="50439"/>
                    <a:pt x="21749" y="45093"/>
                  </a:cubicBezTo>
                  <a:cubicBezTo>
                    <a:pt x="25479" y="39733"/>
                    <a:pt x="20658" y="40813"/>
                    <a:pt x="13695" y="38654"/>
                  </a:cubicBezTo>
                  <a:cubicBezTo>
                    <a:pt x="6731" y="36495"/>
                    <a:pt x="11006" y="31135"/>
                    <a:pt x="13162" y="20975"/>
                  </a:cubicBezTo>
                  <a:cubicBezTo>
                    <a:pt x="13682" y="17458"/>
                    <a:pt x="15471" y="14257"/>
                    <a:pt x="18198" y="11971"/>
                  </a:cubicBezTo>
                  <a:lnTo>
                    <a:pt x="18236" y="11933"/>
                  </a:lnTo>
                  <a:cubicBezTo>
                    <a:pt x="21813" y="9596"/>
                    <a:pt x="26163" y="8783"/>
                    <a:pt x="30324" y="9685"/>
                  </a:cubicBezTo>
                  <a:cubicBezTo>
                    <a:pt x="38328" y="10752"/>
                    <a:pt x="36209" y="13457"/>
                    <a:pt x="43186" y="15578"/>
                  </a:cubicBezTo>
                  <a:cubicBezTo>
                    <a:pt x="50149" y="17737"/>
                    <a:pt x="49071" y="11298"/>
                    <a:pt x="51722" y="7018"/>
                  </a:cubicBezTo>
                  <a:cubicBezTo>
                    <a:pt x="53548" y="2471"/>
                    <a:pt x="58115" y="-348"/>
                    <a:pt x="62998" y="46"/>
                  </a:cubicBezTo>
                  <a:cubicBezTo>
                    <a:pt x="70507" y="-488"/>
                    <a:pt x="65649" y="3779"/>
                    <a:pt x="65649" y="11831"/>
                  </a:cubicBezTo>
                  <a:cubicBezTo>
                    <a:pt x="65649" y="19896"/>
                    <a:pt x="69962" y="13457"/>
                    <a:pt x="74769" y="9685"/>
                  </a:cubicBezTo>
                  <a:cubicBezTo>
                    <a:pt x="78955" y="6434"/>
                    <a:pt x="81517" y="8009"/>
                    <a:pt x="86325" y="10536"/>
                  </a:cubicBezTo>
                  <a:lnTo>
                    <a:pt x="86362" y="10574"/>
                  </a:lnTo>
                  <a:cubicBezTo>
                    <a:pt x="87086" y="10980"/>
                    <a:pt x="87847" y="11438"/>
                    <a:pt x="88709" y="11831"/>
                  </a:cubicBezTo>
                  <a:cubicBezTo>
                    <a:pt x="93478" y="13393"/>
                    <a:pt x="97854" y="15959"/>
                    <a:pt x="101558" y="19350"/>
                  </a:cubicBezTo>
                  <a:cubicBezTo>
                    <a:pt x="107444" y="24709"/>
                    <a:pt x="105820" y="24163"/>
                    <a:pt x="110678" y="28494"/>
                  </a:cubicBezTo>
                  <a:cubicBezTo>
                    <a:pt x="115486" y="32761"/>
                    <a:pt x="114407" y="31135"/>
                    <a:pt x="120838" y="30056"/>
                  </a:cubicBezTo>
                  <a:cubicBezTo>
                    <a:pt x="127269" y="28976"/>
                    <a:pt x="126724" y="25242"/>
                    <a:pt x="136922" y="23630"/>
                  </a:cubicBezTo>
                  <a:cubicBezTo>
                    <a:pt x="147082" y="22004"/>
                    <a:pt x="146854" y="24074"/>
                    <a:pt x="157825" y="30056"/>
                  </a:cubicBezTo>
                  <a:cubicBezTo>
                    <a:pt x="165905" y="34514"/>
                    <a:pt x="167351" y="38247"/>
                    <a:pt x="167567" y="39111"/>
                  </a:cubicBezTo>
                  <a:lnTo>
                    <a:pt x="167617" y="39289"/>
                  </a:lnTo>
                  <a:cubicBezTo>
                    <a:pt x="169799" y="49131"/>
                    <a:pt x="171182" y="59139"/>
                    <a:pt x="171752" y="69210"/>
                  </a:cubicBezTo>
                  <a:cubicBezTo>
                    <a:pt x="171207" y="76728"/>
                    <a:pt x="169051" y="74608"/>
                    <a:pt x="159386" y="93911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6" name="Vrije vorm 255">
              <a:extLst>
                <a:ext uri="{FF2B5EF4-FFF2-40B4-BE49-F238E27FC236}">
                  <a16:creationId xmlns:a16="http://schemas.microsoft.com/office/drawing/2014/main" id="{02E840CE-73C9-D94A-ACC9-2F611954BD38}"/>
                </a:ext>
              </a:extLst>
            </p:cNvPr>
            <p:cNvSpPr/>
            <p:nvPr/>
          </p:nvSpPr>
          <p:spPr>
            <a:xfrm>
              <a:off x="5164264" y="4153224"/>
              <a:ext cx="119259" cy="113885"/>
            </a:xfrm>
            <a:custGeom>
              <a:avLst/>
              <a:gdLst>
                <a:gd name="connsiteX0" fmla="*/ 116326 w 119259"/>
                <a:gd name="connsiteY0" fmla="*/ 94087 h 113885"/>
                <a:gd name="connsiteX1" fmla="*/ 109045 w 119259"/>
                <a:gd name="connsiteY1" fmla="*/ 113886 h 113885"/>
                <a:gd name="connsiteX2" fmla="*/ 70130 w 119259"/>
                <a:gd name="connsiteY2" fmla="*/ 98596 h 113885"/>
                <a:gd name="connsiteX3" fmla="*/ 69268 w 119259"/>
                <a:gd name="connsiteY3" fmla="*/ 98011 h 113885"/>
                <a:gd name="connsiteX4" fmla="*/ -26 w 119259"/>
                <a:gd name="connsiteY4" fmla="*/ 45992 h 113885"/>
                <a:gd name="connsiteX5" fmla="*/ 9728 w 119259"/>
                <a:gd name="connsiteY5" fmla="*/ 35604 h 113885"/>
                <a:gd name="connsiteX6" fmla="*/ 32242 w 119259"/>
                <a:gd name="connsiteY6" fmla="*/ 10940 h 113885"/>
                <a:gd name="connsiteX7" fmla="*/ 35743 w 119259"/>
                <a:gd name="connsiteY7" fmla="*/ 818 h 113885"/>
                <a:gd name="connsiteX8" fmla="*/ 39168 w 119259"/>
                <a:gd name="connsiteY8" fmla="*/ 183 h 113885"/>
                <a:gd name="connsiteX9" fmla="*/ 51522 w 119259"/>
                <a:gd name="connsiteY9" fmla="*/ 1796 h 113885"/>
                <a:gd name="connsiteX10" fmla="*/ 57953 w 119259"/>
                <a:gd name="connsiteY10" fmla="*/ 13099 h 113885"/>
                <a:gd name="connsiteX11" fmla="*/ 58486 w 119259"/>
                <a:gd name="connsiteY11" fmla="*/ 25964 h 113885"/>
                <a:gd name="connsiteX12" fmla="*/ 62761 w 119259"/>
                <a:gd name="connsiteY12" fmla="*/ 37217 h 113885"/>
                <a:gd name="connsiteX13" fmla="*/ 72908 w 119259"/>
                <a:gd name="connsiteY13" fmla="*/ 34511 h 113885"/>
                <a:gd name="connsiteX14" fmla="*/ 79884 w 119259"/>
                <a:gd name="connsiteY14" fmla="*/ 23805 h 113885"/>
                <a:gd name="connsiteX15" fmla="*/ 84730 w 119259"/>
                <a:gd name="connsiteY15" fmla="*/ 29152 h 113885"/>
                <a:gd name="connsiteX16" fmla="*/ 90082 w 119259"/>
                <a:gd name="connsiteY16" fmla="*/ 44189 h 113885"/>
                <a:gd name="connsiteX17" fmla="*/ 84730 w 119259"/>
                <a:gd name="connsiteY17" fmla="*/ 59213 h 113885"/>
                <a:gd name="connsiteX18" fmla="*/ 101853 w 119259"/>
                <a:gd name="connsiteY18" fmla="*/ 67265 h 113885"/>
                <a:gd name="connsiteX19" fmla="*/ 114169 w 119259"/>
                <a:gd name="connsiteY19" fmla="*/ 79063 h 113885"/>
                <a:gd name="connsiteX20" fmla="*/ 116326 w 119259"/>
                <a:gd name="connsiteY20" fmla="*/ 94087 h 113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9259" h="113885">
                  <a:moveTo>
                    <a:pt x="116326" y="94087"/>
                  </a:moveTo>
                  <a:cubicBezTo>
                    <a:pt x="112013" y="99840"/>
                    <a:pt x="109476" y="106724"/>
                    <a:pt x="109045" y="113886"/>
                  </a:cubicBezTo>
                  <a:cubicBezTo>
                    <a:pt x="94902" y="112502"/>
                    <a:pt x="81432" y="107206"/>
                    <a:pt x="70130" y="98596"/>
                  </a:cubicBezTo>
                  <a:cubicBezTo>
                    <a:pt x="69851" y="98418"/>
                    <a:pt x="69547" y="98189"/>
                    <a:pt x="69268" y="98011"/>
                  </a:cubicBezTo>
                  <a:cubicBezTo>
                    <a:pt x="45586" y="81540"/>
                    <a:pt x="22666" y="63899"/>
                    <a:pt x="-26" y="45992"/>
                  </a:cubicBezTo>
                  <a:cubicBezTo>
                    <a:pt x="925" y="43922"/>
                    <a:pt x="2676" y="41624"/>
                    <a:pt x="9728" y="35604"/>
                  </a:cubicBezTo>
                  <a:cubicBezTo>
                    <a:pt x="20421" y="26511"/>
                    <a:pt x="31164" y="16287"/>
                    <a:pt x="32242" y="10940"/>
                  </a:cubicBezTo>
                  <a:cubicBezTo>
                    <a:pt x="33041" y="7448"/>
                    <a:pt x="34221" y="4057"/>
                    <a:pt x="35743" y="818"/>
                  </a:cubicBezTo>
                  <a:cubicBezTo>
                    <a:pt x="36847" y="437"/>
                    <a:pt x="38001" y="221"/>
                    <a:pt x="39168" y="183"/>
                  </a:cubicBezTo>
                  <a:cubicBezTo>
                    <a:pt x="43354" y="-325"/>
                    <a:pt x="47603" y="234"/>
                    <a:pt x="51522" y="1796"/>
                  </a:cubicBezTo>
                  <a:cubicBezTo>
                    <a:pt x="56330" y="3955"/>
                    <a:pt x="55252" y="6660"/>
                    <a:pt x="57953" y="13099"/>
                  </a:cubicBezTo>
                  <a:cubicBezTo>
                    <a:pt x="60604" y="19526"/>
                    <a:pt x="59031" y="20072"/>
                    <a:pt x="58486" y="25964"/>
                  </a:cubicBezTo>
                  <a:cubicBezTo>
                    <a:pt x="57953" y="31857"/>
                    <a:pt x="59526" y="32403"/>
                    <a:pt x="62761" y="37217"/>
                  </a:cubicBezTo>
                  <a:cubicBezTo>
                    <a:pt x="65995" y="42030"/>
                    <a:pt x="69724" y="36671"/>
                    <a:pt x="72908" y="34511"/>
                  </a:cubicBezTo>
                  <a:cubicBezTo>
                    <a:pt x="76142" y="32403"/>
                    <a:pt x="77220" y="25964"/>
                    <a:pt x="79884" y="23805"/>
                  </a:cubicBezTo>
                  <a:cubicBezTo>
                    <a:pt x="82573" y="21646"/>
                    <a:pt x="84730" y="29152"/>
                    <a:pt x="84730" y="29152"/>
                  </a:cubicBezTo>
                  <a:cubicBezTo>
                    <a:pt x="85808" y="33470"/>
                    <a:pt x="92771" y="35591"/>
                    <a:pt x="90082" y="44189"/>
                  </a:cubicBezTo>
                  <a:cubicBezTo>
                    <a:pt x="87380" y="52787"/>
                    <a:pt x="77766" y="55441"/>
                    <a:pt x="84730" y="59213"/>
                  </a:cubicBezTo>
                  <a:cubicBezTo>
                    <a:pt x="91693" y="62947"/>
                    <a:pt x="94890" y="63493"/>
                    <a:pt x="101853" y="67265"/>
                  </a:cubicBezTo>
                  <a:cubicBezTo>
                    <a:pt x="108817" y="70999"/>
                    <a:pt x="110441" y="69919"/>
                    <a:pt x="114169" y="79063"/>
                  </a:cubicBezTo>
                  <a:cubicBezTo>
                    <a:pt x="117949" y="88156"/>
                    <a:pt x="122211" y="84423"/>
                    <a:pt x="116326" y="94087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7" name="Vrije vorm 256">
              <a:extLst>
                <a:ext uri="{FF2B5EF4-FFF2-40B4-BE49-F238E27FC236}">
                  <a16:creationId xmlns:a16="http://schemas.microsoft.com/office/drawing/2014/main" id="{CEB5B458-CE28-A444-A7EF-942DD24095F8}"/>
                </a:ext>
              </a:extLst>
            </p:cNvPr>
            <p:cNvSpPr/>
            <p:nvPr/>
          </p:nvSpPr>
          <p:spPr>
            <a:xfrm>
              <a:off x="5117624" y="4113471"/>
              <a:ext cx="82422" cy="85745"/>
            </a:xfrm>
            <a:custGeom>
              <a:avLst/>
              <a:gdLst>
                <a:gd name="connsiteX0" fmla="*/ 82383 w 82422"/>
                <a:gd name="connsiteY0" fmla="*/ 40572 h 85745"/>
                <a:gd name="connsiteX1" fmla="*/ 78882 w 82422"/>
                <a:gd name="connsiteY1" fmla="*/ 50694 h 85745"/>
                <a:gd name="connsiteX2" fmla="*/ 56368 w 82422"/>
                <a:gd name="connsiteY2" fmla="*/ 75358 h 85745"/>
                <a:gd name="connsiteX3" fmla="*/ 46614 w 82422"/>
                <a:gd name="connsiteY3" fmla="*/ 85746 h 85745"/>
                <a:gd name="connsiteX4" fmla="*/ 33448 w 82422"/>
                <a:gd name="connsiteY4" fmla="*/ 75307 h 85745"/>
                <a:gd name="connsiteX5" fmla="*/ 24733 w 82422"/>
                <a:gd name="connsiteY5" fmla="*/ 68334 h 85745"/>
                <a:gd name="connsiteX6" fmla="*/ 19064 w 82422"/>
                <a:gd name="connsiteY6" fmla="*/ 63839 h 85745"/>
                <a:gd name="connsiteX7" fmla="*/ 18303 w 82422"/>
                <a:gd name="connsiteY7" fmla="*/ 63204 h 85745"/>
                <a:gd name="connsiteX8" fmla="*/ 17947 w 82422"/>
                <a:gd name="connsiteY8" fmla="*/ 62924 h 85745"/>
                <a:gd name="connsiteX9" fmla="*/ 4553 w 82422"/>
                <a:gd name="connsiteY9" fmla="*/ 42223 h 85745"/>
                <a:gd name="connsiteX10" fmla="*/ 4236 w 82422"/>
                <a:gd name="connsiteY10" fmla="*/ 41106 h 85745"/>
                <a:gd name="connsiteX11" fmla="*/ 3741 w 82422"/>
                <a:gd name="connsiteY11" fmla="*/ 39340 h 85745"/>
                <a:gd name="connsiteX12" fmla="*/ 3348 w 82422"/>
                <a:gd name="connsiteY12" fmla="*/ 38083 h 85745"/>
                <a:gd name="connsiteX13" fmla="*/ 3246 w 82422"/>
                <a:gd name="connsiteY13" fmla="*/ 37766 h 85745"/>
                <a:gd name="connsiteX14" fmla="*/ 697 w 82422"/>
                <a:gd name="connsiteY14" fmla="*/ 30209 h 85745"/>
                <a:gd name="connsiteX15" fmla="*/ 469 w 82422"/>
                <a:gd name="connsiteY15" fmla="*/ 29625 h 85745"/>
                <a:gd name="connsiteX16" fmla="*/ -26 w 82422"/>
                <a:gd name="connsiteY16" fmla="*/ 28368 h 85745"/>
                <a:gd name="connsiteX17" fmla="*/ 11390 w 82422"/>
                <a:gd name="connsiteY17" fmla="*/ 12074 h 85745"/>
                <a:gd name="connsiteX18" fmla="*/ 23161 w 82422"/>
                <a:gd name="connsiteY18" fmla="*/ 2409 h 85745"/>
                <a:gd name="connsiteX19" fmla="*/ 41895 w 82422"/>
                <a:gd name="connsiteY19" fmla="*/ 250 h 85745"/>
                <a:gd name="connsiteX20" fmla="*/ 55835 w 82422"/>
                <a:gd name="connsiteY20" fmla="*/ 2942 h 85745"/>
                <a:gd name="connsiteX21" fmla="*/ 65995 w 82422"/>
                <a:gd name="connsiteY21" fmla="*/ 15807 h 85745"/>
                <a:gd name="connsiteX22" fmla="*/ 71386 w 82422"/>
                <a:gd name="connsiteY22" fmla="*/ 34578 h 85745"/>
                <a:gd name="connsiteX23" fmla="*/ 74570 w 82422"/>
                <a:gd name="connsiteY23" fmla="*/ 44789 h 85745"/>
                <a:gd name="connsiteX24" fmla="*/ 82396 w 82422"/>
                <a:gd name="connsiteY24" fmla="*/ 40572 h 85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82422" h="85745">
                  <a:moveTo>
                    <a:pt x="82383" y="40572"/>
                  </a:moveTo>
                  <a:cubicBezTo>
                    <a:pt x="80861" y="43811"/>
                    <a:pt x="79681" y="47202"/>
                    <a:pt x="78882" y="50694"/>
                  </a:cubicBezTo>
                  <a:cubicBezTo>
                    <a:pt x="77804" y="56054"/>
                    <a:pt x="67061" y="66264"/>
                    <a:pt x="56368" y="75358"/>
                  </a:cubicBezTo>
                  <a:cubicBezTo>
                    <a:pt x="49316" y="81377"/>
                    <a:pt x="47565" y="83676"/>
                    <a:pt x="46614" y="85746"/>
                  </a:cubicBezTo>
                  <a:cubicBezTo>
                    <a:pt x="42212" y="82279"/>
                    <a:pt x="37811" y="78774"/>
                    <a:pt x="33448" y="75307"/>
                  </a:cubicBezTo>
                  <a:cubicBezTo>
                    <a:pt x="30568" y="72970"/>
                    <a:pt x="27651" y="70671"/>
                    <a:pt x="24733" y="68334"/>
                  </a:cubicBezTo>
                  <a:cubicBezTo>
                    <a:pt x="22844" y="66849"/>
                    <a:pt x="20954" y="65312"/>
                    <a:pt x="19064" y="63839"/>
                  </a:cubicBezTo>
                  <a:lnTo>
                    <a:pt x="18303" y="63204"/>
                  </a:lnTo>
                  <a:cubicBezTo>
                    <a:pt x="18176" y="63102"/>
                    <a:pt x="18087" y="63013"/>
                    <a:pt x="17947" y="62924"/>
                  </a:cubicBezTo>
                  <a:cubicBezTo>
                    <a:pt x="11529" y="57514"/>
                    <a:pt x="6874" y="50300"/>
                    <a:pt x="4553" y="42223"/>
                  </a:cubicBezTo>
                  <a:cubicBezTo>
                    <a:pt x="4464" y="41868"/>
                    <a:pt x="4325" y="41461"/>
                    <a:pt x="4236" y="41106"/>
                  </a:cubicBezTo>
                  <a:cubicBezTo>
                    <a:pt x="4058" y="40521"/>
                    <a:pt x="3931" y="39937"/>
                    <a:pt x="3741" y="39340"/>
                  </a:cubicBezTo>
                  <a:cubicBezTo>
                    <a:pt x="3614" y="38934"/>
                    <a:pt x="3475" y="38540"/>
                    <a:pt x="3348" y="38083"/>
                  </a:cubicBezTo>
                  <a:cubicBezTo>
                    <a:pt x="3323" y="37981"/>
                    <a:pt x="3297" y="37867"/>
                    <a:pt x="3246" y="37766"/>
                  </a:cubicBezTo>
                  <a:cubicBezTo>
                    <a:pt x="2485" y="35200"/>
                    <a:pt x="1636" y="32686"/>
                    <a:pt x="697" y="30209"/>
                  </a:cubicBezTo>
                  <a:cubicBezTo>
                    <a:pt x="633" y="30006"/>
                    <a:pt x="558" y="29815"/>
                    <a:pt x="469" y="29625"/>
                  </a:cubicBezTo>
                  <a:cubicBezTo>
                    <a:pt x="329" y="29218"/>
                    <a:pt x="152" y="28774"/>
                    <a:pt x="-26" y="28368"/>
                  </a:cubicBezTo>
                  <a:cubicBezTo>
                    <a:pt x="4655" y="23605"/>
                    <a:pt x="8510" y="18106"/>
                    <a:pt x="11390" y="12074"/>
                  </a:cubicBezTo>
                  <a:cubicBezTo>
                    <a:pt x="14091" y="7590"/>
                    <a:pt x="18239" y="4174"/>
                    <a:pt x="23161" y="2409"/>
                  </a:cubicBezTo>
                  <a:cubicBezTo>
                    <a:pt x="29173" y="301"/>
                    <a:pt x="35578" y="-436"/>
                    <a:pt x="41895" y="250"/>
                  </a:cubicBezTo>
                  <a:cubicBezTo>
                    <a:pt x="46664" y="351"/>
                    <a:pt x="51370" y="1266"/>
                    <a:pt x="55835" y="2942"/>
                  </a:cubicBezTo>
                  <a:cubicBezTo>
                    <a:pt x="61721" y="4022"/>
                    <a:pt x="62799" y="10994"/>
                    <a:pt x="65995" y="15807"/>
                  </a:cubicBezTo>
                  <a:cubicBezTo>
                    <a:pt x="69230" y="20621"/>
                    <a:pt x="72413" y="20621"/>
                    <a:pt x="71386" y="34578"/>
                  </a:cubicBezTo>
                  <a:cubicBezTo>
                    <a:pt x="70308" y="48522"/>
                    <a:pt x="74570" y="44789"/>
                    <a:pt x="74570" y="44789"/>
                  </a:cubicBezTo>
                  <a:cubicBezTo>
                    <a:pt x="76967" y="43023"/>
                    <a:pt x="79605" y="41601"/>
                    <a:pt x="82396" y="40572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8" name="Vrije vorm 257">
              <a:extLst>
                <a:ext uri="{FF2B5EF4-FFF2-40B4-BE49-F238E27FC236}">
                  <a16:creationId xmlns:a16="http://schemas.microsoft.com/office/drawing/2014/main" id="{822D6770-C944-3142-BA6D-9F0E526B1565}"/>
                </a:ext>
              </a:extLst>
            </p:cNvPr>
            <p:cNvSpPr/>
            <p:nvPr/>
          </p:nvSpPr>
          <p:spPr>
            <a:xfrm>
              <a:off x="5065937" y="4034454"/>
              <a:ext cx="208874" cy="157932"/>
            </a:xfrm>
            <a:custGeom>
              <a:avLst/>
              <a:gdLst>
                <a:gd name="connsiteX0" fmla="*/ 205534 w 208874"/>
                <a:gd name="connsiteY0" fmla="*/ 118953 h 157932"/>
                <a:gd name="connsiteX1" fmla="*/ 190566 w 208874"/>
                <a:gd name="connsiteY1" fmla="*/ 123818 h 157932"/>
                <a:gd name="connsiteX2" fmla="*/ 195374 w 208874"/>
                <a:gd name="connsiteY2" fmla="*/ 133444 h 157932"/>
                <a:gd name="connsiteX3" fmla="*/ 192672 w 208874"/>
                <a:gd name="connsiteY3" fmla="*/ 145281 h 157932"/>
                <a:gd name="connsiteX4" fmla="*/ 183057 w 208874"/>
                <a:gd name="connsiteY4" fmla="*/ 147935 h 157932"/>
                <a:gd name="connsiteX5" fmla="*/ 178199 w 208874"/>
                <a:gd name="connsiteY5" fmla="*/ 142575 h 157932"/>
                <a:gd name="connsiteX6" fmla="*/ 171236 w 208874"/>
                <a:gd name="connsiteY6" fmla="*/ 153281 h 157932"/>
                <a:gd name="connsiteX7" fmla="*/ 161088 w 208874"/>
                <a:gd name="connsiteY7" fmla="*/ 155987 h 157932"/>
                <a:gd name="connsiteX8" fmla="*/ 156814 w 208874"/>
                <a:gd name="connsiteY8" fmla="*/ 144734 h 157932"/>
                <a:gd name="connsiteX9" fmla="*/ 156268 w 208874"/>
                <a:gd name="connsiteY9" fmla="*/ 131869 h 157932"/>
                <a:gd name="connsiteX10" fmla="*/ 149850 w 208874"/>
                <a:gd name="connsiteY10" fmla="*/ 120579 h 157932"/>
                <a:gd name="connsiteX11" fmla="*/ 137496 w 208874"/>
                <a:gd name="connsiteY11" fmla="*/ 118953 h 157932"/>
                <a:gd name="connsiteX12" fmla="*/ 134071 w 208874"/>
                <a:gd name="connsiteY12" fmla="*/ 119588 h 157932"/>
                <a:gd name="connsiteX13" fmla="*/ 126258 w 208874"/>
                <a:gd name="connsiteY13" fmla="*/ 123818 h 157932"/>
                <a:gd name="connsiteX14" fmla="*/ 123061 w 208874"/>
                <a:gd name="connsiteY14" fmla="*/ 113607 h 157932"/>
                <a:gd name="connsiteX15" fmla="*/ 117670 w 208874"/>
                <a:gd name="connsiteY15" fmla="*/ 94849 h 157932"/>
                <a:gd name="connsiteX16" fmla="*/ 107510 w 208874"/>
                <a:gd name="connsiteY16" fmla="*/ 81971 h 157932"/>
                <a:gd name="connsiteX17" fmla="*/ 93583 w 208874"/>
                <a:gd name="connsiteY17" fmla="*/ 79279 h 157932"/>
                <a:gd name="connsiteX18" fmla="*/ 74848 w 208874"/>
                <a:gd name="connsiteY18" fmla="*/ 81438 h 157932"/>
                <a:gd name="connsiteX19" fmla="*/ 63065 w 208874"/>
                <a:gd name="connsiteY19" fmla="*/ 91115 h 157932"/>
                <a:gd name="connsiteX20" fmla="*/ 51649 w 208874"/>
                <a:gd name="connsiteY20" fmla="*/ 107396 h 157932"/>
                <a:gd name="connsiteX21" fmla="*/ 49277 w 208874"/>
                <a:gd name="connsiteY21" fmla="*/ 101948 h 157932"/>
                <a:gd name="connsiteX22" fmla="*/ 48909 w 208874"/>
                <a:gd name="connsiteY22" fmla="*/ 101186 h 157932"/>
                <a:gd name="connsiteX23" fmla="*/ 47387 w 208874"/>
                <a:gd name="connsiteY23" fmla="*/ 98087 h 157932"/>
                <a:gd name="connsiteX24" fmla="*/ 46854 w 208874"/>
                <a:gd name="connsiteY24" fmla="*/ 97135 h 157932"/>
                <a:gd name="connsiteX25" fmla="*/ 39079 w 208874"/>
                <a:gd name="connsiteY25" fmla="*/ 85527 h 157932"/>
                <a:gd name="connsiteX26" fmla="*/ 37595 w 208874"/>
                <a:gd name="connsiteY26" fmla="*/ 83825 h 157932"/>
                <a:gd name="connsiteX27" fmla="*/ 35794 w 208874"/>
                <a:gd name="connsiteY27" fmla="*/ 81844 h 157932"/>
                <a:gd name="connsiteX28" fmla="*/ 35439 w 208874"/>
                <a:gd name="connsiteY28" fmla="*/ 81476 h 157932"/>
                <a:gd name="connsiteX29" fmla="*/ 20509 w 208874"/>
                <a:gd name="connsiteY29" fmla="*/ 69563 h 157932"/>
                <a:gd name="connsiteX30" fmla="*/ 9690 w 208874"/>
                <a:gd name="connsiteY30" fmla="*/ 59924 h 157932"/>
                <a:gd name="connsiteX31" fmla="*/ 8738 w 208874"/>
                <a:gd name="connsiteY31" fmla="*/ 58806 h 157932"/>
                <a:gd name="connsiteX32" fmla="*/ 7800 w 208874"/>
                <a:gd name="connsiteY32" fmla="*/ 57638 h 157932"/>
                <a:gd name="connsiteX33" fmla="*/ 7128 w 208874"/>
                <a:gd name="connsiteY33" fmla="*/ 56825 h 157932"/>
                <a:gd name="connsiteX34" fmla="*/ 5771 w 208874"/>
                <a:gd name="connsiteY34" fmla="*/ 55022 h 157932"/>
                <a:gd name="connsiteX35" fmla="*/ 2003 w 208874"/>
                <a:gd name="connsiteY35" fmla="*/ 50069 h 157932"/>
                <a:gd name="connsiteX36" fmla="*/ -26 w 208874"/>
                <a:gd name="connsiteY36" fmla="*/ 47274 h 157932"/>
                <a:gd name="connsiteX37" fmla="*/ 5187 w 208874"/>
                <a:gd name="connsiteY37" fmla="*/ 39578 h 157932"/>
                <a:gd name="connsiteX38" fmla="*/ 13774 w 208874"/>
                <a:gd name="connsiteY38" fmla="*/ 33686 h 157932"/>
                <a:gd name="connsiteX39" fmla="*/ 32509 w 208874"/>
                <a:gd name="connsiteY39" fmla="*/ 31031 h 157932"/>
                <a:gd name="connsiteX40" fmla="*/ 29325 w 208874"/>
                <a:gd name="connsiteY40" fmla="*/ 19195 h 157932"/>
                <a:gd name="connsiteX41" fmla="*/ 35210 w 208874"/>
                <a:gd name="connsiteY41" fmla="*/ 11689 h 157932"/>
                <a:gd name="connsiteX42" fmla="*/ 33587 w 208874"/>
                <a:gd name="connsiteY42" fmla="*/ 437 h 157932"/>
                <a:gd name="connsiteX43" fmla="*/ 48605 w 208874"/>
                <a:gd name="connsiteY43" fmla="*/ 970 h 157932"/>
                <a:gd name="connsiteX44" fmla="*/ 56101 w 208874"/>
                <a:gd name="connsiteY44" fmla="*/ 5250 h 157932"/>
                <a:gd name="connsiteX45" fmla="*/ 72692 w 208874"/>
                <a:gd name="connsiteY45" fmla="*/ 9568 h 157932"/>
                <a:gd name="connsiteX46" fmla="*/ 91427 w 208874"/>
                <a:gd name="connsiteY46" fmla="*/ 9035 h 157932"/>
                <a:gd name="connsiteX47" fmla="*/ 100509 w 208874"/>
                <a:gd name="connsiteY47" fmla="*/ 7955 h 157932"/>
                <a:gd name="connsiteX48" fmla="*/ 99469 w 208874"/>
                <a:gd name="connsiteY48" fmla="*/ 10114 h 157932"/>
                <a:gd name="connsiteX49" fmla="*/ 103248 w 208874"/>
                <a:gd name="connsiteY49" fmla="*/ 19195 h 157932"/>
                <a:gd name="connsiteX50" fmla="*/ 113941 w 208874"/>
                <a:gd name="connsiteY50" fmla="*/ 15461 h 157932"/>
                <a:gd name="connsiteX51" fmla="*/ 119839 w 208874"/>
                <a:gd name="connsiteY51" fmla="*/ 23513 h 157932"/>
                <a:gd name="connsiteX52" fmla="*/ 130570 w 208874"/>
                <a:gd name="connsiteY52" fmla="*/ 16007 h 157932"/>
                <a:gd name="connsiteX53" fmla="*/ 145005 w 208874"/>
                <a:gd name="connsiteY53" fmla="*/ 17087 h 157932"/>
                <a:gd name="connsiteX54" fmla="*/ 155736 w 208874"/>
                <a:gd name="connsiteY54" fmla="*/ 13848 h 157932"/>
                <a:gd name="connsiteX55" fmla="*/ 161621 w 208874"/>
                <a:gd name="connsiteY55" fmla="*/ 4704 h 157932"/>
                <a:gd name="connsiteX56" fmla="*/ 171781 w 208874"/>
                <a:gd name="connsiteY56" fmla="*/ 16007 h 157932"/>
                <a:gd name="connsiteX57" fmla="*/ 175015 w 208874"/>
                <a:gd name="connsiteY57" fmla="*/ 28326 h 157932"/>
                <a:gd name="connsiteX58" fmla="*/ 185175 w 208874"/>
                <a:gd name="connsiteY58" fmla="*/ 36924 h 157932"/>
                <a:gd name="connsiteX59" fmla="*/ 180368 w 208874"/>
                <a:gd name="connsiteY59" fmla="*/ 43896 h 157932"/>
                <a:gd name="connsiteX60" fmla="*/ 181979 w 208874"/>
                <a:gd name="connsiteY60" fmla="*/ 48710 h 157932"/>
                <a:gd name="connsiteX61" fmla="*/ 188410 w 208874"/>
                <a:gd name="connsiteY61" fmla="*/ 51910 h 157932"/>
                <a:gd name="connsiteX62" fmla="*/ 190566 w 208874"/>
                <a:gd name="connsiteY62" fmla="*/ 65321 h 157932"/>
                <a:gd name="connsiteX63" fmla="*/ 198798 w 208874"/>
                <a:gd name="connsiteY63" fmla="*/ 68700 h 157932"/>
                <a:gd name="connsiteX64" fmla="*/ 193763 w 208874"/>
                <a:gd name="connsiteY64" fmla="*/ 77691 h 157932"/>
                <a:gd name="connsiteX65" fmla="*/ 194295 w 208874"/>
                <a:gd name="connsiteY65" fmla="*/ 95369 h 157932"/>
                <a:gd name="connsiteX66" fmla="*/ 202337 w 208874"/>
                <a:gd name="connsiteY66" fmla="*/ 101808 h 157932"/>
                <a:gd name="connsiteX67" fmla="*/ 198570 w 208874"/>
                <a:gd name="connsiteY67" fmla="*/ 110406 h 157932"/>
                <a:gd name="connsiteX68" fmla="*/ 205534 w 208874"/>
                <a:gd name="connsiteY68" fmla="*/ 118953 h 157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208874" h="157932">
                  <a:moveTo>
                    <a:pt x="205534" y="118953"/>
                  </a:moveTo>
                  <a:cubicBezTo>
                    <a:pt x="196997" y="123271"/>
                    <a:pt x="187865" y="115220"/>
                    <a:pt x="190566" y="123818"/>
                  </a:cubicBezTo>
                  <a:cubicBezTo>
                    <a:pt x="193217" y="132403"/>
                    <a:pt x="196452" y="129164"/>
                    <a:pt x="195374" y="133444"/>
                  </a:cubicBezTo>
                  <a:cubicBezTo>
                    <a:pt x="194295" y="137762"/>
                    <a:pt x="196452" y="140416"/>
                    <a:pt x="192672" y="145281"/>
                  </a:cubicBezTo>
                  <a:cubicBezTo>
                    <a:pt x="188943" y="150094"/>
                    <a:pt x="181979" y="143655"/>
                    <a:pt x="183057" y="147935"/>
                  </a:cubicBezTo>
                  <a:cubicBezTo>
                    <a:pt x="183057" y="147935"/>
                    <a:pt x="180901" y="140416"/>
                    <a:pt x="178199" y="142575"/>
                  </a:cubicBezTo>
                  <a:cubicBezTo>
                    <a:pt x="175561" y="144734"/>
                    <a:pt x="174470" y="151173"/>
                    <a:pt x="171236" y="153281"/>
                  </a:cubicBezTo>
                  <a:cubicBezTo>
                    <a:pt x="168052" y="155441"/>
                    <a:pt x="164323" y="160800"/>
                    <a:pt x="161088" y="155987"/>
                  </a:cubicBezTo>
                  <a:cubicBezTo>
                    <a:pt x="157854" y="151173"/>
                    <a:pt x="156268" y="150627"/>
                    <a:pt x="156814" y="144734"/>
                  </a:cubicBezTo>
                  <a:cubicBezTo>
                    <a:pt x="157359" y="138842"/>
                    <a:pt x="158932" y="138308"/>
                    <a:pt x="156268" y="131869"/>
                  </a:cubicBezTo>
                  <a:cubicBezTo>
                    <a:pt x="153579" y="125430"/>
                    <a:pt x="154657" y="122738"/>
                    <a:pt x="149850" y="120579"/>
                  </a:cubicBezTo>
                  <a:cubicBezTo>
                    <a:pt x="145931" y="119004"/>
                    <a:pt x="141682" y="118445"/>
                    <a:pt x="137496" y="118953"/>
                  </a:cubicBezTo>
                  <a:cubicBezTo>
                    <a:pt x="136329" y="119004"/>
                    <a:pt x="135175" y="119207"/>
                    <a:pt x="134071" y="119588"/>
                  </a:cubicBezTo>
                  <a:cubicBezTo>
                    <a:pt x="131280" y="120630"/>
                    <a:pt x="128655" y="122052"/>
                    <a:pt x="126258" y="123818"/>
                  </a:cubicBezTo>
                  <a:cubicBezTo>
                    <a:pt x="126258" y="123818"/>
                    <a:pt x="121983" y="127551"/>
                    <a:pt x="123061" y="113607"/>
                  </a:cubicBezTo>
                  <a:cubicBezTo>
                    <a:pt x="124101" y="99662"/>
                    <a:pt x="120905" y="99662"/>
                    <a:pt x="117670" y="94849"/>
                  </a:cubicBezTo>
                  <a:cubicBezTo>
                    <a:pt x="114486" y="90023"/>
                    <a:pt x="113396" y="83050"/>
                    <a:pt x="107510" y="81971"/>
                  </a:cubicBezTo>
                  <a:cubicBezTo>
                    <a:pt x="103058" y="80295"/>
                    <a:pt x="98339" y="79380"/>
                    <a:pt x="93583" y="79279"/>
                  </a:cubicBezTo>
                  <a:cubicBezTo>
                    <a:pt x="87253" y="78606"/>
                    <a:pt x="80848" y="79342"/>
                    <a:pt x="74848" y="81438"/>
                  </a:cubicBezTo>
                  <a:cubicBezTo>
                    <a:pt x="69927" y="83203"/>
                    <a:pt x="65766" y="86619"/>
                    <a:pt x="63065" y="91115"/>
                  </a:cubicBezTo>
                  <a:cubicBezTo>
                    <a:pt x="60198" y="97135"/>
                    <a:pt x="56330" y="102634"/>
                    <a:pt x="51649" y="107396"/>
                  </a:cubicBezTo>
                  <a:cubicBezTo>
                    <a:pt x="50951" y="105542"/>
                    <a:pt x="50152" y="103726"/>
                    <a:pt x="49277" y="101948"/>
                  </a:cubicBezTo>
                  <a:cubicBezTo>
                    <a:pt x="49188" y="101681"/>
                    <a:pt x="49074" y="101427"/>
                    <a:pt x="48909" y="101186"/>
                  </a:cubicBezTo>
                  <a:cubicBezTo>
                    <a:pt x="48465" y="100157"/>
                    <a:pt x="47920" y="99078"/>
                    <a:pt x="47387" y="98087"/>
                  </a:cubicBezTo>
                  <a:lnTo>
                    <a:pt x="46854" y="97135"/>
                  </a:lnTo>
                  <a:cubicBezTo>
                    <a:pt x="44648" y="93020"/>
                    <a:pt x="42047" y="89134"/>
                    <a:pt x="39079" y="85527"/>
                  </a:cubicBezTo>
                  <a:cubicBezTo>
                    <a:pt x="38623" y="84943"/>
                    <a:pt x="38128" y="84409"/>
                    <a:pt x="37595" y="83825"/>
                  </a:cubicBezTo>
                  <a:cubicBezTo>
                    <a:pt x="37024" y="83127"/>
                    <a:pt x="36428" y="82466"/>
                    <a:pt x="35794" y="81844"/>
                  </a:cubicBezTo>
                  <a:cubicBezTo>
                    <a:pt x="35705" y="81704"/>
                    <a:pt x="35578" y="81577"/>
                    <a:pt x="35439" y="81476"/>
                  </a:cubicBezTo>
                  <a:cubicBezTo>
                    <a:pt x="30999" y="76866"/>
                    <a:pt x="25989" y="72865"/>
                    <a:pt x="20509" y="69563"/>
                  </a:cubicBezTo>
                  <a:cubicBezTo>
                    <a:pt x="16438" y="66922"/>
                    <a:pt x="12785" y="63670"/>
                    <a:pt x="9690" y="59924"/>
                  </a:cubicBezTo>
                  <a:cubicBezTo>
                    <a:pt x="9373" y="59568"/>
                    <a:pt x="9056" y="59213"/>
                    <a:pt x="8738" y="58806"/>
                  </a:cubicBezTo>
                  <a:cubicBezTo>
                    <a:pt x="8421" y="58438"/>
                    <a:pt x="8104" y="58044"/>
                    <a:pt x="7800" y="57638"/>
                  </a:cubicBezTo>
                  <a:lnTo>
                    <a:pt x="7128" y="56825"/>
                  </a:lnTo>
                  <a:cubicBezTo>
                    <a:pt x="6671" y="56241"/>
                    <a:pt x="6227" y="55657"/>
                    <a:pt x="5771" y="55022"/>
                  </a:cubicBezTo>
                  <a:cubicBezTo>
                    <a:pt x="4476" y="53447"/>
                    <a:pt x="3259" y="51783"/>
                    <a:pt x="2003" y="50069"/>
                  </a:cubicBezTo>
                  <a:cubicBezTo>
                    <a:pt x="1331" y="49167"/>
                    <a:pt x="646" y="48227"/>
                    <a:pt x="-26" y="47274"/>
                  </a:cubicBezTo>
                  <a:cubicBezTo>
                    <a:pt x="2041" y="44950"/>
                    <a:pt x="3804" y="42372"/>
                    <a:pt x="5187" y="39578"/>
                  </a:cubicBezTo>
                  <a:cubicBezTo>
                    <a:pt x="8967" y="32073"/>
                    <a:pt x="8421" y="36391"/>
                    <a:pt x="13774" y="33686"/>
                  </a:cubicBezTo>
                  <a:cubicBezTo>
                    <a:pt x="19127" y="31031"/>
                    <a:pt x="25545" y="32606"/>
                    <a:pt x="32509" y="31031"/>
                  </a:cubicBezTo>
                  <a:cubicBezTo>
                    <a:pt x="39485" y="29418"/>
                    <a:pt x="35210" y="26713"/>
                    <a:pt x="29325" y="19195"/>
                  </a:cubicBezTo>
                  <a:cubicBezTo>
                    <a:pt x="23389" y="11689"/>
                    <a:pt x="28780" y="16007"/>
                    <a:pt x="35210" y="11689"/>
                  </a:cubicBezTo>
                  <a:cubicBezTo>
                    <a:pt x="41641" y="7409"/>
                    <a:pt x="33587" y="437"/>
                    <a:pt x="33587" y="437"/>
                  </a:cubicBezTo>
                  <a:cubicBezTo>
                    <a:pt x="38584" y="-287"/>
                    <a:pt x="43671" y="-109"/>
                    <a:pt x="48605" y="970"/>
                  </a:cubicBezTo>
                  <a:cubicBezTo>
                    <a:pt x="52867" y="2596"/>
                    <a:pt x="47527" y="3675"/>
                    <a:pt x="56101" y="5250"/>
                  </a:cubicBezTo>
                  <a:cubicBezTo>
                    <a:pt x="64650" y="6876"/>
                    <a:pt x="61454" y="9568"/>
                    <a:pt x="72692" y="9568"/>
                  </a:cubicBezTo>
                  <a:cubicBezTo>
                    <a:pt x="78933" y="10051"/>
                    <a:pt x="85224" y="9873"/>
                    <a:pt x="91427" y="9035"/>
                  </a:cubicBezTo>
                  <a:cubicBezTo>
                    <a:pt x="94420" y="8400"/>
                    <a:pt x="97452" y="8032"/>
                    <a:pt x="100509" y="7955"/>
                  </a:cubicBezTo>
                  <a:cubicBezTo>
                    <a:pt x="100039" y="8603"/>
                    <a:pt x="99684" y="9327"/>
                    <a:pt x="99469" y="10114"/>
                  </a:cubicBezTo>
                  <a:cubicBezTo>
                    <a:pt x="99519" y="13505"/>
                    <a:pt x="100876" y="16769"/>
                    <a:pt x="103248" y="19195"/>
                  </a:cubicBezTo>
                  <a:cubicBezTo>
                    <a:pt x="106977" y="24059"/>
                    <a:pt x="105899" y="16541"/>
                    <a:pt x="113941" y="15461"/>
                  </a:cubicBezTo>
                  <a:cubicBezTo>
                    <a:pt x="121983" y="14382"/>
                    <a:pt x="116643" y="19195"/>
                    <a:pt x="119839" y="23513"/>
                  </a:cubicBezTo>
                  <a:cubicBezTo>
                    <a:pt x="123074" y="27793"/>
                    <a:pt x="123074" y="20820"/>
                    <a:pt x="130570" y="16007"/>
                  </a:cubicBezTo>
                  <a:cubicBezTo>
                    <a:pt x="138029" y="11143"/>
                    <a:pt x="134845" y="17087"/>
                    <a:pt x="145005" y="17087"/>
                  </a:cubicBezTo>
                  <a:cubicBezTo>
                    <a:pt x="155203" y="17087"/>
                    <a:pt x="150395" y="16541"/>
                    <a:pt x="155736" y="13848"/>
                  </a:cubicBezTo>
                  <a:cubicBezTo>
                    <a:pt x="161088" y="11143"/>
                    <a:pt x="157854" y="5250"/>
                    <a:pt x="161621" y="4704"/>
                  </a:cubicBezTo>
                  <a:cubicBezTo>
                    <a:pt x="165350" y="4209"/>
                    <a:pt x="167519" y="8489"/>
                    <a:pt x="171781" y="16007"/>
                  </a:cubicBezTo>
                  <a:cubicBezTo>
                    <a:pt x="176093" y="23513"/>
                    <a:pt x="173405" y="23513"/>
                    <a:pt x="175015" y="28326"/>
                  </a:cubicBezTo>
                  <a:cubicBezTo>
                    <a:pt x="176639" y="33152"/>
                    <a:pt x="182525" y="31527"/>
                    <a:pt x="185175" y="36924"/>
                  </a:cubicBezTo>
                  <a:cubicBezTo>
                    <a:pt x="187865" y="42284"/>
                    <a:pt x="182525" y="39578"/>
                    <a:pt x="180368" y="43896"/>
                  </a:cubicBezTo>
                  <a:cubicBezTo>
                    <a:pt x="178212" y="48176"/>
                    <a:pt x="177172" y="49256"/>
                    <a:pt x="181979" y="48710"/>
                  </a:cubicBezTo>
                  <a:cubicBezTo>
                    <a:pt x="186786" y="48176"/>
                    <a:pt x="187332" y="46551"/>
                    <a:pt x="188410" y="51910"/>
                  </a:cubicBezTo>
                  <a:cubicBezTo>
                    <a:pt x="188905" y="56406"/>
                    <a:pt x="189628" y="60889"/>
                    <a:pt x="190566" y="65321"/>
                  </a:cubicBezTo>
                  <a:cubicBezTo>
                    <a:pt x="192050" y="70897"/>
                    <a:pt x="198075" y="68915"/>
                    <a:pt x="198798" y="68700"/>
                  </a:cubicBezTo>
                  <a:cubicBezTo>
                    <a:pt x="196071" y="70973"/>
                    <a:pt x="194283" y="74173"/>
                    <a:pt x="193763" y="77691"/>
                  </a:cubicBezTo>
                  <a:cubicBezTo>
                    <a:pt x="191607" y="87864"/>
                    <a:pt x="187332" y="93210"/>
                    <a:pt x="194295" y="95369"/>
                  </a:cubicBezTo>
                  <a:cubicBezTo>
                    <a:pt x="201259" y="97541"/>
                    <a:pt x="206066" y="96462"/>
                    <a:pt x="202337" y="101808"/>
                  </a:cubicBezTo>
                  <a:cubicBezTo>
                    <a:pt x="198570" y="107168"/>
                    <a:pt x="193217" y="107168"/>
                    <a:pt x="198570" y="110406"/>
                  </a:cubicBezTo>
                  <a:cubicBezTo>
                    <a:pt x="203961" y="113607"/>
                    <a:pt x="214108" y="114686"/>
                    <a:pt x="205534" y="118953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9" name="Vrije vorm 258">
              <a:extLst>
                <a:ext uri="{FF2B5EF4-FFF2-40B4-BE49-F238E27FC236}">
                  <a16:creationId xmlns:a16="http://schemas.microsoft.com/office/drawing/2014/main" id="{506E8CC7-3810-1E47-9C05-6A05E8A24411}"/>
                </a:ext>
              </a:extLst>
            </p:cNvPr>
            <p:cNvSpPr/>
            <p:nvPr/>
          </p:nvSpPr>
          <p:spPr>
            <a:xfrm>
              <a:off x="5021719" y="4034890"/>
              <a:ext cx="81938" cy="46837"/>
            </a:xfrm>
            <a:custGeom>
              <a:avLst/>
              <a:gdLst>
                <a:gd name="connsiteX0" fmla="*/ 73542 w 81938"/>
                <a:gd name="connsiteY0" fmla="*/ 18759 h 46837"/>
                <a:gd name="connsiteX1" fmla="*/ 76726 w 81938"/>
                <a:gd name="connsiteY1" fmla="*/ 30595 h 46837"/>
                <a:gd name="connsiteX2" fmla="*/ 57991 w 81938"/>
                <a:gd name="connsiteY2" fmla="*/ 33250 h 46837"/>
                <a:gd name="connsiteX3" fmla="*/ 49404 w 81938"/>
                <a:gd name="connsiteY3" fmla="*/ 39143 h 46837"/>
                <a:gd name="connsiteX4" fmla="*/ 44191 w 81938"/>
                <a:gd name="connsiteY4" fmla="*/ 46839 h 46837"/>
                <a:gd name="connsiteX5" fmla="*/ 42669 w 81938"/>
                <a:gd name="connsiteY5" fmla="*/ 44730 h 46837"/>
                <a:gd name="connsiteX6" fmla="*/ 41997 w 81938"/>
                <a:gd name="connsiteY6" fmla="*/ 43829 h 46837"/>
                <a:gd name="connsiteX7" fmla="*/ 35249 w 81938"/>
                <a:gd name="connsiteY7" fmla="*/ 35193 h 46837"/>
                <a:gd name="connsiteX8" fmla="*/ 36289 w 81938"/>
                <a:gd name="connsiteY8" fmla="*/ 32170 h 46837"/>
                <a:gd name="connsiteX9" fmla="*/ 36378 w 81938"/>
                <a:gd name="connsiteY9" fmla="*/ 31992 h 46837"/>
                <a:gd name="connsiteX10" fmla="*/ 36593 w 81938"/>
                <a:gd name="connsiteY10" fmla="*/ 31319 h 46837"/>
                <a:gd name="connsiteX11" fmla="*/ 37177 w 81938"/>
                <a:gd name="connsiteY11" fmla="*/ 29605 h 46837"/>
                <a:gd name="connsiteX12" fmla="*/ 37405 w 81938"/>
                <a:gd name="connsiteY12" fmla="*/ 29020 h 46837"/>
                <a:gd name="connsiteX13" fmla="*/ 37494 w 81938"/>
                <a:gd name="connsiteY13" fmla="*/ 28843 h 46837"/>
                <a:gd name="connsiteX14" fmla="*/ 37951 w 81938"/>
                <a:gd name="connsiteY14" fmla="*/ 27497 h 46837"/>
                <a:gd name="connsiteX15" fmla="*/ 37951 w 81938"/>
                <a:gd name="connsiteY15" fmla="*/ 27446 h 46837"/>
                <a:gd name="connsiteX16" fmla="*/ 39067 w 81938"/>
                <a:gd name="connsiteY16" fmla="*/ 24207 h 46837"/>
                <a:gd name="connsiteX17" fmla="*/ 39346 w 81938"/>
                <a:gd name="connsiteY17" fmla="*/ 23445 h 46837"/>
                <a:gd name="connsiteX18" fmla="*/ 36910 w 81938"/>
                <a:gd name="connsiteY18" fmla="*/ 22366 h 46837"/>
                <a:gd name="connsiteX19" fmla="*/ 32280 w 81938"/>
                <a:gd name="connsiteY19" fmla="*/ 20702 h 46837"/>
                <a:gd name="connsiteX20" fmla="*/ 22983 w 81938"/>
                <a:gd name="connsiteY20" fmla="*/ 20562 h 46837"/>
                <a:gd name="connsiteX21" fmla="*/ 22527 w 81938"/>
                <a:gd name="connsiteY21" fmla="*/ 20562 h 46837"/>
                <a:gd name="connsiteX22" fmla="*/ 19736 w 81938"/>
                <a:gd name="connsiteY22" fmla="*/ 20435 h 46837"/>
                <a:gd name="connsiteX23" fmla="*/ 17491 w 81938"/>
                <a:gd name="connsiteY23" fmla="*/ 20118 h 46837"/>
                <a:gd name="connsiteX24" fmla="*/ 14345 w 81938"/>
                <a:gd name="connsiteY24" fmla="*/ 19038 h 46837"/>
                <a:gd name="connsiteX25" fmla="*/ 6570 w 81938"/>
                <a:gd name="connsiteY25" fmla="*/ 15571 h 46837"/>
                <a:gd name="connsiteX26" fmla="*/ 3158 w 81938"/>
                <a:gd name="connsiteY26" fmla="*/ 13552 h 46837"/>
                <a:gd name="connsiteX27" fmla="*/ -26 w 81938"/>
                <a:gd name="connsiteY27" fmla="*/ 10301 h 46837"/>
                <a:gd name="connsiteX28" fmla="*/ 18353 w 81938"/>
                <a:gd name="connsiteY28" fmla="*/ 6440 h 46837"/>
                <a:gd name="connsiteX29" fmla="*/ 31748 w 81938"/>
                <a:gd name="connsiteY29" fmla="*/ 3786 h 46837"/>
                <a:gd name="connsiteX30" fmla="*/ 52093 w 81938"/>
                <a:gd name="connsiteY30" fmla="*/ 547 h 46837"/>
                <a:gd name="connsiteX31" fmla="*/ 77804 w 81938"/>
                <a:gd name="connsiteY31" fmla="*/ 1 h 46837"/>
                <a:gd name="connsiteX32" fmla="*/ 79428 w 81938"/>
                <a:gd name="connsiteY32" fmla="*/ 11253 h 46837"/>
                <a:gd name="connsiteX33" fmla="*/ 73542 w 81938"/>
                <a:gd name="connsiteY33" fmla="*/ 18759 h 4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81938" h="46837">
                  <a:moveTo>
                    <a:pt x="73542" y="18759"/>
                  </a:moveTo>
                  <a:cubicBezTo>
                    <a:pt x="79428" y="26277"/>
                    <a:pt x="83702" y="28983"/>
                    <a:pt x="76726" y="30595"/>
                  </a:cubicBezTo>
                  <a:cubicBezTo>
                    <a:pt x="69762" y="32170"/>
                    <a:pt x="63344" y="30595"/>
                    <a:pt x="57991" y="33250"/>
                  </a:cubicBezTo>
                  <a:cubicBezTo>
                    <a:pt x="52639" y="35955"/>
                    <a:pt x="53184" y="31637"/>
                    <a:pt x="49404" y="39143"/>
                  </a:cubicBezTo>
                  <a:cubicBezTo>
                    <a:pt x="48022" y="41937"/>
                    <a:pt x="46259" y="44515"/>
                    <a:pt x="44191" y="46839"/>
                  </a:cubicBezTo>
                  <a:cubicBezTo>
                    <a:pt x="43697" y="46127"/>
                    <a:pt x="43163" y="45442"/>
                    <a:pt x="42669" y="44730"/>
                  </a:cubicBezTo>
                  <a:cubicBezTo>
                    <a:pt x="42402" y="44413"/>
                    <a:pt x="42212" y="44096"/>
                    <a:pt x="41997" y="43829"/>
                  </a:cubicBezTo>
                  <a:cubicBezTo>
                    <a:pt x="39840" y="40946"/>
                    <a:pt x="37634" y="38025"/>
                    <a:pt x="35249" y="35193"/>
                  </a:cubicBezTo>
                  <a:cubicBezTo>
                    <a:pt x="35477" y="34558"/>
                    <a:pt x="35832" y="33478"/>
                    <a:pt x="36289" y="32170"/>
                  </a:cubicBezTo>
                  <a:lnTo>
                    <a:pt x="36378" y="31992"/>
                  </a:lnTo>
                  <a:cubicBezTo>
                    <a:pt x="36428" y="31764"/>
                    <a:pt x="36504" y="31535"/>
                    <a:pt x="36593" y="31319"/>
                  </a:cubicBezTo>
                  <a:cubicBezTo>
                    <a:pt x="36783" y="30786"/>
                    <a:pt x="36961" y="30202"/>
                    <a:pt x="37177" y="29605"/>
                  </a:cubicBezTo>
                  <a:cubicBezTo>
                    <a:pt x="37278" y="29427"/>
                    <a:pt x="37316" y="29211"/>
                    <a:pt x="37405" y="29020"/>
                  </a:cubicBezTo>
                  <a:lnTo>
                    <a:pt x="37494" y="28843"/>
                  </a:lnTo>
                  <a:cubicBezTo>
                    <a:pt x="37621" y="28386"/>
                    <a:pt x="37773" y="27941"/>
                    <a:pt x="37951" y="27497"/>
                  </a:cubicBezTo>
                  <a:lnTo>
                    <a:pt x="37951" y="27446"/>
                  </a:lnTo>
                  <a:cubicBezTo>
                    <a:pt x="38305" y="26417"/>
                    <a:pt x="38661" y="25325"/>
                    <a:pt x="39067" y="24207"/>
                  </a:cubicBezTo>
                  <a:cubicBezTo>
                    <a:pt x="39156" y="23979"/>
                    <a:pt x="39257" y="23712"/>
                    <a:pt x="39346" y="23445"/>
                  </a:cubicBezTo>
                  <a:cubicBezTo>
                    <a:pt x="38483" y="23090"/>
                    <a:pt x="37671" y="22721"/>
                    <a:pt x="36910" y="22366"/>
                  </a:cubicBezTo>
                  <a:cubicBezTo>
                    <a:pt x="35464" y="21591"/>
                    <a:pt x="33904" y="21032"/>
                    <a:pt x="32280" y="20702"/>
                  </a:cubicBezTo>
                  <a:cubicBezTo>
                    <a:pt x="29186" y="20499"/>
                    <a:pt x="26078" y="20448"/>
                    <a:pt x="22983" y="20562"/>
                  </a:cubicBezTo>
                  <a:lnTo>
                    <a:pt x="22527" y="20562"/>
                  </a:lnTo>
                  <a:cubicBezTo>
                    <a:pt x="21588" y="20562"/>
                    <a:pt x="20649" y="20524"/>
                    <a:pt x="19736" y="20435"/>
                  </a:cubicBezTo>
                  <a:cubicBezTo>
                    <a:pt x="18937" y="20346"/>
                    <a:pt x="18214" y="20245"/>
                    <a:pt x="17491" y="20118"/>
                  </a:cubicBezTo>
                  <a:cubicBezTo>
                    <a:pt x="16413" y="19877"/>
                    <a:pt x="15347" y="19521"/>
                    <a:pt x="14345" y="19038"/>
                  </a:cubicBezTo>
                  <a:cubicBezTo>
                    <a:pt x="11923" y="17819"/>
                    <a:pt x="9132" y="16829"/>
                    <a:pt x="6570" y="15571"/>
                  </a:cubicBezTo>
                  <a:cubicBezTo>
                    <a:pt x="5378" y="15000"/>
                    <a:pt x="4236" y="14327"/>
                    <a:pt x="3158" y="13552"/>
                  </a:cubicBezTo>
                  <a:cubicBezTo>
                    <a:pt x="1902" y="12676"/>
                    <a:pt x="824" y="11583"/>
                    <a:pt x="-26" y="10301"/>
                  </a:cubicBezTo>
                  <a:cubicBezTo>
                    <a:pt x="5745" y="7710"/>
                    <a:pt x="12011" y="6389"/>
                    <a:pt x="18353" y="6440"/>
                  </a:cubicBezTo>
                  <a:cubicBezTo>
                    <a:pt x="26890" y="6440"/>
                    <a:pt x="24772" y="8053"/>
                    <a:pt x="31748" y="3786"/>
                  </a:cubicBezTo>
                  <a:cubicBezTo>
                    <a:pt x="38712" y="-532"/>
                    <a:pt x="40817" y="547"/>
                    <a:pt x="52093" y="547"/>
                  </a:cubicBezTo>
                  <a:cubicBezTo>
                    <a:pt x="63332" y="547"/>
                    <a:pt x="69762" y="1"/>
                    <a:pt x="77804" y="1"/>
                  </a:cubicBezTo>
                  <a:cubicBezTo>
                    <a:pt x="77804" y="1"/>
                    <a:pt x="85846" y="6973"/>
                    <a:pt x="79428" y="11253"/>
                  </a:cubicBezTo>
                  <a:cubicBezTo>
                    <a:pt x="72997" y="15571"/>
                    <a:pt x="67606" y="11253"/>
                    <a:pt x="73542" y="18759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0" name="Vrije vorm 259">
              <a:extLst>
                <a:ext uri="{FF2B5EF4-FFF2-40B4-BE49-F238E27FC236}">
                  <a16:creationId xmlns:a16="http://schemas.microsoft.com/office/drawing/2014/main" id="{38B42500-DC79-074E-B87B-1BDDD5365A7D}"/>
                </a:ext>
              </a:extLst>
            </p:cNvPr>
            <p:cNvSpPr/>
            <p:nvPr/>
          </p:nvSpPr>
          <p:spPr>
            <a:xfrm>
              <a:off x="5015730" y="4001682"/>
              <a:ext cx="84897" cy="22023"/>
            </a:xfrm>
            <a:custGeom>
              <a:avLst/>
              <a:gdLst>
                <a:gd name="connsiteX0" fmla="*/ 84872 w 84897"/>
                <a:gd name="connsiteY0" fmla="*/ 11746 h 22023"/>
                <a:gd name="connsiteX1" fmla="*/ 75752 w 84897"/>
                <a:gd name="connsiteY1" fmla="*/ 21957 h 22023"/>
                <a:gd name="connsiteX2" fmla="*/ 61279 w 84897"/>
                <a:gd name="connsiteY2" fmla="*/ 19798 h 22023"/>
                <a:gd name="connsiteX3" fmla="*/ 51119 w 84897"/>
                <a:gd name="connsiteY3" fmla="*/ 13372 h 22023"/>
                <a:gd name="connsiteX4" fmla="*/ 44701 w 84897"/>
                <a:gd name="connsiteY4" fmla="*/ 11213 h 22023"/>
                <a:gd name="connsiteX5" fmla="*/ 38270 w 84897"/>
                <a:gd name="connsiteY5" fmla="*/ 16064 h 22023"/>
                <a:gd name="connsiteX6" fmla="*/ 25421 w 84897"/>
                <a:gd name="connsiteY6" fmla="*/ 15531 h 22023"/>
                <a:gd name="connsiteX7" fmla="*/ 18445 w 84897"/>
                <a:gd name="connsiteY7" fmla="*/ 21424 h 22023"/>
                <a:gd name="connsiteX8" fmla="*/ 27 w 84897"/>
                <a:gd name="connsiteY8" fmla="*/ 20878 h 22023"/>
                <a:gd name="connsiteX9" fmla="*/ 4835 w 84897"/>
                <a:gd name="connsiteY9" fmla="*/ 13461 h 22023"/>
                <a:gd name="connsiteX10" fmla="*/ 5913 w 84897"/>
                <a:gd name="connsiteY10" fmla="*/ 12788 h 22023"/>
                <a:gd name="connsiteX11" fmla="*/ 6407 w 84897"/>
                <a:gd name="connsiteY11" fmla="*/ 12026 h 22023"/>
                <a:gd name="connsiteX12" fmla="*/ 6407 w 84897"/>
                <a:gd name="connsiteY12" fmla="*/ 6120 h 22023"/>
                <a:gd name="connsiteX13" fmla="*/ 33957 w 84897"/>
                <a:gd name="connsiteY13" fmla="*/ 6933 h 22023"/>
                <a:gd name="connsiteX14" fmla="*/ 37192 w 84897"/>
                <a:gd name="connsiteY14" fmla="*/ 2120 h 22023"/>
                <a:gd name="connsiteX15" fmla="*/ 47352 w 84897"/>
                <a:gd name="connsiteY15" fmla="*/ 1040 h 22023"/>
                <a:gd name="connsiteX16" fmla="*/ 60201 w 84897"/>
                <a:gd name="connsiteY16" fmla="*/ 5854 h 22023"/>
                <a:gd name="connsiteX17" fmla="*/ 66619 w 84897"/>
                <a:gd name="connsiteY17" fmla="*/ 10667 h 22023"/>
                <a:gd name="connsiteX18" fmla="*/ 79519 w 84897"/>
                <a:gd name="connsiteY18" fmla="*/ 8559 h 22023"/>
                <a:gd name="connsiteX19" fmla="*/ 84872 w 84897"/>
                <a:gd name="connsiteY19" fmla="*/ 11746 h 22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84897" h="22023">
                  <a:moveTo>
                    <a:pt x="84872" y="11746"/>
                  </a:moveTo>
                  <a:cubicBezTo>
                    <a:pt x="84060" y="16636"/>
                    <a:pt x="80509" y="20611"/>
                    <a:pt x="75752" y="21957"/>
                  </a:cubicBezTo>
                  <a:cubicBezTo>
                    <a:pt x="70831" y="22262"/>
                    <a:pt x="65896" y="21525"/>
                    <a:pt x="61279" y="19798"/>
                  </a:cubicBezTo>
                  <a:cubicBezTo>
                    <a:pt x="57550" y="18185"/>
                    <a:pt x="55927" y="15531"/>
                    <a:pt x="51119" y="13372"/>
                  </a:cubicBezTo>
                  <a:cubicBezTo>
                    <a:pt x="46274" y="11213"/>
                    <a:pt x="47352" y="9092"/>
                    <a:pt x="44701" y="11213"/>
                  </a:cubicBezTo>
                  <a:cubicBezTo>
                    <a:pt x="41999" y="13372"/>
                    <a:pt x="45779" y="16610"/>
                    <a:pt x="38270" y="16064"/>
                  </a:cubicBezTo>
                  <a:cubicBezTo>
                    <a:pt x="30761" y="15531"/>
                    <a:pt x="26994" y="12292"/>
                    <a:pt x="25421" y="15531"/>
                  </a:cubicBezTo>
                  <a:cubicBezTo>
                    <a:pt x="23797" y="18719"/>
                    <a:pt x="26994" y="21424"/>
                    <a:pt x="18445" y="21424"/>
                  </a:cubicBezTo>
                  <a:cubicBezTo>
                    <a:pt x="9870" y="21424"/>
                    <a:pt x="10187" y="20878"/>
                    <a:pt x="27" y="20878"/>
                  </a:cubicBezTo>
                  <a:cubicBezTo>
                    <a:pt x="-290" y="18452"/>
                    <a:pt x="738" y="15975"/>
                    <a:pt x="4835" y="13461"/>
                  </a:cubicBezTo>
                  <a:cubicBezTo>
                    <a:pt x="5164" y="13194"/>
                    <a:pt x="5532" y="12965"/>
                    <a:pt x="5913" y="12788"/>
                  </a:cubicBezTo>
                  <a:cubicBezTo>
                    <a:pt x="6167" y="12597"/>
                    <a:pt x="6344" y="12330"/>
                    <a:pt x="6407" y="12026"/>
                  </a:cubicBezTo>
                  <a:cubicBezTo>
                    <a:pt x="6801" y="10070"/>
                    <a:pt x="6801" y="8076"/>
                    <a:pt x="6407" y="6120"/>
                  </a:cubicBezTo>
                  <a:lnTo>
                    <a:pt x="33957" y="6933"/>
                  </a:lnTo>
                  <a:cubicBezTo>
                    <a:pt x="33767" y="4761"/>
                    <a:pt x="35112" y="2755"/>
                    <a:pt x="37192" y="2120"/>
                  </a:cubicBezTo>
                  <a:cubicBezTo>
                    <a:pt x="40921" y="507"/>
                    <a:pt x="41467" y="-1119"/>
                    <a:pt x="47352" y="1040"/>
                  </a:cubicBezTo>
                  <a:cubicBezTo>
                    <a:pt x="53238" y="3199"/>
                    <a:pt x="55394" y="4241"/>
                    <a:pt x="60201" y="5854"/>
                  </a:cubicBezTo>
                  <a:cubicBezTo>
                    <a:pt x="65047" y="7479"/>
                    <a:pt x="61279" y="12292"/>
                    <a:pt x="66619" y="10667"/>
                  </a:cubicBezTo>
                  <a:cubicBezTo>
                    <a:pt x="70843" y="9549"/>
                    <a:pt x="75169" y="8838"/>
                    <a:pt x="79519" y="8559"/>
                  </a:cubicBezTo>
                  <a:cubicBezTo>
                    <a:pt x="83794" y="8013"/>
                    <a:pt x="84872" y="6933"/>
                    <a:pt x="84872" y="11746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1" name="Vrije vorm 260">
              <a:extLst>
                <a:ext uri="{FF2B5EF4-FFF2-40B4-BE49-F238E27FC236}">
                  <a16:creationId xmlns:a16="http://schemas.microsoft.com/office/drawing/2014/main" id="{0B3F7531-6C3F-E04B-8173-1697408A661D}"/>
                </a:ext>
              </a:extLst>
            </p:cNvPr>
            <p:cNvSpPr/>
            <p:nvPr/>
          </p:nvSpPr>
          <p:spPr>
            <a:xfrm>
              <a:off x="4999997" y="3917192"/>
              <a:ext cx="168458" cy="127997"/>
            </a:xfrm>
            <a:custGeom>
              <a:avLst/>
              <a:gdLst>
                <a:gd name="connsiteX0" fmla="*/ 166448 w 168458"/>
                <a:gd name="connsiteY0" fmla="*/ 125217 h 127997"/>
                <a:gd name="connsiteX1" fmla="*/ 157366 w 168458"/>
                <a:gd name="connsiteY1" fmla="*/ 126297 h 127997"/>
                <a:gd name="connsiteX2" fmla="*/ 138632 w 168458"/>
                <a:gd name="connsiteY2" fmla="*/ 126830 h 127997"/>
                <a:gd name="connsiteX3" fmla="*/ 122040 w 168458"/>
                <a:gd name="connsiteY3" fmla="*/ 122512 h 127997"/>
                <a:gd name="connsiteX4" fmla="*/ 114544 w 168458"/>
                <a:gd name="connsiteY4" fmla="*/ 118245 h 127997"/>
                <a:gd name="connsiteX5" fmla="*/ 99526 w 168458"/>
                <a:gd name="connsiteY5" fmla="*/ 117699 h 127997"/>
                <a:gd name="connsiteX6" fmla="*/ 73828 w 168458"/>
                <a:gd name="connsiteY6" fmla="*/ 118245 h 127997"/>
                <a:gd name="connsiteX7" fmla="*/ 53470 w 168458"/>
                <a:gd name="connsiteY7" fmla="*/ 121484 h 127997"/>
                <a:gd name="connsiteX8" fmla="*/ 40075 w 168458"/>
                <a:gd name="connsiteY8" fmla="*/ 124138 h 127997"/>
                <a:gd name="connsiteX9" fmla="*/ 21696 w 168458"/>
                <a:gd name="connsiteY9" fmla="*/ 127999 h 127997"/>
                <a:gd name="connsiteX10" fmla="*/ 19768 w 168458"/>
                <a:gd name="connsiteY10" fmla="*/ 121484 h 127997"/>
                <a:gd name="connsiteX11" fmla="*/ 20034 w 168458"/>
                <a:gd name="connsiteY11" fmla="*/ 118334 h 127997"/>
                <a:gd name="connsiteX12" fmla="*/ 20123 w 168458"/>
                <a:gd name="connsiteY12" fmla="*/ 117610 h 127997"/>
                <a:gd name="connsiteX13" fmla="*/ 20072 w 168458"/>
                <a:gd name="connsiteY13" fmla="*/ 115591 h 127997"/>
                <a:gd name="connsiteX14" fmla="*/ 20072 w 168458"/>
                <a:gd name="connsiteY14" fmla="*/ 115540 h 127997"/>
                <a:gd name="connsiteX15" fmla="*/ 19945 w 168458"/>
                <a:gd name="connsiteY15" fmla="*/ 114994 h 127997"/>
                <a:gd name="connsiteX16" fmla="*/ 15760 w 168458"/>
                <a:gd name="connsiteY16" fmla="*/ 105367 h 127997"/>
                <a:gd name="connsiteX17" fmla="*/ 34190 w 168458"/>
                <a:gd name="connsiteY17" fmla="*/ 105913 h 127997"/>
                <a:gd name="connsiteX18" fmla="*/ 41154 w 168458"/>
                <a:gd name="connsiteY18" fmla="*/ 100021 h 127997"/>
                <a:gd name="connsiteX19" fmla="*/ 54002 w 168458"/>
                <a:gd name="connsiteY19" fmla="*/ 100554 h 127997"/>
                <a:gd name="connsiteX20" fmla="*/ 60433 w 168458"/>
                <a:gd name="connsiteY20" fmla="*/ 95703 h 127997"/>
                <a:gd name="connsiteX21" fmla="*/ 66864 w 168458"/>
                <a:gd name="connsiteY21" fmla="*/ 97862 h 127997"/>
                <a:gd name="connsiteX22" fmla="*/ 77012 w 168458"/>
                <a:gd name="connsiteY22" fmla="*/ 104288 h 127997"/>
                <a:gd name="connsiteX23" fmla="*/ 91484 w 168458"/>
                <a:gd name="connsiteY23" fmla="*/ 106447 h 127997"/>
                <a:gd name="connsiteX24" fmla="*/ 100604 w 168458"/>
                <a:gd name="connsiteY24" fmla="*/ 96236 h 127997"/>
                <a:gd name="connsiteX25" fmla="*/ 95264 w 168458"/>
                <a:gd name="connsiteY25" fmla="*/ 93036 h 127997"/>
                <a:gd name="connsiteX26" fmla="*/ 82364 w 168458"/>
                <a:gd name="connsiteY26" fmla="*/ 95156 h 127997"/>
                <a:gd name="connsiteX27" fmla="*/ 75933 w 168458"/>
                <a:gd name="connsiteY27" fmla="*/ 90343 h 127997"/>
                <a:gd name="connsiteX28" fmla="*/ 63084 w 168458"/>
                <a:gd name="connsiteY28" fmla="*/ 85530 h 127997"/>
                <a:gd name="connsiteX29" fmla="*/ 52924 w 168458"/>
                <a:gd name="connsiteY29" fmla="*/ 86610 h 127997"/>
                <a:gd name="connsiteX30" fmla="*/ 49690 w 168458"/>
                <a:gd name="connsiteY30" fmla="*/ 91423 h 127997"/>
                <a:gd name="connsiteX31" fmla="*/ 22140 w 168458"/>
                <a:gd name="connsiteY31" fmla="*/ 90610 h 127997"/>
                <a:gd name="connsiteX32" fmla="*/ 21873 w 168458"/>
                <a:gd name="connsiteY32" fmla="*/ 88857 h 127997"/>
                <a:gd name="connsiteX33" fmla="*/ 21873 w 168458"/>
                <a:gd name="connsiteY33" fmla="*/ 88806 h 127997"/>
                <a:gd name="connsiteX34" fmla="*/ 21785 w 168458"/>
                <a:gd name="connsiteY34" fmla="*/ 88400 h 127997"/>
                <a:gd name="connsiteX35" fmla="*/ 21024 w 168458"/>
                <a:gd name="connsiteY35" fmla="*/ 84755 h 127997"/>
                <a:gd name="connsiteX36" fmla="*/ 20757 w 168458"/>
                <a:gd name="connsiteY36" fmla="*/ 83676 h 127997"/>
                <a:gd name="connsiteX37" fmla="*/ 19311 w 168458"/>
                <a:gd name="connsiteY37" fmla="*/ 79002 h 127997"/>
                <a:gd name="connsiteX38" fmla="*/ 19223 w 168458"/>
                <a:gd name="connsiteY38" fmla="*/ 78735 h 127997"/>
                <a:gd name="connsiteX39" fmla="*/ 17929 w 168458"/>
                <a:gd name="connsiteY39" fmla="*/ 75535 h 127997"/>
                <a:gd name="connsiteX40" fmla="*/ 5561 w 168458"/>
                <a:gd name="connsiteY40" fmla="*/ 65946 h 127997"/>
                <a:gd name="connsiteX41" fmla="*/ 1338 w 168458"/>
                <a:gd name="connsiteY41" fmla="*/ 56371 h 127997"/>
                <a:gd name="connsiteX42" fmla="*/ 7096 w 168458"/>
                <a:gd name="connsiteY42" fmla="*/ 50376 h 127997"/>
                <a:gd name="connsiteX43" fmla="*/ 26009 w 168458"/>
                <a:gd name="connsiteY43" fmla="*/ 5926 h 127997"/>
                <a:gd name="connsiteX44" fmla="*/ 43272 w 168458"/>
                <a:gd name="connsiteY44" fmla="*/ 4529 h 127997"/>
                <a:gd name="connsiteX45" fmla="*/ 65786 w 168458"/>
                <a:gd name="connsiteY45" fmla="*/ 224 h 127997"/>
                <a:gd name="connsiteX46" fmla="*/ 88300 w 168458"/>
                <a:gd name="connsiteY46" fmla="*/ 5621 h 127997"/>
                <a:gd name="connsiteX47" fmla="*/ 97382 w 168458"/>
                <a:gd name="connsiteY47" fmla="*/ 15248 h 127997"/>
                <a:gd name="connsiteX48" fmla="*/ 109153 w 168458"/>
                <a:gd name="connsiteY48" fmla="*/ 18487 h 127997"/>
                <a:gd name="connsiteX49" fmla="*/ 117195 w 168458"/>
                <a:gd name="connsiteY49" fmla="*/ 32431 h 127997"/>
                <a:gd name="connsiteX50" fmla="*/ 128471 w 168458"/>
                <a:gd name="connsiteY50" fmla="*/ 44763 h 127997"/>
                <a:gd name="connsiteX51" fmla="*/ 139177 w 168458"/>
                <a:gd name="connsiteY51" fmla="*/ 52281 h 127997"/>
                <a:gd name="connsiteX52" fmla="*/ 143210 w 168458"/>
                <a:gd name="connsiteY52" fmla="*/ 57679 h 127997"/>
                <a:gd name="connsiteX53" fmla="*/ 148829 w 168458"/>
                <a:gd name="connsiteY53" fmla="*/ 85530 h 127997"/>
                <a:gd name="connsiteX54" fmla="*/ 158989 w 168458"/>
                <a:gd name="connsiteY54" fmla="*/ 96236 h 127997"/>
                <a:gd name="connsiteX55" fmla="*/ 167031 w 168458"/>
                <a:gd name="connsiteY55" fmla="*/ 111273 h 127997"/>
                <a:gd name="connsiteX56" fmla="*/ 166448 w 168458"/>
                <a:gd name="connsiteY56" fmla="*/ 125217 h 127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168458" h="127997">
                  <a:moveTo>
                    <a:pt x="166448" y="125217"/>
                  </a:moveTo>
                  <a:cubicBezTo>
                    <a:pt x="163391" y="125306"/>
                    <a:pt x="160359" y="125662"/>
                    <a:pt x="157366" y="126297"/>
                  </a:cubicBezTo>
                  <a:cubicBezTo>
                    <a:pt x="151163" y="127135"/>
                    <a:pt x="144872" y="127313"/>
                    <a:pt x="138632" y="126830"/>
                  </a:cubicBezTo>
                  <a:cubicBezTo>
                    <a:pt x="127393" y="126830"/>
                    <a:pt x="130590" y="124138"/>
                    <a:pt x="122040" y="122512"/>
                  </a:cubicBezTo>
                  <a:cubicBezTo>
                    <a:pt x="113466" y="120937"/>
                    <a:pt x="118806" y="119858"/>
                    <a:pt x="114544" y="118245"/>
                  </a:cubicBezTo>
                  <a:cubicBezTo>
                    <a:pt x="109610" y="117153"/>
                    <a:pt x="104523" y="116975"/>
                    <a:pt x="99526" y="117699"/>
                  </a:cubicBezTo>
                  <a:cubicBezTo>
                    <a:pt x="91484" y="117699"/>
                    <a:pt x="85066" y="118245"/>
                    <a:pt x="73828" y="118245"/>
                  </a:cubicBezTo>
                  <a:cubicBezTo>
                    <a:pt x="62552" y="118245"/>
                    <a:pt x="60433" y="117153"/>
                    <a:pt x="53470" y="121484"/>
                  </a:cubicBezTo>
                  <a:cubicBezTo>
                    <a:pt x="46506" y="125751"/>
                    <a:pt x="48612" y="124138"/>
                    <a:pt x="40075" y="124138"/>
                  </a:cubicBezTo>
                  <a:cubicBezTo>
                    <a:pt x="33746" y="124087"/>
                    <a:pt x="27467" y="125408"/>
                    <a:pt x="21696" y="127999"/>
                  </a:cubicBezTo>
                  <a:cubicBezTo>
                    <a:pt x="20415" y="126068"/>
                    <a:pt x="19742" y="123795"/>
                    <a:pt x="19768" y="121484"/>
                  </a:cubicBezTo>
                  <a:cubicBezTo>
                    <a:pt x="19768" y="120430"/>
                    <a:pt x="19857" y="119375"/>
                    <a:pt x="20034" y="118334"/>
                  </a:cubicBezTo>
                  <a:cubicBezTo>
                    <a:pt x="20047" y="118093"/>
                    <a:pt x="20072" y="117851"/>
                    <a:pt x="20123" y="117610"/>
                  </a:cubicBezTo>
                  <a:cubicBezTo>
                    <a:pt x="20237" y="116937"/>
                    <a:pt x="20224" y="116251"/>
                    <a:pt x="20072" y="115591"/>
                  </a:cubicBezTo>
                  <a:lnTo>
                    <a:pt x="20072" y="115540"/>
                  </a:lnTo>
                  <a:lnTo>
                    <a:pt x="19945" y="114994"/>
                  </a:lnTo>
                  <a:cubicBezTo>
                    <a:pt x="18994" y="111895"/>
                    <a:pt x="16127" y="108695"/>
                    <a:pt x="15760" y="105367"/>
                  </a:cubicBezTo>
                  <a:cubicBezTo>
                    <a:pt x="25920" y="105367"/>
                    <a:pt x="25603" y="105913"/>
                    <a:pt x="34190" y="105913"/>
                  </a:cubicBezTo>
                  <a:cubicBezTo>
                    <a:pt x="42726" y="105913"/>
                    <a:pt x="39543" y="103208"/>
                    <a:pt x="41154" y="100021"/>
                  </a:cubicBezTo>
                  <a:cubicBezTo>
                    <a:pt x="42726" y="96782"/>
                    <a:pt x="46506" y="100021"/>
                    <a:pt x="54002" y="100554"/>
                  </a:cubicBezTo>
                  <a:cubicBezTo>
                    <a:pt x="61511" y="101088"/>
                    <a:pt x="57732" y="97862"/>
                    <a:pt x="60433" y="95703"/>
                  </a:cubicBezTo>
                  <a:cubicBezTo>
                    <a:pt x="63084" y="93582"/>
                    <a:pt x="62006" y="95703"/>
                    <a:pt x="66864" y="97862"/>
                  </a:cubicBezTo>
                  <a:cubicBezTo>
                    <a:pt x="71671" y="100021"/>
                    <a:pt x="73283" y="102675"/>
                    <a:pt x="77012" y="104288"/>
                  </a:cubicBezTo>
                  <a:cubicBezTo>
                    <a:pt x="81629" y="106015"/>
                    <a:pt x="86563" y="106752"/>
                    <a:pt x="91484" y="106447"/>
                  </a:cubicBezTo>
                  <a:cubicBezTo>
                    <a:pt x="96254" y="105101"/>
                    <a:pt x="99805" y="101126"/>
                    <a:pt x="100604" y="96236"/>
                  </a:cubicBezTo>
                  <a:cubicBezTo>
                    <a:pt x="100604" y="91423"/>
                    <a:pt x="99526" y="92502"/>
                    <a:pt x="95264" y="93036"/>
                  </a:cubicBezTo>
                  <a:cubicBezTo>
                    <a:pt x="90901" y="93328"/>
                    <a:pt x="86588" y="94026"/>
                    <a:pt x="82364" y="95156"/>
                  </a:cubicBezTo>
                  <a:cubicBezTo>
                    <a:pt x="77012" y="96769"/>
                    <a:pt x="80792" y="91956"/>
                    <a:pt x="75933" y="90343"/>
                  </a:cubicBezTo>
                  <a:cubicBezTo>
                    <a:pt x="71126" y="88718"/>
                    <a:pt x="68970" y="87689"/>
                    <a:pt x="63084" y="85530"/>
                  </a:cubicBezTo>
                  <a:cubicBezTo>
                    <a:pt x="57199" y="83358"/>
                    <a:pt x="56654" y="84984"/>
                    <a:pt x="52924" y="86610"/>
                  </a:cubicBezTo>
                  <a:cubicBezTo>
                    <a:pt x="50844" y="87244"/>
                    <a:pt x="49500" y="89251"/>
                    <a:pt x="49690" y="91423"/>
                  </a:cubicBezTo>
                  <a:lnTo>
                    <a:pt x="22140" y="90610"/>
                  </a:lnTo>
                  <a:lnTo>
                    <a:pt x="21873" y="88857"/>
                  </a:lnTo>
                  <a:lnTo>
                    <a:pt x="21873" y="88806"/>
                  </a:lnTo>
                  <a:cubicBezTo>
                    <a:pt x="21861" y="88667"/>
                    <a:pt x="21835" y="88540"/>
                    <a:pt x="21785" y="88400"/>
                  </a:cubicBezTo>
                  <a:cubicBezTo>
                    <a:pt x="21607" y="87232"/>
                    <a:pt x="21341" y="86012"/>
                    <a:pt x="21024" y="84755"/>
                  </a:cubicBezTo>
                  <a:lnTo>
                    <a:pt x="20757" y="83676"/>
                  </a:lnTo>
                  <a:cubicBezTo>
                    <a:pt x="20364" y="82088"/>
                    <a:pt x="19882" y="80526"/>
                    <a:pt x="19311" y="79002"/>
                  </a:cubicBezTo>
                  <a:cubicBezTo>
                    <a:pt x="19273" y="78913"/>
                    <a:pt x="19273" y="78824"/>
                    <a:pt x="19223" y="78735"/>
                  </a:cubicBezTo>
                  <a:cubicBezTo>
                    <a:pt x="18854" y="77643"/>
                    <a:pt x="18410" y="76576"/>
                    <a:pt x="17929" y="75535"/>
                  </a:cubicBezTo>
                  <a:cubicBezTo>
                    <a:pt x="16216" y="72068"/>
                    <a:pt x="10153" y="69058"/>
                    <a:pt x="5561" y="65946"/>
                  </a:cubicBezTo>
                  <a:cubicBezTo>
                    <a:pt x="1160" y="62988"/>
                    <a:pt x="-1935" y="59927"/>
                    <a:pt x="1338" y="56371"/>
                  </a:cubicBezTo>
                  <a:cubicBezTo>
                    <a:pt x="3405" y="54123"/>
                    <a:pt x="5295" y="52142"/>
                    <a:pt x="7096" y="50376"/>
                  </a:cubicBezTo>
                  <a:cubicBezTo>
                    <a:pt x="19413" y="38095"/>
                    <a:pt x="25425" y="34908"/>
                    <a:pt x="26009" y="5926"/>
                  </a:cubicBezTo>
                  <a:cubicBezTo>
                    <a:pt x="32439" y="-1579"/>
                    <a:pt x="33112" y="4529"/>
                    <a:pt x="43272" y="4529"/>
                  </a:cubicBezTo>
                  <a:cubicBezTo>
                    <a:pt x="53470" y="4529"/>
                    <a:pt x="53470" y="757"/>
                    <a:pt x="65786" y="224"/>
                  </a:cubicBezTo>
                  <a:cubicBezTo>
                    <a:pt x="73688" y="-690"/>
                    <a:pt x="81667" y="1227"/>
                    <a:pt x="88300" y="5621"/>
                  </a:cubicBezTo>
                  <a:cubicBezTo>
                    <a:pt x="97382" y="9889"/>
                    <a:pt x="93653" y="11514"/>
                    <a:pt x="97382" y="15248"/>
                  </a:cubicBezTo>
                  <a:cubicBezTo>
                    <a:pt x="101150" y="19033"/>
                    <a:pt x="104346" y="14702"/>
                    <a:pt x="109153" y="18487"/>
                  </a:cubicBezTo>
                  <a:cubicBezTo>
                    <a:pt x="114011" y="22220"/>
                    <a:pt x="111310" y="26538"/>
                    <a:pt x="117195" y="32431"/>
                  </a:cubicBezTo>
                  <a:cubicBezTo>
                    <a:pt x="123081" y="38324"/>
                    <a:pt x="119351" y="35632"/>
                    <a:pt x="128471" y="44763"/>
                  </a:cubicBezTo>
                  <a:cubicBezTo>
                    <a:pt x="137553" y="53894"/>
                    <a:pt x="132746" y="46922"/>
                    <a:pt x="139177" y="52281"/>
                  </a:cubicBezTo>
                  <a:cubicBezTo>
                    <a:pt x="140915" y="53742"/>
                    <a:pt x="142297" y="55596"/>
                    <a:pt x="143210" y="57679"/>
                  </a:cubicBezTo>
                  <a:cubicBezTo>
                    <a:pt x="146381" y="66645"/>
                    <a:pt x="148284" y="76030"/>
                    <a:pt x="148829" y="85530"/>
                  </a:cubicBezTo>
                  <a:cubicBezTo>
                    <a:pt x="150948" y="102129"/>
                    <a:pt x="154182" y="96236"/>
                    <a:pt x="158989" y="96236"/>
                  </a:cubicBezTo>
                  <a:cubicBezTo>
                    <a:pt x="163797" y="96236"/>
                    <a:pt x="163264" y="100554"/>
                    <a:pt x="167031" y="111273"/>
                  </a:cubicBezTo>
                  <a:cubicBezTo>
                    <a:pt x="169086" y="115743"/>
                    <a:pt x="168870" y="120925"/>
                    <a:pt x="166448" y="125217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2" name="Vrije vorm 261">
              <a:extLst>
                <a:ext uri="{FF2B5EF4-FFF2-40B4-BE49-F238E27FC236}">
                  <a16:creationId xmlns:a16="http://schemas.microsoft.com/office/drawing/2014/main" id="{7986F5E3-237F-954F-999E-5BB65D8EAD10}"/>
                </a:ext>
              </a:extLst>
            </p:cNvPr>
            <p:cNvSpPr/>
            <p:nvPr/>
          </p:nvSpPr>
          <p:spPr>
            <a:xfrm>
              <a:off x="6525243" y="3878299"/>
              <a:ext cx="188191" cy="166405"/>
            </a:xfrm>
            <a:custGeom>
              <a:avLst/>
              <a:gdLst>
                <a:gd name="connsiteX0" fmla="*/ 188166 w 188191"/>
                <a:gd name="connsiteY0" fmla="*/ 155741 h 166405"/>
                <a:gd name="connsiteX1" fmla="*/ 185692 w 188191"/>
                <a:gd name="connsiteY1" fmla="*/ 157138 h 166405"/>
                <a:gd name="connsiteX2" fmla="*/ 180352 w 188191"/>
                <a:gd name="connsiteY2" fmla="*/ 161405 h 166405"/>
                <a:gd name="connsiteX3" fmla="*/ 173921 w 188191"/>
                <a:gd name="connsiteY3" fmla="*/ 165723 h 166405"/>
                <a:gd name="connsiteX4" fmla="*/ 166146 w 188191"/>
                <a:gd name="connsiteY4" fmla="*/ 163691 h 166405"/>
                <a:gd name="connsiteX5" fmla="*/ 137480 w 188191"/>
                <a:gd name="connsiteY5" fmla="*/ 129770 h 166405"/>
                <a:gd name="connsiteX6" fmla="*/ 113392 w 188191"/>
                <a:gd name="connsiteY6" fmla="*/ 110999 h 166405"/>
                <a:gd name="connsiteX7" fmla="*/ 94074 w 188191"/>
                <a:gd name="connsiteY7" fmla="*/ 104573 h 166405"/>
                <a:gd name="connsiteX8" fmla="*/ 84447 w 188191"/>
                <a:gd name="connsiteY8" fmla="*/ 101334 h 166405"/>
                <a:gd name="connsiteX9" fmla="*/ 73171 w 188191"/>
                <a:gd name="connsiteY9" fmla="*/ 103493 h 166405"/>
                <a:gd name="connsiteX10" fmla="*/ 64635 w 188191"/>
                <a:gd name="connsiteY10" fmla="*/ 102947 h 166405"/>
                <a:gd name="connsiteX11" fmla="*/ 52318 w 188191"/>
                <a:gd name="connsiteY11" fmla="*/ 104573 h 166405"/>
                <a:gd name="connsiteX12" fmla="*/ 43731 w 188191"/>
                <a:gd name="connsiteY12" fmla="*/ 96521 h 166405"/>
                <a:gd name="connsiteX13" fmla="*/ 37846 w 188191"/>
                <a:gd name="connsiteY13" fmla="*/ 93816 h 166405"/>
                <a:gd name="connsiteX14" fmla="*/ 31427 w 188191"/>
                <a:gd name="connsiteY14" fmla="*/ 115279 h 166405"/>
                <a:gd name="connsiteX15" fmla="*/ 24463 w 188191"/>
                <a:gd name="connsiteY15" fmla="*/ 107227 h 166405"/>
                <a:gd name="connsiteX16" fmla="*/ 15331 w 188191"/>
                <a:gd name="connsiteY16" fmla="*/ 106681 h 166405"/>
                <a:gd name="connsiteX17" fmla="*/ 7834 w 188191"/>
                <a:gd name="connsiteY17" fmla="*/ 108307 h 166405"/>
                <a:gd name="connsiteX18" fmla="*/ 1087 w 188191"/>
                <a:gd name="connsiteY18" fmla="*/ 107545 h 166405"/>
                <a:gd name="connsiteX19" fmla="*/ 326 w 188191"/>
                <a:gd name="connsiteY19" fmla="*/ 93816 h 166405"/>
                <a:gd name="connsiteX20" fmla="*/ 3560 w 188191"/>
                <a:gd name="connsiteY20" fmla="*/ 69699 h 166405"/>
                <a:gd name="connsiteX21" fmla="*/ 11069 w 188191"/>
                <a:gd name="connsiteY21" fmla="*/ 46623 h 166405"/>
                <a:gd name="connsiteX22" fmla="*/ 14253 w 188191"/>
                <a:gd name="connsiteY22" fmla="*/ 31091 h 166405"/>
                <a:gd name="connsiteX23" fmla="*/ 24463 w 188191"/>
                <a:gd name="connsiteY23" fmla="*/ 31091 h 166405"/>
                <a:gd name="connsiteX24" fmla="*/ 31427 w 188191"/>
                <a:gd name="connsiteY24" fmla="*/ 20880 h 166405"/>
                <a:gd name="connsiteX25" fmla="*/ 41587 w 188191"/>
                <a:gd name="connsiteY25" fmla="*/ 16067 h 166405"/>
                <a:gd name="connsiteX26" fmla="*/ 53358 w 188191"/>
                <a:gd name="connsiteY26" fmla="*/ 8548 h 166405"/>
                <a:gd name="connsiteX27" fmla="*/ 60588 w 188191"/>
                <a:gd name="connsiteY27" fmla="*/ 1 h 166405"/>
                <a:gd name="connsiteX28" fmla="*/ 77344 w 188191"/>
                <a:gd name="connsiteY28" fmla="*/ 42699 h 166405"/>
                <a:gd name="connsiteX29" fmla="*/ 95191 w 188191"/>
                <a:gd name="connsiteY29" fmla="*/ 79643 h 166405"/>
                <a:gd name="connsiteX30" fmla="*/ 101799 w 188191"/>
                <a:gd name="connsiteY30" fmla="*/ 84367 h 166405"/>
                <a:gd name="connsiteX31" fmla="*/ 101837 w 188191"/>
                <a:gd name="connsiteY31" fmla="*/ 84418 h 166405"/>
                <a:gd name="connsiteX32" fmla="*/ 114064 w 188191"/>
                <a:gd name="connsiteY32" fmla="*/ 89943 h 166405"/>
                <a:gd name="connsiteX33" fmla="*/ 114965 w 188191"/>
                <a:gd name="connsiteY33" fmla="*/ 90260 h 166405"/>
                <a:gd name="connsiteX34" fmla="*/ 116221 w 188191"/>
                <a:gd name="connsiteY34" fmla="*/ 90717 h 166405"/>
                <a:gd name="connsiteX35" fmla="*/ 164662 w 188191"/>
                <a:gd name="connsiteY35" fmla="*/ 131027 h 166405"/>
                <a:gd name="connsiteX36" fmla="*/ 188166 w 188191"/>
                <a:gd name="connsiteY36" fmla="*/ 155741 h 166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88191" h="166405">
                  <a:moveTo>
                    <a:pt x="188166" y="155741"/>
                  </a:moveTo>
                  <a:cubicBezTo>
                    <a:pt x="187392" y="156287"/>
                    <a:pt x="186567" y="156757"/>
                    <a:pt x="185692" y="157138"/>
                  </a:cubicBezTo>
                  <a:cubicBezTo>
                    <a:pt x="181925" y="158751"/>
                    <a:pt x="181925" y="158218"/>
                    <a:pt x="180352" y="161405"/>
                  </a:cubicBezTo>
                  <a:cubicBezTo>
                    <a:pt x="178729" y="164644"/>
                    <a:pt x="177650" y="167844"/>
                    <a:pt x="173921" y="165723"/>
                  </a:cubicBezTo>
                  <a:cubicBezTo>
                    <a:pt x="170459" y="163742"/>
                    <a:pt x="168847" y="160910"/>
                    <a:pt x="166146" y="163691"/>
                  </a:cubicBezTo>
                  <a:cubicBezTo>
                    <a:pt x="166146" y="163691"/>
                    <a:pt x="139091" y="131383"/>
                    <a:pt x="137480" y="129770"/>
                  </a:cubicBezTo>
                  <a:cubicBezTo>
                    <a:pt x="129907" y="122950"/>
                    <a:pt x="121853" y="116676"/>
                    <a:pt x="113392" y="110999"/>
                  </a:cubicBezTo>
                  <a:cubicBezTo>
                    <a:pt x="107469" y="107519"/>
                    <a:pt x="100886" y="105335"/>
                    <a:pt x="94074" y="104573"/>
                  </a:cubicBezTo>
                  <a:cubicBezTo>
                    <a:pt x="86565" y="102947"/>
                    <a:pt x="91411" y="98680"/>
                    <a:pt x="84447" y="101334"/>
                  </a:cubicBezTo>
                  <a:cubicBezTo>
                    <a:pt x="77484" y="104027"/>
                    <a:pt x="74795" y="107761"/>
                    <a:pt x="73171" y="103493"/>
                  </a:cubicBezTo>
                  <a:cubicBezTo>
                    <a:pt x="71598" y="99213"/>
                    <a:pt x="71065" y="101868"/>
                    <a:pt x="64635" y="102947"/>
                  </a:cubicBezTo>
                  <a:cubicBezTo>
                    <a:pt x="58203" y="104027"/>
                    <a:pt x="56593" y="110999"/>
                    <a:pt x="52318" y="104573"/>
                  </a:cubicBezTo>
                  <a:cubicBezTo>
                    <a:pt x="48006" y="98134"/>
                    <a:pt x="46927" y="99709"/>
                    <a:pt x="43731" y="96521"/>
                  </a:cubicBezTo>
                  <a:cubicBezTo>
                    <a:pt x="40496" y="93270"/>
                    <a:pt x="38924" y="90616"/>
                    <a:pt x="37846" y="93816"/>
                  </a:cubicBezTo>
                  <a:cubicBezTo>
                    <a:pt x="36767" y="97055"/>
                    <a:pt x="34078" y="114199"/>
                    <a:pt x="31427" y="115279"/>
                  </a:cubicBezTo>
                  <a:cubicBezTo>
                    <a:pt x="28725" y="116359"/>
                    <a:pt x="28725" y="109920"/>
                    <a:pt x="24463" y="107227"/>
                  </a:cubicBezTo>
                  <a:cubicBezTo>
                    <a:pt x="20151" y="104573"/>
                    <a:pt x="19605" y="103493"/>
                    <a:pt x="15331" y="106681"/>
                  </a:cubicBezTo>
                  <a:cubicBezTo>
                    <a:pt x="11069" y="109920"/>
                    <a:pt x="12147" y="109920"/>
                    <a:pt x="7834" y="108307"/>
                  </a:cubicBezTo>
                  <a:cubicBezTo>
                    <a:pt x="5678" y="107519"/>
                    <a:pt x="3370" y="107253"/>
                    <a:pt x="1087" y="107545"/>
                  </a:cubicBezTo>
                  <a:cubicBezTo>
                    <a:pt x="1366" y="102947"/>
                    <a:pt x="1112" y="98350"/>
                    <a:pt x="326" y="93816"/>
                  </a:cubicBezTo>
                  <a:cubicBezTo>
                    <a:pt x="-664" y="85637"/>
                    <a:pt x="440" y="77331"/>
                    <a:pt x="3560" y="69699"/>
                  </a:cubicBezTo>
                  <a:cubicBezTo>
                    <a:pt x="5678" y="64885"/>
                    <a:pt x="9446" y="50395"/>
                    <a:pt x="11069" y="46623"/>
                  </a:cubicBezTo>
                  <a:cubicBezTo>
                    <a:pt x="12642" y="42876"/>
                    <a:pt x="12642" y="34824"/>
                    <a:pt x="14253" y="31091"/>
                  </a:cubicBezTo>
                  <a:cubicBezTo>
                    <a:pt x="15876" y="27319"/>
                    <a:pt x="19605" y="32170"/>
                    <a:pt x="24463" y="31091"/>
                  </a:cubicBezTo>
                  <a:cubicBezTo>
                    <a:pt x="29271" y="30011"/>
                    <a:pt x="28193" y="26773"/>
                    <a:pt x="31427" y="20880"/>
                  </a:cubicBezTo>
                  <a:cubicBezTo>
                    <a:pt x="34611" y="14987"/>
                    <a:pt x="34078" y="17146"/>
                    <a:pt x="41587" y="16067"/>
                  </a:cubicBezTo>
                  <a:cubicBezTo>
                    <a:pt x="49084" y="14987"/>
                    <a:pt x="50707" y="13908"/>
                    <a:pt x="53358" y="8548"/>
                  </a:cubicBezTo>
                  <a:cubicBezTo>
                    <a:pt x="55337" y="5360"/>
                    <a:pt x="57772" y="2478"/>
                    <a:pt x="60588" y="1"/>
                  </a:cubicBezTo>
                  <a:cubicBezTo>
                    <a:pt x="69924" y="12460"/>
                    <a:pt x="75720" y="27217"/>
                    <a:pt x="77344" y="42699"/>
                  </a:cubicBezTo>
                  <a:cubicBezTo>
                    <a:pt x="78562" y="56796"/>
                    <a:pt x="84904" y="69940"/>
                    <a:pt x="95191" y="79643"/>
                  </a:cubicBezTo>
                  <a:cubicBezTo>
                    <a:pt x="97245" y="81421"/>
                    <a:pt x="99453" y="82996"/>
                    <a:pt x="101799" y="84367"/>
                  </a:cubicBezTo>
                  <a:lnTo>
                    <a:pt x="101837" y="84418"/>
                  </a:lnTo>
                  <a:cubicBezTo>
                    <a:pt x="105680" y="86742"/>
                    <a:pt x="109790" y="88596"/>
                    <a:pt x="114064" y="89943"/>
                  </a:cubicBezTo>
                  <a:cubicBezTo>
                    <a:pt x="114356" y="90069"/>
                    <a:pt x="114661" y="90184"/>
                    <a:pt x="114965" y="90260"/>
                  </a:cubicBezTo>
                  <a:cubicBezTo>
                    <a:pt x="115396" y="90387"/>
                    <a:pt x="115815" y="90539"/>
                    <a:pt x="116221" y="90717"/>
                  </a:cubicBezTo>
                  <a:cubicBezTo>
                    <a:pt x="137023" y="97867"/>
                    <a:pt x="148629" y="117489"/>
                    <a:pt x="164662" y="131027"/>
                  </a:cubicBezTo>
                  <a:cubicBezTo>
                    <a:pt x="173160" y="138609"/>
                    <a:pt x="181025" y="146877"/>
                    <a:pt x="188166" y="155741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3" name="Vrije vorm 262">
              <a:extLst>
                <a:ext uri="{FF2B5EF4-FFF2-40B4-BE49-F238E27FC236}">
                  <a16:creationId xmlns:a16="http://schemas.microsoft.com/office/drawing/2014/main" id="{123C4FEF-44D4-A641-A06F-A02466169EDE}"/>
                </a:ext>
              </a:extLst>
            </p:cNvPr>
            <p:cNvSpPr/>
            <p:nvPr/>
          </p:nvSpPr>
          <p:spPr>
            <a:xfrm>
              <a:off x="6674330" y="4034039"/>
              <a:ext cx="51065" cy="53403"/>
            </a:xfrm>
            <a:custGeom>
              <a:avLst/>
              <a:gdLst>
                <a:gd name="connsiteX0" fmla="*/ 47082 w 51065"/>
                <a:gd name="connsiteY0" fmla="*/ 16778 h 53403"/>
                <a:gd name="connsiteX1" fmla="*/ 32254 w 51065"/>
                <a:gd name="connsiteY1" fmla="*/ 28335 h 53403"/>
                <a:gd name="connsiteX2" fmla="*/ 32926 w 51065"/>
                <a:gd name="connsiteY2" fmla="*/ 28741 h 53403"/>
                <a:gd name="connsiteX3" fmla="*/ 38266 w 51065"/>
                <a:gd name="connsiteY3" fmla="*/ 32246 h 53403"/>
                <a:gd name="connsiteX4" fmla="*/ 40207 w 51065"/>
                <a:gd name="connsiteY4" fmla="*/ 33961 h 53403"/>
                <a:gd name="connsiteX5" fmla="*/ 41412 w 51065"/>
                <a:gd name="connsiteY5" fmla="*/ 34952 h 53403"/>
                <a:gd name="connsiteX6" fmla="*/ 29108 w 51065"/>
                <a:gd name="connsiteY6" fmla="*/ 53405 h 53403"/>
                <a:gd name="connsiteX7" fmla="*/ 19975 w 51065"/>
                <a:gd name="connsiteY7" fmla="*/ 49671 h 53403"/>
                <a:gd name="connsiteX8" fmla="*/ 4970 w 51065"/>
                <a:gd name="connsiteY8" fmla="*/ 52325 h 53403"/>
                <a:gd name="connsiteX9" fmla="*/ 163 w 51065"/>
                <a:gd name="connsiteY9" fmla="*/ 39993 h 53403"/>
                <a:gd name="connsiteX10" fmla="*/ 5516 w 51065"/>
                <a:gd name="connsiteY10" fmla="*/ 26582 h 53403"/>
                <a:gd name="connsiteX11" fmla="*/ 16247 w 51065"/>
                <a:gd name="connsiteY11" fmla="*/ 8904 h 53403"/>
                <a:gd name="connsiteX12" fmla="*/ 17058 w 51065"/>
                <a:gd name="connsiteY12" fmla="*/ 7951 h 53403"/>
                <a:gd name="connsiteX13" fmla="*/ 24834 w 51065"/>
                <a:gd name="connsiteY13" fmla="*/ 9983 h 53403"/>
                <a:gd name="connsiteX14" fmla="*/ 31264 w 51065"/>
                <a:gd name="connsiteY14" fmla="*/ 5665 h 53403"/>
                <a:gd name="connsiteX15" fmla="*/ 36604 w 51065"/>
                <a:gd name="connsiteY15" fmla="*/ 1398 h 53403"/>
                <a:gd name="connsiteX16" fmla="*/ 39078 w 51065"/>
                <a:gd name="connsiteY16" fmla="*/ 1 h 53403"/>
                <a:gd name="connsiteX17" fmla="*/ 40473 w 51065"/>
                <a:gd name="connsiteY17" fmla="*/ 1614 h 53403"/>
                <a:gd name="connsiteX18" fmla="*/ 45509 w 51065"/>
                <a:gd name="connsiteY18" fmla="*/ 7418 h 53403"/>
                <a:gd name="connsiteX19" fmla="*/ 51039 w 51065"/>
                <a:gd name="connsiteY19" fmla="*/ 13679 h 53403"/>
                <a:gd name="connsiteX20" fmla="*/ 47082 w 51065"/>
                <a:gd name="connsiteY20" fmla="*/ 16778 h 53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1065" h="53403">
                  <a:moveTo>
                    <a:pt x="47082" y="16778"/>
                  </a:moveTo>
                  <a:cubicBezTo>
                    <a:pt x="41501" y="21147"/>
                    <a:pt x="37099" y="24614"/>
                    <a:pt x="32254" y="28335"/>
                  </a:cubicBezTo>
                  <a:lnTo>
                    <a:pt x="32926" y="28741"/>
                  </a:lnTo>
                  <a:cubicBezTo>
                    <a:pt x="34791" y="29770"/>
                    <a:pt x="36579" y="30938"/>
                    <a:pt x="38266" y="32246"/>
                  </a:cubicBezTo>
                  <a:cubicBezTo>
                    <a:pt x="38900" y="32831"/>
                    <a:pt x="39573" y="33377"/>
                    <a:pt x="40207" y="33961"/>
                  </a:cubicBezTo>
                  <a:cubicBezTo>
                    <a:pt x="40613" y="34316"/>
                    <a:pt x="41006" y="34634"/>
                    <a:pt x="41412" y="34952"/>
                  </a:cubicBezTo>
                  <a:cubicBezTo>
                    <a:pt x="37721" y="41365"/>
                    <a:pt x="33598" y="47524"/>
                    <a:pt x="29108" y="53405"/>
                  </a:cubicBezTo>
                  <a:cubicBezTo>
                    <a:pt x="27091" y="50433"/>
                    <a:pt x="23502" y="48960"/>
                    <a:pt x="19975" y="49671"/>
                  </a:cubicBezTo>
                  <a:cubicBezTo>
                    <a:pt x="13012" y="50204"/>
                    <a:pt x="10361" y="53938"/>
                    <a:pt x="4970" y="52325"/>
                  </a:cubicBezTo>
                  <a:cubicBezTo>
                    <a:pt x="-382" y="50750"/>
                    <a:pt x="1241" y="46432"/>
                    <a:pt x="163" y="39993"/>
                  </a:cubicBezTo>
                  <a:cubicBezTo>
                    <a:pt x="-915" y="33555"/>
                    <a:pt x="2852" y="32475"/>
                    <a:pt x="5516" y="26582"/>
                  </a:cubicBezTo>
                  <a:cubicBezTo>
                    <a:pt x="8522" y="20359"/>
                    <a:pt x="12124" y="14441"/>
                    <a:pt x="16247" y="8904"/>
                  </a:cubicBezTo>
                  <a:cubicBezTo>
                    <a:pt x="16500" y="8561"/>
                    <a:pt x="16766" y="8256"/>
                    <a:pt x="17058" y="7951"/>
                  </a:cubicBezTo>
                  <a:cubicBezTo>
                    <a:pt x="19760" y="5157"/>
                    <a:pt x="21371" y="8002"/>
                    <a:pt x="24834" y="9983"/>
                  </a:cubicBezTo>
                  <a:cubicBezTo>
                    <a:pt x="28563" y="12104"/>
                    <a:pt x="29641" y="8904"/>
                    <a:pt x="31264" y="5665"/>
                  </a:cubicBezTo>
                  <a:cubicBezTo>
                    <a:pt x="32837" y="2478"/>
                    <a:pt x="32837" y="3011"/>
                    <a:pt x="36604" y="1398"/>
                  </a:cubicBezTo>
                  <a:cubicBezTo>
                    <a:pt x="37480" y="1004"/>
                    <a:pt x="38304" y="547"/>
                    <a:pt x="39078" y="1"/>
                  </a:cubicBezTo>
                  <a:cubicBezTo>
                    <a:pt x="39535" y="534"/>
                    <a:pt x="40029" y="1081"/>
                    <a:pt x="40473" y="1614"/>
                  </a:cubicBezTo>
                  <a:cubicBezTo>
                    <a:pt x="42135" y="3544"/>
                    <a:pt x="43797" y="5487"/>
                    <a:pt x="45509" y="7418"/>
                  </a:cubicBezTo>
                  <a:cubicBezTo>
                    <a:pt x="47310" y="9488"/>
                    <a:pt x="49149" y="11609"/>
                    <a:pt x="51039" y="13679"/>
                  </a:cubicBezTo>
                  <a:cubicBezTo>
                    <a:pt x="49644" y="14759"/>
                    <a:pt x="48337" y="15787"/>
                    <a:pt x="47082" y="16778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4" name="Vrije vorm 263">
              <a:extLst>
                <a:ext uri="{FF2B5EF4-FFF2-40B4-BE49-F238E27FC236}">
                  <a16:creationId xmlns:a16="http://schemas.microsoft.com/office/drawing/2014/main" id="{50793444-7C04-8542-B60A-D6F5FAD73E65}"/>
                </a:ext>
              </a:extLst>
            </p:cNvPr>
            <p:cNvSpPr/>
            <p:nvPr/>
          </p:nvSpPr>
          <p:spPr>
            <a:xfrm>
              <a:off x="6699903" y="4068990"/>
              <a:ext cx="179275" cy="103802"/>
            </a:xfrm>
            <a:custGeom>
              <a:avLst/>
              <a:gdLst>
                <a:gd name="connsiteX0" fmla="*/ 179249 w 179275"/>
                <a:gd name="connsiteY0" fmla="*/ 56567 h 103802"/>
                <a:gd name="connsiteX1" fmla="*/ 153539 w 179275"/>
                <a:gd name="connsiteY1" fmla="*/ 99988 h 103802"/>
                <a:gd name="connsiteX2" fmla="*/ 149670 w 179275"/>
                <a:gd name="connsiteY2" fmla="*/ 103773 h 103802"/>
                <a:gd name="connsiteX3" fmla="*/ 123515 w 179275"/>
                <a:gd name="connsiteY3" fmla="*/ 101068 h 103802"/>
                <a:gd name="connsiteX4" fmla="*/ 76381 w 179275"/>
                <a:gd name="connsiteY4" fmla="*/ 85497 h 103802"/>
                <a:gd name="connsiteX5" fmla="*/ 30312 w 179275"/>
                <a:gd name="connsiteY5" fmla="*/ 67819 h 103802"/>
                <a:gd name="connsiteX6" fmla="*/ 7264 w 179275"/>
                <a:gd name="connsiteY6" fmla="*/ 39917 h 103802"/>
                <a:gd name="connsiteX7" fmla="*/ 3535 w 179275"/>
                <a:gd name="connsiteY7" fmla="*/ 18454 h 103802"/>
                <a:gd name="connsiteX8" fmla="*/ 15839 w 179275"/>
                <a:gd name="connsiteY8" fmla="*/ 1 h 103802"/>
                <a:gd name="connsiteX9" fmla="*/ 23931 w 179275"/>
                <a:gd name="connsiteY9" fmla="*/ 7024 h 103802"/>
                <a:gd name="connsiteX10" fmla="*/ 31263 w 179275"/>
                <a:gd name="connsiteY10" fmla="*/ 14403 h 103802"/>
                <a:gd name="connsiteX11" fmla="*/ 74452 w 179275"/>
                <a:gd name="connsiteY11" fmla="*/ 26100 h 103802"/>
                <a:gd name="connsiteX12" fmla="*/ 95660 w 179275"/>
                <a:gd name="connsiteY12" fmla="*/ 20258 h 103802"/>
                <a:gd name="connsiteX13" fmla="*/ 107026 w 179275"/>
                <a:gd name="connsiteY13" fmla="*/ 21020 h 103802"/>
                <a:gd name="connsiteX14" fmla="*/ 119519 w 179275"/>
                <a:gd name="connsiteY14" fmla="*/ 18950 h 103802"/>
                <a:gd name="connsiteX15" fmla="*/ 129362 w 179275"/>
                <a:gd name="connsiteY15" fmla="*/ 14225 h 103802"/>
                <a:gd name="connsiteX16" fmla="*/ 178755 w 179275"/>
                <a:gd name="connsiteY16" fmla="*/ 6084 h 103802"/>
                <a:gd name="connsiteX17" fmla="*/ 179249 w 179275"/>
                <a:gd name="connsiteY17" fmla="*/ 56567 h 103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79275" h="103802">
                  <a:moveTo>
                    <a:pt x="179249" y="56567"/>
                  </a:moveTo>
                  <a:cubicBezTo>
                    <a:pt x="179249" y="65660"/>
                    <a:pt x="153539" y="99988"/>
                    <a:pt x="153539" y="99988"/>
                  </a:cubicBezTo>
                  <a:lnTo>
                    <a:pt x="149670" y="103773"/>
                  </a:lnTo>
                  <a:cubicBezTo>
                    <a:pt x="140880" y="103989"/>
                    <a:pt x="132089" y="103087"/>
                    <a:pt x="123515" y="101068"/>
                  </a:cubicBezTo>
                  <a:cubicBezTo>
                    <a:pt x="101546" y="97334"/>
                    <a:pt x="88152" y="87656"/>
                    <a:pt x="76381" y="85497"/>
                  </a:cubicBezTo>
                  <a:cubicBezTo>
                    <a:pt x="60043" y="82589"/>
                    <a:pt x="44404" y="76582"/>
                    <a:pt x="30312" y="67819"/>
                  </a:cubicBezTo>
                  <a:cubicBezTo>
                    <a:pt x="21166" y="59843"/>
                    <a:pt x="13378" y="50420"/>
                    <a:pt x="7264" y="39917"/>
                  </a:cubicBezTo>
                  <a:cubicBezTo>
                    <a:pt x="1912" y="28665"/>
                    <a:pt x="-3974" y="28132"/>
                    <a:pt x="3535" y="18454"/>
                  </a:cubicBezTo>
                  <a:cubicBezTo>
                    <a:pt x="8025" y="12574"/>
                    <a:pt x="12148" y="6415"/>
                    <a:pt x="15839" y="1"/>
                  </a:cubicBezTo>
                  <a:cubicBezTo>
                    <a:pt x="18541" y="2351"/>
                    <a:pt x="21331" y="4637"/>
                    <a:pt x="23931" y="7024"/>
                  </a:cubicBezTo>
                  <a:cubicBezTo>
                    <a:pt x="26532" y="9323"/>
                    <a:pt x="28980" y="11787"/>
                    <a:pt x="31263" y="14403"/>
                  </a:cubicBezTo>
                  <a:cubicBezTo>
                    <a:pt x="45862" y="31408"/>
                    <a:pt x="54894" y="34926"/>
                    <a:pt x="74452" y="26100"/>
                  </a:cubicBezTo>
                  <a:cubicBezTo>
                    <a:pt x="81099" y="22887"/>
                    <a:pt x="88291" y="20905"/>
                    <a:pt x="95660" y="20258"/>
                  </a:cubicBezTo>
                  <a:cubicBezTo>
                    <a:pt x="99466" y="19991"/>
                    <a:pt x="103296" y="20245"/>
                    <a:pt x="107026" y="21020"/>
                  </a:cubicBezTo>
                  <a:cubicBezTo>
                    <a:pt x="111300" y="21769"/>
                    <a:pt x="115714" y="21045"/>
                    <a:pt x="119519" y="18950"/>
                  </a:cubicBezTo>
                  <a:cubicBezTo>
                    <a:pt x="122653" y="17083"/>
                    <a:pt x="125950" y="15495"/>
                    <a:pt x="129362" y="14225"/>
                  </a:cubicBezTo>
                  <a:cubicBezTo>
                    <a:pt x="145522" y="9894"/>
                    <a:pt x="162062" y="7164"/>
                    <a:pt x="178755" y="6084"/>
                  </a:cubicBezTo>
                  <a:cubicBezTo>
                    <a:pt x="178881" y="17019"/>
                    <a:pt x="179249" y="49010"/>
                    <a:pt x="179249" y="56567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5" name="Vrije vorm 264">
              <a:extLst>
                <a:ext uri="{FF2B5EF4-FFF2-40B4-BE49-F238E27FC236}">
                  <a16:creationId xmlns:a16="http://schemas.microsoft.com/office/drawing/2014/main" id="{74C8EF4B-C23A-A64F-A019-85E46F33903F}"/>
                </a:ext>
              </a:extLst>
            </p:cNvPr>
            <p:cNvSpPr/>
            <p:nvPr/>
          </p:nvSpPr>
          <p:spPr>
            <a:xfrm>
              <a:off x="6648180" y="4056798"/>
              <a:ext cx="294990" cy="383870"/>
            </a:xfrm>
            <a:custGeom>
              <a:avLst/>
              <a:gdLst>
                <a:gd name="connsiteX0" fmla="*/ 294964 w 294990"/>
                <a:gd name="connsiteY0" fmla="*/ 1 h 383870"/>
                <a:gd name="connsiteX1" fmla="*/ 294609 w 294990"/>
                <a:gd name="connsiteY1" fmla="*/ 10313 h 383870"/>
                <a:gd name="connsiteX2" fmla="*/ 294292 w 294990"/>
                <a:gd name="connsiteY2" fmla="*/ 14987 h 383870"/>
                <a:gd name="connsiteX3" fmla="*/ 294292 w 294990"/>
                <a:gd name="connsiteY3" fmla="*/ 15355 h 383870"/>
                <a:gd name="connsiteX4" fmla="*/ 291679 w 294990"/>
                <a:gd name="connsiteY4" fmla="*/ 36996 h 383870"/>
                <a:gd name="connsiteX5" fmla="*/ 289789 w 294990"/>
                <a:gd name="connsiteY5" fmla="*/ 46305 h 383870"/>
                <a:gd name="connsiteX6" fmla="*/ 283193 w 294990"/>
                <a:gd name="connsiteY6" fmla="*/ 68619 h 383870"/>
                <a:gd name="connsiteX7" fmla="*/ 276128 w 294990"/>
                <a:gd name="connsiteY7" fmla="*/ 85091 h 383870"/>
                <a:gd name="connsiteX8" fmla="*/ 276128 w 294990"/>
                <a:gd name="connsiteY8" fmla="*/ 85142 h 383870"/>
                <a:gd name="connsiteX9" fmla="*/ 268720 w 294990"/>
                <a:gd name="connsiteY9" fmla="*/ 98502 h 383870"/>
                <a:gd name="connsiteX10" fmla="*/ 260856 w 294990"/>
                <a:gd name="connsiteY10" fmla="*/ 110250 h 383870"/>
                <a:gd name="connsiteX11" fmla="*/ 235424 w 294990"/>
                <a:gd name="connsiteY11" fmla="*/ 160466 h 383870"/>
                <a:gd name="connsiteX12" fmla="*/ 235057 w 294990"/>
                <a:gd name="connsiteY12" fmla="*/ 161266 h 383870"/>
                <a:gd name="connsiteX13" fmla="*/ 165712 w 294990"/>
                <a:gd name="connsiteY13" fmla="*/ 252249 h 383870"/>
                <a:gd name="connsiteX14" fmla="*/ 136006 w 294990"/>
                <a:gd name="connsiteY14" fmla="*/ 275604 h 383870"/>
                <a:gd name="connsiteX15" fmla="*/ 128510 w 294990"/>
                <a:gd name="connsiteY15" fmla="*/ 280417 h 383870"/>
                <a:gd name="connsiteX16" fmla="*/ 34533 w 294990"/>
                <a:gd name="connsiteY16" fmla="*/ 367349 h 383870"/>
                <a:gd name="connsiteX17" fmla="*/ 28647 w 294990"/>
                <a:gd name="connsiteY17" fmla="*/ 374918 h 383870"/>
                <a:gd name="connsiteX18" fmla="*/ 20871 w 294990"/>
                <a:gd name="connsiteY18" fmla="*/ 383871 h 383870"/>
                <a:gd name="connsiteX19" fmla="*/ 1148 w 294990"/>
                <a:gd name="connsiteY19" fmla="*/ 331039 h 383870"/>
                <a:gd name="connsiteX20" fmla="*/ 4331 w 294990"/>
                <a:gd name="connsiteY20" fmla="*/ 273089 h 383870"/>
                <a:gd name="connsiteX21" fmla="*/ 26364 w 294990"/>
                <a:gd name="connsiteY21" fmla="*/ 227280 h 383870"/>
                <a:gd name="connsiteX22" fmla="*/ 26858 w 294990"/>
                <a:gd name="connsiteY22" fmla="*/ 226963 h 383870"/>
                <a:gd name="connsiteX23" fmla="*/ 88465 w 294990"/>
                <a:gd name="connsiteY23" fmla="*/ 199607 h 383870"/>
                <a:gd name="connsiteX24" fmla="*/ 115254 w 294990"/>
                <a:gd name="connsiteY24" fmla="*/ 200687 h 383870"/>
                <a:gd name="connsiteX25" fmla="*/ 201393 w 294990"/>
                <a:gd name="connsiteY25" fmla="*/ 115965 h 383870"/>
                <a:gd name="connsiteX26" fmla="*/ 205262 w 294990"/>
                <a:gd name="connsiteY26" fmla="*/ 112180 h 383870"/>
                <a:gd name="connsiteX27" fmla="*/ 230973 w 294990"/>
                <a:gd name="connsiteY27" fmla="*/ 68759 h 383870"/>
                <a:gd name="connsiteX28" fmla="*/ 230478 w 294990"/>
                <a:gd name="connsiteY28" fmla="*/ 18277 h 383870"/>
                <a:gd name="connsiteX29" fmla="*/ 231188 w 294990"/>
                <a:gd name="connsiteY29" fmla="*/ 18188 h 383870"/>
                <a:gd name="connsiteX30" fmla="*/ 245128 w 294990"/>
                <a:gd name="connsiteY30" fmla="*/ 15940 h 383870"/>
                <a:gd name="connsiteX31" fmla="*/ 279819 w 294990"/>
                <a:gd name="connsiteY31" fmla="*/ 2211 h 383870"/>
                <a:gd name="connsiteX32" fmla="*/ 290106 w 294990"/>
                <a:gd name="connsiteY32" fmla="*/ 319 h 383870"/>
                <a:gd name="connsiteX33" fmla="*/ 294964 w 294990"/>
                <a:gd name="connsiteY33" fmla="*/ 1 h 383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94990" h="383870">
                  <a:moveTo>
                    <a:pt x="294964" y="1"/>
                  </a:moveTo>
                  <a:cubicBezTo>
                    <a:pt x="294913" y="3468"/>
                    <a:pt x="294786" y="6935"/>
                    <a:pt x="294609" y="10313"/>
                  </a:cubicBezTo>
                  <a:cubicBezTo>
                    <a:pt x="294520" y="11888"/>
                    <a:pt x="294419" y="13463"/>
                    <a:pt x="294292" y="14987"/>
                  </a:cubicBezTo>
                  <a:cubicBezTo>
                    <a:pt x="294317" y="15114"/>
                    <a:pt x="294317" y="15228"/>
                    <a:pt x="294292" y="15355"/>
                  </a:cubicBezTo>
                  <a:cubicBezTo>
                    <a:pt x="293747" y="22772"/>
                    <a:pt x="292897" y="29973"/>
                    <a:pt x="291679" y="36996"/>
                  </a:cubicBezTo>
                  <a:cubicBezTo>
                    <a:pt x="291095" y="40146"/>
                    <a:pt x="290474" y="43245"/>
                    <a:pt x="289789" y="46305"/>
                  </a:cubicBezTo>
                  <a:cubicBezTo>
                    <a:pt x="288102" y="53887"/>
                    <a:pt x="285895" y="61342"/>
                    <a:pt x="283193" y="68619"/>
                  </a:cubicBezTo>
                  <a:cubicBezTo>
                    <a:pt x="281151" y="74245"/>
                    <a:pt x="278804" y="79745"/>
                    <a:pt x="276128" y="85091"/>
                  </a:cubicBezTo>
                  <a:lnTo>
                    <a:pt x="276128" y="85142"/>
                  </a:lnTo>
                  <a:cubicBezTo>
                    <a:pt x="273883" y="89638"/>
                    <a:pt x="271460" y="94095"/>
                    <a:pt x="268720" y="98502"/>
                  </a:cubicBezTo>
                  <a:cubicBezTo>
                    <a:pt x="266298" y="102465"/>
                    <a:pt x="263685" y="106376"/>
                    <a:pt x="260856" y="110250"/>
                  </a:cubicBezTo>
                  <a:cubicBezTo>
                    <a:pt x="250924" y="126214"/>
                    <a:pt x="242414" y="143016"/>
                    <a:pt x="235424" y="160466"/>
                  </a:cubicBezTo>
                  <a:cubicBezTo>
                    <a:pt x="235323" y="160745"/>
                    <a:pt x="235196" y="161012"/>
                    <a:pt x="235057" y="161266"/>
                  </a:cubicBezTo>
                  <a:cubicBezTo>
                    <a:pt x="217540" y="195492"/>
                    <a:pt x="194061" y="226302"/>
                    <a:pt x="165712" y="252249"/>
                  </a:cubicBezTo>
                  <a:cubicBezTo>
                    <a:pt x="156529" y="260897"/>
                    <a:pt x="146584" y="268720"/>
                    <a:pt x="136006" y="275604"/>
                  </a:cubicBezTo>
                  <a:cubicBezTo>
                    <a:pt x="133533" y="277268"/>
                    <a:pt x="131021" y="278893"/>
                    <a:pt x="128510" y="280417"/>
                  </a:cubicBezTo>
                  <a:cubicBezTo>
                    <a:pt x="92271" y="303582"/>
                    <a:pt x="60459" y="333021"/>
                    <a:pt x="34533" y="367349"/>
                  </a:cubicBezTo>
                  <a:cubicBezTo>
                    <a:pt x="32554" y="369825"/>
                    <a:pt x="30575" y="372352"/>
                    <a:pt x="28647" y="374918"/>
                  </a:cubicBezTo>
                  <a:cubicBezTo>
                    <a:pt x="26224" y="378042"/>
                    <a:pt x="23637" y="381027"/>
                    <a:pt x="20871" y="383871"/>
                  </a:cubicBezTo>
                  <a:cubicBezTo>
                    <a:pt x="10889" y="367730"/>
                    <a:pt x="4192" y="349772"/>
                    <a:pt x="1148" y="331039"/>
                  </a:cubicBezTo>
                  <a:cubicBezTo>
                    <a:pt x="-1148" y="311685"/>
                    <a:pt x="-70" y="292076"/>
                    <a:pt x="4331" y="273089"/>
                  </a:cubicBezTo>
                  <a:cubicBezTo>
                    <a:pt x="9874" y="257011"/>
                    <a:pt x="17269" y="241644"/>
                    <a:pt x="26364" y="227280"/>
                  </a:cubicBezTo>
                  <a:cubicBezTo>
                    <a:pt x="26529" y="227179"/>
                    <a:pt x="26694" y="227077"/>
                    <a:pt x="26858" y="226963"/>
                  </a:cubicBezTo>
                  <a:cubicBezTo>
                    <a:pt x="31666" y="224309"/>
                    <a:pt x="88465" y="199607"/>
                    <a:pt x="88465" y="199607"/>
                  </a:cubicBezTo>
                  <a:lnTo>
                    <a:pt x="115254" y="200687"/>
                  </a:lnTo>
                  <a:lnTo>
                    <a:pt x="201393" y="115965"/>
                  </a:lnTo>
                  <a:lnTo>
                    <a:pt x="205262" y="112180"/>
                  </a:lnTo>
                  <a:cubicBezTo>
                    <a:pt x="205262" y="112180"/>
                    <a:pt x="230973" y="77852"/>
                    <a:pt x="230973" y="68759"/>
                  </a:cubicBezTo>
                  <a:cubicBezTo>
                    <a:pt x="230973" y="61202"/>
                    <a:pt x="230604" y="29211"/>
                    <a:pt x="230478" y="18277"/>
                  </a:cubicBezTo>
                  <a:cubicBezTo>
                    <a:pt x="230719" y="18264"/>
                    <a:pt x="230960" y="18238"/>
                    <a:pt x="231188" y="18188"/>
                  </a:cubicBezTo>
                  <a:cubicBezTo>
                    <a:pt x="235818" y="17375"/>
                    <a:pt x="240498" y="16740"/>
                    <a:pt x="245128" y="15940"/>
                  </a:cubicBezTo>
                  <a:cubicBezTo>
                    <a:pt x="257749" y="14695"/>
                    <a:pt x="269761" y="9945"/>
                    <a:pt x="279819" y="2211"/>
                  </a:cubicBezTo>
                  <a:cubicBezTo>
                    <a:pt x="282990" y="560"/>
                    <a:pt x="286567" y="-100"/>
                    <a:pt x="290106" y="319"/>
                  </a:cubicBezTo>
                  <a:cubicBezTo>
                    <a:pt x="291730" y="306"/>
                    <a:pt x="293353" y="192"/>
                    <a:pt x="294964" y="1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6" name="Vrije vorm 265">
              <a:extLst>
                <a:ext uri="{FF2B5EF4-FFF2-40B4-BE49-F238E27FC236}">
                  <a16:creationId xmlns:a16="http://schemas.microsoft.com/office/drawing/2014/main" id="{3E1A8039-D278-7C4C-BE7E-B6673E0F6E57}"/>
                </a:ext>
              </a:extLst>
            </p:cNvPr>
            <p:cNvSpPr/>
            <p:nvPr/>
          </p:nvSpPr>
          <p:spPr>
            <a:xfrm>
              <a:off x="6452927" y="4252894"/>
              <a:ext cx="221643" cy="276178"/>
            </a:xfrm>
            <a:custGeom>
              <a:avLst/>
              <a:gdLst>
                <a:gd name="connsiteX0" fmla="*/ 196401 w 221643"/>
                <a:gd name="connsiteY0" fmla="*/ 134943 h 276178"/>
                <a:gd name="connsiteX1" fmla="*/ 216125 w 221643"/>
                <a:gd name="connsiteY1" fmla="*/ 187775 h 276178"/>
                <a:gd name="connsiteX2" fmla="*/ 189260 w 221643"/>
                <a:gd name="connsiteY2" fmla="*/ 212832 h 276178"/>
                <a:gd name="connsiteX3" fmla="*/ 177844 w 221643"/>
                <a:gd name="connsiteY3" fmla="*/ 228314 h 276178"/>
                <a:gd name="connsiteX4" fmla="*/ 176855 w 221643"/>
                <a:gd name="connsiteY4" fmla="*/ 230155 h 276178"/>
                <a:gd name="connsiteX5" fmla="*/ 173214 w 221643"/>
                <a:gd name="connsiteY5" fmla="*/ 236632 h 276178"/>
                <a:gd name="connsiteX6" fmla="*/ 170297 w 221643"/>
                <a:gd name="connsiteY6" fmla="*/ 241407 h 276178"/>
                <a:gd name="connsiteX7" fmla="*/ 168052 w 221643"/>
                <a:gd name="connsiteY7" fmla="*/ 245001 h 276178"/>
                <a:gd name="connsiteX8" fmla="*/ 167418 w 221643"/>
                <a:gd name="connsiteY8" fmla="*/ 245903 h 276178"/>
                <a:gd name="connsiteX9" fmla="*/ 167418 w 221643"/>
                <a:gd name="connsiteY9" fmla="*/ 245941 h 276178"/>
                <a:gd name="connsiteX10" fmla="*/ 147821 w 221643"/>
                <a:gd name="connsiteY10" fmla="*/ 276180 h 276178"/>
                <a:gd name="connsiteX11" fmla="*/ 104808 w 221643"/>
                <a:gd name="connsiteY11" fmla="*/ 242207 h 276178"/>
                <a:gd name="connsiteX12" fmla="*/ 89803 w 221643"/>
                <a:gd name="connsiteY12" fmla="*/ 218585 h 276178"/>
                <a:gd name="connsiteX13" fmla="*/ 2536 w 221643"/>
                <a:gd name="connsiteY13" fmla="*/ 173907 h 276178"/>
                <a:gd name="connsiteX14" fmla="*/ 6582 w 221643"/>
                <a:gd name="connsiteY14" fmla="*/ 167747 h 276178"/>
                <a:gd name="connsiteX15" fmla="*/ 5250 w 221643"/>
                <a:gd name="connsiteY15" fmla="*/ 158426 h 276178"/>
                <a:gd name="connsiteX16" fmla="*/ 14079 w 221643"/>
                <a:gd name="connsiteY16" fmla="*/ 156762 h 276178"/>
                <a:gd name="connsiteX17" fmla="*/ 25507 w 221643"/>
                <a:gd name="connsiteY17" fmla="*/ 151999 h 276178"/>
                <a:gd name="connsiteX18" fmla="*/ 13191 w 221643"/>
                <a:gd name="connsiteY18" fmla="*/ 148532 h 276178"/>
                <a:gd name="connsiteX19" fmla="*/ 11618 w 221643"/>
                <a:gd name="connsiteY19" fmla="*/ 152444 h 276178"/>
                <a:gd name="connsiteX20" fmla="*/ 7432 w 221643"/>
                <a:gd name="connsiteY20" fmla="*/ 150602 h 276178"/>
                <a:gd name="connsiteX21" fmla="*/ 1775 w 221643"/>
                <a:gd name="connsiteY21" fmla="*/ 136645 h 276178"/>
                <a:gd name="connsiteX22" fmla="*/ 824 w 221643"/>
                <a:gd name="connsiteY22" fmla="*/ 136836 h 276178"/>
                <a:gd name="connsiteX23" fmla="*/ 10540 w 221643"/>
                <a:gd name="connsiteY23" fmla="*/ 119906 h 276178"/>
                <a:gd name="connsiteX24" fmla="*/ 23922 w 221643"/>
                <a:gd name="connsiteY24" fmla="*/ 106508 h 276178"/>
                <a:gd name="connsiteX25" fmla="*/ 27663 w 221643"/>
                <a:gd name="connsiteY25" fmla="*/ 88283 h 276178"/>
                <a:gd name="connsiteX26" fmla="*/ 24416 w 221643"/>
                <a:gd name="connsiteY26" fmla="*/ 68979 h 276178"/>
                <a:gd name="connsiteX27" fmla="*/ 16425 w 221643"/>
                <a:gd name="connsiteY27" fmla="*/ 54489 h 276178"/>
                <a:gd name="connsiteX28" fmla="*/ 12113 w 221643"/>
                <a:gd name="connsiteY28" fmla="*/ 39465 h 276178"/>
                <a:gd name="connsiteX29" fmla="*/ 4603 w 221643"/>
                <a:gd name="connsiteY29" fmla="*/ 35185 h 276178"/>
                <a:gd name="connsiteX30" fmla="*/ -26 w 221643"/>
                <a:gd name="connsiteY30" fmla="*/ 27984 h 276178"/>
                <a:gd name="connsiteX31" fmla="*/ 5149 w 221643"/>
                <a:gd name="connsiteY31" fmla="*/ 22269 h 276178"/>
                <a:gd name="connsiteX32" fmla="*/ 16958 w 221643"/>
                <a:gd name="connsiteY32" fmla="*/ 9937 h 276178"/>
                <a:gd name="connsiteX33" fmla="*/ 41045 w 221643"/>
                <a:gd name="connsiteY33" fmla="*/ 311 h 276178"/>
                <a:gd name="connsiteX34" fmla="*/ 46943 w 221643"/>
                <a:gd name="connsiteY34" fmla="*/ 12642 h 276178"/>
                <a:gd name="connsiteX35" fmla="*/ 58892 w 221643"/>
                <a:gd name="connsiteY35" fmla="*/ 17722 h 276178"/>
                <a:gd name="connsiteX36" fmla="*/ 73720 w 221643"/>
                <a:gd name="connsiteY36" fmla="*/ 16909 h 276178"/>
                <a:gd name="connsiteX37" fmla="*/ 97312 w 221643"/>
                <a:gd name="connsiteY37" fmla="*/ 26587 h 276178"/>
                <a:gd name="connsiteX38" fmla="*/ 113358 w 221643"/>
                <a:gd name="connsiteY38" fmla="*/ 38372 h 276178"/>
                <a:gd name="connsiteX39" fmla="*/ 126752 w 221643"/>
                <a:gd name="connsiteY39" fmla="*/ 41611 h 276178"/>
                <a:gd name="connsiteX40" fmla="*/ 154074 w 221643"/>
                <a:gd name="connsiteY40" fmla="*/ 45891 h 276178"/>
                <a:gd name="connsiteX41" fmla="*/ 166923 w 221643"/>
                <a:gd name="connsiteY41" fmla="*/ 35185 h 276178"/>
                <a:gd name="connsiteX42" fmla="*/ 179785 w 221643"/>
                <a:gd name="connsiteY42" fmla="*/ 27120 h 276178"/>
                <a:gd name="connsiteX43" fmla="*/ 194790 w 221643"/>
                <a:gd name="connsiteY43" fmla="*/ 22802 h 276178"/>
                <a:gd name="connsiteX44" fmla="*/ 207639 w 221643"/>
                <a:gd name="connsiteY44" fmla="*/ 30867 h 276178"/>
                <a:gd name="connsiteX45" fmla="*/ 221617 w 221643"/>
                <a:gd name="connsiteY45" fmla="*/ 31172 h 276178"/>
                <a:gd name="connsiteX46" fmla="*/ 199598 w 221643"/>
                <a:gd name="connsiteY46" fmla="*/ 76980 h 276178"/>
                <a:gd name="connsiteX47" fmla="*/ 196401 w 221643"/>
                <a:gd name="connsiteY47" fmla="*/ 134943 h 276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221643" h="276178">
                  <a:moveTo>
                    <a:pt x="196401" y="134943"/>
                  </a:moveTo>
                  <a:cubicBezTo>
                    <a:pt x="199445" y="153676"/>
                    <a:pt x="206143" y="171633"/>
                    <a:pt x="216125" y="187775"/>
                  </a:cubicBezTo>
                  <a:cubicBezTo>
                    <a:pt x="207627" y="196449"/>
                    <a:pt x="197834" y="204107"/>
                    <a:pt x="189260" y="212832"/>
                  </a:cubicBezTo>
                  <a:cubicBezTo>
                    <a:pt x="184706" y="217404"/>
                    <a:pt x="180863" y="222611"/>
                    <a:pt x="177844" y="228314"/>
                  </a:cubicBezTo>
                  <a:cubicBezTo>
                    <a:pt x="177527" y="228949"/>
                    <a:pt x="177159" y="229571"/>
                    <a:pt x="176855" y="230155"/>
                  </a:cubicBezTo>
                  <a:cubicBezTo>
                    <a:pt x="175637" y="232403"/>
                    <a:pt x="174419" y="234562"/>
                    <a:pt x="173214" y="236632"/>
                  </a:cubicBezTo>
                  <a:cubicBezTo>
                    <a:pt x="172263" y="238296"/>
                    <a:pt x="171274" y="239871"/>
                    <a:pt x="170297" y="241407"/>
                  </a:cubicBezTo>
                  <a:cubicBezTo>
                    <a:pt x="169574" y="242614"/>
                    <a:pt x="168813" y="243833"/>
                    <a:pt x="168052" y="245001"/>
                  </a:cubicBezTo>
                  <a:cubicBezTo>
                    <a:pt x="167862" y="245268"/>
                    <a:pt x="167646" y="245586"/>
                    <a:pt x="167418" y="245903"/>
                  </a:cubicBezTo>
                  <a:lnTo>
                    <a:pt x="167418" y="245941"/>
                  </a:lnTo>
                  <a:cubicBezTo>
                    <a:pt x="160898" y="255936"/>
                    <a:pt x="154201" y="264851"/>
                    <a:pt x="147821" y="276180"/>
                  </a:cubicBezTo>
                  <a:cubicBezTo>
                    <a:pt x="132650" y="265956"/>
                    <a:pt x="118279" y="254603"/>
                    <a:pt x="104808" y="242207"/>
                  </a:cubicBezTo>
                  <a:cubicBezTo>
                    <a:pt x="99418" y="234702"/>
                    <a:pt x="99963" y="222370"/>
                    <a:pt x="89803" y="218585"/>
                  </a:cubicBezTo>
                  <a:cubicBezTo>
                    <a:pt x="80506" y="215169"/>
                    <a:pt x="13901" y="179939"/>
                    <a:pt x="2536" y="173907"/>
                  </a:cubicBezTo>
                  <a:cubicBezTo>
                    <a:pt x="3880" y="171837"/>
                    <a:pt x="5225" y="169817"/>
                    <a:pt x="6582" y="167747"/>
                  </a:cubicBezTo>
                  <a:cubicBezTo>
                    <a:pt x="3640" y="165538"/>
                    <a:pt x="3043" y="161359"/>
                    <a:pt x="5250" y="158426"/>
                  </a:cubicBezTo>
                  <a:cubicBezTo>
                    <a:pt x="7318" y="155657"/>
                    <a:pt x="11161" y="154946"/>
                    <a:pt x="14079" y="156762"/>
                  </a:cubicBezTo>
                  <a:cubicBezTo>
                    <a:pt x="15119" y="155771"/>
                    <a:pt x="23389" y="147669"/>
                    <a:pt x="25507" y="151999"/>
                  </a:cubicBezTo>
                  <a:cubicBezTo>
                    <a:pt x="23123" y="147084"/>
                    <a:pt x="18670" y="143046"/>
                    <a:pt x="13191" y="148532"/>
                  </a:cubicBezTo>
                  <a:cubicBezTo>
                    <a:pt x="12201" y="149523"/>
                    <a:pt x="13635" y="151682"/>
                    <a:pt x="11618" y="152444"/>
                  </a:cubicBezTo>
                  <a:cubicBezTo>
                    <a:pt x="9969" y="152850"/>
                    <a:pt x="8244" y="152101"/>
                    <a:pt x="7432" y="150602"/>
                  </a:cubicBezTo>
                  <a:cubicBezTo>
                    <a:pt x="6798" y="149523"/>
                    <a:pt x="-1104" y="137242"/>
                    <a:pt x="1775" y="136645"/>
                  </a:cubicBezTo>
                  <a:cubicBezTo>
                    <a:pt x="1458" y="136696"/>
                    <a:pt x="1141" y="136785"/>
                    <a:pt x="824" y="136836"/>
                  </a:cubicBezTo>
                  <a:cubicBezTo>
                    <a:pt x="4768" y="131629"/>
                    <a:pt x="8041" y="125939"/>
                    <a:pt x="10540" y="119906"/>
                  </a:cubicBezTo>
                  <a:cubicBezTo>
                    <a:pt x="12645" y="112934"/>
                    <a:pt x="16958" y="113480"/>
                    <a:pt x="23922" y="106508"/>
                  </a:cubicBezTo>
                  <a:cubicBezTo>
                    <a:pt x="30847" y="99536"/>
                    <a:pt x="26585" y="100069"/>
                    <a:pt x="27663" y="88283"/>
                  </a:cubicBezTo>
                  <a:cubicBezTo>
                    <a:pt x="28196" y="81679"/>
                    <a:pt x="27093" y="75037"/>
                    <a:pt x="24416" y="68979"/>
                  </a:cubicBezTo>
                  <a:cubicBezTo>
                    <a:pt x="23389" y="63036"/>
                    <a:pt x="20687" y="62007"/>
                    <a:pt x="16425" y="54489"/>
                  </a:cubicBezTo>
                  <a:cubicBezTo>
                    <a:pt x="12113" y="46970"/>
                    <a:pt x="13723" y="46437"/>
                    <a:pt x="12113" y="39465"/>
                  </a:cubicBezTo>
                  <a:cubicBezTo>
                    <a:pt x="10540" y="32492"/>
                    <a:pt x="7838" y="38919"/>
                    <a:pt x="4603" y="35185"/>
                  </a:cubicBezTo>
                  <a:cubicBezTo>
                    <a:pt x="2840" y="32937"/>
                    <a:pt x="1280" y="30524"/>
                    <a:pt x="-26" y="27984"/>
                  </a:cubicBezTo>
                  <a:cubicBezTo>
                    <a:pt x="1509" y="25914"/>
                    <a:pt x="3234" y="23996"/>
                    <a:pt x="5149" y="22269"/>
                  </a:cubicBezTo>
                  <a:cubicBezTo>
                    <a:pt x="9994" y="18535"/>
                    <a:pt x="13191" y="13176"/>
                    <a:pt x="16958" y="9937"/>
                  </a:cubicBezTo>
                  <a:cubicBezTo>
                    <a:pt x="24366" y="5340"/>
                    <a:pt x="32522" y="2076"/>
                    <a:pt x="41045" y="311"/>
                  </a:cubicBezTo>
                  <a:cubicBezTo>
                    <a:pt x="50178" y="-1849"/>
                    <a:pt x="44787" y="7829"/>
                    <a:pt x="46943" y="12642"/>
                  </a:cubicBezTo>
                  <a:cubicBezTo>
                    <a:pt x="48059" y="15157"/>
                    <a:pt x="53184" y="16960"/>
                    <a:pt x="58892" y="17722"/>
                  </a:cubicBezTo>
                  <a:cubicBezTo>
                    <a:pt x="63839" y="18484"/>
                    <a:pt x="68887" y="18205"/>
                    <a:pt x="73720" y="16909"/>
                  </a:cubicBezTo>
                  <a:cubicBezTo>
                    <a:pt x="81761" y="14255"/>
                    <a:pt x="87660" y="23882"/>
                    <a:pt x="97312" y="26587"/>
                  </a:cubicBezTo>
                  <a:cubicBezTo>
                    <a:pt x="103832" y="28606"/>
                    <a:pt x="109476" y="32759"/>
                    <a:pt x="113358" y="38372"/>
                  </a:cubicBezTo>
                  <a:cubicBezTo>
                    <a:pt x="117138" y="42157"/>
                    <a:pt x="120321" y="42157"/>
                    <a:pt x="126752" y="41611"/>
                  </a:cubicBezTo>
                  <a:cubicBezTo>
                    <a:pt x="133171" y="41078"/>
                    <a:pt x="143914" y="45891"/>
                    <a:pt x="154074" y="45891"/>
                  </a:cubicBezTo>
                  <a:cubicBezTo>
                    <a:pt x="164272" y="45891"/>
                    <a:pt x="163194" y="38372"/>
                    <a:pt x="166923" y="35185"/>
                  </a:cubicBezTo>
                  <a:cubicBezTo>
                    <a:pt x="170513" y="31514"/>
                    <a:pt x="174914" y="28758"/>
                    <a:pt x="179785" y="27120"/>
                  </a:cubicBezTo>
                  <a:cubicBezTo>
                    <a:pt x="189438" y="22802"/>
                    <a:pt x="188359" y="22802"/>
                    <a:pt x="194790" y="22802"/>
                  </a:cubicBezTo>
                  <a:cubicBezTo>
                    <a:pt x="201221" y="22802"/>
                    <a:pt x="198024" y="27120"/>
                    <a:pt x="207639" y="30867"/>
                  </a:cubicBezTo>
                  <a:cubicBezTo>
                    <a:pt x="212003" y="33102"/>
                    <a:pt x="217153" y="33216"/>
                    <a:pt x="221617" y="31172"/>
                  </a:cubicBezTo>
                  <a:cubicBezTo>
                    <a:pt x="212523" y="45535"/>
                    <a:pt x="205140" y="60915"/>
                    <a:pt x="199598" y="76980"/>
                  </a:cubicBezTo>
                  <a:cubicBezTo>
                    <a:pt x="195183" y="95967"/>
                    <a:pt x="194105" y="115588"/>
                    <a:pt x="196401" y="134943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7" name="Vrije vorm 266">
              <a:extLst>
                <a:ext uri="{FF2B5EF4-FFF2-40B4-BE49-F238E27FC236}">
                  <a16:creationId xmlns:a16="http://schemas.microsoft.com/office/drawing/2014/main" id="{7B18B89E-7047-4D44-B515-A501C38AB287}"/>
                </a:ext>
              </a:extLst>
            </p:cNvPr>
            <p:cNvSpPr/>
            <p:nvPr/>
          </p:nvSpPr>
          <p:spPr>
            <a:xfrm>
              <a:off x="5731679" y="4022517"/>
              <a:ext cx="216963" cy="326308"/>
            </a:xfrm>
            <a:custGeom>
              <a:avLst/>
              <a:gdLst>
                <a:gd name="connsiteX0" fmla="*/ 214248 w 216963"/>
                <a:gd name="connsiteY0" fmla="*/ 315968 h 326308"/>
                <a:gd name="connsiteX1" fmla="*/ 214248 w 216963"/>
                <a:gd name="connsiteY1" fmla="*/ 326179 h 326308"/>
                <a:gd name="connsiteX2" fmla="*/ 204633 w 216963"/>
                <a:gd name="connsiteY2" fmla="*/ 320235 h 326308"/>
                <a:gd name="connsiteX3" fmla="*/ 189082 w 216963"/>
                <a:gd name="connsiteY3" fmla="*/ 316501 h 326308"/>
                <a:gd name="connsiteX4" fmla="*/ 178390 w 216963"/>
                <a:gd name="connsiteY4" fmla="*/ 313263 h 326308"/>
                <a:gd name="connsiteX5" fmla="*/ 168724 w 216963"/>
                <a:gd name="connsiteY5" fmla="*/ 312768 h 326308"/>
                <a:gd name="connsiteX6" fmla="*/ 144637 w 216963"/>
                <a:gd name="connsiteY6" fmla="*/ 311688 h 326308"/>
                <a:gd name="connsiteX7" fmla="*/ 133893 w 216963"/>
                <a:gd name="connsiteY7" fmla="*/ 310063 h 326308"/>
                <a:gd name="connsiteX8" fmla="*/ 130164 w 216963"/>
                <a:gd name="connsiteY8" fmla="*/ 308983 h 326308"/>
                <a:gd name="connsiteX9" fmla="*/ 118393 w 216963"/>
                <a:gd name="connsiteY9" fmla="*/ 310609 h 326308"/>
                <a:gd name="connsiteX10" fmla="*/ 110884 w 216963"/>
                <a:gd name="connsiteY10" fmla="*/ 308449 h 326308"/>
                <a:gd name="connsiteX11" fmla="*/ 95879 w 216963"/>
                <a:gd name="connsiteY11" fmla="*/ 308449 h 326308"/>
                <a:gd name="connsiteX12" fmla="*/ 82485 w 216963"/>
                <a:gd name="connsiteY12" fmla="*/ 307903 h 326308"/>
                <a:gd name="connsiteX13" fmla="*/ 80328 w 216963"/>
                <a:gd name="connsiteY13" fmla="*/ 310063 h 326308"/>
                <a:gd name="connsiteX14" fmla="*/ 78895 w 216963"/>
                <a:gd name="connsiteY14" fmla="*/ 312768 h 326308"/>
                <a:gd name="connsiteX15" fmla="*/ 38990 w 216963"/>
                <a:gd name="connsiteY15" fmla="*/ 311688 h 326308"/>
                <a:gd name="connsiteX16" fmla="*/ 40018 w 216963"/>
                <a:gd name="connsiteY16" fmla="*/ 298328 h 326308"/>
                <a:gd name="connsiteX17" fmla="*/ 38305 w 216963"/>
                <a:gd name="connsiteY17" fmla="*/ 279786 h 326308"/>
                <a:gd name="connsiteX18" fmla="*/ 36821 w 216963"/>
                <a:gd name="connsiteY18" fmla="*/ 271277 h 326308"/>
                <a:gd name="connsiteX19" fmla="*/ 36377 w 216963"/>
                <a:gd name="connsiteY19" fmla="*/ 268025 h 326308"/>
                <a:gd name="connsiteX20" fmla="*/ 34805 w 216963"/>
                <a:gd name="connsiteY20" fmla="*/ 262133 h 326308"/>
                <a:gd name="connsiteX21" fmla="*/ 33181 w 216963"/>
                <a:gd name="connsiteY21" fmla="*/ 259669 h 326308"/>
                <a:gd name="connsiteX22" fmla="*/ 32775 w 216963"/>
                <a:gd name="connsiteY22" fmla="*/ 259301 h 326308"/>
                <a:gd name="connsiteX23" fmla="*/ 24733 w 216963"/>
                <a:gd name="connsiteY23" fmla="*/ 257459 h 326308"/>
                <a:gd name="connsiteX24" fmla="*/ 22273 w 216963"/>
                <a:gd name="connsiteY24" fmla="*/ 257053 h 326308"/>
                <a:gd name="connsiteX25" fmla="*/ 10984 w 216963"/>
                <a:gd name="connsiteY25" fmla="*/ 245800 h 326308"/>
                <a:gd name="connsiteX26" fmla="*/ 9500 w 216963"/>
                <a:gd name="connsiteY26" fmla="*/ 244810 h 326308"/>
                <a:gd name="connsiteX27" fmla="*/ 6709 w 216963"/>
                <a:gd name="connsiteY27" fmla="*/ 243197 h 326308"/>
                <a:gd name="connsiteX28" fmla="*/ 4515 w 216963"/>
                <a:gd name="connsiteY28" fmla="*/ 242156 h 326308"/>
                <a:gd name="connsiteX29" fmla="*/ 1179 w 216963"/>
                <a:gd name="connsiteY29" fmla="*/ 240987 h 326308"/>
                <a:gd name="connsiteX30" fmla="*/ -26 w 216963"/>
                <a:gd name="connsiteY30" fmla="*/ 240632 h 326308"/>
                <a:gd name="connsiteX31" fmla="*/ 35883 w 216963"/>
                <a:gd name="connsiteY31" fmla="*/ 181869 h 326308"/>
                <a:gd name="connsiteX32" fmla="*/ 81939 w 216963"/>
                <a:gd name="connsiteY32" fmla="*/ 185603 h 326308"/>
                <a:gd name="connsiteX33" fmla="*/ 129619 w 216963"/>
                <a:gd name="connsiteY33" fmla="*/ 97630 h 326308"/>
                <a:gd name="connsiteX34" fmla="*/ 169257 w 216963"/>
                <a:gd name="connsiteY34" fmla="*/ 47236 h 326308"/>
                <a:gd name="connsiteX35" fmla="*/ 169802 w 216963"/>
                <a:gd name="connsiteY35" fmla="*/ 26319 h 326308"/>
                <a:gd name="connsiteX36" fmla="*/ 156002 w 216963"/>
                <a:gd name="connsiteY36" fmla="*/ 81 h 326308"/>
                <a:gd name="connsiteX37" fmla="*/ 167101 w 216963"/>
                <a:gd name="connsiteY37" fmla="*/ 1110 h 326308"/>
                <a:gd name="connsiteX38" fmla="*/ 177299 w 216963"/>
                <a:gd name="connsiteY38" fmla="*/ 9669 h 326308"/>
                <a:gd name="connsiteX39" fmla="*/ 183730 w 216963"/>
                <a:gd name="connsiteY39" fmla="*/ 25240 h 326308"/>
                <a:gd name="connsiteX40" fmla="*/ 185886 w 216963"/>
                <a:gd name="connsiteY40" fmla="*/ 46702 h 326308"/>
                <a:gd name="connsiteX41" fmla="*/ 187991 w 216963"/>
                <a:gd name="connsiteY41" fmla="*/ 67619 h 326308"/>
                <a:gd name="connsiteX42" fmla="*/ 200308 w 216963"/>
                <a:gd name="connsiteY42" fmla="*/ 90162 h 326308"/>
                <a:gd name="connsiteX43" fmla="*/ 188537 w 216963"/>
                <a:gd name="connsiteY43" fmla="*/ 89629 h 326308"/>
                <a:gd name="connsiteX44" fmla="*/ 174064 w 216963"/>
                <a:gd name="connsiteY44" fmla="*/ 89082 h 326308"/>
                <a:gd name="connsiteX45" fmla="*/ 158019 w 216963"/>
                <a:gd name="connsiteY45" fmla="*/ 92283 h 326308"/>
                <a:gd name="connsiteX46" fmla="*/ 167646 w 216963"/>
                <a:gd name="connsiteY46" fmla="*/ 114825 h 326308"/>
                <a:gd name="connsiteX47" fmla="*/ 190693 w 216963"/>
                <a:gd name="connsiteY47" fmla="*/ 135209 h 326308"/>
                <a:gd name="connsiteX48" fmla="*/ 198735 w 216963"/>
                <a:gd name="connsiteY48" fmla="*/ 157751 h 326308"/>
                <a:gd name="connsiteX49" fmla="*/ 197746 w 216963"/>
                <a:gd name="connsiteY49" fmla="*/ 161485 h 326308"/>
                <a:gd name="connsiteX50" fmla="*/ 187459 w 216963"/>
                <a:gd name="connsiteY50" fmla="*/ 172191 h 326308"/>
                <a:gd name="connsiteX51" fmla="*/ 176220 w 216963"/>
                <a:gd name="connsiteY51" fmla="*/ 188841 h 326308"/>
                <a:gd name="connsiteX52" fmla="*/ 165528 w 216963"/>
                <a:gd name="connsiteY52" fmla="*/ 202252 h 326308"/>
                <a:gd name="connsiteX53" fmla="*/ 173531 w 216963"/>
                <a:gd name="connsiteY53" fmla="*/ 208678 h 326308"/>
                <a:gd name="connsiteX54" fmla="*/ 172986 w 216963"/>
                <a:gd name="connsiteY54" fmla="*/ 228528 h 326308"/>
                <a:gd name="connsiteX55" fmla="*/ 183184 w 216963"/>
                <a:gd name="connsiteY55" fmla="*/ 252646 h 326308"/>
                <a:gd name="connsiteX56" fmla="*/ 192812 w 216963"/>
                <a:gd name="connsiteY56" fmla="*/ 270375 h 326308"/>
                <a:gd name="connsiteX57" fmla="*/ 205699 w 216963"/>
                <a:gd name="connsiteY57" fmla="*/ 284320 h 326308"/>
                <a:gd name="connsiteX58" fmla="*/ 214248 w 216963"/>
                <a:gd name="connsiteY58" fmla="*/ 296651 h 326308"/>
                <a:gd name="connsiteX59" fmla="*/ 216937 w 216963"/>
                <a:gd name="connsiteY59" fmla="*/ 310596 h 326308"/>
                <a:gd name="connsiteX60" fmla="*/ 214248 w 216963"/>
                <a:gd name="connsiteY60" fmla="*/ 315968 h 326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216963" h="326308">
                  <a:moveTo>
                    <a:pt x="214248" y="315968"/>
                  </a:moveTo>
                  <a:cubicBezTo>
                    <a:pt x="214780" y="318660"/>
                    <a:pt x="216404" y="325099"/>
                    <a:pt x="214248" y="326179"/>
                  </a:cubicBezTo>
                  <a:cubicBezTo>
                    <a:pt x="212142" y="327207"/>
                    <a:pt x="212142" y="321861"/>
                    <a:pt x="204633" y="320235"/>
                  </a:cubicBezTo>
                  <a:cubicBezTo>
                    <a:pt x="197124" y="318660"/>
                    <a:pt x="193890" y="317581"/>
                    <a:pt x="189082" y="316501"/>
                  </a:cubicBezTo>
                  <a:cubicBezTo>
                    <a:pt x="184275" y="315422"/>
                    <a:pt x="179417" y="314876"/>
                    <a:pt x="178390" y="313263"/>
                  </a:cubicBezTo>
                  <a:cubicBezTo>
                    <a:pt x="177311" y="311688"/>
                    <a:pt x="171959" y="312768"/>
                    <a:pt x="168724" y="312768"/>
                  </a:cubicBezTo>
                  <a:cubicBezTo>
                    <a:pt x="165528" y="312768"/>
                    <a:pt x="146210" y="311688"/>
                    <a:pt x="144637" y="311688"/>
                  </a:cubicBezTo>
                  <a:cubicBezTo>
                    <a:pt x="143014" y="311688"/>
                    <a:pt x="133893" y="310063"/>
                    <a:pt x="133893" y="310063"/>
                  </a:cubicBezTo>
                  <a:lnTo>
                    <a:pt x="130164" y="308983"/>
                  </a:lnTo>
                  <a:cubicBezTo>
                    <a:pt x="126283" y="309783"/>
                    <a:pt x="122351" y="310316"/>
                    <a:pt x="118393" y="310609"/>
                  </a:cubicBezTo>
                  <a:cubicBezTo>
                    <a:pt x="111430" y="311142"/>
                    <a:pt x="110884" y="308449"/>
                    <a:pt x="110884" y="308449"/>
                  </a:cubicBezTo>
                  <a:lnTo>
                    <a:pt x="95879" y="308449"/>
                  </a:lnTo>
                  <a:cubicBezTo>
                    <a:pt x="93723" y="308449"/>
                    <a:pt x="93177" y="307903"/>
                    <a:pt x="82485" y="307903"/>
                  </a:cubicBezTo>
                  <a:cubicBezTo>
                    <a:pt x="81812" y="307903"/>
                    <a:pt x="81000" y="308945"/>
                    <a:pt x="80328" y="310063"/>
                  </a:cubicBezTo>
                  <a:cubicBezTo>
                    <a:pt x="79795" y="310939"/>
                    <a:pt x="79313" y="311841"/>
                    <a:pt x="78895" y="312768"/>
                  </a:cubicBezTo>
                  <a:cubicBezTo>
                    <a:pt x="78895" y="312768"/>
                    <a:pt x="43607" y="311777"/>
                    <a:pt x="38990" y="311688"/>
                  </a:cubicBezTo>
                  <a:cubicBezTo>
                    <a:pt x="39384" y="307319"/>
                    <a:pt x="39790" y="302912"/>
                    <a:pt x="40018" y="298328"/>
                  </a:cubicBezTo>
                  <a:cubicBezTo>
                    <a:pt x="40132" y="292092"/>
                    <a:pt x="39561" y="285882"/>
                    <a:pt x="38305" y="279786"/>
                  </a:cubicBezTo>
                  <a:cubicBezTo>
                    <a:pt x="37811" y="276941"/>
                    <a:pt x="37278" y="274109"/>
                    <a:pt x="36821" y="271277"/>
                  </a:cubicBezTo>
                  <a:cubicBezTo>
                    <a:pt x="36694" y="270197"/>
                    <a:pt x="36517" y="269118"/>
                    <a:pt x="36377" y="268025"/>
                  </a:cubicBezTo>
                  <a:cubicBezTo>
                    <a:pt x="36187" y="265994"/>
                    <a:pt x="35654" y="263999"/>
                    <a:pt x="34805" y="262133"/>
                  </a:cubicBezTo>
                  <a:cubicBezTo>
                    <a:pt x="34411" y="261218"/>
                    <a:pt x="33866" y="260380"/>
                    <a:pt x="33181" y="259669"/>
                  </a:cubicBezTo>
                  <a:cubicBezTo>
                    <a:pt x="33054" y="259529"/>
                    <a:pt x="32914" y="259440"/>
                    <a:pt x="32775" y="259301"/>
                  </a:cubicBezTo>
                  <a:cubicBezTo>
                    <a:pt x="30517" y="257497"/>
                    <a:pt x="27562" y="256811"/>
                    <a:pt x="24733" y="257459"/>
                  </a:cubicBezTo>
                  <a:cubicBezTo>
                    <a:pt x="23934" y="257548"/>
                    <a:pt x="22628" y="257548"/>
                    <a:pt x="22273" y="257053"/>
                  </a:cubicBezTo>
                  <a:cubicBezTo>
                    <a:pt x="19178" y="252684"/>
                    <a:pt x="15360" y="248874"/>
                    <a:pt x="10984" y="245800"/>
                  </a:cubicBezTo>
                  <a:cubicBezTo>
                    <a:pt x="10527" y="245432"/>
                    <a:pt x="10032" y="245102"/>
                    <a:pt x="9500" y="244810"/>
                  </a:cubicBezTo>
                  <a:cubicBezTo>
                    <a:pt x="8599" y="244226"/>
                    <a:pt x="7660" y="243692"/>
                    <a:pt x="6709" y="243197"/>
                  </a:cubicBezTo>
                  <a:cubicBezTo>
                    <a:pt x="5986" y="242829"/>
                    <a:pt x="5225" y="242473"/>
                    <a:pt x="4515" y="242156"/>
                  </a:cubicBezTo>
                  <a:cubicBezTo>
                    <a:pt x="3424" y="241711"/>
                    <a:pt x="2308" y="241317"/>
                    <a:pt x="1179" y="240987"/>
                  </a:cubicBezTo>
                  <a:cubicBezTo>
                    <a:pt x="786" y="240847"/>
                    <a:pt x="380" y="240733"/>
                    <a:pt x="-26" y="240632"/>
                  </a:cubicBezTo>
                  <a:cubicBezTo>
                    <a:pt x="3792" y="229291"/>
                    <a:pt x="18937" y="187038"/>
                    <a:pt x="35883" y="181869"/>
                  </a:cubicBezTo>
                  <a:cubicBezTo>
                    <a:pt x="55163" y="175976"/>
                    <a:pt x="68545" y="190454"/>
                    <a:pt x="81939" y="185603"/>
                  </a:cubicBezTo>
                  <a:cubicBezTo>
                    <a:pt x="95334" y="180789"/>
                    <a:pt x="114613" y="119639"/>
                    <a:pt x="129619" y="97630"/>
                  </a:cubicBezTo>
                  <a:cubicBezTo>
                    <a:pt x="141745" y="80002"/>
                    <a:pt x="154987" y="63175"/>
                    <a:pt x="169257" y="47236"/>
                  </a:cubicBezTo>
                  <a:cubicBezTo>
                    <a:pt x="174064" y="42423"/>
                    <a:pt x="177844" y="37559"/>
                    <a:pt x="169802" y="26319"/>
                  </a:cubicBezTo>
                  <a:cubicBezTo>
                    <a:pt x="164221" y="18115"/>
                    <a:pt x="159591" y="9314"/>
                    <a:pt x="156002" y="81"/>
                  </a:cubicBezTo>
                  <a:cubicBezTo>
                    <a:pt x="159731" y="-173"/>
                    <a:pt x="163486" y="182"/>
                    <a:pt x="167101" y="1110"/>
                  </a:cubicBezTo>
                  <a:cubicBezTo>
                    <a:pt x="171515" y="2481"/>
                    <a:pt x="175193" y="5555"/>
                    <a:pt x="177299" y="9669"/>
                  </a:cubicBezTo>
                  <a:cubicBezTo>
                    <a:pt x="180089" y="14559"/>
                    <a:pt x="182246" y="19791"/>
                    <a:pt x="183730" y="25240"/>
                  </a:cubicBezTo>
                  <a:cubicBezTo>
                    <a:pt x="186901" y="31920"/>
                    <a:pt x="187662" y="39502"/>
                    <a:pt x="185886" y="46702"/>
                  </a:cubicBezTo>
                  <a:cubicBezTo>
                    <a:pt x="184833" y="53738"/>
                    <a:pt x="185556" y="60927"/>
                    <a:pt x="187991" y="67619"/>
                  </a:cubicBezTo>
                  <a:cubicBezTo>
                    <a:pt x="189615" y="75671"/>
                    <a:pt x="201386" y="84218"/>
                    <a:pt x="200308" y="90162"/>
                  </a:cubicBezTo>
                  <a:cubicBezTo>
                    <a:pt x="199280" y="96055"/>
                    <a:pt x="193890" y="89629"/>
                    <a:pt x="188537" y="89629"/>
                  </a:cubicBezTo>
                  <a:cubicBezTo>
                    <a:pt x="183184" y="89629"/>
                    <a:pt x="182652" y="89082"/>
                    <a:pt x="174064" y="89082"/>
                  </a:cubicBezTo>
                  <a:cubicBezTo>
                    <a:pt x="165528" y="89082"/>
                    <a:pt x="165528" y="87457"/>
                    <a:pt x="158019" y="92283"/>
                  </a:cubicBezTo>
                  <a:cubicBezTo>
                    <a:pt x="150522" y="97134"/>
                    <a:pt x="160137" y="104602"/>
                    <a:pt x="167646" y="114825"/>
                  </a:cubicBezTo>
                  <a:cubicBezTo>
                    <a:pt x="175142" y="124985"/>
                    <a:pt x="185353" y="127144"/>
                    <a:pt x="190693" y="135209"/>
                  </a:cubicBezTo>
                  <a:cubicBezTo>
                    <a:pt x="195006" y="142029"/>
                    <a:pt x="197746" y="149725"/>
                    <a:pt x="198735" y="157751"/>
                  </a:cubicBezTo>
                  <a:cubicBezTo>
                    <a:pt x="198862" y="159072"/>
                    <a:pt x="198519" y="160393"/>
                    <a:pt x="197746" y="161485"/>
                  </a:cubicBezTo>
                  <a:cubicBezTo>
                    <a:pt x="195906" y="164444"/>
                    <a:pt x="191644" y="167238"/>
                    <a:pt x="187459" y="172191"/>
                  </a:cubicBezTo>
                  <a:cubicBezTo>
                    <a:pt x="181573" y="179164"/>
                    <a:pt x="179417" y="185056"/>
                    <a:pt x="176220" y="188841"/>
                  </a:cubicBezTo>
                  <a:cubicBezTo>
                    <a:pt x="172035" y="192765"/>
                    <a:pt x="168433" y="197286"/>
                    <a:pt x="165528" y="202252"/>
                  </a:cubicBezTo>
                  <a:cubicBezTo>
                    <a:pt x="161748" y="209225"/>
                    <a:pt x="168179" y="201173"/>
                    <a:pt x="173531" y="208678"/>
                  </a:cubicBezTo>
                  <a:cubicBezTo>
                    <a:pt x="178922" y="216197"/>
                    <a:pt x="174064" y="216730"/>
                    <a:pt x="172986" y="228528"/>
                  </a:cubicBezTo>
                  <a:cubicBezTo>
                    <a:pt x="171959" y="240314"/>
                    <a:pt x="181028" y="248366"/>
                    <a:pt x="183184" y="252646"/>
                  </a:cubicBezTo>
                  <a:cubicBezTo>
                    <a:pt x="185340" y="256964"/>
                    <a:pt x="187991" y="261231"/>
                    <a:pt x="192812" y="270375"/>
                  </a:cubicBezTo>
                  <a:cubicBezTo>
                    <a:pt x="195183" y="276496"/>
                    <a:pt x="199788" y="281475"/>
                    <a:pt x="205699" y="284320"/>
                  </a:cubicBezTo>
                  <a:cubicBezTo>
                    <a:pt x="213169" y="289133"/>
                    <a:pt x="211597" y="286441"/>
                    <a:pt x="214248" y="296651"/>
                  </a:cubicBezTo>
                  <a:cubicBezTo>
                    <a:pt x="215643" y="301185"/>
                    <a:pt x="216556" y="305859"/>
                    <a:pt x="216937" y="310596"/>
                  </a:cubicBezTo>
                  <a:cubicBezTo>
                    <a:pt x="214780" y="312768"/>
                    <a:pt x="213702" y="313263"/>
                    <a:pt x="214248" y="315968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8" name="Vrije vorm 267">
              <a:extLst>
                <a:ext uri="{FF2B5EF4-FFF2-40B4-BE49-F238E27FC236}">
                  <a16:creationId xmlns:a16="http://schemas.microsoft.com/office/drawing/2014/main" id="{C48DF8CC-3962-9B41-A0CB-9CD8172D5DC9}"/>
                </a:ext>
              </a:extLst>
            </p:cNvPr>
            <p:cNvSpPr/>
            <p:nvPr/>
          </p:nvSpPr>
          <p:spPr>
            <a:xfrm>
              <a:off x="5566702" y="4002359"/>
              <a:ext cx="339486" cy="267493"/>
            </a:xfrm>
            <a:custGeom>
              <a:avLst/>
              <a:gdLst>
                <a:gd name="connsiteX0" fmla="*/ 334246 w 339486"/>
                <a:gd name="connsiteY0" fmla="*/ 67406 h 267493"/>
                <a:gd name="connsiteX1" fmla="*/ 294608 w 339486"/>
                <a:gd name="connsiteY1" fmla="*/ 117800 h 267493"/>
                <a:gd name="connsiteX2" fmla="*/ 246915 w 339486"/>
                <a:gd name="connsiteY2" fmla="*/ 205760 h 267493"/>
                <a:gd name="connsiteX3" fmla="*/ 200859 w 339486"/>
                <a:gd name="connsiteY3" fmla="*/ 202026 h 267493"/>
                <a:gd name="connsiteX4" fmla="*/ 164950 w 339486"/>
                <a:gd name="connsiteY4" fmla="*/ 260802 h 267493"/>
                <a:gd name="connsiteX5" fmla="*/ 160054 w 339486"/>
                <a:gd name="connsiteY5" fmla="*/ 259761 h 267493"/>
                <a:gd name="connsiteX6" fmla="*/ 128458 w 339486"/>
                <a:gd name="connsiteY6" fmla="*/ 263139 h 267493"/>
                <a:gd name="connsiteX7" fmla="*/ 126745 w 339486"/>
                <a:gd name="connsiteY7" fmla="*/ 263494 h 267493"/>
                <a:gd name="connsiteX8" fmla="*/ 122839 w 339486"/>
                <a:gd name="connsiteY8" fmla="*/ 264396 h 267493"/>
                <a:gd name="connsiteX9" fmla="*/ 121354 w 339486"/>
                <a:gd name="connsiteY9" fmla="*/ 264752 h 267493"/>
                <a:gd name="connsiteX10" fmla="*/ 117714 w 339486"/>
                <a:gd name="connsiteY10" fmla="*/ 265514 h 267493"/>
                <a:gd name="connsiteX11" fmla="*/ 117270 w 339486"/>
                <a:gd name="connsiteY11" fmla="*/ 265602 h 267493"/>
                <a:gd name="connsiteX12" fmla="*/ 114568 w 339486"/>
                <a:gd name="connsiteY12" fmla="*/ 266098 h 267493"/>
                <a:gd name="connsiteX13" fmla="*/ 114264 w 339486"/>
                <a:gd name="connsiteY13" fmla="*/ 266149 h 267493"/>
                <a:gd name="connsiteX14" fmla="*/ 110218 w 339486"/>
                <a:gd name="connsiteY14" fmla="*/ 266822 h 267493"/>
                <a:gd name="connsiteX15" fmla="*/ 101276 w 339486"/>
                <a:gd name="connsiteY15" fmla="*/ 267495 h 267493"/>
                <a:gd name="connsiteX16" fmla="*/ 101136 w 339486"/>
                <a:gd name="connsiteY16" fmla="*/ 267495 h 267493"/>
                <a:gd name="connsiteX17" fmla="*/ 80283 w 339486"/>
                <a:gd name="connsiteY17" fmla="*/ 249943 h 267493"/>
                <a:gd name="connsiteX18" fmla="*/ 77404 w 339486"/>
                <a:gd name="connsiteY18" fmla="*/ 242704 h 267493"/>
                <a:gd name="connsiteX19" fmla="*/ 76643 w 339486"/>
                <a:gd name="connsiteY19" fmla="*/ 241041 h 267493"/>
                <a:gd name="connsiteX20" fmla="*/ 74081 w 339486"/>
                <a:gd name="connsiteY20" fmla="*/ 235999 h 267493"/>
                <a:gd name="connsiteX21" fmla="*/ 73497 w 339486"/>
                <a:gd name="connsiteY21" fmla="*/ 234919 h 267493"/>
                <a:gd name="connsiteX22" fmla="*/ 70174 w 339486"/>
                <a:gd name="connsiteY22" fmla="*/ 229661 h 267493"/>
                <a:gd name="connsiteX23" fmla="*/ 69768 w 339486"/>
                <a:gd name="connsiteY23" fmla="*/ 229065 h 267493"/>
                <a:gd name="connsiteX24" fmla="*/ 27250 w 339486"/>
                <a:gd name="connsiteY24" fmla="*/ 209126 h 267493"/>
                <a:gd name="connsiteX25" fmla="*/ 18537 w 339486"/>
                <a:gd name="connsiteY25" fmla="*/ 209265 h 267493"/>
                <a:gd name="connsiteX26" fmla="*/ 15124 w 339486"/>
                <a:gd name="connsiteY26" fmla="*/ 209443 h 267493"/>
                <a:gd name="connsiteX27" fmla="*/ 474 w 339486"/>
                <a:gd name="connsiteY27" fmla="*/ 211018 h 267493"/>
                <a:gd name="connsiteX28" fmla="*/ -21 w 339486"/>
                <a:gd name="connsiteY28" fmla="*/ 144114 h 267493"/>
                <a:gd name="connsiteX29" fmla="*/ 9061 w 339486"/>
                <a:gd name="connsiteY29" fmla="*/ 138171 h 267493"/>
                <a:gd name="connsiteX30" fmla="*/ 26223 w 339486"/>
                <a:gd name="connsiteY30" fmla="*/ 110815 h 267493"/>
                <a:gd name="connsiteX31" fmla="*/ 32654 w 339486"/>
                <a:gd name="connsiteY31" fmla="*/ 94750 h 267493"/>
                <a:gd name="connsiteX32" fmla="*/ 26223 w 339486"/>
                <a:gd name="connsiteY32" fmla="*/ 77566 h 267493"/>
                <a:gd name="connsiteX33" fmla="*/ 23522 w 339486"/>
                <a:gd name="connsiteY33" fmla="*/ 61501 h 267493"/>
                <a:gd name="connsiteX34" fmla="*/ 24600 w 339486"/>
                <a:gd name="connsiteY34" fmla="*/ 57183 h 267493"/>
                <a:gd name="connsiteX35" fmla="*/ 39072 w 339486"/>
                <a:gd name="connsiteY35" fmla="*/ 17495 h 267493"/>
                <a:gd name="connsiteX36" fmla="*/ 61054 w 339486"/>
                <a:gd name="connsiteY36" fmla="*/ 1430 h 267493"/>
                <a:gd name="connsiteX37" fmla="*/ 91027 w 339486"/>
                <a:gd name="connsiteY37" fmla="*/ 1430 h 267493"/>
                <a:gd name="connsiteX38" fmla="*/ 109774 w 339486"/>
                <a:gd name="connsiteY38" fmla="*/ 15375 h 267493"/>
                <a:gd name="connsiteX39" fmla="*/ 124234 w 339486"/>
                <a:gd name="connsiteY39" fmla="*/ 24468 h 267493"/>
                <a:gd name="connsiteX40" fmla="*/ 145670 w 339486"/>
                <a:gd name="connsiteY40" fmla="*/ 12682 h 267493"/>
                <a:gd name="connsiteX41" fmla="*/ 164950 w 339486"/>
                <a:gd name="connsiteY41" fmla="*/ 24468 h 267493"/>
                <a:gd name="connsiteX42" fmla="*/ 195519 w 339486"/>
                <a:gd name="connsiteY42" fmla="*/ 28786 h 267493"/>
                <a:gd name="connsiteX43" fmla="*/ 216905 w 339486"/>
                <a:gd name="connsiteY43" fmla="*/ 14295 h 267493"/>
                <a:gd name="connsiteX44" fmla="*/ 241575 w 339486"/>
                <a:gd name="connsiteY44" fmla="*/ 12682 h 267493"/>
                <a:gd name="connsiteX45" fmla="*/ 263011 w 339486"/>
                <a:gd name="connsiteY45" fmla="*/ 20734 h 267493"/>
                <a:gd name="connsiteX46" fmla="*/ 278512 w 339486"/>
                <a:gd name="connsiteY46" fmla="*/ 20188 h 267493"/>
                <a:gd name="connsiteX47" fmla="*/ 292452 w 339486"/>
                <a:gd name="connsiteY47" fmla="*/ 8402 h 267493"/>
                <a:gd name="connsiteX48" fmla="*/ 308535 w 339486"/>
                <a:gd name="connsiteY48" fmla="*/ 3005 h 267493"/>
                <a:gd name="connsiteX49" fmla="*/ 318150 w 339486"/>
                <a:gd name="connsiteY49" fmla="*/ 13761 h 267493"/>
                <a:gd name="connsiteX50" fmla="*/ 320991 w 339486"/>
                <a:gd name="connsiteY50" fmla="*/ 20239 h 267493"/>
                <a:gd name="connsiteX51" fmla="*/ 334779 w 339486"/>
                <a:gd name="connsiteY51" fmla="*/ 46464 h 267493"/>
                <a:gd name="connsiteX52" fmla="*/ 334246 w 339486"/>
                <a:gd name="connsiteY52" fmla="*/ 67406 h 267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339486" h="267493">
                  <a:moveTo>
                    <a:pt x="334246" y="67406"/>
                  </a:moveTo>
                  <a:cubicBezTo>
                    <a:pt x="319976" y="83345"/>
                    <a:pt x="306734" y="100172"/>
                    <a:pt x="294608" y="117800"/>
                  </a:cubicBezTo>
                  <a:cubicBezTo>
                    <a:pt x="279590" y="139796"/>
                    <a:pt x="260310" y="200947"/>
                    <a:pt x="246915" y="205760"/>
                  </a:cubicBezTo>
                  <a:cubicBezTo>
                    <a:pt x="233533" y="210624"/>
                    <a:pt x="220139" y="196133"/>
                    <a:pt x="200859" y="202026"/>
                  </a:cubicBezTo>
                  <a:cubicBezTo>
                    <a:pt x="183913" y="207208"/>
                    <a:pt x="168768" y="249461"/>
                    <a:pt x="164950" y="260802"/>
                  </a:cubicBezTo>
                  <a:cubicBezTo>
                    <a:pt x="163352" y="260319"/>
                    <a:pt x="161716" y="259976"/>
                    <a:pt x="160054" y="259761"/>
                  </a:cubicBezTo>
                  <a:cubicBezTo>
                    <a:pt x="149399" y="258960"/>
                    <a:pt x="138707" y="260103"/>
                    <a:pt x="128458" y="263139"/>
                  </a:cubicBezTo>
                  <a:cubicBezTo>
                    <a:pt x="127874" y="263266"/>
                    <a:pt x="127291" y="263406"/>
                    <a:pt x="126745" y="263494"/>
                  </a:cubicBezTo>
                  <a:cubicBezTo>
                    <a:pt x="125451" y="263812"/>
                    <a:pt x="124145" y="264129"/>
                    <a:pt x="122839" y="264396"/>
                  </a:cubicBezTo>
                  <a:cubicBezTo>
                    <a:pt x="122344" y="264536"/>
                    <a:pt x="121849" y="264663"/>
                    <a:pt x="121354" y="264752"/>
                  </a:cubicBezTo>
                  <a:cubicBezTo>
                    <a:pt x="120149" y="265031"/>
                    <a:pt x="118932" y="265298"/>
                    <a:pt x="117714" y="265514"/>
                  </a:cubicBezTo>
                  <a:cubicBezTo>
                    <a:pt x="117575" y="265564"/>
                    <a:pt x="117422" y="265590"/>
                    <a:pt x="117270" y="265602"/>
                  </a:cubicBezTo>
                  <a:cubicBezTo>
                    <a:pt x="116370" y="265793"/>
                    <a:pt x="115469" y="265971"/>
                    <a:pt x="114568" y="266098"/>
                  </a:cubicBezTo>
                  <a:cubicBezTo>
                    <a:pt x="114467" y="266136"/>
                    <a:pt x="114366" y="266149"/>
                    <a:pt x="114264" y="266149"/>
                  </a:cubicBezTo>
                  <a:cubicBezTo>
                    <a:pt x="112907" y="266415"/>
                    <a:pt x="111562" y="266644"/>
                    <a:pt x="110218" y="266822"/>
                  </a:cubicBezTo>
                  <a:cubicBezTo>
                    <a:pt x="107250" y="267266"/>
                    <a:pt x="104269" y="267495"/>
                    <a:pt x="101276" y="267495"/>
                  </a:cubicBezTo>
                  <a:lnTo>
                    <a:pt x="101136" y="267495"/>
                  </a:lnTo>
                  <a:cubicBezTo>
                    <a:pt x="90443" y="267368"/>
                    <a:pt x="84913" y="262821"/>
                    <a:pt x="80283" y="249943"/>
                  </a:cubicBezTo>
                  <a:cubicBezTo>
                    <a:pt x="79383" y="247391"/>
                    <a:pt x="78393" y="244990"/>
                    <a:pt x="77404" y="242704"/>
                  </a:cubicBezTo>
                  <a:cubicBezTo>
                    <a:pt x="77188" y="242120"/>
                    <a:pt x="76909" y="241574"/>
                    <a:pt x="76643" y="241041"/>
                  </a:cubicBezTo>
                  <a:cubicBezTo>
                    <a:pt x="75831" y="239288"/>
                    <a:pt x="74981" y="237574"/>
                    <a:pt x="74081" y="235999"/>
                  </a:cubicBezTo>
                  <a:cubicBezTo>
                    <a:pt x="73903" y="235643"/>
                    <a:pt x="73725" y="235275"/>
                    <a:pt x="73497" y="234919"/>
                  </a:cubicBezTo>
                  <a:cubicBezTo>
                    <a:pt x="72482" y="233103"/>
                    <a:pt x="71379" y="231351"/>
                    <a:pt x="70174" y="229661"/>
                  </a:cubicBezTo>
                  <a:cubicBezTo>
                    <a:pt x="70047" y="229458"/>
                    <a:pt x="69920" y="229255"/>
                    <a:pt x="69768" y="229065"/>
                  </a:cubicBezTo>
                  <a:cubicBezTo>
                    <a:pt x="59849" y="215679"/>
                    <a:pt x="43879" y="208186"/>
                    <a:pt x="27250" y="209126"/>
                  </a:cubicBezTo>
                  <a:cubicBezTo>
                    <a:pt x="24473" y="209037"/>
                    <a:pt x="21543" y="209088"/>
                    <a:pt x="18537" y="209265"/>
                  </a:cubicBezTo>
                  <a:cubicBezTo>
                    <a:pt x="17420" y="209316"/>
                    <a:pt x="16291" y="209354"/>
                    <a:pt x="15124" y="209443"/>
                  </a:cubicBezTo>
                  <a:cubicBezTo>
                    <a:pt x="10178" y="209811"/>
                    <a:pt x="5281" y="210307"/>
                    <a:pt x="474" y="211018"/>
                  </a:cubicBezTo>
                  <a:cubicBezTo>
                    <a:pt x="386" y="198013"/>
                    <a:pt x="-21" y="150998"/>
                    <a:pt x="-21" y="144114"/>
                  </a:cubicBezTo>
                  <a:cubicBezTo>
                    <a:pt x="-21" y="136063"/>
                    <a:pt x="-566" y="139250"/>
                    <a:pt x="9061" y="138171"/>
                  </a:cubicBezTo>
                  <a:cubicBezTo>
                    <a:pt x="18714" y="137142"/>
                    <a:pt x="11751" y="124226"/>
                    <a:pt x="26223" y="110815"/>
                  </a:cubicBezTo>
                  <a:cubicBezTo>
                    <a:pt x="40696" y="97404"/>
                    <a:pt x="28874" y="98483"/>
                    <a:pt x="32654" y="94750"/>
                  </a:cubicBezTo>
                  <a:cubicBezTo>
                    <a:pt x="36383" y="90977"/>
                    <a:pt x="27796" y="81884"/>
                    <a:pt x="26223" y="77566"/>
                  </a:cubicBezTo>
                  <a:cubicBezTo>
                    <a:pt x="24283" y="72436"/>
                    <a:pt x="23369" y="66974"/>
                    <a:pt x="23522" y="61501"/>
                  </a:cubicBezTo>
                  <a:cubicBezTo>
                    <a:pt x="23801" y="60040"/>
                    <a:pt x="24156" y="58593"/>
                    <a:pt x="24600" y="57183"/>
                  </a:cubicBezTo>
                  <a:cubicBezTo>
                    <a:pt x="27390" y="47950"/>
                    <a:pt x="34671" y="28024"/>
                    <a:pt x="39072" y="17495"/>
                  </a:cubicBezTo>
                  <a:cubicBezTo>
                    <a:pt x="44425" y="4630"/>
                    <a:pt x="47659" y="4084"/>
                    <a:pt x="61054" y="1430"/>
                  </a:cubicBezTo>
                  <a:cubicBezTo>
                    <a:pt x="70948" y="-475"/>
                    <a:pt x="81120" y="-475"/>
                    <a:pt x="91027" y="1430"/>
                  </a:cubicBezTo>
                  <a:cubicBezTo>
                    <a:pt x="107656" y="2509"/>
                    <a:pt x="106578" y="10523"/>
                    <a:pt x="109774" y="15375"/>
                  </a:cubicBezTo>
                  <a:cubicBezTo>
                    <a:pt x="112463" y="20924"/>
                    <a:pt x="118082" y="24455"/>
                    <a:pt x="124234" y="24468"/>
                  </a:cubicBezTo>
                  <a:cubicBezTo>
                    <a:pt x="131210" y="23934"/>
                    <a:pt x="135472" y="14295"/>
                    <a:pt x="145670" y="12682"/>
                  </a:cubicBezTo>
                  <a:cubicBezTo>
                    <a:pt x="155830" y="11056"/>
                    <a:pt x="160688" y="18575"/>
                    <a:pt x="164950" y="24468"/>
                  </a:cubicBezTo>
                  <a:cubicBezTo>
                    <a:pt x="169225" y="30360"/>
                    <a:pt x="184775" y="29827"/>
                    <a:pt x="195519" y="28786"/>
                  </a:cubicBezTo>
                  <a:cubicBezTo>
                    <a:pt x="206212" y="27706"/>
                    <a:pt x="207290" y="16949"/>
                    <a:pt x="216905" y="14295"/>
                  </a:cubicBezTo>
                  <a:cubicBezTo>
                    <a:pt x="225010" y="12606"/>
                    <a:pt x="233318" y="12060"/>
                    <a:pt x="241575" y="12682"/>
                  </a:cubicBezTo>
                  <a:cubicBezTo>
                    <a:pt x="249655" y="11260"/>
                    <a:pt x="257862" y="14346"/>
                    <a:pt x="263011" y="20734"/>
                  </a:cubicBezTo>
                  <a:cubicBezTo>
                    <a:pt x="267286" y="26080"/>
                    <a:pt x="271015" y="23388"/>
                    <a:pt x="278512" y="20188"/>
                  </a:cubicBezTo>
                  <a:cubicBezTo>
                    <a:pt x="286020" y="16949"/>
                    <a:pt x="284410" y="13761"/>
                    <a:pt x="292452" y="8402"/>
                  </a:cubicBezTo>
                  <a:cubicBezTo>
                    <a:pt x="300493" y="3005"/>
                    <a:pt x="299948" y="2509"/>
                    <a:pt x="308535" y="3005"/>
                  </a:cubicBezTo>
                  <a:cubicBezTo>
                    <a:pt x="317122" y="3551"/>
                    <a:pt x="313343" y="3005"/>
                    <a:pt x="318150" y="13761"/>
                  </a:cubicBezTo>
                  <a:cubicBezTo>
                    <a:pt x="319139" y="15921"/>
                    <a:pt x="320090" y="18080"/>
                    <a:pt x="320991" y="20239"/>
                  </a:cubicBezTo>
                  <a:cubicBezTo>
                    <a:pt x="324581" y="29471"/>
                    <a:pt x="329210" y="38273"/>
                    <a:pt x="334779" y="46464"/>
                  </a:cubicBezTo>
                  <a:cubicBezTo>
                    <a:pt x="342821" y="57729"/>
                    <a:pt x="339053" y="62593"/>
                    <a:pt x="334246" y="67406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9" name="Vrije vorm 268">
              <a:extLst>
                <a:ext uri="{FF2B5EF4-FFF2-40B4-BE49-F238E27FC236}">
                  <a16:creationId xmlns:a16="http://schemas.microsoft.com/office/drawing/2014/main" id="{E68118E4-E44D-D84F-AA05-4554EADCF82C}"/>
                </a:ext>
              </a:extLst>
            </p:cNvPr>
            <p:cNvSpPr/>
            <p:nvPr/>
          </p:nvSpPr>
          <p:spPr>
            <a:xfrm>
              <a:off x="6107481" y="3754335"/>
              <a:ext cx="478376" cy="398932"/>
            </a:xfrm>
            <a:custGeom>
              <a:avLst/>
              <a:gdLst>
                <a:gd name="connsiteX0" fmla="*/ 478350 w 478376"/>
                <a:gd name="connsiteY0" fmla="*/ 123966 h 398932"/>
                <a:gd name="connsiteX1" fmla="*/ 471120 w 478376"/>
                <a:gd name="connsiteY1" fmla="*/ 132513 h 398932"/>
                <a:gd name="connsiteX2" fmla="*/ 459336 w 478376"/>
                <a:gd name="connsiteY2" fmla="*/ 140031 h 398932"/>
                <a:gd name="connsiteX3" fmla="*/ 449189 w 478376"/>
                <a:gd name="connsiteY3" fmla="*/ 144845 h 398932"/>
                <a:gd name="connsiteX4" fmla="*/ 442225 w 478376"/>
                <a:gd name="connsiteY4" fmla="*/ 155068 h 398932"/>
                <a:gd name="connsiteX5" fmla="*/ 432014 w 478376"/>
                <a:gd name="connsiteY5" fmla="*/ 155068 h 398932"/>
                <a:gd name="connsiteX6" fmla="*/ 428831 w 478376"/>
                <a:gd name="connsiteY6" fmla="*/ 170587 h 398932"/>
                <a:gd name="connsiteX7" fmla="*/ 421322 w 478376"/>
                <a:gd name="connsiteY7" fmla="*/ 193663 h 398932"/>
                <a:gd name="connsiteX8" fmla="*/ 418087 w 478376"/>
                <a:gd name="connsiteY8" fmla="*/ 217793 h 398932"/>
                <a:gd name="connsiteX9" fmla="*/ 418848 w 478376"/>
                <a:gd name="connsiteY9" fmla="*/ 231509 h 398932"/>
                <a:gd name="connsiteX10" fmla="*/ 418087 w 478376"/>
                <a:gd name="connsiteY10" fmla="*/ 238710 h 398932"/>
                <a:gd name="connsiteX11" fmla="*/ 407394 w 478376"/>
                <a:gd name="connsiteY11" fmla="*/ 279477 h 398932"/>
                <a:gd name="connsiteX12" fmla="*/ 387569 w 478376"/>
                <a:gd name="connsiteY12" fmla="*/ 289688 h 398932"/>
                <a:gd name="connsiteX13" fmla="*/ 373097 w 478376"/>
                <a:gd name="connsiteY13" fmla="*/ 330455 h 398932"/>
                <a:gd name="connsiteX14" fmla="*/ 365600 w 478376"/>
                <a:gd name="connsiteY14" fmla="*/ 334735 h 398932"/>
                <a:gd name="connsiteX15" fmla="*/ 356468 w 478376"/>
                <a:gd name="connsiteY15" fmla="*/ 341161 h 398932"/>
                <a:gd name="connsiteX16" fmla="*/ 351128 w 478376"/>
                <a:gd name="connsiteY16" fmla="*/ 366371 h 398932"/>
                <a:gd name="connsiteX17" fmla="*/ 349009 w 478376"/>
                <a:gd name="connsiteY17" fmla="*/ 374422 h 398932"/>
                <a:gd name="connsiteX18" fmla="*/ 345242 w 478376"/>
                <a:gd name="connsiteY18" fmla="*/ 363716 h 398932"/>
                <a:gd name="connsiteX19" fmla="*/ 338811 w 478376"/>
                <a:gd name="connsiteY19" fmla="*/ 347067 h 398932"/>
                <a:gd name="connsiteX20" fmla="*/ 322233 w 478376"/>
                <a:gd name="connsiteY20" fmla="*/ 335268 h 398932"/>
                <a:gd name="connsiteX21" fmla="*/ 321687 w 478376"/>
                <a:gd name="connsiteY21" fmla="*/ 312726 h 398932"/>
                <a:gd name="connsiteX22" fmla="*/ 320609 w 478376"/>
                <a:gd name="connsiteY22" fmla="*/ 295047 h 398932"/>
                <a:gd name="connsiteX23" fmla="*/ 310944 w 478376"/>
                <a:gd name="connsiteY23" fmla="*/ 296660 h 398932"/>
                <a:gd name="connsiteX24" fmla="*/ 296484 w 478376"/>
                <a:gd name="connsiteY24" fmla="*/ 302020 h 398932"/>
                <a:gd name="connsiteX25" fmla="*/ 298640 w 478376"/>
                <a:gd name="connsiteY25" fmla="*/ 310072 h 398932"/>
                <a:gd name="connsiteX26" fmla="*/ 294366 w 478376"/>
                <a:gd name="connsiteY26" fmla="*/ 337974 h 398932"/>
                <a:gd name="connsiteX27" fmla="*/ 275086 w 478376"/>
                <a:gd name="connsiteY27" fmla="*/ 357811 h 398932"/>
                <a:gd name="connsiteX28" fmla="*/ 254182 w 478376"/>
                <a:gd name="connsiteY28" fmla="*/ 365825 h 398932"/>
                <a:gd name="connsiteX29" fmla="*/ 234369 w 478376"/>
                <a:gd name="connsiteY29" fmla="*/ 350839 h 398932"/>
                <a:gd name="connsiteX30" fmla="*/ 221470 w 478376"/>
                <a:gd name="connsiteY30" fmla="*/ 361545 h 398932"/>
                <a:gd name="connsiteX31" fmla="*/ 201111 w 478376"/>
                <a:gd name="connsiteY31" fmla="*/ 371222 h 398932"/>
                <a:gd name="connsiteX32" fmla="*/ 185612 w 478376"/>
                <a:gd name="connsiteY32" fmla="*/ 379769 h 398932"/>
                <a:gd name="connsiteX33" fmla="*/ 173841 w 478376"/>
                <a:gd name="connsiteY33" fmla="*/ 367984 h 398932"/>
                <a:gd name="connsiteX34" fmla="*/ 140582 w 478376"/>
                <a:gd name="connsiteY34" fmla="*/ 373343 h 398932"/>
                <a:gd name="connsiteX35" fmla="*/ 114872 w 478376"/>
                <a:gd name="connsiteY35" fmla="*/ 347054 h 398932"/>
                <a:gd name="connsiteX36" fmla="*/ 94514 w 478376"/>
                <a:gd name="connsiteY36" fmla="*/ 350305 h 398932"/>
                <a:gd name="connsiteX37" fmla="*/ 82743 w 478376"/>
                <a:gd name="connsiteY37" fmla="*/ 376035 h 398932"/>
                <a:gd name="connsiteX38" fmla="*/ 67458 w 478376"/>
                <a:gd name="connsiteY38" fmla="*/ 398934 h 398932"/>
                <a:gd name="connsiteX39" fmla="*/ 57032 w 478376"/>
                <a:gd name="connsiteY39" fmla="*/ 393180 h 398932"/>
                <a:gd name="connsiteX40" fmla="*/ 47379 w 478376"/>
                <a:gd name="connsiteY40" fmla="*/ 391606 h 398932"/>
                <a:gd name="connsiteX41" fmla="*/ 50068 w 478376"/>
                <a:gd name="connsiteY41" fmla="*/ 386741 h 398932"/>
                <a:gd name="connsiteX42" fmla="*/ 48990 w 478376"/>
                <a:gd name="connsiteY42" fmla="*/ 381395 h 398932"/>
                <a:gd name="connsiteX43" fmla="*/ 54343 w 478376"/>
                <a:gd name="connsiteY43" fmla="*/ 374410 h 398932"/>
                <a:gd name="connsiteX44" fmla="*/ 45261 w 478376"/>
                <a:gd name="connsiteY44" fmla="*/ 348680 h 398932"/>
                <a:gd name="connsiteX45" fmla="*/ 32856 w 478376"/>
                <a:gd name="connsiteY45" fmla="*/ 332525 h 398932"/>
                <a:gd name="connsiteX46" fmla="*/ 33439 w 478376"/>
                <a:gd name="connsiteY46" fmla="*/ 320778 h 398932"/>
                <a:gd name="connsiteX47" fmla="*/ 23825 w 478376"/>
                <a:gd name="connsiteY47" fmla="*/ 312193 h 398932"/>
                <a:gd name="connsiteX48" fmla="*/ 20590 w 478376"/>
                <a:gd name="connsiteY48" fmla="*/ 301474 h 398932"/>
                <a:gd name="connsiteX49" fmla="*/ 17394 w 478376"/>
                <a:gd name="connsiteY49" fmla="*/ 283249 h 398932"/>
                <a:gd name="connsiteX50" fmla="*/ 2388 w 478376"/>
                <a:gd name="connsiteY50" fmla="*/ 278931 h 398932"/>
                <a:gd name="connsiteX51" fmla="*/ 13081 w 478376"/>
                <a:gd name="connsiteY51" fmla="*/ 264987 h 398932"/>
                <a:gd name="connsiteX52" fmla="*/ 10976 w 478376"/>
                <a:gd name="connsiteY52" fmla="*/ 248921 h 398932"/>
                <a:gd name="connsiteX53" fmla="*/ 20590 w 478376"/>
                <a:gd name="connsiteY53" fmla="*/ 243574 h 398932"/>
                <a:gd name="connsiteX54" fmla="*/ 18472 w 478376"/>
                <a:gd name="connsiteY54" fmla="*/ 228538 h 398932"/>
                <a:gd name="connsiteX55" fmla="*/ 30255 w 478376"/>
                <a:gd name="connsiteY55" fmla="*/ 213513 h 398932"/>
                <a:gd name="connsiteX56" fmla="*/ 34517 w 478376"/>
                <a:gd name="connsiteY56" fmla="*/ 196369 h 398932"/>
                <a:gd name="connsiteX57" fmla="*/ 45261 w 478376"/>
                <a:gd name="connsiteY57" fmla="*/ 193130 h 398932"/>
                <a:gd name="connsiteX58" fmla="*/ 62385 w 478376"/>
                <a:gd name="connsiteY58" fmla="*/ 192050 h 398932"/>
                <a:gd name="connsiteX59" fmla="*/ 62930 w 478376"/>
                <a:gd name="connsiteY59" fmla="*/ 81357 h 398932"/>
                <a:gd name="connsiteX60" fmla="*/ 63463 w 478376"/>
                <a:gd name="connsiteY60" fmla="*/ 67629 h 398932"/>
                <a:gd name="connsiteX61" fmla="*/ 91330 w 478376"/>
                <a:gd name="connsiteY61" fmla="*/ 64390 h 398932"/>
                <a:gd name="connsiteX62" fmla="*/ 91507 w 478376"/>
                <a:gd name="connsiteY62" fmla="*/ 7570 h 398932"/>
                <a:gd name="connsiteX63" fmla="*/ 264888 w 478376"/>
                <a:gd name="connsiteY63" fmla="*/ 4319 h 398932"/>
                <a:gd name="connsiteX64" fmla="*/ 276659 w 478376"/>
                <a:gd name="connsiteY64" fmla="*/ 1 h 398932"/>
                <a:gd name="connsiteX65" fmla="*/ 276659 w 478376"/>
                <a:gd name="connsiteY65" fmla="*/ 5411 h 398932"/>
                <a:gd name="connsiteX66" fmla="*/ 430404 w 478376"/>
                <a:gd name="connsiteY66" fmla="*/ 7481 h 398932"/>
                <a:gd name="connsiteX67" fmla="*/ 438978 w 478376"/>
                <a:gd name="connsiteY67" fmla="*/ 42572 h 398932"/>
                <a:gd name="connsiteX68" fmla="*/ 440462 w 478376"/>
                <a:gd name="connsiteY68" fmla="*/ 71274 h 398932"/>
                <a:gd name="connsiteX69" fmla="*/ 454986 w 478376"/>
                <a:gd name="connsiteY69" fmla="*/ 105017 h 398932"/>
                <a:gd name="connsiteX70" fmla="*/ 462127 w 478376"/>
                <a:gd name="connsiteY70" fmla="*/ 110199 h 398932"/>
                <a:gd name="connsiteX71" fmla="*/ 466528 w 478376"/>
                <a:gd name="connsiteY71" fmla="*/ 113031 h 398932"/>
                <a:gd name="connsiteX72" fmla="*/ 478350 w 478376"/>
                <a:gd name="connsiteY72" fmla="*/ 123966 h 398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</a:cxnLst>
              <a:rect l="l" t="t" r="r" b="b"/>
              <a:pathLst>
                <a:path w="478376" h="398932">
                  <a:moveTo>
                    <a:pt x="478350" y="123966"/>
                  </a:moveTo>
                  <a:cubicBezTo>
                    <a:pt x="475534" y="126442"/>
                    <a:pt x="473086" y="129325"/>
                    <a:pt x="471120" y="132513"/>
                  </a:cubicBezTo>
                  <a:cubicBezTo>
                    <a:pt x="468469" y="137872"/>
                    <a:pt x="466845" y="138952"/>
                    <a:pt x="459336" y="140031"/>
                  </a:cubicBezTo>
                  <a:cubicBezTo>
                    <a:pt x="451840" y="141111"/>
                    <a:pt x="452373" y="138952"/>
                    <a:pt x="449189" y="144845"/>
                  </a:cubicBezTo>
                  <a:cubicBezTo>
                    <a:pt x="445954" y="150737"/>
                    <a:pt x="447032" y="153976"/>
                    <a:pt x="442225" y="155068"/>
                  </a:cubicBezTo>
                  <a:cubicBezTo>
                    <a:pt x="437367" y="156148"/>
                    <a:pt x="433638" y="151284"/>
                    <a:pt x="432014" y="155068"/>
                  </a:cubicBezTo>
                  <a:cubicBezTo>
                    <a:pt x="430404" y="158802"/>
                    <a:pt x="430404" y="166854"/>
                    <a:pt x="428831" y="170587"/>
                  </a:cubicBezTo>
                  <a:cubicBezTo>
                    <a:pt x="427207" y="174359"/>
                    <a:pt x="423427" y="188850"/>
                    <a:pt x="421322" y="193663"/>
                  </a:cubicBezTo>
                  <a:cubicBezTo>
                    <a:pt x="418202" y="201296"/>
                    <a:pt x="417085" y="209602"/>
                    <a:pt x="418087" y="217793"/>
                  </a:cubicBezTo>
                  <a:cubicBezTo>
                    <a:pt x="418874" y="222315"/>
                    <a:pt x="419127" y="226925"/>
                    <a:pt x="418848" y="231509"/>
                  </a:cubicBezTo>
                  <a:cubicBezTo>
                    <a:pt x="418734" y="233922"/>
                    <a:pt x="418481" y="236323"/>
                    <a:pt x="418087" y="238710"/>
                  </a:cubicBezTo>
                  <a:cubicBezTo>
                    <a:pt x="417542" y="241415"/>
                    <a:pt x="407927" y="276277"/>
                    <a:pt x="407394" y="279477"/>
                  </a:cubicBezTo>
                  <a:cubicBezTo>
                    <a:pt x="406849" y="282716"/>
                    <a:pt x="392376" y="279477"/>
                    <a:pt x="387569" y="289688"/>
                  </a:cubicBezTo>
                  <a:cubicBezTo>
                    <a:pt x="382762" y="299861"/>
                    <a:pt x="374175" y="326683"/>
                    <a:pt x="373097" y="330455"/>
                  </a:cubicBezTo>
                  <a:cubicBezTo>
                    <a:pt x="372018" y="334189"/>
                    <a:pt x="370940" y="336894"/>
                    <a:pt x="365600" y="334735"/>
                  </a:cubicBezTo>
                  <a:cubicBezTo>
                    <a:pt x="360247" y="332576"/>
                    <a:pt x="358636" y="335815"/>
                    <a:pt x="356468" y="341161"/>
                  </a:cubicBezTo>
                  <a:cubicBezTo>
                    <a:pt x="354362" y="346521"/>
                    <a:pt x="352206" y="362091"/>
                    <a:pt x="351128" y="366371"/>
                  </a:cubicBezTo>
                  <a:cubicBezTo>
                    <a:pt x="350049" y="370689"/>
                    <a:pt x="353284" y="375502"/>
                    <a:pt x="349009" y="374422"/>
                  </a:cubicBezTo>
                  <a:cubicBezTo>
                    <a:pt x="344696" y="373343"/>
                    <a:pt x="345242" y="369609"/>
                    <a:pt x="345242" y="363716"/>
                  </a:cubicBezTo>
                  <a:cubicBezTo>
                    <a:pt x="346587" y="357379"/>
                    <a:pt x="344062" y="350839"/>
                    <a:pt x="338811" y="347067"/>
                  </a:cubicBezTo>
                  <a:cubicBezTo>
                    <a:pt x="331302" y="341161"/>
                    <a:pt x="323260" y="342787"/>
                    <a:pt x="322233" y="335268"/>
                  </a:cubicBezTo>
                  <a:cubicBezTo>
                    <a:pt x="321155" y="327763"/>
                    <a:pt x="322233" y="320778"/>
                    <a:pt x="321687" y="312726"/>
                  </a:cubicBezTo>
                  <a:cubicBezTo>
                    <a:pt x="321155" y="304674"/>
                    <a:pt x="325417" y="296660"/>
                    <a:pt x="320609" y="295047"/>
                  </a:cubicBezTo>
                  <a:cubicBezTo>
                    <a:pt x="315764" y="293422"/>
                    <a:pt x="315764" y="293422"/>
                    <a:pt x="310944" y="296660"/>
                  </a:cubicBezTo>
                  <a:cubicBezTo>
                    <a:pt x="306631" y="299607"/>
                    <a:pt x="301659" y="301436"/>
                    <a:pt x="296484" y="302020"/>
                  </a:cubicBezTo>
                  <a:cubicBezTo>
                    <a:pt x="291677" y="302566"/>
                    <a:pt x="298095" y="302020"/>
                    <a:pt x="298640" y="310072"/>
                  </a:cubicBezTo>
                  <a:cubicBezTo>
                    <a:pt x="299173" y="318085"/>
                    <a:pt x="299719" y="332576"/>
                    <a:pt x="294366" y="337974"/>
                  </a:cubicBezTo>
                  <a:cubicBezTo>
                    <a:pt x="288975" y="343320"/>
                    <a:pt x="284168" y="354572"/>
                    <a:pt x="275086" y="357811"/>
                  </a:cubicBezTo>
                  <a:cubicBezTo>
                    <a:pt x="265966" y="361011"/>
                    <a:pt x="260080" y="367450"/>
                    <a:pt x="254182" y="365825"/>
                  </a:cubicBezTo>
                  <a:cubicBezTo>
                    <a:pt x="248259" y="364250"/>
                    <a:pt x="241828" y="347067"/>
                    <a:pt x="234369" y="350839"/>
                  </a:cubicBezTo>
                  <a:cubicBezTo>
                    <a:pt x="226860" y="354572"/>
                    <a:pt x="226860" y="359386"/>
                    <a:pt x="221470" y="361545"/>
                  </a:cubicBezTo>
                  <a:cubicBezTo>
                    <a:pt x="216130" y="363704"/>
                    <a:pt x="202735" y="366904"/>
                    <a:pt x="201111" y="371222"/>
                  </a:cubicBezTo>
                  <a:cubicBezTo>
                    <a:pt x="199044" y="377750"/>
                    <a:pt x="192233" y="381509"/>
                    <a:pt x="185612" y="379769"/>
                  </a:cubicBezTo>
                  <a:cubicBezTo>
                    <a:pt x="176492" y="377661"/>
                    <a:pt x="182377" y="366358"/>
                    <a:pt x="173841" y="367984"/>
                  </a:cubicBezTo>
                  <a:cubicBezTo>
                    <a:pt x="163122" y="371603"/>
                    <a:pt x="151884" y="373406"/>
                    <a:pt x="140582" y="373343"/>
                  </a:cubicBezTo>
                  <a:cubicBezTo>
                    <a:pt x="132046" y="371222"/>
                    <a:pt x="120225" y="347600"/>
                    <a:pt x="114872" y="347054"/>
                  </a:cubicBezTo>
                  <a:cubicBezTo>
                    <a:pt x="109532" y="346521"/>
                    <a:pt x="97748" y="338469"/>
                    <a:pt x="94514" y="350305"/>
                  </a:cubicBezTo>
                  <a:cubicBezTo>
                    <a:pt x="92814" y="359729"/>
                    <a:pt x="88755" y="368581"/>
                    <a:pt x="82743" y="376035"/>
                  </a:cubicBezTo>
                  <a:cubicBezTo>
                    <a:pt x="76312" y="383554"/>
                    <a:pt x="69031" y="397854"/>
                    <a:pt x="67458" y="398934"/>
                  </a:cubicBezTo>
                  <a:cubicBezTo>
                    <a:pt x="65099" y="395479"/>
                    <a:pt x="61230" y="393333"/>
                    <a:pt x="57032" y="393180"/>
                  </a:cubicBezTo>
                  <a:cubicBezTo>
                    <a:pt x="50068" y="392152"/>
                    <a:pt x="47379" y="393714"/>
                    <a:pt x="47379" y="391606"/>
                  </a:cubicBezTo>
                  <a:cubicBezTo>
                    <a:pt x="47379" y="389447"/>
                    <a:pt x="46834" y="387821"/>
                    <a:pt x="50068" y="386741"/>
                  </a:cubicBezTo>
                  <a:cubicBezTo>
                    <a:pt x="53265" y="385662"/>
                    <a:pt x="48457" y="386208"/>
                    <a:pt x="48990" y="381395"/>
                  </a:cubicBezTo>
                  <a:cubicBezTo>
                    <a:pt x="49536" y="376581"/>
                    <a:pt x="52225" y="380849"/>
                    <a:pt x="54343" y="374410"/>
                  </a:cubicBezTo>
                  <a:cubicBezTo>
                    <a:pt x="56499" y="367984"/>
                    <a:pt x="53265" y="359386"/>
                    <a:pt x="45261" y="348680"/>
                  </a:cubicBezTo>
                  <a:cubicBezTo>
                    <a:pt x="38475" y="339675"/>
                    <a:pt x="38932" y="334049"/>
                    <a:pt x="32856" y="332525"/>
                  </a:cubicBezTo>
                  <a:cubicBezTo>
                    <a:pt x="33300" y="328626"/>
                    <a:pt x="33503" y="324702"/>
                    <a:pt x="33439" y="320778"/>
                  </a:cubicBezTo>
                  <a:cubicBezTo>
                    <a:pt x="33439" y="310072"/>
                    <a:pt x="32412" y="317590"/>
                    <a:pt x="23825" y="312193"/>
                  </a:cubicBezTo>
                  <a:cubicBezTo>
                    <a:pt x="15237" y="306833"/>
                    <a:pt x="28099" y="305754"/>
                    <a:pt x="20590" y="301474"/>
                  </a:cubicBezTo>
                  <a:cubicBezTo>
                    <a:pt x="13081" y="297206"/>
                    <a:pt x="20590" y="290768"/>
                    <a:pt x="17394" y="283249"/>
                  </a:cubicBezTo>
                  <a:cubicBezTo>
                    <a:pt x="14159" y="275744"/>
                    <a:pt x="9898" y="283249"/>
                    <a:pt x="2388" y="278931"/>
                  </a:cubicBezTo>
                  <a:cubicBezTo>
                    <a:pt x="-5108" y="274664"/>
                    <a:pt x="6663" y="268225"/>
                    <a:pt x="13081" y="264987"/>
                  </a:cubicBezTo>
                  <a:cubicBezTo>
                    <a:pt x="19512" y="261786"/>
                    <a:pt x="10976" y="252122"/>
                    <a:pt x="10976" y="248921"/>
                  </a:cubicBezTo>
                  <a:cubicBezTo>
                    <a:pt x="10976" y="245683"/>
                    <a:pt x="14159" y="244603"/>
                    <a:pt x="20590" y="243574"/>
                  </a:cubicBezTo>
                  <a:cubicBezTo>
                    <a:pt x="27021" y="242495"/>
                    <a:pt x="17394" y="234977"/>
                    <a:pt x="18472" y="228538"/>
                  </a:cubicBezTo>
                  <a:cubicBezTo>
                    <a:pt x="19512" y="222111"/>
                    <a:pt x="22747" y="219940"/>
                    <a:pt x="30255" y="213513"/>
                  </a:cubicBezTo>
                  <a:cubicBezTo>
                    <a:pt x="37765" y="207075"/>
                    <a:pt x="31334" y="201728"/>
                    <a:pt x="34517" y="196369"/>
                  </a:cubicBezTo>
                  <a:cubicBezTo>
                    <a:pt x="37765" y="190971"/>
                    <a:pt x="38830" y="194209"/>
                    <a:pt x="45261" y="193130"/>
                  </a:cubicBezTo>
                  <a:cubicBezTo>
                    <a:pt x="51692" y="192050"/>
                    <a:pt x="58110" y="195289"/>
                    <a:pt x="62385" y="192050"/>
                  </a:cubicBezTo>
                  <a:cubicBezTo>
                    <a:pt x="65847" y="189434"/>
                    <a:pt x="62968" y="113349"/>
                    <a:pt x="62930" y="81357"/>
                  </a:cubicBezTo>
                  <a:cubicBezTo>
                    <a:pt x="62740" y="76773"/>
                    <a:pt x="62917" y="72188"/>
                    <a:pt x="63463" y="67629"/>
                  </a:cubicBezTo>
                  <a:cubicBezTo>
                    <a:pt x="65619" y="61202"/>
                    <a:pt x="90252" y="67629"/>
                    <a:pt x="91330" y="64390"/>
                  </a:cubicBezTo>
                  <a:cubicBezTo>
                    <a:pt x="92180" y="61926"/>
                    <a:pt x="91064" y="29160"/>
                    <a:pt x="91507" y="7570"/>
                  </a:cubicBezTo>
                  <a:cubicBezTo>
                    <a:pt x="91507" y="7570"/>
                    <a:pt x="250948" y="6478"/>
                    <a:pt x="264888" y="4319"/>
                  </a:cubicBezTo>
                  <a:cubicBezTo>
                    <a:pt x="273868" y="2922"/>
                    <a:pt x="276164" y="1081"/>
                    <a:pt x="276659" y="1"/>
                  </a:cubicBezTo>
                  <a:lnTo>
                    <a:pt x="276659" y="5411"/>
                  </a:lnTo>
                  <a:cubicBezTo>
                    <a:pt x="276659" y="5411"/>
                    <a:pt x="399429" y="7075"/>
                    <a:pt x="430404" y="7481"/>
                  </a:cubicBezTo>
                  <a:cubicBezTo>
                    <a:pt x="435325" y="18569"/>
                    <a:pt x="438230" y="30456"/>
                    <a:pt x="438978" y="42572"/>
                  </a:cubicBezTo>
                  <a:cubicBezTo>
                    <a:pt x="440018" y="52071"/>
                    <a:pt x="439701" y="61736"/>
                    <a:pt x="440462" y="71274"/>
                  </a:cubicBezTo>
                  <a:cubicBezTo>
                    <a:pt x="440538" y="84024"/>
                    <a:pt x="445777" y="96204"/>
                    <a:pt x="454986" y="105017"/>
                  </a:cubicBezTo>
                  <a:cubicBezTo>
                    <a:pt x="457180" y="106986"/>
                    <a:pt x="459577" y="108713"/>
                    <a:pt x="462127" y="110199"/>
                  </a:cubicBezTo>
                  <a:cubicBezTo>
                    <a:pt x="463649" y="111101"/>
                    <a:pt x="465133" y="112040"/>
                    <a:pt x="466528" y="113031"/>
                  </a:cubicBezTo>
                  <a:cubicBezTo>
                    <a:pt x="470942" y="116130"/>
                    <a:pt x="474912" y="119813"/>
                    <a:pt x="478350" y="123966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0" name="Vrije vorm 269">
              <a:extLst>
                <a:ext uri="{FF2B5EF4-FFF2-40B4-BE49-F238E27FC236}">
                  <a16:creationId xmlns:a16="http://schemas.microsoft.com/office/drawing/2014/main" id="{9B4A14B9-3FD2-7B46-838A-BD0EF8EFAB42}"/>
                </a:ext>
              </a:extLst>
            </p:cNvPr>
            <p:cNvSpPr/>
            <p:nvPr/>
          </p:nvSpPr>
          <p:spPr>
            <a:xfrm>
              <a:off x="6858453" y="2916427"/>
              <a:ext cx="1579863" cy="913409"/>
            </a:xfrm>
            <a:custGeom>
              <a:avLst/>
              <a:gdLst>
                <a:gd name="connsiteX0" fmla="*/ 563976 w 1579863"/>
                <a:gd name="connsiteY0" fmla="*/ 790348 h 913409"/>
                <a:gd name="connsiteX1" fmla="*/ 565320 w 1579863"/>
                <a:gd name="connsiteY1" fmla="*/ 787427 h 913409"/>
                <a:gd name="connsiteX2" fmla="*/ 563976 w 1579863"/>
                <a:gd name="connsiteY2" fmla="*/ 790348 h 913409"/>
                <a:gd name="connsiteX3" fmla="*/ 596473 w 1579863"/>
                <a:gd name="connsiteY3" fmla="*/ 218187 h 913409"/>
                <a:gd name="connsiteX4" fmla="*/ 597323 w 1579863"/>
                <a:gd name="connsiteY4" fmla="*/ 218276 h 913409"/>
                <a:gd name="connsiteX5" fmla="*/ 596473 w 1579863"/>
                <a:gd name="connsiteY5" fmla="*/ 218187 h 913409"/>
                <a:gd name="connsiteX6" fmla="*/ 28602 w 1579863"/>
                <a:gd name="connsiteY6" fmla="*/ 763 h 913409"/>
                <a:gd name="connsiteX7" fmla="*/ 26902 w 1579863"/>
                <a:gd name="connsiteY7" fmla="*/ 1 h 913409"/>
                <a:gd name="connsiteX8" fmla="*/ 28602 w 1579863"/>
                <a:gd name="connsiteY8" fmla="*/ 763 h 913409"/>
                <a:gd name="connsiteX9" fmla="*/ 596473 w 1579863"/>
                <a:gd name="connsiteY9" fmla="*/ 218187 h 913409"/>
                <a:gd name="connsiteX10" fmla="*/ 597323 w 1579863"/>
                <a:gd name="connsiteY10" fmla="*/ 218276 h 913409"/>
                <a:gd name="connsiteX11" fmla="*/ 596473 w 1579863"/>
                <a:gd name="connsiteY11" fmla="*/ 218187 h 913409"/>
                <a:gd name="connsiteX12" fmla="*/ 648149 w 1579863"/>
                <a:gd name="connsiteY12" fmla="*/ 151322 h 913409"/>
                <a:gd name="connsiteX13" fmla="*/ 655340 w 1579863"/>
                <a:gd name="connsiteY13" fmla="*/ 142140 h 913409"/>
                <a:gd name="connsiteX14" fmla="*/ 648149 w 1579863"/>
                <a:gd name="connsiteY14" fmla="*/ 151322 h 913409"/>
                <a:gd name="connsiteX15" fmla="*/ 1579751 w 1579863"/>
                <a:gd name="connsiteY15" fmla="*/ 913411 h 913409"/>
                <a:gd name="connsiteX16" fmla="*/ 1579751 w 1579863"/>
                <a:gd name="connsiteY16" fmla="*/ 913411 h 913409"/>
                <a:gd name="connsiteX17" fmla="*/ 841074 w 1579863"/>
                <a:gd name="connsiteY17" fmla="*/ 408738 h 913409"/>
                <a:gd name="connsiteX18" fmla="*/ 840986 w 1579863"/>
                <a:gd name="connsiteY18" fmla="*/ 408827 h 913409"/>
                <a:gd name="connsiteX19" fmla="*/ 841214 w 1579863"/>
                <a:gd name="connsiteY19" fmla="*/ 408789 h 913409"/>
                <a:gd name="connsiteX20" fmla="*/ 841074 w 1579863"/>
                <a:gd name="connsiteY20" fmla="*/ 408738 h 913409"/>
                <a:gd name="connsiteX21" fmla="*/ 1228095 w 1579863"/>
                <a:gd name="connsiteY21" fmla="*/ 660135 h 913409"/>
                <a:gd name="connsiteX22" fmla="*/ 1229667 w 1579863"/>
                <a:gd name="connsiteY22" fmla="*/ 663106 h 913409"/>
                <a:gd name="connsiteX23" fmla="*/ 1228095 w 1579863"/>
                <a:gd name="connsiteY23" fmla="*/ 660135 h 913409"/>
                <a:gd name="connsiteX24" fmla="*/ 596473 w 1579863"/>
                <a:gd name="connsiteY24" fmla="*/ 218187 h 913409"/>
                <a:gd name="connsiteX25" fmla="*/ 597323 w 1579863"/>
                <a:gd name="connsiteY25" fmla="*/ 218276 h 913409"/>
                <a:gd name="connsiteX26" fmla="*/ 596473 w 1579863"/>
                <a:gd name="connsiteY26" fmla="*/ 218187 h 913409"/>
                <a:gd name="connsiteX27" fmla="*/ -26 w 1579863"/>
                <a:gd name="connsiteY27" fmla="*/ 266917 h 913409"/>
                <a:gd name="connsiteX28" fmla="*/ 1369 w 1579863"/>
                <a:gd name="connsiteY28" fmla="*/ 267235 h 913409"/>
                <a:gd name="connsiteX29" fmla="*/ -26 w 1579863"/>
                <a:gd name="connsiteY29" fmla="*/ 266917 h 913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579863" h="913409">
                  <a:moveTo>
                    <a:pt x="563976" y="790348"/>
                  </a:moveTo>
                  <a:cubicBezTo>
                    <a:pt x="564559" y="791160"/>
                    <a:pt x="565193" y="790576"/>
                    <a:pt x="565320" y="787427"/>
                  </a:cubicBezTo>
                  <a:cubicBezTo>
                    <a:pt x="564965" y="788062"/>
                    <a:pt x="564509" y="789090"/>
                    <a:pt x="563976" y="790348"/>
                  </a:cubicBezTo>
                  <a:close/>
                  <a:moveTo>
                    <a:pt x="596473" y="218187"/>
                  </a:moveTo>
                  <a:cubicBezTo>
                    <a:pt x="596473" y="218225"/>
                    <a:pt x="596689" y="218276"/>
                    <a:pt x="597323" y="218276"/>
                  </a:cubicBezTo>
                  <a:cubicBezTo>
                    <a:pt x="597056" y="218136"/>
                    <a:pt x="596752" y="218111"/>
                    <a:pt x="596473" y="218187"/>
                  </a:cubicBezTo>
                  <a:close/>
                  <a:moveTo>
                    <a:pt x="28602" y="763"/>
                  </a:moveTo>
                  <a:cubicBezTo>
                    <a:pt x="28019" y="496"/>
                    <a:pt x="27435" y="268"/>
                    <a:pt x="26902" y="1"/>
                  </a:cubicBezTo>
                  <a:cubicBezTo>
                    <a:pt x="28742" y="2694"/>
                    <a:pt x="28830" y="2160"/>
                    <a:pt x="28602" y="763"/>
                  </a:cubicBezTo>
                  <a:close/>
                  <a:moveTo>
                    <a:pt x="596473" y="218187"/>
                  </a:moveTo>
                  <a:cubicBezTo>
                    <a:pt x="596473" y="218225"/>
                    <a:pt x="596689" y="218276"/>
                    <a:pt x="597323" y="218276"/>
                  </a:cubicBezTo>
                  <a:cubicBezTo>
                    <a:pt x="597056" y="218136"/>
                    <a:pt x="596752" y="218111"/>
                    <a:pt x="596473" y="218187"/>
                  </a:cubicBezTo>
                  <a:close/>
                  <a:moveTo>
                    <a:pt x="648149" y="151322"/>
                  </a:moveTo>
                  <a:lnTo>
                    <a:pt x="655340" y="142140"/>
                  </a:lnTo>
                  <a:cubicBezTo>
                    <a:pt x="650394" y="142724"/>
                    <a:pt x="648998" y="145111"/>
                    <a:pt x="648149" y="151322"/>
                  </a:cubicBezTo>
                  <a:close/>
                  <a:moveTo>
                    <a:pt x="1579751" y="913411"/>
                  </a:moveTo>
                  <a:cubicBezTo>
                    <a:pt x="1580106" y="910617"/>
                    <a:pt x="1579218" y="911658"/>
                    <a:pt x="1579751" y="913411"/>
                  </a:cubicBezTo>
                  <a:close/>
                  <a:moveTo>
                    <a:pt x="841074" y="408738"/>
                  </a:moveTo>
                  <a:cubicBezTo>
                    <a:pt x="841024" y="408738"/>
                    <a:pt x="840986" y="408738"/>
                    <a:pt x="840986" y="408827"/>
                  </a:cubicBezTo>
                  <a:cubicBezTo>
                    <a:pt x="841062" y="408802"/>
                    <a:pt x="841138" y="408789"/>
                    <a:pt x="841214" y="408789"/>
                  </a:cubicBezTo>
                  <a:cubicBezTo>
                    <a:pt x="841176" y="408751"/>
                    <a:pt x="841126" y="408738"/>
                    <a:pt x="841074" y="408738"/>
                  </a:cubicBezTo>
                  <a:close/>
                  <a:moveTo>
                    <a:pt x="1228095" y="660135"/>
                  </a:moveTo>
                  <a:cubicBezTo>
                    <a:pt x="1228387" y="661239"/>
                    <a:pt x="1228919" y="662255"/>
                    <a:pt x="1229667" y="663106"/>
                  </a:cubicBezTo>
                  <a:cubicBezTo>
                    <a:pt x="1229172" y="662205"/>
                    <a:pt x="1228640" y="661354"/>
                    <a:pt x="1228095" y="660135"/>
                  </a:cubicBezTo>
                  <a:close/>
                  <a:moveTo>
                    <a:pt x="596473" y="218187"/>
                  </a:moveTo>
                  <a:cubicBezTo>
                    <a:pt x="596473" y="218225"/>
                    <a:pt x="596689" y="218276"/>
                    <a:pt x="597323" y="218276"/>
                  </a:cubicBezTo>
                  <a:cubicBezTo>
                    <a:pt x="597056" y="218136"/>
                    <a:pt x="596752" y="218111"/>
                    <a:pt x="596473" y="218187"/>
                  </a:cubicBezTo>
                  <a:close/>
                  <a:moveTo>
                    <a:pt x="-26" y="266917"/>
                  </a:moveTo>
                  <a:cubicBezTo>
                    <a:pt x="608" y="268403"/>
                    <a:pt x="1369" y="267235"/>
                    <a:pt x="1369" y="267235"/>
                  </a:cubicBezTo>
                  <a:cubicBezTo>
                    <a:pt x="1369" y="267235"/>
                    <a:pt x="786" y="267095"/>
                    <a:pt x="-26" y="266917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1" name="Vrije vorm 270">
              <a:extLst>
                <a:ext uri="{FF2B5EF4-FFF2-40B4-BE49-F238E27FC236}">
                  <a16:creationId xmlns:a16="http://schemas.microsoft.com/office/drawing/2014/main" id="{CC4C3B9D-D780-554C-B5C1-82DBB3177366}"/>
                </a:ext>
              </a:extLst>
            </p:cNvPr>
            <p:cNvSpPr/>
            <p:nvPr/>
          </p:nvSpPr>
          <p:spPr>
            <a:xfrm>
              <a:off x="7576538" y="2596240"/>
              <a:ext cx="1732465" cy="1215946"/>
            </a:xfrm>
            <a:custGeom>
              <a:avLst/>
              <a:gdLst>
                <a:gd name="connsiteX0" fmla="*/ 1732333 w 1732465"/>
                <a:gd name="connsiteY0" fmla="*/ 259672 h 1215946"/>
                <a:gd name="connsiteX1" fmla="*/ 1730088 w 1732465"/>
                <a:gd name="connsiteY1" fmla="*/ 238425 h 1215946"/>
                <a:gd name="connsiteX2" fmla="*/ 1718812 w 1732465"/>
                <a:gd name="connsiteY2" fmla="*/ 235504 h 1215946"/>
                <a:gd name="connsiteX3" fmla="*/ 1701993 w 1732465"/>
                <a:gd name="connsiteY3" fmla="*/ 239466 h 1215946"/>
                <a:gd name="connsiteX4" fmla="*/ 1694852 w 1732465"/>
                <a:gd name="connsiteY4" fmla="*/ 245727 h 1215946"/>
                <a:gd name="connsiteX5" fmla="*/ 1685009 w 1732465"/>
                <a:gd name="connsiteY5" fmla="*/ 246312 h 1215946"/>
                <a:gd name="connsiteX6" fmla="*/ 1678007 w 1732465"/>
                <a:gd name="connsiteY6" fmla="*/ 252916 h 1215946"/>
                <a:gd name="connsiteX7" fmla="*/ 1667390 w 1732465"/>
                <a:gd name="connsiteY7" fmla="*/ 261831 h 1215946"/>
                <a:gd name="connsiteX8" fmla="*/ 1657104 w 1732465"/>
                <a:gd name="connsiteY8" fmla="*/ 261831 h 1215946"/>
                <a:gd name="connsiteX9" fmla="*/ 1644115 w 1732465"/>
                <a:gd name="connsiteY9" fmla="*/ 264346 h 1215946"/>
                <a:gd name="connsiteX10" fmla="*/ 1636301 w 1732465"/>
                <a:gd name="connsiteY10" fmla="*/ 261196 h 1215946"/>
                <a:gd name="connsiteX11" fmla="*/ 1625824 w 1732465"/>
                <a:gd name="connsiteY11" fmla="*/ 257335 h 1215946"/>
                <a:gd name="connsiteX12" fmla="*/ 1622095 w 1732465"/>
                <a:gd name="connsiteY12" fmla="*/ 239466 h 1215946"/>
                <a:gd name="connsiteX13" fmla="*/ 1617782 w 1732465"/>
                <a:gd name="connsiteY13" fmla="*/ 226906 h 1215946"/>
                <a:gd name="connsiteX14" fmla="*/ 1618721 w 1732465"/>
                <a:gd name="connsiteY14" fmla="*/ 217330 h 1215946"/>
                <a:gd name="connsiteX15" fmla="*/ 1609741 w 1732465"/>
                <a:gd name="connsiteY15" fmla="*/ 211755 h 1215946"/>
                <a:gd name="connsiteX16" fmla="*/ 1600075 w 1732465"/>
                <a:gd name="connsiteY16" fmla="*/ 206078 h 1215946"/>
                <a:gd name="connsiteX17" fmla="*/ 1591856 w 1732465"/>
                <a:gd name="connsiteY17" fmla="*/ 195372 h 1215946"/>
                <a:gd name="connsiteX18" fmla="*/ 1582140 w 1732465"/>
                <a:gd name="connsiteY18" fmla="*/ 187180 h 1215946"/>
                <a:gd name="connsiteX19" fmla="*/ 1567807 w 1732465"/>
                <a:gd name="connsiteY19" fmla="*/ 188704 h 1215946"/>
                <a:gd name="connsiteX20" fmla="*/ 1560526 w 1732465"/>
                <a:gd name="connsiteY20" fmla="*/ 182367 h 1215946"/>
                <a:gd name="connsiteX21" fmla="*/ 1546105 w 1732465"/>
                <a:gd name="connsiteY21" fmla="*/ 183040 h 1215946"/>
                <a:gd name="connsiteX22" fmla="*/ 1538202 w 1732465"/>
                <a:gd name="connsiteY22" fmla="*/ 178354 h 1215946"/>
                <a:gd name="connsiteX23" fmla="*/ 1513341 w 1732465"/>
                <a:gd name="connsiteY23" fmla="*/ 106091 h 1215946"/>
                <a:gd name="connsiteX24" fmla="*/ 1508001 w 1732465"/>
                <a:gd name="connsiteY24" fmla="*/ 90432 h 1215946"/>
                <a:gd name="connsiteX25" fmla="*/ 1494251 w 1732465"/>
                <a:gd name="connsiteY25" fmla="*/ 49175 h 1215946"/>
                <a:gd name="connsiteX26" fmla="*/ 1489748 w 1732465"/>
                <a:gd name="connsiteY26" fmla="*/ 40131 h 1215946"/>
                <a:gd name="connsiteX27" fmla="*/ 1481301 w 1732465"/>
                <a:gd name="connsiteY27" fmla="*/ 30098 h 1215946"/>
                <a:gd name="connsiteX28" fmla="*/ 1476227 w 1732465"/>
                <a:gd name="connsiteY28" fmla="*/ 21189 h 1215946"/>
                <a:gd name="connsiteX29" fmla="*/ 1465268 w 1732465"/>
                <a:gd name="connsiteY29" fmla="*/ 18759 h 1215946"/>
                <a:gd name="connsiteX30" fmla="*/ 1455780 w 1732465"/>
                <a:gd name="connsiteY30" fmla="*/ 17274 h 1215946"/>
                <a:gd name="connsiteX31" fmla="*/ 1447650 w 1732465"/>
                <a:gd name="connsiteY31" fmla="*/ 18759 h 1215946"/>
                <a:gd name="connsiteX32" fmla="*/ 1440686 w 1732465"/>
                <a:gd name="connsiteY32" fmla="*/ 13179 h 1215946"/>
                <a:gd name="connsiteX33" fmla="*/ 1431300 w 1732465"/>
                <a:gd name="connsiteY33" fmla="*/ 6880 h 1215946"/>
                <a:gd name="connsiteX34" fmla="*/ 1425630 w 1732465"/>
                <a:gd name="connsiteY34" fmla="*/ 2785 h 1215946"/>
                <a:gd name="connsiteX35" fmla="*/ 1416370 w 1732465"/>
                <a:gd name="connsiteY35" fmla="*/ 221 h 1215946"/>
                <a:gd name="connsiteX36" fmla="*/ 1406895 w 1732465"/>
                <a:gd name="connsiteY36" fmla="*/ 221 h 1215946"/>
                <a:gd name="connsiteX37" fmla="*/ 1398169 w 1732465"/>
                <a:gd name="connsiteY37" fmla="*/ 4406 h 1215946"/>
                <a:gd name="connsiteX38" fmla="*/ 1387881 w 1732465"/>
                <a:gd name="connsiteY38" fmla="*/ 5530 h 1215946"/>
                <a:gd name="connsiteX39" fmla="*/ 1380106 w 1732465"/>
                <a:gd name="connsiteY39" fmla="*/ 2785 h 1215946"/>
                <a:gd name="connsiteX40" fmla="*/ 1364962 w 1732465"/>
                <a:gd name="connsiteY40" fmla="*/ 9084 h 1215946"/>
                <a:gd name="connsiteX41" fmla="*/ 1356830 w 1732465"/>
                <a:gd name="connsiteY41" fmla="*/ 10525 h 1215946"/>
                <a:gd name="connsiteX42" fmla="*/ 1348916 w 1732465"/>
                <a:gd name="connsiteY42" fmla="*/ 12234 h 1215946"/>
                <a:gd name="connsiteX43" fmla="*/ 1338807 w 1732465"/>
                <a:gd name="connsiteY43" fmla="*/ 17187 h 1215946"/>
                <a:gd name="connsiteX44" fmla="*/ 1322444 w 1732465"/>
                <a:gd name="connsiteY44" fmla="*/ 34915 h 1215946"/>
                <a:gd name="connsiteX45" fmla="*/ 1320059 w 1732465"/>
                <a:gd name="connsiteY45" fmla="*/ 42474 h 1215946"/>
                <a:gd name="connsiteX46" fmla="*/ 1331881 w 1732465"/>
                <a:gd name="connsiteY46" fmla="*/ 45039 h 1215946"/>
                <a:gd name="connsiteX47" fmla="*/ 1338312 w 1732465"/>
                <a:gd name="connsiteY47" fmla="*/ 54803 h 1215946"/>
                <a:gd name="connsiteX48" fmla="*/ 1337234 w 1732465"/>
                <a:gd name="connsiteY48" fmla="*/ 69832 h 1215946"/>
                <a:gd name="connsiteX49" fmla="*/ 1326934 w 1732465"/>
                <a:gd name="connsiteY49" fmla="*/ 78697 h 1215946"/>
                <a:gd name="connsiteX50" fmla="*/ 1316558 w 1732465"/>
                <a:gd name="connsiteY50" fmla="*/ 91829 h 1215946"/>
                <a:gd name="connsiteX51" fmla="*/ 1307476 w 1732465"/>
                <a:gd name="connsiteY51" fmla="*/ 114333 h 1215946"/>
                <a:gd name="connsiteX52" fmla="*/ 1300868 w 1732465"/>
                <a:gd name="connsiteY52" fmla="*/ 133091 h 1215946"/>
                <a:gd name="connsiteX53" fmla="*/ 1294488 w 1732465"/>
                <a:gd name="connsiteY53" fmla="*/ 145474 h 1215946"/>
                <a:gd name="connsiteX54" fmla="*/ 1298166 w 1732465"/>
                <a:gd name="connsiteY54" fmla="*/ 151506 h 1215946"/>
                <a:gd name="connsiteX55" fmla="*/ 1293182 w 1732465"/>
                <a:gd name="connsiteY55" fmla="*/ 163114 h 1215946"/>
                <a:gd name="connsiteX56" fmla="*/ 1279749 w 1732465"/>
                <a:gd name="connsiteY56" fmla="*/ 167343 h 1215946"/>
                <a:gd name="connsiteX57" fmla="*/ 1261864 w 1732465"/>
                <a:gd name="connsiteY57" fmla="*/ 178367 h 1215946"/>
                <a:gd name="connsiteX58" fmla="*/ 1243523 w 1732465"/>
                <a:gd name="connsiteY58" fmla="*/ 181605 h 1215946"/>
                <a:gd name="connsiteX59" fmla="*/ 1231701 w 1732465"/>
                <a:gd name="connsiteY59" fmla="*/ 175662 h 1215946"/>
                <a:gd name="connsiteX60" fmla="*/ 1223203 w 1732465"/>
                <a:gd name="connsiteY60" fmla="*/ 173096 h 1215946"/>
                <a:gd name="connsiteX61" fmla="*/ 1219334 w 1732465"/>
                <a:gd name="connsiteY61" fmla="*/ 184120 h 1215946"/>
                <a:gd name="connsiteX62" fmla="*/ 1210721 w 1732465"/>
                <a:gd name="connsiteY62" fmla="*/ 201531 h 1215946"/>
                <a:gd name="connsiteX63" fmla="*/ 1195209 w 1732465"/>
                <a:gd name="connsiteY63" fmla="*/ 235466 h 1215946"/>
                <a:gd name="connsiteX64" fmla="*/ 1197948 w 1732465"/>
                <a:gd name="connsiteY64" fmla="*/ 263406 h 1215946"/>
                <a:gd name="connsiteX65" fmla="*/ 1208641 w 1732465"/>
                <a:gd name="connsiteY65" fmla="*/ 257056 h 1215946"/>
                <a:gd name="connsiteX66" fmla="*/ 1217153 w 1732465"/>
                <a:gd name="connsiteY66" fmla="*/ 257056 h 1215946"/>
                <a:gd name="connsiteX67" fmla="*/ 1231308 w 1732465"/>
                <a:gd name="connsiteY67" fmla="*/ 256472 h 1215946"/>
                <a:gd name="connsiteX68" fmla="*/ 1242813 w 1732465"/>
                <a:gd name="connsiteY68" fmla="*/ 263393 h 1215946"/>
                <a:gd name="connsiteX69" fmla="*/ 1255662 w 1732465"/>
                <a:gd name="connsiteY69" fmla="*/ 249893 h 1215946"/>
                <a:gd name="connsiteX70" fmla="*/ 1266088 w 1732465"/>
                <a:gd name="connsiteY70" fmla="*/ 248902 h 1215946"/>
                <a:gd name="connsiteX71" fmla="*/ 1273864 w 1732465"/>
                <a:gd name="connsiteY71" fmla="*/ 252954 h 1215946"/>
                <a:gd name="connsiteX72" fmla="*/ 1303025 w 1732465"/>
                <a:gd name="connsiteY72" fmla="*/ 272042 h 1215946"/>
                <a:gd name="connsiteX73" fmla="*/ 1312956 w 1732465"/>
                <a:gd name="connsiteY73" fmla="*/ 306408 h 1215946"/>
                <a:gd name="connsiteX74" fmla="*/ 1298268 w 1732465"/>
                <a:gd name="connsiteY74" fmla="*/ 308034 h 1215946"/>
                <a:gd name="connsiteX75" fmla="*/ 1288336 w 1732465"/>
                <a:gd name="connsiteY75" fmla="*/ 302725 h 1215946"/>
                <a:gd name="connsiteX76" fmla="*/ 1271885 w 1732465"/>
                <a:gd name="connsiteY76" fmla="*/ 303538 h 1215946"/>
                <a:gd name="connsiteX77" fmla="*/ 1260874 w 1732465"/>
                <a:gd name="connsiteY77" fmla="*/ 309151 h 1215946"/>
                <a:gd name="connsiteX78" fmla="*/ 1248647 w 1732465"/>
                <a:gd name="connsiteY78" fmla="*/ 308389 h 1215946"/>
                <a:gd name="connsiteX79" fmla="*/ 1241100 w 1732465"/>
                <a:gd name="connsiteY79" fmla="*/ 313977 h 1215946"/>
                <a:gd name="connsiteX80" fmla="*/ 1223622 w 1732465"/>
                <a:gd name="connsiteY80" fmla="*/ 317305 h 1215946"/>
                <a:gd name="connsiteX81" fmla="*/ 1213728 w 1732465"/>
                <a:gd name="connsiteY81" fmla="*/ 329408 h 1215946"/>
                <a:gd name="connsiteX82" fmla="*/ 1197961 w 1732465"/>
                <a:gd name="connsiteY82" fmla="*/ 352306 h 1215946"/>
                <a:gd name="connsiteX83" fmla="*/ 1174090 w 1732465"/>
                <a:gd name="connsiteY83" fmla="*/ 356319 h 1215946"/>
                <a:gd name="connsiteX84" fmla="*/ 1164932 w 1732465"/>
                <a:gd name="connsiteY84" fmla="*/ 358478 h 1215946"/>
                <a:gd name="connsiteX85" fmla="*/ 1141022 w 1732465"/>
                <a:gd name="connsiteY85" fmla="*/ 379852 h 1215946"/>
                <a:gd name="connsiteX86" fmla="*/ 1121564 w 1732465"/>
                <a:gd name="connsiteY86" fmla="*/ 381249 h 1215946"/>
                <a:gd name="connsiteX87" fmla="*/ 1101523 w 1732465"/>
                <a:gd name="connsiteY87" fmla="*/ 370670 h 1215946"/>
                <a:gd name="connsiteX88" fmla="*/ 1081787 w 1732465"/>
                <a:gd name="connsiteY88" fmla="*/ 377287 h 1215946"/>
                <a:gd name="connsiteX89" fmla="*/ 1083182 w 1732465"/>
                <a:gd name="connsiteY89" fmla="*/ 411348 h 1215946"/>
                <a:gd name="connsiteX90" fmla="*/ 1084311 w 1732465"/>
                <a:gd name="connsiteY90" fmla="*/ 426156 h 1215946"/>
                <a:gd name="connsiteX91" fmla="*/ 1063103 w 1732465"/>
                <a:gd name="connsiteY91" fmla="*/ 442031 h 1215946"/>
                <a:gd name="connsiteX92" fmla="*/ 1020142 w 1732465"/>
                <a:gd name="connsiteY92" fmla="*/ 472816 h 1215946"/>
                <a:gd name="connsiteX93" fmla="*/ 1000139 w 1732465"/>
                <a:gd name="connsiteY93" fmla="*/ 472816 h 1215946"/>
                <a:gd name="connsiteX94" fmla="*/ 968682 w 1732465"/>
                <a:gd name="connsiteY94" fmla="*/ 473223 h 1215946"/>
                <a:gd name="connsiteX95" fmla="*/ 929539 w 1732465"/>
                <a:gd name="connsiteY95" fmla="*/ 485097 h 1215946"/>
                <a:gd name="connsiteX96" fmla="*/ 891473 w 1732465"/>
                <a:gd name="connsiteY96" fmla="*/ 506293 h 1215946"/>
                <a:gd name="connsiteX97" fmla="*/ 878751 w 1732465"/>
                <a:gd name="connsiteY97" fmla="*/ 502775 h 1215946"/>
                <a:gd name="connsiteX98" fmla="*/ 877318 w 1732465"/>
                <a:gd name="connsiteY98" fmla="*/ 495308 h 1215946"/>
                <a:gd name="connsiteX99" fmla="*/ 861361 w 1732465"/>
                <a:gd name="connsiteY99" fmla="*/ 497657 h 1215946"/>
                <a:gd name="connsiteX100" fmla="*/ 841675 w 1732465"/>
                <a:gd name="connsiteY100" fmla="*/ 492476 h 1215946"/>
                <a:gd name="connsiteX101" fmla="*/ 822395 w 1732465"/>
                <a:gd name="connsiteY101" fmla="*/ 484424 h 1215946"/>
                <a:gd name="connsiteX102" fmla="*/ 790406 w 1732465"/>
                <a:gd name="connsiteY102" fmla="*/ 469756 h 1215946"/>
                <a:gd name="connsiteX103" fmla="*/ 770454 w 1732465"/>
                <a:gd name="connsiteY103" fmla="*/ 466834 h 1215946"/>
                <a:gd name="connsiteX104" fmla="*/ 747977 w 1732465"/>
                <a:gd name="connsiteY104" fmla="*/ 465209 h 1215946"/>
                <a:gd name="connsiteX105" fmla="*/ 735305 w 1732465"/>
                <a:gd name="connsiteY105" fmla="*/ 467508 h 1215946"/>
                <a:gd name="connsiteX106" fmla="*/ 719222 w 1732465"/>
                <a:gd name="connsiteY106" fmla="*/ 466834 h 1215946"/>
                <a:gd name="connsiteX107" fmla="*/ 687803 w 1732465"/>
                <a:gd name="connsiteY107" fmla="*/ 462961 h 1215946"/>
                <a:gd name="connsiteX108" fmla="*/ 662232 w 1732465"/>
                <a:gd name="connsiteY108" fmla="*/ 460396 h 1215946"/>
                <a:gd name="connsiteX109" fmla="*/ 646555 w 1732465"/>
                <a:gd name="connsiteY109" fmla="*/ 460396 h 1215946"/>
                <a:gd name="connsiteX110" fmla="*/ 640213 w 1732465"/>
                <a:gd name="connsiteY110" fmla="*/ 448750 h 1215946"/>
                <a:gd name="connsiteX111" fmla="*/ 626412 w 1732465"/>
                <a:gd name="connsiteY111" fmla="*/ 426245 h 1215946"/>
                <a:gd name="connsiteX112" fmla="*/ 618636 w 1732465"/>
                <a:gd name="connsiteY112" fmla="*/ 407754 h 1215946"/>
                <a:gd name="connsiteX113" fmla="*/ 614501 w 1732465"/>
                <a:gd name="connsiteY113" fmla="*/ 401861 h 1215946"/>
                <a:gd name="connsiteX114" fmla="*/ 595272 w 1732465"/>
                <a:gd name="connsiteY114" fmla="*/ 398127 h 1215946"/>
                <a:gd name="connsiteX115" fmla="*/ 584491 w 1732465"/>
                <a:gd name="connsiteY115" fmla="*/ 390025 h 1215946"/>
                <a:gd name="connsiteX116" fmla="*/ 576043 w 1732465"/>
                <a:gd name="connsiteY116" fmla="*/ 383903 h 1215946"/>
                <a:gd name="connsiteX117" fmla="*/ 566872 w 1732465"/>
                <a:gd name="connsiteY117" fmla="*/ 375445 h 1215946"/>
                <a:gd name="connsiteX118" fmla="*/ 547859 w 1732465"/>
                <a:gd name="connsiteY118" fmla="*/ 374328 h 1215946"/>
                <a:gd name="connsiteX119" fmla="*/ 533754 w 1732465"/>
                <a:gd name="connsiteY119" fmla="*/ 374328 h 1215946"/>
                <a:gd name="connsiteX120" fmla="*/ 521209 w 1732465"/>
                <a:gd name="connsiteY120" fmla="*/ 370861 h 1215946"/>
                <a:gd name="connsiteX121" fmla="*/ 500230 w 1732465"/>
                <a:gd name="connsiteY121" fmla="*/ 368295 h 1215946"/>
                <a:gd name="connsiteX122" fmla="*/ 488231 w 1732465"/>
                <a:gd name="connsiteY122" fmla="*/ 358478 h 1215946"/>
                <a:gd name="connsiteX123" fmla="*/ 487190 w 1732465"/>
                <a:gd name="connsiteY123" fmla="*/ 338006 h 1215946"/>
                <a:gd name="connsiteX124" fmla="*/ 495460 w 1732465"/>
                <a:gd name="connsiteY124" fmla="*/ 317305 h 1215946"/>
                <a:gd name="connsiteX125" fmla="*/ 492493 w 1732465"/>
                <a:gd name="connsiteY125" fmla="*/ 296426 h 1215946"/>
                <a:gd name="connsiteX126" fmla="*/ 477347 w 1732465"/>
                <a:gd name="connsiteY126" fmla="*/ 277668 h 1215946"/>
                <a:gd name="connsiteX127" fmla="*/ 465754 w 1732465"/>
                <a:gd name="connsiteY127" fmla="*/ 254808 h 1215946"/>
                <a:gd name="connsiteX128" fmla="*/ 458740 w 1732465"/>
                <a:gd name="connsiteY128" fmla="*/ 255887 h 1215946"/>
                <a:gd name="connsiteX129" fmla="*/ 450469 w 1732465"/>
                <a:gd name="connsiteY129" fmla="*/ 249182 h 1215946"/>
                <a:gd name="connsiteX130" fmla="*/ 444635 w 1732465"/>
                <a:gd name="connsiteY130" fmla="*/ 251074 h 1215946"/>
                <a:gd name="connsiteX131" fmla="*/ 436505 w 1732465"/>
                <a:gd name="connsiteY131" fmla="*/ 250033 h 1215946"/>
                <a:gd name="connsiteX132" fmla="*/ 429363 w 1732465"/>
                <a:gd name="connsiteY132" fmla="*/ 242743 h 1215946"/>
                <a:gd name="connsiteX133" fmla="*/ 421499 w 1732465"/>
                <a:gd name="connsiteY133" fmla="*/ 235542 h 1215946"/>
                <a:gd name="connsiteX134" fmla="*/ 411568 w 1732465"/>
                <a:gd name="connsiteY134" fmla="*/ 226995 h 1215946"/>
                <a:gd name="connsiteX135" fmla="*/ 410895 w 1732465"/>
                <a:gd name="connsiteY135" fmla="*/ 221686 h 1215946"/>
                <a:gd name="connsiteX136" fmla="*/ 403563 w 1732465"/>
                <a:gd name="connsiteY136" fmla="*/ 213050 h 1215946"/>
                <a:gd name="connsiteX137" fmla="*/ 410172 w 1732465"/>
                <a:gd name="connsiteY137" fmla="*/ 196502 h 1215946"/>
                <a:gd name="connsiteX138" fmla="*/ 402486 w 1732465"/>
                <a:gd name="connsiteY138" fmla="*/ 200503 h 1215946"/>
                <a:gd name="connsiteX139" fmla="*/ 394570 w 1732465"/>
                <a:gd name="connsiteY139" fmla="*/ 202751 h 1215946"/>
                <a:gd name="connsiteX140" fmla="*/ 387746 w 1732465"/>
                <a:gd name="connsiteY140" fmla="*/ 202306 h 1215946"/>
                <a:gd name="connsiteX141" fmla="*/ 380998 w 1732465"/>
                <a:gd name="connsiteY141" fmla="*/ 206218 h 1215946"/>
                <a:gd name="connsiteX142" fmla="*/ 371929 w 1732465"/>
                <a:gd name="connsiteY142" fmla="*/ 222372 h 1215946"/>
                <a:gd name="connsiteX143" fmla="*/ 355338 w 1732465"/>
                <a:gd name="connsiteY143" fmla="*/ 233345 h 1215946"/>
                <a:gd name="connsiteX144" fmla="*/ 344062 w 1732465"/>
                <a:gd name="connsiteY144" fmla="*/ 245626 h 1215946"/>
                <a:gd name="connsiteX145" fmla="*/ 341906 w 1732465"/>
                <a:gd name="connsiteY145" fmla="*/ 284691 h 1215946"/>
                <a:gd name="connsiteX146" fmla="*/ 321104 w 1732465"/>
                <a:gd name="connsiteY146" fmla="*/ 298496 h 1215946"/>
                <a:gd name="connsiteX147" fmla="*/ 295266 w 1732465"/>
                <a:gd name="connsiteY147" fmla="*/ 296121 h 1215946"/>
                <a:gd name="connsiteX148" fmla="*/ 273373 w 1732465"/>
                <a:gd name="connsiteY148" fmla="*/ 287968 h 1215946"/>
                <a:gd name="connsiteX149" fmla="*/ 261602 w 1732465"/>
                <a:gd name="connsiteY149" fmla="*/ 293467 h 1215946"/>
                <a:gd name="connsiteX150" fmla="*/ 249692 w 1732465"/>
                <a:gd name="connsiteY150" fmla="*/ 351010 h 1215946"/>
                <a:gd name="connsiteX151" fmla="*/ 257518 w 1732465"/>
                <a:gd name="connsiteY151" fmla="*/ 363609 h 1215946"/>
                <a:gd name="connsiteX152" fmla="*/ 236932 w 1732465"/>
                <a:gd name="connsiteY152" fmla="*/ 366530 h 1215946"/>
                <a:gd name="connsiteX153" fmla="*/ 224615 w 1732465"/>
                <a:gd name="connsiteY153" fmla="*/ 364193 h 1215946"/>
                <a:gd name="connsiteX154" fmla="*/ 177975 w 1732465"/>
                <a:gd name="connsiteY154" fmla="*/ 374048 h 1215946"/>
                <a:gd name="connsiteX155" fmla="*/ 190063 w 1732465"/>
                <a:gd name="connsiteY155" fmla="*/ 386786 h 1215946"/>
                <a:gd name="connsiteX156" fmla="*/ 190685 w 1732465"/>
                <a:gd name="connsiteY156" fmla="*/ 386786 h 1215946"/>
                <a:gd name="connsiteX157" fmla="*/ 198422 w 1732465"/>
                <a:gd name="connsiteY157" fmla="*/ 417596 h 1215946"/>
                <a:gd name="connsiteX158" fmla="*/ 200705 w 1732465"/>
                <a:gd name="connsiteY158" fmla="*/ 448292 h 1215946"/>
                <a:gd name="connsiteX159" fmla="*/ 196354 w 1732465"/>
                <a:gd name="connsiteY159" fmla="*/ 457830 h 1215946"/>
                <a:gd name="connsiteX160" fmla="*/ 189391 w 1732465"/>
                <a:gd name="connsiteY160" fmla="*/ 467228 h 1215946"/>
                <a:gd name="connsiteX161" fmla="*/ 189924 w 1732465"/>
                <a:gd name="connsiteY161" fmla="*/ 481135 h 1215946"/>
                <a:gd name="connsiteX162" fmla="*/ 189391 w 1732465"/>
                <a:gd name="connsiteY162" fmla="*/ 483383 h 1215946"/>
                <a:gd name="connsiteX163" fmla="*/ 187628 w 1732465"/>
                <a:gd name="connsiteY163" fmla="*/ 489822 h 1215946"/>
                <a:gd name="connsiteX164" fmla="*/ 161790 w 1732465"/>
                <a:gd name="connsiteY164" fmla="*/ 501518 h 1215946"/>
                <a:gd name="connsiteX165" fmla="*/ 145745 w 1732465"/>
                <a:gd name="connsiteY165" fmla="*/ 509125 h 1215946"/>
                <a:gd name="connsiteX166" fmla="*/ 128850 w 1732465"/>
                <a:gd name="connsiteY166" fmla="*/ 524112 h 1215946"/>
                <a:gd name="connsiteX167" fmla="*/ 109798 w 1732465"/>
                <a:gd name="connsiteY167" fmla="*/ 527439 h 1215946"/>
                <a:gd name="connsiteX168" fmla="*/ 94386 w 1732465"/>
                <a:gd name="connsiteY168" fmla="*/ 527439 h 1215946"/>
                <a:gd name="connsiteX169" fmla="*/ 86116 w 1732465"/>
                <a:gd name="connsiteY169" fmla="*/ 537421 h 1215946"/>
                <a:gd name="connsiteX170" fmla="*/ 80586 w 1732465"/>
                <a:gd name="connsiteY170" fmla="*/ 551912 h 1215946"/>
                <a:gd name="connsiteX171" fmla="*/ 61078 w 1732465"/>
                <a:gd name="connsiteY171" fmla="*/ 555379 h 1215946"/>
                <a:gd name="connsiteX172" fmla="*/ 51552 w 1732465"/>
                <a:gd name="connsiteY172" fmla="*/ 546692 h 1215946"/>
                <a:gd name="connsiteX173" fmla="*/ 33401 w 1732465"/>
                <a:gd name="connsiteY173" fmla="*/ 549893 h 1215946"/>
                <a:gd name="connsiteX174" fmla="*/ 20552 w 1732465"/>
                <a:gd name="connsiteY174" fmla="*/ 562580 h 1215946"/>
                <a:gd name="connsiteX175" fmla="*/ 7335 w 1732465"/>
                <a:gd name="connsiteY175" fmla="*/ 569197 h 1215946"/>
                <a:gd name="connsiteX176" fmla="*/ 549 w 1732465"/>
                <a:gd name="connsiteY176" fmla="*/ 586062 h 1215946"/>
                <a:gd name="connsiteX177" fmla="*/ 600 w 1732465"/>
                <a:gd name="connsiteY177" fmla="*/ 586697 h 1215946"/>
                <a:gd name="connsiteX178" fmla="*/ 2261 w 1732465"/>
                <a:gd name="connsiteY178" fmla="*/ 606496 h 1215946"/>
                <a:gd name="connsiteX179" fmla="*/ 10620 w 1732465"/>
                <a:gd name="connsiteY179" fmla="*/ 617888 h 1215946"/>
                <a:gd name="connsiteX180" fmla="*/ 21541 w 1732465"/>
                <a:gd name="connsiteY180" fmla="*/ 617482 h 1215946"/>
                <a:gd name="connsiteX181" fmla="*/ 35012 w 1732465"/>
                <a:gd name="connsiteY181" fmla="*/ 627426 h 1215946"/>
                <a:gd name="connsiteX182" fmla="*/ 37764 w 1732465"/>
                <a:gd name="connsiteY182" fmla="*/ 646451 h 1215946"/>
                <a:gd name="connsiteX183" fmla="*/ 34517 w 1732465"/>
                <a:gd name="connsiteY183" fmla="*/ 662961 h 1215946"/>
                <a:gd name="connsiteX184" fmla="*/ 31105 w 1732465"/>
                <a:gd name="connsiteY184" fmla="*/ 664624 h 1215946"/>
                <a:gd name="connsiteX185" fmla="*/ 25892 w 1732465"/>
                <a:gd name="connsiteY185" fmla="*/ 672282 h 1215946"/>
                <a:gd name="connsiteX186" fmla="*/ 35557 w 1732465"/>
                <a:gd name="connsiteY186" fmla="*/ 676638 h 1215946"/>
                <a:gd name="connsiteX187" fmla="*/ 40808 w 1732465"/>
                <a:gd name="connsiteY187" fmla="*/ 677540 h 1215946"/>
                <a:gd name="connsiteX188" fmla="*/ 61078 w 1732465"/>
                <a:gd name="connsiteY188" fmla="*/ 685998 h 1215946"/>
                <a:gd name="connsiteX189" fmla="*/ 68587 w 1732465"/>
                <a:gd name="connsiteY189" fmla="*/ 707957 h 1215946"/>
                <a:gd name="connsiteX190" fmla="*/ 76134 w 1732465"/>
                <a:gd name="connsiteY190" fmla="*/ 716199 h 1215946"/>
                <a:gd name="connsiteX191" fmla="*/ 82603 w 1732465"/>
                <a:gd name="connsiteY191" fmla="*/ 713989 h 1215946"/>
                <a:gd name="connsiteX192" fmla="*/ 82654 w 1732465"/>
                <a:gd name="connsiteY192" fmla="*/ 714040 h 1215946"/>
                <a:gd name="connsiteX193" fmla="*/ 93118 w 1732465"/>
                <a:gd name="connsiteY193" fmla="*/ 721419 h 1215946"/>
                <a:gd name="connsiteX194" fmla="*/ 109798 w 1732465"/>
                <a:gd name="connsiteY194" fmla="*/ 727616 h 1215946"/>
                <a:gd name="connsiteX195" fmla="*/ 123015 w 1732465"/>
                <a:gd name="connsiteY195" fmla="*/ 728924 h 1215946"/>
                <a:gd name="connsiteX196" fmla="*/ 123142 w 1732465"/>
                <a:gd name="connsiteY196" fmla="*/ 728975 h 1215946"/>
                <a:gd name="connsiteX197" fmla="*/ 122913 w 1732465"/>
                <a:gd name="connsiteY197" fmla="*/ 729013 h 1215946"/>
                <a:gd name="connsiteX198" fmla="*/ 128850 w 1732465"/>
                <a:gd name="connsiteY198" fmla="*/ 740037 h 1215946"/>
                <a:gd name="connsiteX199" fmla="*/ 145745 w 1732465"/>
                <a:gd name="connsiteY199" fmla="*/ 769196 h 1215946"/>
                <a:gd name="connsiteX200" fmla="*/ 151503 w 1732465"/>
                <a:gd name="connsiteY200" fmla="*/ 793364 h 1215946"/>
                <a:gd name="connsiteX201" fmla="*/ 163096 w 1732465"/>
                <a:gd name="connsiteY201" fmla="*/ 808439 h 1215946"/>
                <a:gd name="connsiteX202" fmla="*/ 162640 w 1732465"/>
                <a:gd name="connsiteY202" fmla="*/ 829229 h 1215946"/>
                <a:gd name="connsiteX203" fmla="*/ 152265 w 1732465"/>
                <a:gd name="connsiteY203" fmla="*/ 838449 h 1215946"/>
                <a:gd name="connsiteX204" fmla="*/ 136980 w 1732465"/>
                <a:gd name="connsiteY204" fmla="*/ 830931 h 1215946"/>
                <a:gd name="connsiteX205" fmla="*/ 139770 w 1732465"/>
                <a:gd name="connsiteY205" fmla="*/ 843758 h 1215946"/>
                <a:gd name="connsiteX206" fmla="*/ 147457 w 1732465"/>
                <a:gd name="connsiteY206" fmla="*/ 856674 h 1215946"/>
                <a:gd name="connsiteX207" fmla="*/ 149804 w 1732465"/>
                <a:gd name="connsiteY207" fmla="*/ 869044 h 1215946"/>
                <a:gd name="connsiteX208" fmla="*/ 160179 w 1732465"/>
                <a:gd name="connsiteY208" fmla="*/ 868281 h 1215946"/>
                <a:gd name="connsiteX209" fmla="*/ 171240 w 1732465"/>
                <a:gd name="connsiteY209" fmla="*/ 880753 h 1215946"/>
                <a:gd name="connsiteX210" fmla="*/ 189302 w 1732465"/>
                <a:gd name="connsiteY210" fmla="*/ 892983 h 1215946"/>
                <a:gd name="connsiteX211" fmla="*/ 203952 w 1732465"/>
                <a:gd name="connsiteY211" fmla="*/ 905086 h 1215946"/>
                <a:gd name="connsiteX212" fmla="*/ 207631 w 1732465"/>
                <a:gd name="connsiteY212" fmla="*/ 908236 h 1215946"/>
                <a:gd name="connsiteX213" fmla="*/ 214328 w 1732465"/>
                <a:gd name="connsiteY213" fmla="*/ 910992 h 1215946"/>
                <a:gd name="connsiteX214" fmla="*/ 223093 w 1732465"/>
                <a:gd name="connsiteY214" fmla="*/ 899155 h 1215946"/>
                <a:gd name="connsiteX215" fmla="*/ 242690 w 1732465"/>
                <a:gd name="connsiteY215" fmla="*/ 905086 h 1215946"/>
                <a:gd name="connsiteX216" fmla="*/ 258824 w 1732465"/>
                <a:gd name="connsiteY216" fmla="*/ 916884 h 1215946"/>
                <a:gd name="connsiteX217" fmla="*/ 277559 w 1732465"/>
                <a:gd name="connsiteY217" fmla="*/ 928264 h 1215946"/>
                <a:gd name="connsiteX218" fmla="*/ 295938 w 1732465"/>
                <a:gd name="connsiteY218" fmla="*/ 935465 h 1215946"/>
                <a:gd name="connsiteX219" fmla="*/ 305375 w 1732465"/>
                <a:gd name="connsiteY219" fmla="*/ 951708 h 1215946"/>
                <a:gd name="connsiteX220" fmla="*/ 327128 w 1732465"/>
                <a:gd name="connsiteY220" fmla="*/ 960661 h 1215946"/>
                <a:gd name="connsiteX221" fmla="*/ 339762 w 1732465"/>
                <a:gd name="connsiteY221" fmla="*/ 972587 h 1215946"/>
                <a:gd name="connsiteX222" fmla="*/ 362949 w 1732465"/>
                <a:gd name="connsiteY222" fmla="*/ 978124 h 1215946"/>
                <a:gd name="connsiteX223" fmla="*/ 380022 w 1732465"/>
                <a:gd name="connsiteY223" fmla="*/ 977946 h 1215946"/>
                <a:gd name="connsiteX224" fmla="*/ 396790 w 1732465"/>
                <a:gd name="connsiteY224" fmla="*/ 981362 h 1215946"/>
                <a:gd name="connsiteX225" fmla="*/ 406176 w 1732465"/>
                <a:gd name="connsiteY225" fmla="*/ 983610 h 1215946"/>
                <a:gd name="connsiteX226" fmla="*/ 413406 w 1732465"/>
                <a:gd name="connsiteY226" fmla="*/ 980600 h 1215946"/>
                <a:gd name="connsiteX227" fmla="*/ 433270 w 1732465"/>
                <a:gd name="connsiteY227" fmla="*/ 976282 h 1215946"/>
                <a:gd name="connsiteX228" fmla="*/ 428057 w 1732465"/>
                <a:gd name="connsiteY228" fmla="*/ 997199 h 1215946"/>
                <a:gd name="connsiteX229" fmla="*/ 441451 w 1732465"/>
                <a:gd name="connsiteY229" fmla="*/ 988157 h 1215946"/>
                <a:gd name="connsiteX230" fmla="*/ 449493 w 1732465"/>
                <a:gd name="connsiteY230" fmla="*/ 976816 h 1215946"/>
                <a:gd name="connsiteX231" fmla="*/ 465450 w 1732465"/>
                <a:gd name="connsiteY231" fmla="*/ 966249 h 1215946"/>
                <a:gd name="connsiteX232" fmla="*/ 471158 w 1732465"/>
                <a:gd name="connsiteY232" fmla="*/ 965792 h 1215946"/>
                <a:gd name="connsiteX233" fmla="*/ 491198 w 1732465"/>
                <a:gd name="connsiteY233" fmla="*/ 975736 h 1215946"/>
                <a:gd name="connsiteX234" fmla="*/ 503375 w 1732465"/>
                <a:gd name="connsiteY234" fmla="*/ 973222 h 1215946"/>
                <a:gd name="connsiteX235" fmla="*/ 509933 w 1732465"/>
                <a:gd name="connsiteY235" fmla="*/ 980054 h 1215946"/>
                <a:gd name="connsiteX236" fmla="*/ 510022 w 1732465"/>
                <a:gd name="connsiteY236" fmla="*/ 980321 h 1215946"/>
                <a:gd name="connsiteX237" fmla="*/ 511595 w 1732465"/>
                <a:gd name="connsiteY237" fmla="*/ 983293 h 1215946"/>
                <a:gd name="connsiteX238" fmla="*/ 522161 w 1732465"/>
                <a:gd name="connsiteY238" fmla="*/ 984918 h 1215946"/>
                <a:gd name="connsiteX239" fmla="*/ 543102 w 1732465"/>
                <a:gd name="connsiteY239" fmla="*/ 976282 h 1215946"/>
                <a:gd name="connsiteX240" fmla="*/ 552590 w 1732465"/>
                <a:gd name="connsiteY240" fmla="*/ 965665 h 1215946"/>
                <a:gd name="connsiteX241" fmla="*/ 567557 w 1732465"/>
                <a:gd name="connsiteY241" fmla="*/ 954362 h 1215946"/>
                <a:gd name="connsiteX242" fmla="*/ 592443 w 1732465"/>
                <a:gd name="connsiteY242" fmla="*/ 943123 h 1215946"/>
                <a:gd name="connsiteX243" fmla="*/ 604443 w 1732465"/>
                <a:gd name="connsiteY243" fmla="*/ 938487 h 1215946"/>
                <a:gd name="connsiteX244" fmla="*/ 628936 w 1732465"/>
                <a:gd name="connsiteY244" fmla="*/ 936963 h 1215946"/>
                <a:gd name="connsiteX245" fmla="*/ 639096 w 1732465"/>
                <a:gd name="connsiteY245" fmla="*/ 932048 h 1215946"/>
                <a:gd name="connsiteX246" fmla="*/ 650245 w 1732465"/>
                <a:gd name="connsiteY246" fmla="*/ 951720 h 1215946"/>
                <a:gd name="connsiteX247" fmla="*/ 664350 w 1732465"/>
                <a:gd name="connsiteY247" fmla="*/ 965525 h 1215946"/>
                <a:gd name="connsiteX248" fmla="*/ 674510 w 1732465"/>
                <a:gd name="connsiteY248" fmla="*/ 969170 h 1215946"/>
                <a:gd name="connsiteX249" fmla="*/ 667496 w 1732465"/>
                <a:gd name="connsiteY249" fmla="*/ 982086 h 1215946"/>
                <a:gd name="connsiteX250" fmla="*/ 676527 w 1732465"/>
                <a:gd name="connsiteY250" fmla="*/ 973628 h 1215946"/>
                <a:gd name="connsiteX251" fmla="*/ 685913 w 1732465"/>
                <a:gd name="connsiteY251" fmla="*/ 964141 h 1215946"/>
                <a:gd name="connsiteX252" fmla="*/ 695528 w 1732465"/>
                <a:gd name="connsiteY252" fmla="*/ 975749 h 1215946"/>
                <a:gd name="connsiteX253" fmla="*/ 705244 w 1732465"/>
                <a:gd name="connsiteY253" fmla="*/ 991357 h 1215946"/>
                <a:gd name="connsiteX254" fmla="*/ 712652 w 1732465"/>
                <a:gd name="connsiteY254" fmla="*/ 1001212 h 1215946"/>
                <a:gd name="connsiteX255" fmla="*/ 712652 w 1732465"/>
                <a:gd name="connsiteY255" fmla="*/ 1028251 h 1215946"/>
                <a:gd name="connsiteX256" fmla="*/ 711574 w 1732465"/>
                <a:gd name="connsiteY256" fmla="*/ 1042970 h 1215946"/>
                <a:gd name="connsiteX257" fmla="*/ 700919 w 1732465"/>
                <a:gd name="connsiteY257" fmla="*/ 1051695 h 1215946"/>
                <a:gd name="connsiteX258" fmla="*/ 693410 w 1732465"/>
                <a:gd name="connsiteY258" fmla="*/ 1053638 h 1215946"/>
                <a:gd name="connsiteX259" fmla="*/ 680294 w 1732465"/>
                <a:gd name="connsiteY259" fmla="*/ 1069742 h 1215946"/>
                <a:gd name="connsiteX260" fmla="*/ 678455 w 1732465"/>
                <a:gd name="connsiteY260" fmla="*/ 1091611 h 1215946"/>
                <a:gd name="connsiteX261" fmla="*/ 680294 w 1732465"/>
                <a:gd name="connsiteY261" fmla="*/ 1105251 h 1215946"/>
                <a:gd name="connsiteX262" fmla="*/ 699803 w 1732465"/>
                <a:gd name="connsiteY262" fmla="*/ 1099536 h 1215946"/>
                <a:gd name="connsiteX263" fmla="*/ 716648 w 1732465"/>
                <a:gd name="connsiteY263" fmla="*/ 1098177 h 1215946"/>
                <a:gd name="connsiteX264" fmla="*/ 716787 w 1732465"/>
                <a:gd name="connsiteY264" fmla="*/ 1115817 h 1215946"/>
                <a:gd name="connsiteX265" fmla="*/ 723484 w 1732465"/>
                <a:gd name="connsiteY265" fmla="*/ 1131337 h 1215946"/>
                <a:gd name="connsiteX266" fmla="*/ 729724 w 1732465"/>
                <a:gd name="connsiteY266" fmla="*/ 1132378 h 1215946"/>
                <a:gd name="connsiteX267" fmla="*/ 729724 w 1732465"/>
                <a:gd name="connsiteY267" fmla="*/ 1151682 h 1215946"/>
                <a:gd name="connsiteX268" fmla="*/ 736193 w 1732465"/>
                <a:gd name="connsiteY268" fmla="*/ 1162566 h 1215946"/>
                <a:gd name="connsiteX269" fmla="*/ 742573 w 1732465"/>
                <a:gd name="connsiteY269" fmla="*/ 1170224 h 1215946"/>
                <a:gd name="connsiteX270" fmla="*/ 750083 w 1732465"/>
                <a:gd name="connsiteY270" fmla="*/ 1176384 h 1215946"/>
                <a:gd name="connsiteX271" fmla="*/ 761854 w 1732465"/>
                <a:gd name="connsiteY271" fmla="*/ 1179584 h 1215946"/>
                <a:gd name="connsiteX272" fmla="*/ 778039 w 1732465"/>
                <a:gd name="connsiteY272" fmla="*/ 1175266 h 1215946"/>
                <a:gd name="connsiteX273" fmla="*/ 782211 w 1732465"/>
                <a:gd name="connsiteY273" fmla="*/ 1179584 h 1215946"/>
                <a:gd name="connsiteX274" fmla="*/ 790571 w 1732465"/>
                <a:gd name="connsiteY274" fmla="*/ 1189528 h 1215946"/>
                <a:gd name="connsiteX275" fmla="*/ 798257 w 1732465"/>
                <a:gd name="connsiteY275" fmla="*/ 1188080 h 1215946"/>
                <a:gd name="connsiteX276" fmla="*/ 796240 w 1732465"/>
                <a:gd name="connsiteY276" fmla="*/ 1170224 h 1215946"/>
                <a:gd name="connsiteX277" fmla="*/ 800198 w 1732465"/>
                <a:gd name="connsiteY277" fmla="*/ 1146284 h 1215946"/>
                <a:gd name="connsiteX278" fmla="*/ 808595 w 1732465"/>
                <a:gd name="connsiteY278" fmla="*/ 1147453 h 1215946"/>
                <a:gd name="connsiteX279" fmla="*/ 816687 w 1732465"/>
                <a:gd name="connsiteY279" fmla="*/ 1145243 h 1215946"/>
                <a:gd name="connsiteX280" fmla="*/ 821849 w 1732465"/>
                <a:gd name="connsiteY280" fmla="*/ 1140976 h 1215946"/>
                <a:gd name="connsiteX281" fmla="*/ 831515 w 1732465"/>
                <a:gd name="connsiteY281" fmla="*/ 1142055 h 1215946"/>
                <a:gd name="connsiteX282" fmla="*/ 841181 w 1732465"/>
                <a:gd name="connsiteY282" fmla="*/ 1139896 h 1215946"/>
                <a:gd name="connsiteX283" fmla="*/ 851873 w 1732465"/>
                <a:gd name="connsiteY283" fmla="*/ 1143135 h 1215946"/>
                <a:gd name="connsiteX284" fmla="*/ 870113 w 1732465"/>
                <a:gd name="connsiteY284" fmla="*/ 1138817 h 1215946"/>
                <a:gd name="connsiteX285" fmla="*/ 880857 w 1732465"/>
                <a:gd name="connsiteY285" fmla="*/ 1139985 h 1215946"/>
                <a:gd name="connsiteX286" fmla="*/ 892767 w 1732465"/>
                <a:gd name="connsiteY286" fmla="*/ 1127387 h 1215946"/>
                <a:gd name="connsiteX287" fmla="*/ 905350 w 1732465"/>
                <a:gd name="connsiteY287" fmla="*/ 1124910 h 1215946"/>
                <a:gd name="connsiteX288" fmla="*/ 916410 w 1732465"/>
                <a:gd name="connsiteY288" fmla="*/ 1136658 h 1215946"/>
                <a:gd name="connsiteX289" fmla="*/ 931415 w 1732465"/>
                <a:gd name="connsiteY289" fmla="*/ 1135578 h 1215946"/>
                <a:gd name="connsiteX290" fmla="*/ 939686 w 1732465"/>
                <a:gd name="connsiteY290" fmla="*/ 1138817 h 1215946"/>
                <a:gd name="connsiteX291" fmla="*/ 936452 w 1732465"/>
                <a:gd name="connsiteY291" fmla="*/ 1150653 h 1215946"/>
                <a:gd name="connsiteX292" fmla="*/ 940764 w 1732465"/>
                <a:gd name="connsiteY292" fmla="*/ 1164560 h 1215946"/>
                <a:gd name="connsiteX293" fmla="*/ 956670 w 1732465"/>
                <a:gd name="connsiteY293" fmla="*/ 1174453 h 1215946"/>
                <a:gd name="connsiteX294" fmla="*/ 970293 w 1732465"/>
                <a:gd name="connsiteY294" fmla="*/ 1178238 h 1215946"/>
                <a:gd name="connsiteX295" fmla="*/ 971993 w 1732465"/>
                <a:gd name="connsiteY295" fmla="*/ 1178009 h 1215946"/>
                <a:gd name="connsiteX296" fmla="*/ 975316 w 1732465"/>
                <a:gd name="connsiteY296" fmla="*/ 1180168 h 1215946"/>
                <a:gd name="connsiteX297" fmla="*/ 976622 w 1732465"/>
                <a:gd name="connsiteY297" fmla="*/ 1179178 h 1215946"/>
                <a:gd name="connsiteX298" fmla="*/ 976445 w 1732465"/>
                <a:gd name="connsiteY298" fmla="*/ 1180524 h 1215946"/>
                <a:gd name="connsiteX299" fmla="*/ 977028 w 1732465"/>
                <a:gd name="connsiteY299" fmla="*/ 1176968 h 1215946"/>
                <a:gd name="connsiteX300" fmla="*/ 983725 w 1732465"/>
                <a:gd name="connsiteY300" fmla="*/ 1174631 h 1215946"/>
                <a:gd name="connsiteX301" fmla="*/ 985970 w 1732465"/>
                <a:gd name="connsiteY301" fmla="*/ 1174491 h 1215946"/>
                <a:gd name="connsiteX302" fmla="*/ 990651 w 1732465"/>
                <a:gd name="connsiteY302" fmla="*/ 1173412 h 1215946"/>
                <a:gd name="connsiteX303" fmla="*/ 990651 w 1732465"/>
                <a:gd name="connsiteY303" fmla="*/ 1176561 h 1215946"/>
                <a:gd name="connsiteX304" fmla="*/ 990778 w 1732465"/>
                <a:gd name="connsiteY304" fmla="*/ 1167163 h 1215946"/>
                <a:gd name="connsiteX305" fmla="*/ 993201 w 1732465"/>
                <a:gd name="connsiteY305" fmla="*/ 1166401 h 1215946"/>
                <a:gd name="connsiteX306" fmla="*/ 993746 w 1732465"/>
                <a:gd name="connsiteY306" fmla="*/ 1169919 h 1215946"/>
                <a:gd name="connsiteX307" fmla="*/ 998604 w 1732465"/>
                <a:gd name="connsiteY307" fmla="*/ 1173869 h 1215946"/>
                <a:gd name="connsiteX308" fmla="*/ 999771 w 1732465"/>
                <a:gd name="connsiteY308" fmla="*/ 1171989 h 1215946"/>
                <a:gd name="connsiteX309" fmla="*/ 1000443 w 1732465"/>
                <a:gd name="connsiteY309" fmla="*/ 1171850 h 1215946"/>
                <a:gd name="connsiteX310" fmla="*/ 1001559 w 1732465"/>
                <a:gd name="connsiteY310" fmla="*/ 1169919 h 1215946"/>
                <a:gd name="connsiteX311" fmla="*/ 1001838 w 1732465"/>
                <a:gd name="connsiteY311" fmla="*/ 1169551 h 1215946"/>
                <a:gd name="connsiteX312" fmla="*/ 1001965 w 1732465"/>
                <a:gd name="connsiteY312" fmla="*/ 1169462 h 1215946"/>
                <a:gd name="connsiteX313" fmla="*/ 1002917 w 1732465"/>
                <a:gd name="connsiteY313" fmla="*/ 1170097 h 1215946"/>
                <a:gd name="connsiteX314" fmla="*/ 1002739 w 1732465"/>
                <a:gd name="connsiteY314" fmla="*/ 1173247 h 1215946"/>
                <a:gd name="connsiteX315" fmla="*/ 1006773 w 1732465"/>
                <a:gd name="connsiteY315" fmla="*/ 1179952 h 1215946"/>
                <a:gd name="connsiteX316" fmla="*/ 1018835 w 1732465"/>
                <a:gd name="connsiteY316" fmla="*/ 1173653 h 1215946"/>
                <a:gd name="connsiteX317" fmla="*/ 1022920 w 1732465"/>
                <a:gd name="connsiteY317" fmla="*/ 1176168 h 1215946"/>
                <a:gd name="connsiteX318" fmla="*/ 1027371 w 1732465"/>
                <a:gd name="connsiteY318" fmla="*/ 1178873 h 1215946"/>
                <a:gd name="connsiteX319" fmla="*/ 1028944 w 1732465"/>
                <a:gd name="connsiteY319" fmla="*/ 1179724 h 1215946"/>
                <a:gd name="connsiteX320" fmla="*/ 1027587 w 1732465"/>
                <a:gd name="connsiteY320" fmla="*/ 1199218 h 1215946"/>
                <a:gd name="connsiteX321" fmla="*/ 1030111 w 1732465"/>
                <a:gd name="connsiteY321" fmla="*/ 1202406 h 1215946"/>
                <a:gd name="connsiteX322" fmla="*/ 1029071 w 1732465"/>
                <a:gd name="connsiteY322" fmla="*/ 1207397 h 1215946"/>
                <a:gd name="connsiteX323" fmla="*/ 1033524 w 1732465"/>
                <a:gd name="connsiteY323" fmla="*/ 1213163 h 1215946"/>
                <a:gd name="connsiteX324" fmla="*/ 1030923 w 1732465"/>
                <a:gd name="connsiteY324" fmla="*/ 1212223 h 1215946"/>
                <a:gd name="connsiteX325" fmla="*/ 1044305 w 1732465"/>
                <a:gd name="connsiteY325" fmla="*/ 1205022 h 1215946"/>
                <a:gd name="connsiteX326" fmla="*/ 1043455 w 1732465"/>
                <a:gd name="connsiteY326" fmla="*/ 1200602 h 1215946"/>
                <a:gd name="connsiteX327" fmla="*/ 1045294 w 1732465"/>
                <a:gd name="connsiteY327" fmla="*/ 1202088 h 1215946"/>
                <a:gd name="connsiteX328" fmla="*/ 1038470 w 1732465"/>
                <a:gd name="connsiteY328" fmla="*/ 1193998 h 1215946"/>
                <a:gd name="connsiteX329" fmla="*/ 1045662 w 1732465"/>
                <a:gd name="connsiteY329" fmla="*/ 1186569 h 1215946"/>
                <a:gd name="connsiteX330" fmla="*/ 1045928 w 1732465"/>
                <a:gd name="connsiteY330" fmla="*/ 1182162 h 1215946"/>
                <a:gd name="connsiteX331" fmla="*/ 1046335 w 1732465"/>
                <a:gd name="connsiteY331" fmla="*/ 1184232 h 1215946"/>
                <a:gd name="connsiteX332" fmla="*/ 1047591 w 1732465"/>
                <a:gd name="connsiteY332" fmla="*/ 1184448 h 1215946"/>
                <a:gd name="connsiteX333" fmla="*/ 1046068 w 1732465"/>
                <a:gd name="connsiteY333" fmla="*/ 1187788 h 1215946"/>
                <a:gd name="connsiteX334" fmla="*/ 1052042 w 1732465"/>
                <a:gd name="connsiteY334" fmla="*/ 1182073 h 1215946"/>
                <a:gd name="connsiteX335" fmla="*/ 1053666 w 1732465"/>
                <a:gd name="connsiteY335" fmla="*/ 1181476 h 1215946"/>
                <a:gd name="connsiteX336" fmla="*/ 1058689 w 1732465"/>
                <a:gd name="connsiteY336" fmla="*/ 1181933 h 1215946"/>
                <a:gd name="connsiteX337" fmla="*/ 1062241 w 1732465"/>
                <a:gd name="connsiteY337" fmla="*/ 1178200 h 1215946"/>
                <a:gd name="connsiteX338" fmla="*/ 1070105 w 1732465"/>
                <a:gd name="connsiteY338" fmla="*/ 1179317 h 1215946"/>
                <a:gd name="connsiteX339" fmla="*/ 1078869 w 1732465"/>
                <a:gd name="connsiteY339" fmla="*/ 1175952 h 1215946"/>
                <a:gd name="connsiteX340" fmla="*/ 1081609 w 1732465"/>
                <a:gd name="connsiteY340" fmla="*/ 1169919 h 1215946"/>
                <a:gd name="connsiteX341" fmla="*/ 1086607 w 1732465"/>
                <a:gd name="connsiteY341" fmla="*/ 1172129 h 1215946"/>
                <a:gd name="connsiteX342" fmla="*/ 1089880 w 1732465"/>
                <a:gd name="connsiteY342" fmla="*/ 1168611 h 1215946"/>
                <a:gd name="connsiteX343" fmla="*/ 1091909 w 1732465"/>
                <a:gd name="connsiteY343" fmla="*/ 1166770 h 1215946"/>
                <a:gd name="connsiteX344" fmla="*/ 1095904 w 1732465"/>
                <a:gd name="connsiteY344" fmla="*/ 1170770 h 1215946"/>
                <a:gd name="connsiteX345" fmla="*/ 1102246 w 1732465"/>
                <a:gd name="connsiteY345" fmla="*/ 1164966 h 1215946"/>
                <a:gd name="connsiteX346" fmla="*/ 1104402 w 1732465"/>
                <a:gd name="connsiteY346" fmla="*/ 1164928 h 1215946"/>
                <a:gd name="connsiteX347" fmla="*/ 1111455 w 1732465"/>
                <a:gd name="connsiteY347" fmla="*/ 1166592 h 1215946"/>
                <a:gd name="connsiteX348" fmla="*/ 1119865 w 1732465"/>
                <a:gd name="connsiteY348" fmla="*/ 1158896 h 1215946"/>
                <a:gd name="connsiteX349" fmla="*/ 1122744 w 1732465"/>
                <a:gd name="connsiteY349" fmla="*/ 1158350 h 1215946"/>
                <a:gd name="connsiteX350" fmla="*/ 1130519 w 1732465"/>
                <a:gd name="connsiteY350" fmla="*/ 1157765 h 1215946"/>
                <a:gd name="connsiteX351" fmla="*/ 1128046 w 1732465"/>
                <a:gd name="connsiteY351" fmla="*/ 1153536 h 1215946"/>
                <a:gd name="connsiteX352" fmla="*/ 1135771 w 1732465"/>
                <a:gd name="connsiteY352" fmla="*/ 1156013 h 1215946"/>
                <a:gd name="connsiteX353" fmla="*/ 1125167 w 1732465"/>
                <a:gd name="connsiteY353" fmla="*/ 1135591 h 1215946"/>
                <a:gd name="connsiteX354" fmla="*/ 1130964 w 1732465"/>
                <a:gd name="connsiteY354" fmla="*/ 1129698 h 1215946"/>
                <a:gd name="connsiteX355" fmla="*/ 1135327 w 1732465"/>
                <a:gd name="connsiteY355" fmla="*/ 1129825 h 1215946"/>
                <a:gd name="connsiteX356" fmla="*/ 1134426 w 1732465"/>
                <a:gd name="connsiteY356" fmla="*/ 1130765 h 1215946"/>
                <a:gd name="connsiteX357" fmla="*/ 1134198 w 1732465"/>
                <a:gd name="connsiteY357" fmla="*/ 1131172 h 1215946"/>
                <a:gd name="connsiteX358" fmla="*/ 1134465 w 1732465"/>
                <a:gd name="connsiteY358" fmla="*/ 1133102 h 1215946"/>
                <a:gd name="connsiteX359" fmla="*/ 1144358 w 1732465"/>
                <a:gd name="connsiteY359" fmla="*/ 1149434 h 1215946"/>
                <a:gd name="connsiteX360" fmla="*/ 1161203 w 1732465"/>
                <a:gd name="connsiteY360" fmla="*/ 1148444 h 1215946"/>
                <a:gd name="connsiteX361" fmla="*/ 1162509 w 1732465"/>
                <a:gd name="connsiteY361" fmla="*/ 1146284 h 1215946"/>
                <a:gd name="connsiteX362" fmla="*/ 1169739 w 1732465"/>
                <a:gd name="connsiteY362" fmla="*/ 1138322 h 1215946"/>
                <a:gd name="connsiteX363" fmla="*/ 1172707 w 1732465"/>
                <a:gd name="connsiteY363" fmla="*/ 1145751 h 1215946"/>
                <a:gd name="connsiteX364" fmla="*/ 1173291 w 1732465"/>
                <a:gd name="connsiteY364" fmla="*/ 1141166 h 1215946"/>
                <a:gd name="connsiteX365" fmla="*/ 1184846 w 1732465"/>
                <a:gd name="connsiteY365" fmla="*/ 1135578 h 1215946"/>
                <a:gd name="connsiteX366" fmla="*/ 1189653 w 1732465"/>
                <a:gd name="connsiteY366" fmla="*/ 1135845 h 1215946"/>
                <a:gd name="connsiteX367" fmla="*/ 1196528 w 1732465"/>
                <a:gd name="connsiteY367" fmla="*/ 1134677 h 1215946"/>
                <a:gd name="connsiteX368" fmla="*/ 1218230 w 1732465"/>
                <a:gd name="connsiteY368" fmla="*/ 1134550 h 1215946"/>
                <a:gd name="connsiteX369" fmla="*/ 1219131 w 1732465"/>
                <a:gd name="connsiteY369" fmla="*/ 1126536 h 1215946"/>
                <a:gd name="connsiteX370" fmla="*/ 1221731 w 1732465"/>
                <a:gd name="connsiteY370" fmla="*/ 1125812 h 1215946"/>
                <a:gd name="connsiteX371" fmla="*/ 1221871 w 1732465"/>
                <a:gd name="connsiteY371" fmla="*/ 1126307 h 1215946"/>
                <a:gd name="connsiteX372" fmla="*/ 1221820 w 1732465"/>
                <a:gd name="connsiteY372" fmla="*/ 1126714 h 1215946"/>
                <a:gd name="connsiteX373" fmla="*/ 1221782 w 1732465"/>
                <a:gd name="connsiteY373" fmla="*/ 1126853 h 1215946"/>
                <a:gd name="connsiteX374" fmla="*/ 1222632 w 1732465"/>
                <a:gd name="connsiteY374" fmla="*/ 1126091 h 1215946"/>
                <a:gd name="connsiteX375" fmla="*/ 1223000 w 1732465"/>
                <a:gd name="connsiteY375" fmla="*/ 1125914 h 1215946"/>
                <a:gd name="connsiteX376" fmla="*/ 1223177 w 1732465"/>
                <a:gd name="connsiteY376" fmla="*/ 1125812 h 1215946"/>
                <a:gd name="connsiteX377" fmla="*/ 1223672 w 1732465"/>
                <a:gd name="connsiteY377" fmla="*/ 1125685 h 1215946"/>
                <a:gd name="connsiteX378" fmla="*/ 1224256 w 1732465"/>
                <a:gd name="connsiteY378" fmla="*/ 1125545 h 1215946"/>
                <a:gd name="connsiteX379" fmla="*/ 1225106 w 1732465"/>
                <a:gd name="connsiteY379" fmla="*/ 1125368 h 1215946"/>
                <a:gd name="connsiteX380" fmla="*/ 1226323 w 1732465"/>
                <a:gd name="connsiteY380" fmla="*/ 1124961 h 1215946"/>
                <a:gd name="connsiteX381" fmla="*/ 1226501 w 1732465"/>
                <a:gd name="connsiteY381" fmla="*/ 1124644 h 1215946"/>
                <a:gd name="connsiteX382" fmla="*/ 1223799 w 1732465"/>
                <a:gd name="connsiteY382" fmla="*/ 1122269 h 1215946"/>
                <a:gd name="connsiteX383" fmla="*/ 1226146 w 1732465"/>
                <a:gd name="connsiteY383" fmla="*/ 1121951 h 1215946"/>
                <a:gd name="connsiteX384" fmla="*/ 1230902 w 1732465"/>
                <a:gd name="connsiteY384" fmla="*/ 1112414 h 1215946"/>
                <a:gd name="connsiteX385" fmla="*/ 1234771 w 1732465"/>
                <a:gd name="connsiteY385" fmla="*/ 1115335 h 1215946"/>
                <a:gd name="connsiteX386" fmla="*/ 1239084 w 1732465"/>
                <a:gd name="connsiteY386" fmla="*/ 1111372 h 1215946"/>
                <a:gd name="connsiteX387" fmla="*/ 1240428 w 1732465"/>
                <a:gd name="connsiteY387" fmla="*/ 1108629 h 1215946"/>
                <a:gd name="connsiteX388" fmla="*/ 1244385 w 1732465"/>
                <a:gd name="connsiteY388" fmla="*/ 1103549 h 1215946"/>
                <a:gd name="connsiteX389" fmla="*/ 1251488 w 1732465"/>
                <a:gd name="connsiteY389" fmla="*/ 1099942 h 1215946"/>
                <a:gd name="connsiteX390" fmla="*/ 1253467 w 1732465"/>
                <a:gd name="connsiteY390" fmla="*/ 1104717 h 1215946"/>
                <a:gd name="connsiteX391" fmla="*/ 1260292 w 1732465"/>
                <a:gd name="connsiteY391" fmla="*/ 1096881 h 1215946"/>
                <a:gd name="connsiteX392" fmla="*/ 1254989 w 1732465"/>
                <a:gd name="connsiteY392" fmla="*/ 1087610 h 1215946"/>
                <a:gd name="connsiteX393" fmla="*/ 1265378 w 1732465"/>
                <a:gd name="connsiteY393" fmla="*/ 1081362 h 1215946"/>
                <a:gd name="connsiteX394" fmla="*/ 1267800 w 1732465"/>
                <a:gd name="connsiteY394" fmla="*/ 1085058 h 1215946"/>
                <a:gd name="connsiteX395" fmla="*/ 1272291 w 1732465"/>
                <a:gd name="connsiteY395" fmla="*/ 1081045 h 1215946"/>
                <a:gd name="connsiteX396" fmla="*/ 1279749 w 1732465"/>
                <a:gd name="connsiteY396" fmla="*/ 1082937 h 1215946"/>
                <a:gd name="connsiteX397" fmla="*/ 1281322 w 1732465"/>
                <a:gd name="connsiteY397" fmla="*/ 1078035 h 1215946"/>
                <a:gd name="connsiteX398" fmla="*/ 1277149 w 1732465"/>
                <a:gd name="connsiteY398" fmla="*/ 1074428 h 1215946"/>
                <a:gd name="connsiteX399" fmla="*/ 1280472 w 1732465"/>
                <a:gd name="connsiteY399" fmla="*/ 1074110 h 1215946"/>
                <a:gd name="connsiteX400" fmla="*/ 1282996 w 1732465"/>
                <a:gd name="connsiteY400" fmla="*/ 1074428 h 1215946"/>
                <a:gd name="connsiteX401" fmla="*/ 1286725 w 1732465"/>
                <a:gd name="connsiteY401" fmla="*/ 1073755 h 1215946"/>
                <a:gd name="connsiteX402" fmla="*/ 1289414 w 1732465"/>
                <a:gd name="connsiteY402" fmla="*/ 1069297 h 1215946"/>
                <a:gd name="connsiteX403" fmla="*/ 1285457 w 1732465"/>
                <a:gd name="connsiteY403" fmla="*/ 1063722 h 1215946"/>
                <a:gd name="connsiteX404" fmla="*/ 1290949 w 1732465"/>
                <a:gd name="connsiteY404" fmla="*/ 1065932 h 1215946"/>
                <a:gd name="connsiteX405" fmla="*/ 1292116 w 1732465"/>
                <a:gd name="connsiteY405" fmla="*/ 1067367 h 1215946"/>
                <a:gd name="connsiteX406" fmla="*/ 1293055 w 1732465"/>
                <a:gd name="connsiteY406" fmla="*/ 1066554 h 1215946"/>
                <a:gd name="connsiteX407" fmla="*/ 1297456 w 1732465"/>
                <a:gd name="connsiteY407" fmla="*/ 1064941 h 1215946"/>
                <a:gd name="connsiteX408" fmla="*/ 1294856 w 1732465"/>
                <a:gd name="connsiteY408" fmla="*/ 1062642 h 1215946"/>
                <a:gd name="connsiteX409" fmla="*/ 1301642 w 1732465"/>
                <a:gd name="connsiteY409" fmla="*/ 1056889 h 1215946"/>
                <a:gd name="connsiteX410" fmla="*/ 1302986 w 1732465"/>
                <a:gd name="connsiteY410" fmla="*/ 1059264 h 1215946"/>
                <a:gd name="connsiteX411" fmla="*/ 1304927 w 1732465"/>
                <a:gd name="connsiteY411" fmla="*/ 1056699 h 1215946"/>
                <a:gd name="connsiteX412" fmla="*/ 1307832 w 1732465"/>
                <a:gd name="connsiteY412" fmla="*/ 1059671 h 1215946"/>
                <a:gd name="connsiteX413" fmla="*/ 1302618 w 1732465"/>
                <a:gd name="connsiteY413" fmla="*/ 1039604 h 1215946"/>
                <a:gd name="connsiteX414" fmla="*/ 1305320 w 1732465"/>
                <a:gd name="connsiteY414" fmla="*/ 1025253 h 1215946"/>
                <a:gd name="connsiteX415" fmla="*/ 1310305 w 1732465"/>
                <a:gd name="connsiteY415" fmla="*/ 1020402 h 1215946"/>
                <a:gd name="connsiteX416" fmla="*/ 1306170 w 1732465"/>
                <a:gd name="connsiteY416" fmla="*/ 1017379 h 1215946"/>
                <a:gd name="connsiteX417" fmla="*/ 1309862 w 1732465"/>
                <a:gd name="connsiteY417" fmla="*/ 1017557 h 1215946"/>
                <a:gd name="connsiteX418" fmla="*/ 1310001 w 1732465"/>
                <a:gd name="connsiteY418" fmla="*/ 1016122 h 1215946"/>
                <a:gd name="connsiteX419" fmla="*/ 1314846 w 1732465"/>
                <a:gd name="connsiteY419" fmla="*/ 1018776 h 1215946"/>
                <a:gd name="connsiteX420" fmla="*/ 1319793 w 1732465"/>
                <a:gd name="connsiteY420" fmla="*/ 1014459 h 1215946"/>
                <a:gd name="connsiteX421" fmla="*/ 1324563 w 1732465"/>
                <a:gd name="connsiteY421" fmla="*/ 1009417 h 1215946"/>
                <a:gd name="connsiteX422" fmla="*/ 1322228 w 1732465"/>
                <a:gd name="connsiteY422" fmla="*/ 1008604 h 1215946"/>
                <a:gd name="connsiteX423" fmla="*/ 1324879 w 1732465"/>
                <a:gd name="connsiteY423" fmla="*/ 1007435 h 1215946"/>
                <a:gd name="connsiteX424" fmla="*/ 1325552 w 1732465"/>
                <a:gd name="connsiteY424" fmla="*/ 1006000 h 1215946"/>
                <a:gd name="connsiteX425" fmla="*/ 1328241 w 1732465"/>
                <a:gd name="connsiteY425" fmla="*/ 1004425 h 1215946"/>
                <a:gd name="connsiteX426" fmla="*/ 1328241 w 1732465"/>
                <a:gd name="connsiteY426" fmla="*/ 1003346 h 1215946"/>
                <a:gd name="connsiteX427" fmla="*/ 1328025 w 1732465"/>
                <a:gd name="connsiteY427" fmla="*/ 1001365 h 1215946"/>
                <a:gd name="connsiteX428" fmla="*/ 1327619 w 1732465"/>
                <a:gd name="connsiteY428" fmla="*/ 1000780 h 1215946"/>
                <a:gd name="connsiteX429" fmla="*/ 1336739 w 1732465"/>
                <a:gd name="connsiteY429" fmla="*/ 987014 h 1215946"/>
                <a:gd name="connsiteX430" fmla="*/ 1338578 w 1732465"/>
                <a:gd name="connsiteY430" fmla="*/ 976714 h 1215946"/>
                <a:gd name="connsiteX431" fmla="*/ 1335433 w 1732465"/>
                <a:gd name="connsiteY431" fmla="*/ 974822 h 1215946"/>
                <a:gd name="connsiteX432" fmla="*/ 1353508 w 1732465"/>
                <a:gd name="connsiteY432" fmla="*/ 964420 h 1215946"/>
                <a:gd name="connsiteX433" fmla="*/ 1359431 w 1732465"/>
                <a:gd name="connsiteY433" fmla="*/ 965551 h 1215946"/>
                <a:gd name="connsiteX434" fmla="*/ 1354078 w 1732465"/>
                <a:gd name="connsiteY434" fmla="*/ 951962 h 1215946"/>
                <a:gd name="connsiteX435" fmla="*/ 1359977 w 1732465"/>
                <a:gd name="connsiteY435" fmla="*/ 946336 h 1215946"/>
                <a:gd name="connsiteX436" fmla="*/ 1364555 w 1732465"/>
                <a:gd name="connsiteY436" fmla="*/ 944405 h 1215946"/>
                <a:gd name="connsiteX437" fmla="*/ 1361815 w 1732465"/>
                <a:gd name="connsiteY437" fmla="*/ 942780 h 1215946"/>
                <a:gd name="connsiteX438" fmla="*/ 1357414 w 1732465"/>
                <a:gd name="connsiteY438" fmla="*/ 940570 h 1215946"/>
                <a:gd name="connsiteX439" fmla="*/ 1369540 w 1732465"/>
                <a:gd name="connsiteY439" fmla="*/ 933191 h 1215946"/>
                <a:gd name="connsiteX440" fmla="*/ 1373320 w 1732465"/>
                <a:gd name="connsiteY440" fmla="*/ 934906 h 1215946"/>
                <a:gd name="connsiteX441" fmla="*/ 1368602 w 1732465"/>
                <a:gd name="connsiteY441" fmla="*/ 924555 h 1215946"/>
                <a:gd name="connsiteX442" fmla="*/ 1368056 w 1732465"/>
                <a:gd name="connsiteY442" fmla="*/ 928835 h 1215946"/>
                <a:gd name="connsiteX443" fmla="*/ 1360560 w 1732465"/>
                <a:gd name="connsiteY443" fmla="*/ 929369 h 1215946"/>
                <a:gd name="connsiteX444" fmla="*/ 1358581 w 1732465"/>
                <a:gd name="connsiteY444" fmla="*/ 930588 h 1215946"/>
                <a:gd name="connsiteX445" fmla="*/ 1363706 w 1732465"/>
                <a:gd name="connsiteY445" fmla="*/ 926041 h 1215946"/>
                <a:gd name="connsiteX446" fmla="*/ 1366496 w 1732465"/>
                <a:gd name="connsiteY446" fmla="*/ 912859 h 1215946"/>
                <a:gd name="connsiteX447" fmla="*/ 1350273 w 1732465"/>
                <a:gd name="connsiteY447" fmla="*/ 900882 h 1215946"/>
                <a:gd name="connsiteX448" fmla="*/ 1336828 w 1732465"/>
                <a:gd name="connsiteY448" fmla="*/ 906153 h 1215946"/>
                <a:gd name="connsiteX449" fmla="*/ 1337462 w 1732465"/>
                <a:gd name="connsiteY449" fmla="*/ 903321 h 1215946"/>
                <a:gd name="connsiteX450" fmla="*/ 1322723 w 1732465"/>
                <a:gd name="connsiteY450" fmla="*/ 904984 h 1215946"/>
                <a:gd name="connsiteX451" fmla="*/ 1350222 w 1732465"/>
                <a:gd name="connsiteY451" fmla="*/ 890989 h 1215946"/>
                <a:gd name="connsiteX452" fmla="*/ 1324829 w 1732465"/>
                <a:gd name="connsiteY452" fmla="*/ 845853 h 1215946"/>
                <a:gd name="connsiteX453" fmla="*/ 1340659 w 1732465"/>
                <a:gd name="connsiteY453" fmla="*/ 844875 h 1215946"/>
                <a:gd name="connsiteX454" fmla="*/ 1357325 w 1732465"/>
                <a:gd name="connsiteY454" fmla="*/ 839960 h 1215946"/>
                <a:gd name="connsiteX455" fmla="*/ 1343347 w 1732465"/>
                <a:gd name="connsiteY455" fmla="*/ 823539 h 1215946"/>
                <a:gd name="connsiteX456" fmla="*/ 1332160 w 1732465"/>
                <a:gd name="connsiteY456" fmla="*/ 789884 h 1215946"/>
                <a:gd name="connsiteX457" fmla="*/ 1322495 w 1732465"/>
                <a:gd name="connsiteY457" fmla="*/ 712402 h 1215946"/>
                <a:gd name="connsiteX458" fmla="*/ 1320655 w 1732465"/>
                <a:gd name="connsiteY458" fmla="*/ 702140 h 1215946"/>
                <a:gd name="connsiteX459" fmla="*/ 1326313 w 1732465"/>
                <a:gd name="connsiteY459" fmla="*/ 699575 h 1215946"/>
                <a:gd name="connsiteX460" fmla="*/ 1341242 w 1732465"/>
                <a:gd name="connsiteY460" fmla="*/ 693225 h 1215946"/>
                <a:gd name="connsiteX461" fmla="*/ 1344603 w 1732465"/>
                <a:gd name="connsiteY461" fmla="*/ 693098 h 1215946"/>
                <a:gd name="connsiteX462" fmla="*/ 1339123 w 1732465"/>
                <a:gd name="connsiteY462" fmla="*/ 688284 h 1215946"/>
                <a:gd name="connsiteX463" fmla="*/ 1359038 w 1732465"/>
                <a:gd name="connsiteY463" fmla="*/ 680042 h 1215946"/>
                <a:gd name="connsiteX464" fmla="*/ 1360293 w 1732465"/>
                <a:gd name="connsiteY464" fmla="*/ 681477 h 1215946"/>
                <a:gd name="connsiteX465" fmla="*/ 1375312 w 1732465"/>
                <a:gd name="connsiteY465" fmla="*/ 677616 h 1215946"/>
                <a:gd name="connsiteX466" fmla="*/ 1385155 w 1732465"/>
                <a:gd name="connsiteY466" fmla="*/ 678925 h 1215946"/>
                <a:gd name="connsiteX467" fmla="*/ 1386043 w 1732465"/>
                <a:gd name="connsiteY467" fmla="*/ 676664 h 1215946"/>
                <a:gd name="connsiteX468" fmla="*/ 1386005 w 1732465"/>
                <a:gd name="connsiteY468" fmla="*/ 673794 h 1215946"/>
                <a:gd name="connsiteX469" fmla="*/ 1393907 w 1732465"/>
                <a:gd name="connsiteY469" fmla="*/ 659443 h 1215946"/>
                <a:gd name="connsiteX470" fmla="*/ 1356844 w 1732465"/>
                <a:gd name="connsiteY470" fmla="*/ 653270 h 1215946"/>
                <a:gd name="connsiteX471" fmla="*/ 1349689 w 1732465"/>
                <a:gd name="connsiteY471" fmla="*/ 650845 h 1215946"/>
                <a:gd name="connsiteX472" fmla="*/ 1290327 w 1732465"/>
                <a:gd name="connsiteY472" fmla="*/ 648330 h 1215946"/>
                <a:gd name="connsiteX473" fmla="*/ 1287905 w 1732465"/>
                <a:gd name="connsiteY473" fmla="*/ 634868 h 1215946"/>
                <a:gd name="connsiteX474" fmla="*/ 1248850 w 1732465"/>
                <a:gd name="connsiteY474" fmla="*/ 612592 h 1215946"/>
                <a:gd name="connsiteX475" fmla="*/ 1270693 w 1732465"/>
                <a:gd name="connsiteY475" fmla="*/ 601124 h 1215946"/>
                <a:gd name="connsiteX476" fmla="*/ 1286294 w 1732465"/>
                <a:gd name="connsiteY476" fmla="*/ 597441 h 1215946"/>
                <a:gd name="connsiteX477" fmla="*/ 1302517 w 1732465"/>
                <a:gd name="connsiteY477" fmla="*/ 572372 h 1215946"/>
                <a:gd name="connsiteX478" fmla="*/ 1346607 w 1732465"/>
                <a:gd name="connsiteY478" fmla="*/ 538844 h 1215946"/>
                <a:gd name="connsiteX479" fmla="*/ 1370821 w 1732465"/>
                <a:gd name="connsiteY479" fmla="*/ 528772 h 1215946"/>
                <a:gd name="connsiteX480" fmla="*/ 1360496 w 1732465"/>
                <a:gd name="connsiteY480" fmla="*/ 572054 h 1215946"/>
                <a:gd name="connsiteX481" fmla="*/ 1359367 w 1732465"/>
                <a:gd name="connsiteY481" fmla="*/ 579128 h 1215946"/>
                <a:gd name="connsiteX482" fmla="*/ 1354700 w 1732465"/>
                <a:gd name="connsiteY482" fmla="*/ 583890 h 1215946"/>
                <a:gd name="connsiteX483" fmla="*/ 1372445 w 1732465"/>
                <a:gd name="connsiteY483" fmla="*/ 586989 h 1215946"/>
                <a:gd name="connsiteX484" fmla="*/ 1363909 w 1732465"/>
                <a:gd name="connsiteY484" fmla="*/ 595905 h 1215946"/>
                <a:gd name="connsiteX485" fmla="*/ 1349296 w 1732465"/>
                <a:gd name="connsiteY485" fmla="*/ 610662 h 1215946"/>
                <a:gd name="connsiteX486" fmla="*/ 1362691 w 1732465"/>
                <a:gd name="connsiteY486" fmla="*/ 604414 h 1215946"/>
                <a:gd name="connsiteX487" fmla="*/ 1375857 w 1732465"/>
                <a:gd name="connsiteY487" fmla="*/ 599778 h 1215946"/>
                <a:gd name="connsiteX488" fmla="*/ 1414417 w 1732465"/>
                <a:gd name="connsiteY488" fmla="*/ 575343 h 1215946"/>
                <a:gd name="connsiteX489" fmla="*/ 1437121 w 1732465"/>
                <a:gd name="connsiteY489" fmla="*/ 569539 h 1215946"/>
                <a:gd name="connsiteX490" fmla="*/ 1441612 w 1732465"/>
                <a:gd name="connsiteY490" fmla="*/ 557970 h 1215946"/>
                <a:gd name="connsiteX491" fmla="*/ 1456529 w 1732465"/>
                <a:gd name="connsiteY491" fmla="*/ 547225 h 1215946"/>
                <a:gd name="connsiteX492" fmla="*/ 1467006 w 1732465"/>
                <a:gd name="connsiteY492" fmla="*/ 542145 h 1215946"/>
                <a:gd name="connsiteX493" fmla="*/ 1473880 w 1732465"/>
                <a:gd name="connsiteY493" fmla="*/ 537319 h 1215946"/>
                <a:gd name="connsiteX494" fmla="*/ 1488214 w 1732465"/>
                <a:gd name="connsiteY494" fmla="*/ 531604 h 1215946"/>
                <a:gd name="connsiteX495" fmla="*/ 1494276 w 1732465"/>
                <a:gd name="connsiteY495" fmla="*/ 523413 h 1215946"/>
                <a:gd name="connsiteX496" fmla="*/ 1502863 w 1732465"/>
                <a:gd name="connsiteY496" fmla="*/ 511805 h 1215946"/>
                <a:gd name="connsiteX497" fmla="*/ 1505464 w 1732465"/>
                <a:gd name="connsiteY497" fmla="*/ 502725 h 1215946"/>
                <a:gd name="connsiteX498" fmla="*/ 1514229 w 1732465"/>
                <a:gd name="connsiteY498" fmla="*/ 500109 h 1215946"/>
                <a:gd name="connsiteX499" fmla="*/ 1519036 w 1732465"/>
                <a:gd name="connsiteY499" fmla="*/ 508617 h 1215946"/>
                <a:gd name="connsiteX500" fmla="*/ 1535843 w 1732465"/>
                <a:gd name="connsiteY500" fmla="*/ 511818 h 1215946"/>
                <a:gd name="connsiteX501" fmla="*/ 1546142 w 1732465"/>
                <a:gd name="connsiteY501" fmla="*/ 513342 h 1215946"/>
                <a:gd name="connsiteX502" fmla="*/ 1549326 w 1732465"/>
                <a:gd name="connsiteY502" fmla="*/ 507805 h 1215946"/>
                <a:gd name="connsiteX503" fmla="*/ 1546358 w 1732465"/>
                <a:gd name="connsiteY503" fmla="*/ 496108 h 1215946"/>
                <a:gd name="connsiteX504" fmla="*/ 1551977 w 1732465"/>
                <a:gd name="connsiteY504" fmla="*/ 488767 h 1215946"/>
                <a:gd name="connsiteX505" fmla="*/ 1567617 w 1732465"/>
                <a:gd name="connsiteY505" fmla="*/ 489352 h 1215946"/>
                <a:gd name="connsiteX506" fmla="*/ 1577422 w 1732465"/>
                <a:gd name="connsiteY506" fmla="*/ 481795 h 1215946"/>
                <a:gd name="connsiteX507" fmla="*/ 1580744 w 1732465"/>
                <a:gd name="connsiteY507" fmla="*/ 475369 h 1215946"/>
                <a:gd name="connsiteX508" fmla="*/ 1588926 w 1732465"/>
                <a:gd name="connsiteY508" fmla="*/ 473743 h 1215946"/>
                <a:gd name="connsiteX509" fmla="*/ 1594050 w 1732465"/>
                <a:gd name="connsiteY509" fmla="*/ 469552 h 1215946"/>
                <a:gd name="connsiteX510" fmla="*/ 1595661 w 1732465"/>
                <a:gd name="connsiteY510" fmla="*/ 458072 h 1215946"/>
                <a:gd name="connsiteX511" fmla="*/ 1599213 w 1732465"/>
                <a:gd name="connsiteY511" fmla="*/ 452814 h 1215946"/>
                <a:gd name="connsiteX512" fmla="*/ 1608155 w 1732465"/>
                <a:gd name="connsiteY512" fmla="*/ 457271 h 1215946"/>
                <a:gd name="connsiteX513" fmla="*/ 1612518 w 1732465"/>
                <a:gd name="connsiteY513" fmla="*/ 462618 h 1215946"/>
                <a:gd name="connsiteX514" fmla="*/ 1624289 w 1732465"/>
                <a:gd name="connsiteY514" fmla="*/ 461628 h 1215946"/>
                <a:gd name="connsiteX515" fmla="*/ 1633460 w 1732465"/>
                <a:gd name="connsiteY515" fmla="*/ 446197 h 1215946"/>
                <a:gd name="connsiteX516" fmla="*/ 1634132 w 1732465"/>
                <a:gd name="connsiteY516" fmla="*/ 428696 h 1215946"/>
                <a:gd name="connsiteX517" fmla="*/ 1630263 w 1732465"/>
                <a:gd name="connsiteY517" fmla="*/ 376144 h 1215946"/>
                <a:gd name="connsiteX518" fmla="*/ 1634044 w 1732465"/>
                <a:gd name="connsiteY518" fmla="*/ 374785 h 1215946"/>
                <a:gd name="connsiteX519" fmla="*/ 1640563 w 1732465"/>
                <a:gd name="connsiteY519" fmla="*/ 372537 h 1215946"/>
                <a:gd name="connsiteX520" fmla="*/ 1647704 w 1732465"/>
                <a:gd name="connsiteY520" fmla="*/ 366238 h 1215946"/>
                <a:gd name="connsiteX521" fmla="*/ 1653857 w 1732465"/>
                <a:gd name="connsiteY521" fmla="*/ 360027 h 1215946"/>
                <a:gd name="connsiteX522" fmla="*/ 1661454 w 1732465"/>
                <a:gd name="connsiteY522" fmla="*/ 363088 h 1215946"/>
                <a:gd name="connsiteX523" fmla="*/ 1681280 w 1732465"/>
                <a:gd name="connsiteY523" fmla="*/ 367597 h 1215946"/>
                <a:gd name="connsiteX524" fmla="*/ 1680785 w 1732465"/>
                <a:gd name="connsiteY524" fmla="*/ 372042 h 1215946"/>
                <a:gd name="connsiteX525" fmla="*/ 1680785 w 1732465"/>
                <a:gd name="connsiteY525" fmla="*/ 372092 h 1215946"/>
                <a:gd name="connsiteX526" fmla="*/ 1685047 w 1732465"/>
                <a:gd name="connsiteY526" fmla="*/ 371826 h 1215946"/>
                <a:gd name="connsiteX527" fmla="*/ 1692734 w 1732465"/>
                <a:gd name="connsiteY527" fmla="*/ 355125 h 1215946"/>
                <a:gd name="connsiteX528" fmla="*/ 1700103 w 1732465"/>
                <a:gd name="connsiteY528" fmla="*/ 335872 h 1215946"/>
                <a:gd name="connsiteX529" fmla="*/ 1707028 w 1732465"/>
                <a:gd name="connsiteY529" fmla="*/ 327007 h 1215946"/>
                <a:gd name="connsiteX530" fmla="*/ 1710123 w 1732465"/>
                <a:gd name="connsiteY530" fmla="*/ 314003 h 1215946"/>
                <a:gd name="connsiteX531" fmla="*/ 1722440 w 1732465"/>
                <a:gd name="connsiteY531" fmla="*/ 274175 h 1215946"/>
                <a:gd name="connsiteX532" fmla="*/ 1732333 w 1732465"/>
                <a:gd name="connsiteY532" fmla="*/ 259672 h 1215946"/>
                <a:gd name="connsiteX533" fmla="*/ 1138143 w 1732465"/>
                <a:gd name="connsiteY533" fmla="*/ 1128809 h 1215946"/>
                <a:gd name="connsiteX534" fmla="*/ 1136164 w 1732465"/>
                <a:gd name="connsiteY534" fmla="*/ 1129394 h 1215946"/>
                <a:gd name="connsiteX535" fmla="*/ 1138041 w 1732465"/>
                <a:gd name="connsiteY535" fmla="*/ 1128454 h 1215946"/>
                <a:gd name="connsiteX536" fmla="*/ 1138993 w 1732465"/>
                <a:gd name="connsiteY536" fmla="*/ 1128136 h 1215946"/>
                <a:gd name="connsiteX537" fmla="*/ 1139982 w 1732465"/>
                <a:gd name="connsiteY537" fmla="*/ 1127997 h 1215946"/>
                <a:gd name="connsiteX538" fmla="*/ 1142633 w 1732465"/>
                <a:gd name="connsiteY538" fmla="*/ 1129038 h 1215946"/>
                <a:gd name="connsiteX539" fmla="*/ 1138143 w 1732465"/>
                <a:gd name="connsiteY539" fmla="*/ 1128809 h 1215946"/>
                <a:gd name="connsiteX540" fmla="*/ 1336371 w 1732465"/>
                <a:gd name="connsiteY540" fmla="*/ 907067 h 1215946"/>
                <a:gd name="connsiteX541" fmla="*/ 1336637 w 1732465"/>
                <a:gd name="connsiteY541" fmla="*/ 906521 h 1215946"/>
                <a:gd name="connsiteX542" fmla="*/ 1340100 w 1732465"/>
                <a:gd name="connsiteY542" fmla="*/ 909366 h 1215946"/>
                <a:gd name="connsiteX543" fmla="*/ 1336460 w 1732465"/>
                <a:gd name="connsiteY543" fmla="*/ 908096 h 1215946"/>
                <a:gd name="connsiteX544" fmla="*/ 1336371 w 1732465"/>
                <a:gd name="connsiteY544" fmla="*/ 907067 h 1215946"/>
                <a:gd name="connsiteX545" fmla="*/ 1325805 w 1732465"/>
                <a:gd name="connsiteY545" fmla="*/ 999574 h 1215946"/>
                <a:gd name="connsiteX546" fmla="*/ 1327150 w 1732465"/>
                <a:gd name="connsiteY546" fmla="*/ 1000476 h 1215946"/>
                <a:gd name="connsiteX547" fmla="*/ 1322622 w 1732465"/>
                <a:gd name="connsiteY547" fmla="*/ 1000387 h 1215946"/>
                <a:gd name="connsiteX548" fmla="*/ 1325805 w 1732465"/>
                <a:gd name="connsiteY548" fmla="*/ 999574 h 1215946"/>
                <a:gd name="connsiteX549" fmla="*/ 1314795 w 1732465"/>
                <a:gd name="connsiteY549" fmla="*/ 838983 h 1215946"/>
                <a:gd name="connsiteX550" fmla="*/ 1315429 w 1732465"/>
                <a:gd name="connsiteY550" fmla="*/ 842221 h 1215946"/>
                <a:gd name="connsiteX551" fmla="*/ 1306487 w 1732465"/>
                <a:gd name="connsiteY551" fmla="*/ 839033 h 1215946"/>
                <a:gd name="connsiteX552" fmla="*/ 1314795 w 1732465"/>
                <a:gd name="connsiteY552" fmla="*/ 838995 h 1215946"/>
                <a:gd name="connsiteX553" fmla="*/ 1301274 w 1732465"/>
                <a:gd name="connsiteY553" fmla="*/ 1039757 h 1215946"/>
                <a:gd name="connsiteX554" fmla="*/ 1296276 w 1732465"/>
                <a:gd name="connsiteY554" fmla="*/ 1040570 h 1215946"/>
                <a:gd name="connsiteX555" fmla="*/ 1301274 w 1732465"/>
                <a:gd name="connsiteY555" fmla="*/ 1039757 h 1215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</a:cxnLst>
              <a:rect l="l" t="t" r="r" b="b"/>
              <a:pathLst>
                <a:path w="1732465" h="1215946">
                  <a:moveTo>
                    <a:pt x="1732333" y="259672"/>
                  </a:moveTo>
                  <a:cubicBezTo>
                    <a:pt x="1731484" y="250579"/>
                    <a:pt x="1733500" y="240724"/>
                    <a:pt x="1730088" y="238425"/>
                  </a:cubicBezTo>
                  <a:cubicBezTo>
                    <a:pt x="1727018" y="235694"/>
                    <a:pt x="1722820" y="234602"/>
                    <a:pt x="1718812" y="235504"/>
                  </a:cubicBezTo>
                  <a:cubicBezTo>
                    <a:pt x="1713815" y="236634"/>
                    <a:pt x="1705189" y="235326"/>
                    <a:pt x="1701993" y="239466"/>
                  </a:cubicBezTo>
                  <a:cubicBezTo>
                    <a:pt x="1698809" y="243607"/>
                    <a:pt x="1700014" y="245677"/>
                    <a:pt x="1694852" y="245727"/>
                  </a:cubicBezTo>
                  <a:cubicBezTo>
                    <a:pt x="1689728" y="245766"/>
                    <a:pt x="1689410" y="242527"/>
                    <a:pt x="1685009" y="246312"/>
                  </a:cubicBezTo>
                  <a:cubicBezTo>
                    <a:pt x="1682345" y="248128"/>
                    <a:pt x="1679973" y="250363"/>
                    <a:pt x="1678007" y="252916"/>
                  </a:cubicBezTo>
                  <a:cubicBezTo>
                    <a:pt x="1675254" y="256472"/>
                    <a:pt x="1672426" y="261780"/>
                    <a:pt x="1667390" y="261831"/>
                  </a:cubicBezTo>
                  <a:cubicBezTo>
                    <a:pt x="1662405" y="261831"/>
                    <a:pt x="1664156" y="260205"/>
                    <a:pt x="1657104" y="261831"/>
                  </a:cubicBezTo>
                  <a:cubicBezTo>
                    <a:pt x="1650051" y="263444"/>
                    <a:pt x="1648834" y="267952"/>
                    <a:pt x="1644115" y="264346"/>
                  </a:cubicBezTo>
                  <a:cubicBezTo>
                    <a:pt x="1639345" y="260790"/>
                    <a:pt x="1640741" y="260574"/>
                    <a:pt x="1636301" y="261196"/>
                  </a:cubicBezTo>
                  <a:cubicBezTo>
                    <a:pt x="1631849" y="261831"/>
                    <a:pt x="1628932" y="264117"/>
                    <a:pt x="1625824" y="257335"/>
                  </a:cubicBezTo>
                  <a:cubicBezTo>
                    <a:pt x="1623186" y="251760"/>
                    <a:pt x="1621905" y="245639"/>
                    <a:pt x="1622095" y="239466"/>
                  </a:cubicBezTo>
                  <a:cubicBezTo>
                    <a:pt x="1621689" y="231275"/>
                    <a:pt x="1619216" y="233218"/>
                    <a:pt x="1617782" y="226906"/>
                  </a:cubicBezTo>
                  <a:cubicBezTo>
                    <a:pt x="1616299" y="220569"/>
                    <a:pt x="1620573" y="221102"/>
                    <a:pt x="1618721" y="217330"/>
                  </a:cubicBezTo>
                  <a:cubicBezTo>
                    <a:pt x="1616933" y="214003"/>
                    <a:pt x="1613508" y="211869"/>
                    <a:pt x="1609741" y="211755"/>
                  </a:cubicBezTo>
                  <a:cubicBezTo>
                    <a:pt x="1606138" y="210587"/>
                    <a:pt x="1602854" y="208643"/>
                    <a:pt x="1600075" y="206078"/>
                  </a:cubicBezTo>
                  <a:cubicBezTo>
                    <a:pt x="1598705" y="201633"/>
                    <a:pt x="1595788" y="197836"/>
                    <a:pt x="1591856" y="195372"/>
                  </a:cubicBezTo>
                  <a:cubicBezTo>
                    <a:pt x="1585781" y="192133"/>
                    <a:pt x="1591362" y="185974"/>
                    <a:pt x="1582140" y="187180"/>
                  </a:cubicBezTo>
                  <a:cubicBezTo>
                    <a:pt x="1572931" y="188349"/>
                    <a:pt x="1571219" y="192756"/>
                    <a:pt x="1567807" y="188704"/>
                  </a:cubicBezTo>
                  <a:cubicBezTo>
                    <a:pt x="1564357" y="184615"/>
                    <a:pt x="1566373" y="181770"/>
                    <a:pt x="1560526" y="182367"/>
                  </a:cubicBezTo>
                  <a:cubicBezTo>
                    <a:pt x="1555795" y="183421"/>
                    <a:pt x="1550911" y="183650"/>
                    <a:pt x="1546105" y="183040"/>
                  </a:cubicBezTo>
                  <a:cubicBezTo>
                    <a:pt x="1543085" y="182240"/>
                    <a:pt x="1540345" y="180615"/>
                    <a:pt x="1538202" y="178354"/>
                  </a:cubicBezTo>
                  <a:cubicBezTo>
                    <a:pt x="1538202" y="178354"/>
                    <a:pt x="1516449" y="110726"/>
                    <a:pt x="1513341" y="106091"/>
                  </a:cubicBezTo>
                  <a:cubicBezTo>
                    <a:pt x="1510880" y="101138"/>
                    <a:pt x="1509079" y="95867"/>
                    <a:pt x="1508001" y="90432"/>
                  </a:cubicBezTo>
                  <a:cubicBezTo>
                    <a:pt x="1504272" y="76411"/>
                    <a:pt x="1499680" y="62632"/>
                    <a:pt x="1494251" y="49175"/>
                  </a:cubicBezTo>
                  <a:cubicBezTo>
                    <a:pt x="1490421" y="43551"/>
                    <a:pt x="1497117" y="46926"/>
                    <a:pt x="1489748" y="40131"/>
                  </a:cubicBezTo>
                  <a:cubicBezTo>
                    <a:pt x="1482379" y="33336"/>
                    <a:pt x="1483952" y="36486"/>
                    <a:pt x="1481301" y="30098"/>
                  </a:cubicBezTo>
                  <a:cubicBezTo>
                    <a:pt x="1478649" y="23710"/>
                    <a:pt x="1481796" y="20288"/>
                    <a:pt x="1476227" y="21189"/>
                  </a:cubicBezTo>
                  <a:cubicBezTo>
                    <a:pt x="1470608" y="22088"/>
                    <a:pt x="1470113" y="20244"/>
                    <a:pt x="1465268" y="18759"/>
                  </a:cubicBezTo>
                  <a:cubicBezTo>
                    <a:pt x="1460461" y="17274"/>
                    <a:pt x="1458609" y="15654"/>
                    <a:pt x="1455780" y="17274"/>
                  </a:cubicBezTo>
                  <a:cubicBezTo>
                    <a:pt x="1452951" y="18850"/>
                    <a:pt x="1449349" y="20244"/>
                    <a:pt x="1447650" y="18759"/>
                  </a:cubicBezTo>
                  <a:cubicBezTo>
                    <a:pt x="1445988" y="17274"/>
                    <a:pt x="1445582" y="17139"/>
                    <a:pt x="1440686" y="13179"/>
                  </a:cubicBezTo>
                  <a:cubicBezTo>
                    <a:pt x="1435777" y="9219"/>
                    <a:pt x="1436995" y="10974"/>
                    <a:pt x="1431300" y="6880"/>
                  </a:cubicBezTo>
                  <a:cubicBezTo>
                    <a:pt x="1425630" y="2785"/>
                    <a:pt x="1431515" y="5981"/>
                    <a:pt x="1425630" y="2785"/>
                  </a:cubicBezTo>
                  <a:cubicBezTo>
                    <a:pt x="1419744" y="-454"/>
                    <a:pt x="1423245" y="311"/>
                    <a:pt x="1416370" y="221"/>
                  </a:cubicBezTo>
                  <a:cubicBezTo>
                    <a:pt x="1413225" y="-72"/>
                    <a:pt x="1410041" y="-72"/>
                    <a:pt x="1406895" y="221"/>
                  </a:cubicBezTo>
                  <a:cubicBezTo>
                    <a:pt x="1400464" y="626"/>
                    <a:pt x="1404460" y="3904"/>
                    <a:pt x="1398169" y="4406"/>
                  </a:cubicBezTo>
                  <a:cubicBezTo>
                    <a:pt x="1391877" y="4946"/>
                    <a:pt x="1395695" y="8230"/>
                    <a:pt x="1387881" y="5530"/>
                  </a:cubicBezTo>
                  <a:cubicBezTo>
                    <a:pt x="1380106" y="2785"/>
                    <a:pt x="1389188" y="-454"/>
                    <a:pt x="1380106" y="2785"/>
                  </a:cubicBezTo>
                  <a:cubicBezTo>
                    <a:pt x="1370986" y="5981"/>
                    <a:pt x="1369097" y="7915"/>
                    <a:pt x="1364962" y="9084"/>
                  </a:cubicBezTo>
                  <a:cubicBezTo>
                    <a:pt x="1362285" y="9731"/>
                    <a:pt x="1359570" y="10212"/>
                    <a:pt x="1356830" y="10525"/>
                  </a:cubicBezTo>
                  <a:cubicBezTo>
                    <a:pt x="1354167" y="10953"/>
                    <a:pt x="1351529" y="11523"/>
                    <a:pt x="1348916" y="12234"/>
                  </a:cubicBezTo>
                  <a:cubicBezTo>
                    <a:pt x="1345199" y="13039"/>
                    <a:pt x="1341724" y="14740"/>
                    <a:pt x="1338807" y="17187"/>
                  </a:cubicBezTo>
                  <a:cubicBezTo>
                    <a:pt x="1331741" y="21364"/>
                    <a:pt x="1326046" y="27529"/>
                    <a:pt x="1322444" y="34915"/>
                  </a:cubicBezTo>
                  <a:cubicBezTo>
                    <a:pt x="1320059" y="42474"/>
                    <a:pt x="1315252" y="39233"/>
                    <a:pt x="1320059" y="42474"/>
                  </a:cubicBezTo>
                  <a:cubicBezTo>
                    <a:pt x="1324917" y="45714"/>
                    <a:pt x="1329230" y="43329"/>
                    <a:pt x="1331881" y="45039"/>
                  </a:cubicBezTo>
                  <a:cubicBezTo>
                    <a:pt x="1335636" y="46877"/>
                    <a:pt x="1338109" y="50619"/>
                    <a:pt x="1338312" y="54803"/>
                  </a:cubicBezTo>
                  <a:cubicBezTo>
                    <a:pt x="1338312" y="60155"/>
                    <a:pt x="1341495" y="64473"/>
                    <a:pt x="1337234" y="69832"/>
                  </a:cubicBezTo>
                  <a:cubicBezTo>
                    <a:pt x="1332959" y="75192"/>
                    <a:pt x="1332731" y="73617"/>
                    <a:pt x="1326934" y="78697"/>
                  </a:cubicBezTo>
                  <a:cubicBezTo>
                    <a:pt x="1322634" y="82342"/>
                    <a:pt x="1319108" y="86800"/>
                    <a:pt x="1316558" y="91829"/>
                  </a:cubicBezTo>
                  <a:cubicBezTo>
                    <a:pt x="1314174" y="96109"/>
                    <a:pt x="1308783" y="111146"/>
                    <a:pt x="1307476" y="114333"/>
                  </a:cubicBezTo>
                  <a:cubicBezTo>
                    <a:pt x="1305929" y="120798"/>
                    <a:pt x="1303722" y="127084"/>
                    <a:pt x="1300868" y="133091"/>
                  </a:cubicBezTo>
                  <a:cubicBezTo>
                    <a:pt x="1297595" y="137955"/>
                    <a:pt x="1290810" y="142235"/>
                    <a:pt x="1294488" y="145474"/>
                  </a:cubicBezTo>
                  <a:cubicBezTo>
                    <a:pt x="1298128" y="148661"/>
                    <a:pt x="1299879" y="148484"/>
                    <a:pt x="1298166" y="151506"/>
                  </a:cubicBezTo>
                  <a:cubicBezTo>
                    <a:pt x="1296505" y="154554"/>
                    <a:pt x="1300551" y="161488"/>
                    <a:pt x="1293182" y="163114"/>
                  </a:cubicBezTo>
                  <a:cubicBezTo>
                    <a:pt x="1288450" y="163546"/>
                    <a:pt x="1283872" y="164981"/>
                    <a:pt x="1279749" y="167343"/>
                  </a:cubicBezTo>
                  <a:cubicBezTo>
                    <a:pt x="1270261" y="171750"/>
                    <a:pt x="1271124" y="175306"/>
                    <a:pt x="1261864" y="178367"/>
                  </a:cubicBezTo>
                  <a:cubicBezTo>
                    <a:pt x="1252554" y="181377"/>
                    <a:pt x="1249497" y="183942"/>
                    <a:pt x="1243523" y="181605"/>
                  </a:cubicBezTo>
                  <a:cubicBezTo>
                    <a:pt x="1237586" y="179268"/>
                    <a:pt x="1235976" y="176881"/>
                    <a:pt x="1231701" y="175662"/>
                  </a:cubicBezTo>
                  <a:cubicBezTo>
                    <a:pt x="1227389" y="174404"/>
                    <a:pt x="1224877" y="174442"/>
                    <a:pt x="1223203" y="173096"/>
                  </a:cubicBezTo>
                  <a:cubicBezTo>
                    <a:pt x="1223203" y="173096"/>
                    <a:pt x="1221186" y="179484"/>
                    <a:pt x="1219334" y="184120"/>
                  </a:cubicBezTo>
                  <a:cubicBezTo>
                    <a:pt x="1217457" y="188717"/>
                    <a:pt x="1215072" y="193162"/>
                    <a:pt x="1210721" y="201531"/>
                  </a:cubicBezTo>
                  <a:cubicBezTo>
                    <a:pt x="1204874" y="212517"/>
                    <a:pt x="1199686" y="223845"/>
                    <a:pt x="1195209" y="235466"/>
                  </a:cubicBezTo>
                  <a:cubicBezTo>
                    <a:pt x="1188334" y="252789"/>
                    <a:pt x="1197454" y="258593"/>
                    <a:pt x="1197948" y="263406"/>
                  </a:cubicBezTo>
                  <a:cubicBezTo>
                    <a:pt x="1198405" y="268257"/>
                    <a:pt x="1204785" y="260612"/>
                    <a:pt x="1208641" y="257056"/>
                  </a:cubicBezTo>
                  <a:cubicBezTo>
                    <a:pt x="1212510" y="253500"/>
                    <a:pt x="1211115" y="255887"/>
                    <a:pt x="1217153" y="257056"/>
                  </a:cubicBezTo>
                  <a:cubicBezTo>
                    <a:pt x="1223177" y="258224"/>
                    <a:pt x="1225460" y="255481"/>
                    <a:pt x="1231308" y="256472"/>
                  </a:cubicBezTo>
                  <a:cubicBezTo>
                    <a:pt x="1237105" y="257462"/>
                    <a:pt x="1236153" y="259926"/>
                    <a:pt x="1242813" y="263393"/>
                  </a:cubicBezTo>
                  <a:cubicBezTo>
                    <a:pt x="1249408" y="266911"/>
                    <a:pt x="1249370" y="251112"/>
                    <a:pt x="1255662" y="249893"/>
                  </a:cubicBezTo>
                  <a:cubicBezTo>
                    <a:pt x="1259099" y="249258"/>
                    <a:pt x="1262587" y="248928"/>
                    <a:pt x="1266088" y="248902"/>
                  </a:cubicBezTo>
                  <a:cubicBezTo>
                    <a:pt x="1269056" y="248547"/>
                    <a:pt x="1271973" y="251925"/>
                    <a:pt x="1273864" y="252954"/>
                  </a:cubicBezTo>
                  <a:cubicBezTo>
                    <a:pt x="1275753" y="254033"/>
                    <a:pt x="1293409" y="267178"/>
                    <a:pt x="1303025" y="272042"/>
                  </a:cubicBezTo>
                  <a:cubicBezTo>
                    <a:pt x="1312690" y="276893"/>
                    <a:pt x="1313273" y="301595"/>
                    <a:pt x="1312956" y="306408"/>
                  </a:cubicBezTo>
                  <a:cubicBezTo>
                    <a:pt x="1312639" y="311221"/>
                    <a:pt x="1306348" y="307716"/>
                    <a:pt x="1298268" y="308034"/>
                  </a:cubicBezTo>
                  <a:cubicBezTo>
                    <a:pt x="1290176" y="308389"/>
                    <a:pt x="1296111" y="307488"/>
                    <a:pt x="1288336" y="302725"/>
                  </a:cubicBezTo>
                  <a:cubicBezTo>
                    <a:pt x="1280599" y="298001"/>
                    <a:pt x="1282755" y="303944"/>
                    <a:pt x="1271885" y="303538"/>
                  </a:cubicBezTo>
                  <a:cubicBezTo>
                    <a:pt x="1261015" y="303131"/>
                    <a:pt x="1267699" y="303843"/>
                    <a:pt x="1260874" y="309151"/>
                  </a:cubicBezTo>
                  <a:cubicBezTo>
                    <a:pt x="1254051" y="314473"/>
                    <a:pt x="1255750" y="310637"/>
                    <a:pt x="1248647" y="308389"/>
                  </a:cubicBezTo>
                  <a:cubicBezTo>
                    <a:pt x="1241544" y="306103"/>
                    <a:pt x="1243308" y="313660"/>
                    <a:pt x="1241100" y="313977"/>
                  </a:cubicBezTo>
                  <a:cubicBezTo>
                    <a:pt x="1238944" y="314333"/>
                    <a:pt x="1234365" y="314968"/>
                    <a:pt x="1223622" y="317305"/>
                  </a:cubicBezTo>
                  <a:cubicBezTo>
                    <a:pt x="1212840" y="319641"/>
                    <a:pt x="1215758" y="327922"/>
                    <a:pt x="1213728" y="329408"/>
                  </a:cubicBezTo>
                  <a:cubicBezTo>
                    <a:pt x="1211711" y="330932"/>
                    <a:pt x="1206726" y="345651"/>
                    <a:pt x="1197961" y="352306"/>
                  </a:cubicBezTo>
                  <a:cubicBezTo>
                    <a:pt x="1191175" y="357551"/>
                    <a:pt x="1182220" y="359050"/>
                    <a:pt x="1174090" y="356319"/>
                  </a:cubicBezTo>
                  <a:cubicBezTo>
                    <a:pt x="1166682" y="354693"/>
                    <a:pt x="1170233" y="357170"/>
                    <a:pt x="1164932" y="358478"/>
                  </a:cubicBezTo>
                  <a:cubicBezTo>
                    <a:pt x="1159617" y="359824"/>
                    <a:pt x="1143585" y="379268"/>
                    <a:pt x="1141022" y="379852"/>
                  </a:cubicBezTo>
                  <a:cubicBezTo>
                    <a:pt x="1134705" y="381694"/>
                    <a:pt x="1128071" y="382176"/>
                    <a:pt x="1121564" y="381249"/>
                  </a:cubicBezTo>
                  <a:cubicBezTo>
                    <a:pt x="1113967" y="379814"/>
                    <a:pt x="1106991" y="376131"/>
                    <a:pt x="1101523" y="370670"/>
                  </a:cubicBezTo>
                  <a:cubicBezTo>
                    <a:pt x="1095093" y="365133"/>
                    <a:pt x="1091097" y="369997"/>
                    <a:pt x="1081787" y="377287"/>
                  </a:cubicBezTo>
                  <a:cubicBezTo>
                    <a:pt x="1072489" y="384577"/>
                    <a:pt x="1081153" y="398077"/>
                    <a:pt x="1083182" y="411348"/>
                  </a:cubicBezTo>
                  <a:cubicBezTo>
                    <a:pt x="1085211" y="424620"/>
                    <a:pt x="1087000" y="422778"/>
                    <a:pt x="1084311" y="426156"/>
                  </a:cubicBezTo>
                  <a:cubicBezTo>
                    <a:pt x="1081571" y="429522"/>
                    <a:pt x="1070194" y="435783"/>
                    <a:pt x="1063103" y="442031"/>
                  </a:cubicBezTo>
                  <a:cubicBezTo>
                    <a:pt x="1049823" y="453677"/>
                    <a:pt x="1035426" y="463990"/>
                    <a:pt x="1020142" y="472816"/>
                  </a:cubicBezTo>
                  <a:cubicBezTo>
                    <a:pt x="1006608" y="479382"/>
                    <a:pt x="1012861" y="474302"/>
                    <a:pt x="1000139" y="472816"/>
                  </a:cubicBezTo>
                  <a:cubicBezTo>
                    <a:pt x="989687" y="471356"/>
                    <a:pt x="979083" y="471495"/>
                    <a:pt x="968682" y="473223"/>
                  </a:cubicBezTo>
                  <a:cubicBezTo>
                    <a:pt x="954995" y="474632"/>
                    <a:pt x="941703" y="478671"/>
                    <a:pt x="929539" y="485097"/>
                  </a:cubicBezTo>
                  <a:cubicBezTo>
                    <a:pt x="916360" y="491244"/>
                    <a:pt x="903650" y="498331"/>
                    <a:pt x="891473" y="506293"/>
                  </a:cubicBezTo>
                  <a:cubicBezTo>
                    <a:pt x="888594" y="508541"/>
                    <a:pt x="888467" y="504439"/>
                    <a:pt x="878751" y="502775"/>
                  </a:cubicBezTo>
                  <a:cubicBezTo>
                    <a:pt x="869047" y="501163"/>
                    <a:pt x="878079" y="495486"/>
                    <a:pt x="877318" y="495308"/>
                  </a:cubicBezTo>
                  <a:cubicBezTo>
                    <a:pt x="872054" y="496400"/>
                    <a:pt x="866726" y="497175"/>
                    <a:pt x="861361" y="497657"/>
                  </a:cubicBezTo>
                  <a:cubicBezTo>
                    <a:pt x="854511" y="497365"/>
                    <a:pt x="847789" y="495600"/>
                    <a:pt x="841675" y="492476"/>
                  </a:cubicBezTo>
                  <a:cubicBezTo>
                    <a:pt x="836462" y="489593"/>
                    <a:pt x="822395" y="484424"/>
                    <a:pt x="822395" y="484424"/>
                  </a:cubicBezTo>
                  <a:cubicBezTo>
                    <a:pt x="822395" y="484424"/>
                    <a:pt x="794262" y="471914"/>
                    <a:pt x="790406" y="469756"/>
                  </a:cubicBezTo>
                  <a:cubicBezTo>
                    <a:pt x="786588" y="467546"/>
                    <a:pt x="778762" y="469298"/>
                    <a:pt x="770454" y="466834"/>
                  </a:cubicBezTo>
                  <a:cubicBezTo>
                    <a:pt x="763059" y="465310"/>
                    <a:pt x="755511" y="464764"/>
                    <a:pt x="747977" y="465209"/>
                  </a:cubicBezTo>
                  <a:cubicBezTo>
                    <a:pt x="738274" y="464574"/>
                    <a:pt x="738400" y="468130"/>
                    <a:pt x="735305" y="467508"/>
                  </a:cubicBezTo>
                  <a:cubicBezTo>
                    <a:pt x="732160" y="466834"/>
                    <a:pt x="725919" y="467736"/>
                    <a:pt x="719222" y="466834"/>
                  </a:cubicBezTo>
                  <a:cubicBezTo>
                    <a:pt x="712474" y="465933"/>
                    <a:pt x="695579" y="463685"/>
                    <a:pt x="687803" y="462961"/>
                  </a:cubicBezTo>
                  <a:cubicBezTo>
                    <a:pt x="680079" y="462237"/>
                    <a:pt x="673509" y="460764"/>
                    <a:pt x="662232" y="460396"/>
                  </a:cubicBezTo>
                  <a:cubicBezTo>
                    <a:pt x="650994" y="460040"/>
                    <a:pt x="650550" y="462555"/>
                    <a:pt x="646555" y="460396"/>
                  </a:cubicBezTo>
                  <a:cubicBezTo>
                    <a:pt x="642597" y="458237"/>
                    <a:pt x="641202" y="450413"/>
                    <a:pt x="640213" y="448750"/>
                  </a:cubicBezTo>
                  <a:cubicBezTo>
                    <a:pt x="639223" y="447124"/>
                    <a:pt x="628568" y="430119"/>
                    <a:pt x="626412" y="426245"/>
                  </a:cubicBezTo>
                  <a:cubicBezTo>
                    <a:pt x="623507" y="420225"/>
                    <a:pt x="620907" y="414053"/>
                    <a:pt x="618636" y="407754"/>
                  </a:cubicBezTo>
                  <a:cubicBezTo>
                    <a:pt x="615669" y="400109"/>
                    <a:pt x="619359" y="401861"/>
                    <a:pt x="614501" y="401861"/>
                  </a:cubicBezTo>
                  <a:cubicBezTo>
                    <a:pt x="607893" y="402115"/>
                    <a:pt x="601310" y="400833"/>
                    <a:pt x="595272" y="398127"/>
                  </a:cubicBezTo>
                  <a:cubicBezTo>
                    <a:pt x="584072" y="394025"/>
                    <a:pt x="590643" y="393263"/>
                    <a:pt x="584491" y="390025"/>
                  </a:cubicBezTo>
                  <a:cubicBezTo>
                    <a:pt x="578288" y="386786"/>
                    <a:pt x="581878" y="387409"/>
                    <a:pt x="576043" y="383903"/>
                  </a:cubicBezTo>
                  <a:cubicBezTo>
                    <a:pt x="570145" y="380398"/>
                    <a:pt x="570969" y="378455"/>
                    <a:pt x="566872" y="375445"/>
                  </a:cubicBezTo>
                  <a:cubicBezTo>
                    <a:pt x="562737" y="372473"/>
                    <a:pt x="558197" y="373959"/>
                    <a:pt x="547859" y="374328"/>
                  </a:cubicBezTo>
                  <a:cubicBezTo>
                    <a:pt x="537483" y="374632"/>
                    <a:pt x="542024" y="372702"/>
                    <a:pt x="533754" y="374328"/>
                  </a:cubicBezTo>
                  <a:cubicBezTo>
                    <a:pt x="525484" y="375941"/>
                    <a:pt x="531014" y="376614"/>
                    <a:pt x="521209" y="370861"/>
                  </a:cubicBezTo>
                  <a:cubicBezTo>
                    <a:pt x="511455" y="365095"/>
                    <a:pt x="511138" y="370403"/>
                    <a:pt x="500230" y="368295"/>
                  </a:cubicBezTo>
                  <a:cubicBezTo>
                    <a:pt x="489308" y="366174"/>
                    <a:pt x="494293" y="365057"/>
                    <a:pt x="488231" y="358478"/>
                  </a:cubicBezTo>
                  <a:cubicBezTo>
                    <a:pt x="482205" y="351963"/>
                    <a:pt x="487913" y="344584"/>
                    <a:pt x="487190" y="338006"/>
                  </a:cubicBezTo>
                  <a:cubicBezTo>
                    <a:pt x="486518" y="331440"/>
                    <a:pt x="494065" y="322486"/>
                    <a:pt x="495460" y="317305"/>
                  </a:cubicBezTo>
                  <a:cubicBezTo>
                    <a:pt x="496501" y="310205"/>
                    <a:pt x="495473" y="302954"/>
                    <a:pt x="492493" y="296426"/>
                  </a:cubicBezTo>
                  <a:cubicBezTo>
                    <a:pt x="489271" y="288895"/>
                    <a:pt x="484032" y="282405"/>
                    <a:pt x="477347" y="277668"/>
                  </a:cubicBezTo>
                  <a:cubicBezTo>
                    <a:pt x="474291" y="277173"/>
                    <a:pt x="469889" y="258186"/>
                    <a:pt x="465754" y="254808"/>
                  </a:cubicBezTo>
                  <a:cubicBezTo>
                    <a:pt x="461619" y="251392"/>
                    <a:pt x="460630" y="257729"/>
                    <a:pt x="458740" y="255887"/>
                  </a:cubicBezTo>
                  <a:cubicBezTo>
                    <a:pt x="456418" y="253170"/>
                    <a:pt x="453616" y="250896"/>
                    <a:pt x="450469" y="249182"/>
                  </a:cubicBezTo>
                  <a:cubicBezTo>
                    <a:pt x="444762" y="245766"/>
                    <a:pt x="446652" y="249817"/>
                    <a:pt x="444635" y="251074"/>
                  </a:cubicBezTo>
                  <a:cubicBezTo>
                    <a:pt x="442605" y="252293"/>
                    <a:pt x="442073" y="250807"/>
                    <a:pt x="436505" y="250033"/>
                  </a:cubicBezTo>
                  <a:cubicBezTo>
                    <a:pt x="430936" y="249271"/>
                    <a:pt x="433676" y="245626"/>
                    <a:pt x="429363" y="242743"/>
                  </a:cubicBezTo>
                  <a:cubicBezTo>
                    <a:pt x="426332" y="240838"/>
                    <a:pt x="423668" y="238400"/>
                    <a:pt x="421499" y="235542"/>
                  </a:cubicBezTo>
                  <a:cubicBezTo>
                    <a:pt x="416425" y="230284"/>
                    <a:pt x="418530" y="230106"/>
                    <a:pt x="411568" y="226995"/>
                  </a:cubicBezTo>
                  <a:cubicBezTo>
                    <a:pt x="404604" y="223845"/>
                    <a:pt x="409005" y="225827"/>
                    <a:pt x="410895" y="221686"/>
                  </a:cubicBezTo>
                  <a:cubicBezTo>
                    <a:pt x="412772" y="217597"/>
                    <a:pt x="408739" y="217635"/>
                    <a:pt x="403563" y="213050"/>
                  </a:cubicBezTo>
                  <a:cubicBezTo>
                    <a:pt x="398401" y="208415"/>
                    <a:pt x="408421" y="198661"/>
                    <a:pt x="410172" y="196502"/>
                  </a:cubicBezTo>
                  <a:cubicBezTo>
                    <a:pt x="406710" y="199652"/>
                    <a:pt x="408955" y="198115"/>
                    <a:pt x="402486" y="200503"/>
                  </a:cubicBezTo>
                  <a:cubicBezTo>
                    <a:pt x="396017" y="202840"/>
                    <a:pt x="398490" y="202611"/>
                    <a:pt x="394570" y="202751"/>
                  </a:cubicBezTo>
                  <a:cubicBezTo>
                    <a:pt x="392287" y="202725"/>
                    <a:pt x="390017" y="202573"/>
                    <a:pt x="387746" y="202306"/>
                  </a:cubicBezTo>
                  <a:cubicBezTo>
                    <a:pt x="386808" y="204059"/>
                    <a:pt x="383345" y="203106"/>
                    <a:pt x="380998" y="206218"/>
                  </a:cubicBezTo>
                  <a:cubicBezTo>
                    <a:pt x="378309" y="209812"/>
                    <a:pt x="377320" y="217775"/>
                    <a:pt x="371929" y="222372"/>
                  </a:cubicBezTo>
                  <a:cubicBezTo>
                    <a:pt x="366830" y="226639"/>
                    <a:pt x="361262" y="230322"/>
                    <a:pt x="355338" y="233345"/>
                  </a:cubicBezTo>
                  <a:cubicBezTo>
                    <a:pt x="349364" y="236634"/>
                    <a:pt x="345191" y="236406"/>
                    <a:pt x="344062" y="245626"/>
                  </a:cubicBezTo>
                  <a:cubicBezTo>
                    <a:pt x="342946" y="254897"/>
                    <a:pt x="348375" y="278024"/>
                    <a:pt x="341906" y="284691"/>
                  </a:cubicBezTo>
                  <a:cubicBezTo>
                    <a:pt x="335475" y="291346"/>
                    <a:pt x="329272" y="291752"/>
                    <a:pt x="321104" y="298496"/>
                  </a:cubicBezTo>
                  <a:cubicBezTo>
                    <a:pt x="312973" y="305290"/>
                    <a:pt x="307583" y="298725"/>
                    <a:pt x="295266" y="296121"/>
                  </a:cubicBezTo>
                  <a:cubicBezTo>
                    <a:pt x="282950" y="293505"/>
                    <a:pt x="280882" y="286723"/>
                    <a:pt x="273373" y="287968"/>
                  </a:cubicBezTo>
                  <a:cubicBezTo>
                    <a:pt x="265826" y="289187"/>
                    <a:pt x="262718" y="289149"/>
                    <a:pt x="261602" y="293467"/>
                  </a:cubicBezTo>
                  <a:cubicBezTo>
                    <a:pt x="260486" y="297785"/>
                    <a:pt x="243223" y="344216"/>
                    <a:pt x="249692" y="351010"/>
                  </a:cubicBezTo>
                  <a:cubicBezTo>
                    <a:pt x="256161" y="357856"/>
                    <a:pt x="270595" y="359735"/>
                    <a:pt x="257518" y="363609"/>
                  </a:cubicBezTo>
                  <a:cubicBezTo>
                    <a:pt x="244390" y="367520"/>
                    <a:pt x="243401" y="367698"/>
                    <a:pt x="236932" y="366530"/>
                  </a:cubicBezTo>
                  <a:cubicBezTo>
                    <a:pt x="230463" y="365362"/>
                    <a:pt x="238009" y="361945"/>
                    <a:pt x="224615" y="364193"/>
                  </a:cubicBezTo>
                  <a:cubicBezTo>
                    <a:pt x="211182" y="366441"/>
                    <a:pt x="178013" y="361310"/>
                    <a:pt x="177975" y="374048"/>
                  </a:cubicBezTo>
                  <a:cubicBezTo>
                    <a:pt x="177798" y="380906"/>
                    <a:pt x="183213" y="386609"/>
                    <a:pt x="190063" y="386786"/>
                  </a:cubicBezTo>
                  <a:cubicBezTo>
                    <a:pt x="190279" y="386786"/>
                    <a:pt x="190482" y="386786"/>
                    <a:pt x="190685" y="386786"/>
                  </a:cubicBezTo>
                  <a:cubicBezTo>
                    <a:pt x="194846" y="396591"/>
                    <a:pt x="197458" y="406992"/>
                    <a:pt x="198422" y="417596"/>
                  </a:cubicBezTo>
                  <a:cubicBezTo>
                    <a:pt x="198333" y="429750"/>
                    <a:pt x="206324" y="444279"/>
                    <a:pt x="200705" y="448292"/>
                  </a:cubicBezTo>
                  <a:cubicBezTo>
                    <a:pt x="195099" y="452242"/>
                    <a:pt x="205069" y="456928"/>
                    <a:pt x="196354" y="457830"/>
                  </a:cubicBezTo>
                  <a:cubicBezTo>
                    <a:pt x="187628" y="458681"/>
                    <a:pt x="189023" y="457563"/>
                    <a:pt x="189391" y="467228"/>
                  </a:cubicBezTo>
                  <a:cubicBezTo>
                    <a:pt x="190114" y="471826"/>
                    <a:pt x="190304" y="476487"/>
                    <a:pt x="189924" y="481135"/>
                  </a:cubicBezTo>
                  <a:cubicBezTo>
                    <a:pt x="189797" y="481808"/>
                    <a:pt x="189607" y="482532"/>
                    <a:pt x="189391" y="483383"/>
                  </a:cubicBezTo>
                  <a:cubicBezTo>
                    <a:pt x="187628" y="489822"/>
                    <a:pt x="203674" y="482303"/>
                    <a:pt x="187628" y="489822"/>
                  </a:cubicBezTo>
                  <a:cubicBezTo>
                    <a:pt x="179333" y="494381"/>
                    <a:pt x="170694" y="498292"/>
                    <a:pt x="161790" y="501518"/>
                  </a:cubicBezTo>
                  <a:cubicBezTo>
                    <a:pt x="155626" y="501709"/>
                    <a:pt x="149816" y="504465"/>
                    <a:pt x="145745" y="509125"/>
                  </a:cubicBezTo>
                  <a:cubicBezTo>
                    <a:pt x="138337" y="516631"/>
                    <a:pt x="136536" y="521953"/>
                    <a:pt x="128850" y="524112"/>
                  </a:cubicBezTo>
                  <a:cubicBezTo>
                    <a:pt x="122736" y="526296"/>
                    <a:pt x="116292" y="527426"/>
                    <a:pt x="109798" y="527439"/>
                  </a:cubicBezTo>
                  <a:cubicBezTo>
                    <a:pt x="101883" y="527350"/>
                    <a:pt x="99689" y="522130"/>
                    <a:pt x="94386" y="527439"/>
                  </a:cubicBezTo>
                  <a:cubicBezTo>
                    <a:pt x="89034" y="532697"/>
                    <a:pt x="89617" y="528201"/>
                    <a:pt x="86116" y="537421"/>
                  </a:cubicBezTo>
                  <a:cubicBezTo>
                    <a:pt x="82603" y="546654"/>
                    <a:pt x="89300" y="550693"/>
                    <a:pt x="80586" y="551912"/>
                  </a:cubicBezTo>
                  <a:cubicBezTo>
                    <a:pt x="71910" y="553080"/>
                    <a:pt x="66342" y="559837"/>
                    <a:pt x="61078" y="555379"/>
                  </a:cubicBezTo>
                  <a:cubicBezTo>
                    <a:pt x="55827" y="550972"/>
                    <a:pt x="62296" y="543492"/>
                    <a:pt x="51552" y="546692"/>
                  </a:cubicBezTo>
                  <a:cubicBezTo>
                    <a:pt x="40821" y="549893"/>
                    <a:pt x="39920" y="544533"/>
                    <a:pt x="33401" y="549893"/>
                  </a:cubicBezTo>
                  <a:cubicBezTo>
                    <a:pt x="26882" y="555239"/>
                    <a:pt x="29177" y="559202"/>
                    <a:pt x="20552" y="562580"/>
                  </a:cubicBezTo>
                  <a:cubicBezTo>
                    <a:pt x="11914" y="565945"/>
                    <a:pt x="11293" y="560599"/>
                    <a:pt x="7335" y="569197"/>
                  </a:cubicBezTo>
                  <a:cubicBezTo>
                    <a:pt x="3339" y="577782"/>
                    <a:pt x="-123" y="579356"/>
                    <a:pt x="549" y="586062"/>
                  </a:cubicBezTo>
                  <a:cubicBezTo>
                    <a:pt x="549" y="586291"/>
                    <a:pt x="600" y="586469"/>
                    <a:pt x="600" y="586697"/>
                  </a:cubicBezTo>
                  <a:cubicBezTo>
                    <a:pt x="993" y="593263"/>
                    <a:pt x="-1924" y="601048"/>
                    <a:pt x="2261" y="606496"/>
                  </a:cubicBezTo>
                  <a:cubicBezTo>
                    <a:pt x="6523" y="612122"/>
                    <a:pt x="-352" y="618333"/>
                    <a:pt x="10620" y="617888"/>
                  </a:cubicBezTo>
                  <a:cubicBezTo>
                    <a:pt x="21541" y="617482"/>
                    <a:pt x="12954" y="617482"/>
                    <a:pt x="21541" y="617482"/>
                  </a:cubicBezTo>
                  <a:cubicBezTo>
                    <a:pt x="30116" y="617482"/>
                    <a:pt x="32449" y="613735"/>
                    <a:pt x="35012" y="627426"/>
                  </a:cubicBezTo>
                  <a:cubicBezTo>
                    <a:pt x="37016" y="633560"/>
                    <a:pt x="37942" y="639999"/>
                    <a:pt x="37764" y="646451"/>
                  </a:cubicBezTo>
                  <a:cubicBezTo>
                    <a:pt x="37663" y="653918"/>
                    <a:pt x="37536" y="660040"/>
                    <a:pt x="34517" y="662961"/>
                  </a:cubicBezTo>
                  <a:cubicBezTo>
                    <a:pt x="33591" y="663875"/>
                    <a:pt x="32399" y="664459"/>
                    <a:pt x="31105" y="664624"/>
                  </a:cubicBezTo>
                  <a:cubicBezTo>
                    <a:pt x="24763" y="665755"/>
                    <a:pt x="22708" y="667063"/>
                    <a:pt x="25892" y="672282"/>
                  </a:cubicBezTo>
                  <a:cubicBezTo>
                    <a:pt x="29038" y="677540"/>
                    <a:pt x="30255" y="675699"/>
                    <a:pt x="35557" y="676638"/>
                  </a:cubicBezTo>
                  <a:cubicBezTo>
                    <a:pt x="40808" y="677540"/>
                    <a:pt x="25854" y="670034"/>
                    <a:pt x="40808" y="677540"/>
                  </a:cubicBezTo>
                  <a:cubicBezTo>
                    <a:pt x="55827" y="685058"/>
                    <a:pt x="54571" y="676232"/>
                    <a:pt x="61078" y="685998"/>
                  </a:cubicBezTo>
                  <a:cubicBezTo>
                    <a:pt x="67597" y="695765"/>
                    <a:pt x="64223" y="700845"/>
                    <a:pt x="68587" y="707957"/>
                  </a:cubicBezTo>
                  <a:cubicBezTo>
                    <a:pt x="72989" y="715069"/>
                    <a:pt x="69627" y="718447"/>
                    <a:pt x="76134" y="716199"/>
                  </a:cubicBezTo>
                  <a:cubicBezTo>
                    <a:pt x="82603" y="713989"/>
                    <a:pt x="74028" y="696844"/>
                    <a:pt x="82603" y="713989"/>
                  </a:cubicBezTo>
                  <a:lnTo>
                    <a:pt x="82654" y="714040"/>
                  </a:lnTo>
                  <a:cubicBezTo>
                    <a:pt x="85533" y="717266"/>
                    <a:pt x="89110" y="719793"/>
                    <a:pt x="93118" y="721419"/>
                  </a:cubicBezTo>
                  <a:cubicBezTo>
                    <a:pt x="99194" y="723616"/>
                    <a:pt x="99587" y="728658"/>
                    <a:pt x="109798" y="727616"/>
                  </a:cubicBezTo>
                  <a:cubicBezTo>
                    <a:pt x="119907" y="726588"/>
                    <a:pt x="118969" y="726676"/>
                    <a:pt x="123015" y="728924"/>
                  </a:cubicBezTo>
                  <a:cubicBezTo>
                    <a:pt x="123053" y="728924"/>
                    <a:pt x="123104" y="728937"/>
                    <a:pt x="123142" y="728975"/>
                  </a:cubicBezTo>
                  <a:cubicBezTo>
                    <a:pt x="123066" y="728975"/>
                    <a:pt x="122989" y="728988"/>
                    <a:pt x="122913" y="729013"/>
                  </a:cubicBezTo>
                  <a:cubicBezTo>
                    <a:pt x="122786" y="729331"/>
                    <a:pt x="123319" y="731223"/>
                    <a:pt x="128850" y="740037"/>
                  </a:cubicBezTo>
                  <a:cubicBezTo>
                    <a:pt x="135534" y="749117"/>
                    <a:pt x="141204" y="758884"/>
                    <a:pt x="145745" y="769196"/>
                  </a:cubicBezTo>
                  <a:cubicBezTo>
                    <a:pt x="148624" y="776994"/>
                    <a:pt x="150552" y="785109"/>
                    <a:pt x="151503" y="793364"/>
                  </a:cubicBezTo>
                  <a:cubicBezTo>
                    <a:pt x="152492" y="799028"/>
                    <a:pt x="158416" y="795523"/>
                    <a:pt x="163096" y="808439"/>
                  </a:cubicBezTo>
                  <a:cubicBezTo>
                    <a:pt x="167765" y="821393"/>
                    <a:pt x="173066" y="819958"/>
                    <a:pt x="162640" y="829229"/>
                  </a:cubicBezTo>
                  <a:cubicBezTo>
                    <a:pt x="152265" y="838449"/>
                    <a:pt x="164162" y="849968"/>
                    <a:pt x="152265" y="838449"/>
                  </a:cubicBezTo>
                  <a:cubicBezTo>
                    <a:pt x="140316" y="826930"/>
                    <a:pt x="139910" y="825533"/>
                    <a:pt x="136980" y="830931"/>
                  </a:cubicBezTo>
                  <a:cubicBezTo>
                    <a:pt x="134012" y="836290"/>
                    <a:pt x="132794" y="838043"/>
                    <a:pt x="139770" y="843758"/>
                  </a:cubicBezTo>
                  <a:cubicBezTo>
                    <a:pt x="146746" y="849473"/>
                    <a:pt x="147508" y="849612"/>
                    <a:pt x="147457" y="856674"/>
                  </a:cubicBezTo>
                  <a:cubicBezTo>
                    <a:pt x="147419" y="863786"/>
                    <a:pt x="145389" y="869907"/>
                    <a:pt x="149804" y="869044"/>
                  </a:cubicBezTo>
                  <a:cubicBezTo>
                    <a:pt x="154155" y="868142"/>
                    <a:pt x="154560" y="860141"/>
                    <a:pt x="160179" y="868281"/>
                  </a:cubicBezTo>
                  <a:cubicBezTo>
                    <a:pt x="165836" y="876435"/>
                    <a:pt x="156628" y="875355"/>
                    <a:pt x="171240" y="880753"/>
                  </a:cubicBezTo>
                  <a:cubicBezTo>
                    <a:pt x="185788" y="886150"/>
                    <a:pt x="180588" y="889440"/>
                    <a:pt x="189302" y="892983"/>
                  </a:cubicBezTo>
                  <a:cubicBezTo>
                    <a:pt x="198067" y="896539"/>
                    <a:pt x="193564" y="899193"/>
                    <a:pt x="203952" y="905086"/>
                  </a:cubicBezTo>
                  <a:cubicBezTo>
                    <a:pt x="205386" y="905873"/>
                    <a:pt x="206642" y="906953"/>
                    <a:pt x="207631" y="908236"/>
                  </a:cubicBezTo>
                  <a:cubicBezTo>
                    <a:pt x="211943" y="914179"/>
                    <a:pt x="206920" y="920936"/>
                    <a:pt x="214328" y="910992"/>
                  </a:cubicBezTo>
                  <a:cubicBezTo>
                    <a:pt x="223093" y="899155"/>
                    <a:pt x="206920" y="897402"/>
                    <a:pt x="223093" y="899155"/>
                  </a:cubicBezTo>
                  <a:cubicBezTo>
                    <a:pt x="239316" y="900857"/>
                    <a:pt x="235143" y="898660"/>
                    <a:pt x="242690" y="905086"/>
                  </a:cubicBezTo>
                  <a:cubicBezTo>
                    <a:pt x="250237" y="911487"/>
                    <a:pt x="245112" y="910090"/>
                    <a:pt x="258824" y="916884"/>
                  </a:cubicBezTo>
                  <a:cubicBezTo>
                    <a:pt x="265572" y="919780"/>
                    <a:pt x="271877" y="923603"/>
                    <a:pt x="277559" y="928264"/>
                  </a:cubicBezTo>
                  <a:cubicBezTo>
                    <a:pt x="282886" y="932353"/>
                    <a:pt x="289266" y="934842"/>
                    <a:pt x="295938" y="935465"/>
                  </a:cubicBezTo>
                  <a:cubicBezTo>
                    <a:pt x="300657" y="937268"/>
                    <a:pt x="290776" y="944647"/>
                    <a:pt x="305375" y="951708"/>
                  </a:cubicBezTo>
                  <a:cubicBezTo>
                    <a:pt x="319987" y="958820"/>
                    <a:pt x="317070" y="954718"/>
                    <a:pt x="327128" y="960661"/>
                  </a:cubicBezTo>
                  <a:cubicBezTo>
                    <a:pt x="337238" y="966605"/>
                    <a:pt x="329830" y="971825"/>
                    <a:pt x="339762" y="972587"/>
                  </a:cubicBezTo>
                  <a:cubicBezTo>
                    <a:pt x="347702" y="973387"/>
                    <a:pt x="355503" y="975254"/>
                    <a:pt x="362949" y="978124"/>
                  </a:cubicBezTo>
                  <a:cubicBezTo>
                    <a:pt x="372969" y="981134"/>
                    <a:pt x="368022" y="975152"/>
                    <a:pt x="380022" y="977946"/>
                  </a:cubicBezTo>
                  <a:cubicBezTo>
                    <a:pt x="392021" y="980778"/>
                    <a:pt x="381544" y="977540"/>
                    <a:pt x="396790" y="981362"/>
                  </a:cubicBezTo>
                  <a:cubicBezTo>
                    <a:pt x="401509" y="982531"/>
                    <a:pt x="404337" y="983255"/>
                    <a:pt x="406176" y="983610"/>
                  </a:cubicBezTo>
                  <a:cubicBezTo>
                    <a:pt x="410312" y="984372"/>
                    <a:pt x="409411" y="983166"/>
                    <a:pt x="413406" y="980600"/>
                  </a:cubicBezTo>
                  <a:cubicBezTo>
                    <a:pt x="419241" y="976854"/>
                    <a:pt x="434665" y="963138"/>
                    <a:pt x="433270" y="976282"/>
                  </a:cubicBezTo>
                  <a:cubicBezTo>
                    <a:pt x="432509" y="983293"/>
                    <a:pt x="428640" y="990811"/>
                    <a:pt x="428057" y="997199"/>
                  </a:cubicBezTo>
                  <a:cubicBezTo>
                    <a:pt x="432877" y="994748"/>
                    <a:pt x="437367" y="991700"/>
                    <a:pt x="441451" y="988157"/>
                  </a:cubicBezTo>
                  <a:cubicBezTo>
                    <a:pt x="445003" y="984194"/>
                    <a:pt x="444825" y="982264"/>
                    <a:pt x="449493" y="976816"/>
                  </a:cubicBezTo>
                  <a:cubicBezTo>
                    <a:pt x="454047" y="972244"/>
                    <a:pt x="459475" y="968650"/>
                    <a:pt x="465450" y="966249"/>
                  </a:cubicBezTo>
                  <a:cubicBezTo>
                    <a:pt x="469902" y="964077"/>
                    <a:pt x="465450" y="966237"/>
                    <a:pt x="471158" y="965792"/>
                  </a:cubicBezTo>
                  <a:cubicBezTo>
                    <a:pt x="476815" y="965348"/>
                    <a:pt x="480278" y="973806"/>
                    <a:pt x="491198" y="975736"/>
                  </a:cubicBezTo>
                  <a:cubicBezTo>
                    <a:pt x="502069" y="977667"/>
                    <a:pt x="496640" y="977311"/>
                    <a:pt x="503375" y="973222"/>
                  </a:cubicBezTo>
                  <a:cubicBezTo>
                    <a:pt x="510161" y="969081"/>
                    <a:pt x="508589" y="976638"/>
                    <a:pt x="509933" y="980054"/>
                  </a:cubicBezTo>
                  <a:cubicBezTo>
                    <a:pt x="509946" y="980156"/>
                    <a:pt x="509984" y="980245"/>
                    <a:pt x="510022" y="980321"/>
                  </a:cubicBezTo>
                  <a:cubicBezTo>
                    <a:pt x="510567" y="981540"/>
                    <a:pt x="511100" y="982391"/>
                    <a:pt x="511595" y="983293"/>
                  </a:cubicBezTo>
                  <a:cubicBezTo>
                    <a:pt x="513218" y="985185"/>
                    <a:pt x="516313" y="986811"/>
                    <a:pt x="522161" y="984918"/>
                  </a:cubicBezTo>
                  <a:cubicBezTo>
                    <a:pt x="532853" y="981502"/>
                    <a:pt x="533665" y="986950"/>
                    <a:pt x="543102" y="976282"/>
                  </a:cubicBezTo>
                  <a:cubicBezTo>
                    <a:pt x="552590" y="965665"/>
                    <a:pt x="542379" y="975736"/>
                    <a:pt x="552590" y="965665"/>
                  </a:cubicBezTo>
                  <a:cubicBezTo>
                    <a:pt x="562737" y="955581"/>
                    <a:pt x="555495" y="959366"/>
                    <a:pt x="567557" y="954362"/>
                  </a:cubicBezTo>
                  <a:cubicBezTo>
                    <a:pt x="579544" y="949320"/>
                    <a:pt x="586786" y="952571"/>
                    <a:pt x="592443" y="943123"/>
                  </a:cubicBezTo>
                  <a:cubicBezTo>
                    <a:pt x="598113" y="933674"/>
                    <a:pt x="592355" y="934703"/>
                    <a:pt x="604443" y="938487"/>
                  </a:cubicBezTo>
                  <a:cubicBezTo>
                    <a:pt x="612294" y="942411"/>
                    <a:pt x="621642" y="941827"/>
                    <a:pt x="628936" y="936963"/>
                  </a:cubicBezTo>
                  <a:cubicBezTo>
                    <a:pt x="639096" y="932048"/>
                    <a:pt x="628530" y="919856"/>
                    <a:pt x="639096" y="932048"/>
                  </a:cubicBezTo>
                  <a:cubicBezTo>
                    <a:pt x="649611" y="944202"/>
                    <a:pt x="646110" y="946907"/>
                    <a:pt x="650245" y="951720"/>
                  </a:cubicBezTo>
                  <a:cubicBezTo>
                    <a:pt x="654381" y="956572"/>
                    <a:pt x="657932" y="964941"/>
                    <a:pt x="664350" y="965525"/>
                  </a:cubicBezTo>
                  <a:cubicBezTo>
                    <a:pt x="670819" y="966160"/>
                    <a:pt x="681525" y="956254"/>
                    <a:pt x="674510" y="969170"/>
                  </a:cubicBezTo>
                  <a:cubicBezTo>
                    <a:pt x="667496" y="982086"/>
                    <a:pt x="669436" y="964903"/>
                    <a:pt x="667496" y="982086"/>
                  </a:cubicBezTo>
                  <a:cubicBezTo>
                    <a:pt x="670731" y="979521"/>
                    <a:pt x="673749" y="976689"/>
                    <a:pt x="676527" y="973628"/>
                  </a:cubicBezTo>
                  <a:cubicBezTo>
                    <a:pt x="681525" y="968281"/>
                    <a:pt x="680713" y="959950"/>
                    <a:pt x="685913" y="964141"/>
                  </a:cubicBezTo>
                  <a:cubicBezTo>
                    <a:pt x="691178" y="968281"/>
                    <a:pt x="690277" y="966072"/>
                    <a:pt x="695528" y="975749"/>
                  </a:cubicBezTo>
                  <a:cubicBezTo>
                    <a:pt x="700792" y="985426"/>
                    <a:pt x="700069" y="990862"/>
                    <a:pt x="705244" y="991357"/>
                  </a:cubicBezTo>
                  <a:cubicBezTo>
                    <a:pt x="710457" y="991853"/>
                    <a:pt x="711625" y="989109"/>
                    <a:pt x="712652" y="1001212"/>
                  </a:cubicBezTo>
                  <a:cubicBezTo>
                    <a:pt x="713197" y="1010217"/>
                    <a:pt x="713197" y="1019246"/>
                    <a:pt x="712652" y="1028251"/>
                  </a:cubicBezTo>
                  <a:cubicBezTo>
                    <a:pt x="712613" y="1032619"/>
                    <a:pt x="719120" y="1038246"/>
                    <a:pt x="711574" y="1042970"/>
                  </a:cubicBezTo>
                  <a:cubicBezTo>
                    <a:pt x="704027" y="1047644"/>
                    <a:pt x="704254" y="1050349"/>
                    <a:pt x="700919" y="1051695"/>
                  </a:cubicBezTo>
                  <a:cubicBezTo>
                    <a:pt x="697596" y="1053003"/>
                    <a:pt x="698851" y="1044634"/>
                    <a:pt x="693410" y="1053638"/>
                  </a:cubicBezTo>
                  <a:cubicBezTo>
                    <a:pt x="687930" y="1062680"/>
                    <a:pt x="681246" y="1063988"/>
                    <a:pt x="680294" y="1069742"/>
                  </a:cubicBezTo>
                  <a:cubicBezTo>
                    <a:pt x="678164" y="1076828"/>
                    <a:pt x="677529" y="1084270"/>
                    <a:pt x="678455" y="1091611"/>
                  </a:cubicBezTo>
                  <a:cubicBezTo>
                    <a:pt x="680434" y="1099129"/>
                    <a:pt x="672659" y="1098444"/>
                    <a:pt x="680294" y="1105251"/>
                  </a:cubicBezTo>
                  <a:cubicBezTo>
                    <a:pt x="687930" y="1111994"/>
                    <a:pt x="686992" y="1104209"/>
                    <a:pt x="699803" y="1099536"/>
                  </a:cubicBezTo>
                  <a:cubicBezTo>
                    <a:pt x="712601" y="1094850"/>
                    <a:pt x="714275" y="1089719"/>
                    <a:pt x="716648" y="1098177"/>
                  </a:cubicBezTo>
                  <a:cubicBezTo>
                    <a:pt x="719032" y="1106648"/>
                    <a:pt x="714542" y="1104616"/>
                    <a:pt x="716787" y="1115817"/>
                  </a:cubicBezTo>
                  <a:cubicBezTo>
                    <a:pt x="719032" y="1127019"/>
                    <a:pt x="717231" y="1130257"/>
                    <a:pt x="723484" y="1131337"/>
                  </a:cubicBezTo>
                  <a:cubicBezTo>
                    <a:pt x="729724" y="1132378"/>
                    <a:pt x="729724" y="1117392"/>
                    <a:pt x="729724" y="1132378"/>
                  </a:cubicBezTo>
                  <a:cubicBezTo>
                    <a:pt x="729167" y="1138804"/>
                    <a:pt x="729167" y="1145256"/>
                    <a:pt x="729724" y="1151682"/>
                  </a:cubicBezTo>
                  <a:cubicBezTo>
                    <a:pt x="730803" y="1161359"/>
                    <a:pt x="731969" y="1160547"/>
                    <a:pt x="736193" y="1162566"/>
                  </a:cubicBezTo>
                  <a:cubicBezTo>
                    <a:pt x="740417" y="1164598"/>
                    <a:pt x="735027" y="1164052"/>
                    <a:pt x="742573" y="1170224"/>
                  </a:cubicBezTo>
                  <a:cubicBezTo>
                    <a:pt x="750083" y="1176384"/>
                    <a:pt x="741496" y="1174225"/>
                    <a:pt x="750083" y="1176384"/>
                  </a:cubicBezTo>
                  <a:cubicBezTo>
                    <a:pt x="758670" y="1178543"/>
                    <a:pt x="751123" y="1181743"/>
                    <a:pt x="761854" y="1179584"/>
                  </a:cubicBezTo>
                  <a:cubicBezTo>
                    <a:pt x="767333" y="1178479"/>
                    <a:pt x="772737" y="1177044"/>
                    <a:pt x="778039" y="1175266"/>
                  </a:cubicBezTo>
                  <a:cubicBezTo>
                    <a:pt x="782211" y="1174225"/>
                    <a:pt x="782211" y="1176345"/>
                    <a:pt x="782211" y="1179584"/>
                  </a:cubicBezTo>
                  <a:cubicBezTo>
                    <a:pt x="782846" y="1184232"/>
                    <a:pt x="786106" y="1188106"/>
                    <a:pt x="790571" y="1189528"/>
                  </a:cubicBezTo>
                  <a:cubicBezTo>
                    <a:pt x="795074" y="1190328"/>
                    <a:pt x="798169" y="1197618"/>
                    <a:pt x="798257" y="1188080"/>
                  </a:cubicBezTo>
                  <a:cubicBezTo>
                    <a:pt x="798105" y="1182086"/>
                    <a:pt x="797433" y="1176104"/>
                    <a:pt x="796240" y="1170224"/>
                  </a:cubicBezTo>
                  <a:cubicBezTo>
                    <a:pt x="795911" y="1162058"/>
                    <a:pt x="797255" y="1153905"/>
                    <a:pt x="800198" y="1146284"/>
                  </a:cubicBezTo>
                  <a:cubicBezTo>
                    <a:pt x="800198" y="1146284"/>
                    <a:pt x="801720" y="1146462"/>
                    <a:pt x="808595" y="1147453"/>
                  </a:cubicBezTo>
                  <a:cubicBezTo>
                    <a:pt x="815432" y="1148482"/>
                    <a:pt x="811474" y="1149523"/>
                    <a:pt x="816687" y="1145243"/>
                  </a:cubicBezTo>
                  <a:cubicBezTo>
                    <a:pt x="821849" y="1140976"/>
                    <a:pt x="812235" y="1139896"/>
                    <a:pt x="821849" y="1140976"/>
                  </a:cubicBezTo>
                  <a:cubicBezTo>
                    <a:pt x="831515" y="1142055"/>
                    <a:pt x="821849" y="1144214"/>
                    <a:pt x="831515" y="1142055"/>
                  </a:cubicBezTo>
                  <a:cubicBezTo>
                    <a:pt x="841181" y="1139896"/>
                    <a:pt x="830437" y="1136696"/>
                    <a:pt x="841181" y="1139896"/>
                  </a:cubicBezTo>
                  <a:cubicBezTo>
                    <a:pt x="851873" y="1143135"/>
                    <a:pt x="837946" y="1147402"/>
                    <a:pt x="851873" y="1143135"/>
                  </a:cubicBezTo>
                  <a:cubicBezTo>
                    <a:pt x="865801" y="1138855"/>
                    <a:pt x="861577" y="1135616"/>
                    <a:pt x="870113" y="1138817"/>
                  </a:cubicBezTo>
                  <a:cubicBezTo>
                    <a:pt x="878662" y="1142055"/>
                    <a:pt x="871242" y="1150780"/>
                    <a:pt x="880857" y="1139985"/>
                  </a:cubicBezTo>
                  <a:cubicBezTo>
                    <a:pt x="890433" y="1129190"/>
                    <a:pt x="885448" y="1129902"/>
                    <a:pt x="892767" y="1127387"/>
                  </a:cubicBezTo>
                  <a:cubicBezTo>
                    <a:pt x="900086" y="1124910"/>
                    <a:pt x="898792" y="1121761"/>
                    <a:pt x="905350" y="1124910"/>
                  </a:cubicBezTo>
                  <a:cubicBezTo>
                    <a:pt x="911870" y="1128111"/>
                    <a:pt x="910297" y="1137687"/>
                    <a:pt x="916410" y="1136658"/>
                  </a:cubicBezTo>
                  <a:cubicBezTo>
                    <a:pt x="921357" y="1135744"/>
                    <a:pt x="926393" y="1135375"/>
                    <a:pt x="931415" y="1135578"/>
                  </a:cubicBezTo>
                  <a:cubicBezTo>
                    <a:pt x="938646" y="1135616"/>
                    <a:pt x="941842" y="1132378"/>
                    <a:pt x="939686" y="1138817"/>
                  </a:cubicBezTo>
                  <a:cubicBezTo>
                    <a:pt x="937568" y="1145294"/>
                    <a:pt x="931061" y="1140976"/>
                    <a:pt x="936452" y="1150653"/>
                  </a:cubicBezTo>
                  <a:cubicBezTo>
                    <a:pt x="941880" y="1160280"/>
                    <a:pt x="933217" y="1157003"/>
                    <a:pt x="940764" y="1164560"/>
                  </a:cubicBezTo>
                  <a:cubicBezTo>
                    <a:pt x="948311" y="1172104"/>
                    <a:pt x="943060" y="1170669"/>
                    <a:pt x="956670" y="1174453"/>
                  </a:cubicBezTo>
                  <a:cubicBezTo>
                    <a:pt x="961300" y="1175393"/>
                    <a:pt x="965841" y="1176650"/>
                    <a:pt x="970293" y="1178238"/>
                  </a:cubicBezTo>
                  <a:cubicBezTo>
                    <a:pt x="970927" y="1176561"/>
                    <a:pt x="972716" y="1179851"/>
                    <a:pt x="971993" y="1178009"/>
                  </a:cubicBezTo>
                  <a:cubicBezTo>
                    <a:pt x="972259" y="1178949"/>
                    <a:pt x="975456" y="1175977"/>
                    <a:pt x="975316" y="1180168"/>
                  </a:cubicBezTo>
                  <a:cubicBezTo>
                    <a:pt x="975785" y="1179876"/>
                    <a:pt x="976217" y="1179546"/>
                    <a:pt x="976622" y="1179178"/>
                  </a:cubicBezTo>
                  <a:cubicBezTo>
                    <a:pt x="976407" y="1179597"/>
                    <a:pt x="976344" y="1180066"/>
                    <a:pt x="976445" y="1180524"/>
                  </a:cubicBezTo>
                  <a:cubicBezTo>
                    <a:pt x="979908" y="1177196"/>
                    <a:pt x="978867" y="1180702"/>
                    <a:pt x="977028" y="1176968"/>
                  </a:cubicBezTo>
                  <a:cubicBezTo>
                    <a:pt x="980491" y="1178276"/>
                    <a:pt x="983002" y="1174136"/>
                    <a:pt x="983725" y="1174631"/>
                  </a:cubicBezTo>
                  <a:cubicBezTo>
                    <a:pt x="983992" y="1179762"/>
                    <a:pt x="985247" y="1177730"/>
                    <a:pt x="985970" y="1174491"/>
                  </a:cubicBezTo>
                  <a:cubicBezTo>
                    <a:pt x="987011" y="1170262"/>
                    <a:pt x="988267" y="1173856"/>
                    <a:pt x="990651" y="1173412"/>
                  </a:cubicBezTo>
                  <a:cubicBezTo>
                    <a:pt x="990017" y="1175710"/>
                    <a:pt x="986288" y="1176295"/>
                    <a:pt x="990651" y="1176561"/>
                  </a:cubicBezTo>
                  <a:cubicBezTo>
                    <a:pt x="994685" y="1171215"/>
                    <a:pt x="990828" y="1175126"/>
                    <a:pt x="990778" y="1167163"/>
                  </a:cubicBezTo>
                  <a:cubicBezTo>
                    <a:pt x="991679" y="1166579"/>
                    <a:pt x="993835" y="1163518"/>
                    <a:pt x="993201" y="1166401"/>
                  </a:cubicBezTo>
                  <a:cubicBezTo>
                    <a:pt x="996626" y="1164966"/>
                    <a:pt x="993835" y="1167887"/>
                    <a:pt x="993746" y="1169919"/>
                  </a:cubicBezTo>
                  <a:cubicBezTo>
                    <a:pt x="997335" y="1171177"/>
                    <a:pt x="994418" y="1168700"/>
                    <a:pt x="998604" y="1173869"/>
                  </a:cubicBezTo>
                  <a:cubicBezTo>
                    <a:pt x="995775" y="1174910"/>
                    <a:pt x="1004134" y="1175545"/>
                    <a:pt x="999771" y="1171989"/>
                  </a:cubicBezTo>
                  <a:cubicBezTo>
                    <a:pt x="999682" y="1171494"/>
                    <a:pt x="1000126" y="1169602"/>
                    <a:pt x="1000443" y="1171850"/>
                  </a:cubicBezTo>
                  <a:cubicBezTo>
                    <a:pt x="1001838" y="1170008"/>
                    <a:pt x="998921" y="1167087"/>
                    <a:pt x="1001559" y="1169919"/>
                  </a:cubicBezTo>
                  <a:lnTo>
                    <a:pt x="1001838" y="1169551"/>
                  </a:lnTo>
                  <a:cubicBezTo>
                    <a:pt x="1001927" y="1169462"/>
                    <a:pt x="1001927" y="1169424"/>
                    <a:pt x="1001965" y="1169462"/>
                  </a:cubicBezTo>
                  <a:cubicBezTo>
                    <a:pt x="1001965" y="1169780"/>
                    <a:pt x="1001204" y="1171621"/>
                    <a:pt x="1002917" y="1170097"/>
                  </a:cubicBezTo>
                  <a:cubicBezTo>
                    <a:pt x="1003995" y="1170237"/>
                    <a:pt x="999593" y="1172713"/>
                    <a:pt x="1002739" y="1173247"/>
                  </a:cubicBezTo>
                  <a:cubicBezTo>
                    <a:pt x="1004844" y="1177209"/>
                    <a:pt x="1015132" y="1173335"/>
                    <a:pt x="1006773" y="1179952"/>
                  </a:cubicBezTo>
                  <a:cubicBezTo>
                    <a:pt x="1007280" y="1182111"/>
                    <a:pt x="1029477" y="1179635"/>
                    <a:pt x="1018835" y="1173653"/>
                  </a:cubicBezTo>
                  <a:cubicBezTo>
                    <a:pt x="1020040" y="1168890"/>
                    <a:pt x="1023097" y="1171494"/>
                    <a:pt x="1022920" y="1176168"/>
                  </a:cubicBezTo>
                  <a:cubicBezTo>
                    <a:pt x="1025888" y="1171900"/>
                    <a:pt x="1023186" y="1180714"/>
                    <a:pt x="1027371" y="1178873"/>
                  </a:cubicBezTo>
                  <a:cubicBezTo>
                    <a:pt x="1025748" y="1174821"/>
                    <a:pt x="1028310" y="1176396"/>
                    <a:pt x="1028944" y="1179724"/>
                  </a:cubicBezTo>
                  <a:cubicBezTo>
                    <a:pt x="1039866" y="1175139"/>
                    <a:pt x="1015461" y="1196653"/>
                    <a:pt x="1027587" y="1199218"/>
                  </a:cubicBezTo>
                  <a:cubicBezTo>
                    <a:pt x="1026382" y="1201822"/>
                    <a:pt x="1027816" y="1202863"/>
                    <a:pt x="1030111" y="1202406"/>
                  </a:cubicBezTo>
                  <a:cubicBezTo>
                    <a:pt x="1022831" y="1204069"/>
                    <a:pt x="1031545" y="1206000"/>
                    <a:pt x="1029071" y="1207397"/>
                  </a:cubicBezTo>
                  <a:cubicBezTo>
                    <a:pt x="1030518" y="1211766"/>
                    <a:pt x="1035769" y="1207041"/>
                    <a:pt x="1033524" y="1213163"/>
                  </a:cubicBezTo>
                  <a:cubicBezTo>
                    <a:pt x="1032889" y="1211321"/>
                    <a:pt x="1029249" y="1210191"/>
                    <a:pt x="1030923" y="1212223"/>
                  </a:cubicBezTo>
                  <a:cubicBezTo>
                    <a:pt x="1030200" y="1220681"/>
                    <a:pt x="1059767" y="1213201"/>
                    <a:pt x="1044305" y="1205022"/>
                  </a:cubicBezTo>
                  <a:cubicBezTo>
                    <a:pt x="1042783" y="1204158"/>
                    <a:pt x="1042694" y="1202812"/>
                    <a:pt x="1043455" y="1200602"/>
                  </a:cubicBezTo>
                  <a:cubicBezTo>
                    <a:pt x="1043506" y="1196869"/>
                    <a:pt x="1043405" y="1202634"/>
                    <a:pt x="1045294" y="1202088"/>
                  </a:cubicBezTo>
                  <a:cubicBezTo>
                    <a:pt x="1046550" y="1194037"/>
                    <a:pt x="1035908" y="1202266"/>
                    <a:pt x="1038470" y="1193998"/>
                  </a:cubicBezTo>
                  <a:cubicBezTo>
                    <a:pt x="1039282" y="1190620"/>
                    <a:pt x="1044178" y="1192195"/>
                    <a:pt x="1045662" y="1186569"/>
                  </a:cubicBezTo>
                  <a:cubicBezTo>
                    <a:pt x="1044622" y="1184638"/>
                    <a:pt x="1043138" y="1177476"/>
                    <a:pt x="1045928" y="1182162"/>
                  </a:cubicBezTo>
                  <a:cubicBezTo>
                    <a:pt x="1047007" y="1180359"/>
                    <a:pt x="1045561" y="1183775"/>
                    <a:pt x="1046335" y="1184232"/>
                  </a:cubicBezTo>
                  <a:cubicBezTo>
                    <a:pt x="1048846" y="1181438"/>
                    <a:pt x="1045840" y="1185400"/>
                    <a:pt x="1047591" y="1184448"/>
                  </a:cubicBezTo>
                  <a:cubicBezTo>
                    <a:pt x="1047641" y="1185972"/>
                    <a:pt x="1045840" y="1183419"/>
                    <a:pt x="1046068" y="1187788"/>
                  </a:cubicBezTo>
                  <a:cubicBezTo>
                    <a:pt x="1051281" y="1185807"/>
                    <a:pt x="1051776" y="1188004"/>
                    <a:pt x="1052042" y="1182073"/>
                  </a:cubicBezTo>
                  <a:cubicBezTo>
                    <a:pt x="1053933" y="1180625"/>
                    <a:pt x="1058106" y="1180130"/>
                    <a:pt x="1053666" y="1181476"/>
                  </a:cubicBezTo>
                  <a:cubicBezTo>
                    <a:pt x="1049443" y="1187915"/>
                    <a:pt x="1054567" y="1180625"/>
                    <a:pt x="1058689" y="1181933"/>
                  </a:cubicBezTo>
                  <a:cubicBezTo>
                    <a:pt x="1063103" y="1178784"/>
                    <a:pt x="1063902" y="1181476"/>
                    <a:pt x="1062241" y="1178200"/>
                  </a:cubicBezTo>
                  <a:cubicBezTo>
                    <a:pt x="1064714" y="1178924"/>
                    <a:pt x="1071462" y="1176714"/>
                    <a:pt x="1070105" y="1179317"/>
                  </a:cubicBezTo>
                  <a:cubicBezTo>
                    <a:pt x="1073390" y="1175279"/>
                    <a:pt x="1076396" y="1179863"/>
                    <a:pt x="1078869" y="1175952"/>
                  </a:cubicBezTo>
                  <a:cubicBezTo>
                    <a:pt x="1081888" y="1178644"/>
                    <a:pt x="1087596" y="1172307"/>
                    <a:pt x="1081609" y="1169919"/>
                  </a:cubicBezTo>
                  <a:cubicBezTo>
                    <a:pt x="1084045" y="1170821"/>
                    <a:pt x="1088078" y="1171583"/>
                    <a:pt x="1086607" y="1172129"/>
                  </a:cubicBezTo>
                  <a:cubicBezTo>
                    <a:pt x="1091503" y="1176752"/>
                    <a:pt x="1084984" y="1159213"/>
                    <a:pt x="1089880" y="1168611"/>
                  </a:cubicBezTo>
                  <a:cubicBezTo>
                    <a:pt x="1090780" y="1168484"/>
                    <a:pt x="1091326" y="1167087"/>
                    <a:pt x="1091909" y="1166770"/>
                  </a:cubicBezTo>
                  <a:cubicBezTo>
                    <a:pt x="1088217" y="1173335"/>
                    <a:pt x="1099405" y="1165284"/>
                    <a:pt x="1095904" y="1170770"/>
                  </a:cubicBezTo>
                  <a:cubicBezTo>
                    <a:pt x="1106153" y="1178428"/>
                    <a:pt x="1098733" y="1154260"/>
                    <a:pt x="1102246" y="1164966"/>
                  </a:cubicBezTo>
                  <a:cubicBezTo>
                    <a:pt x="1103058" y="1165284"/>
                    <a:pt x="1105392" y="1163480"/>
                    <a:pt x="1104402" y="1164928"/>
                  </a:cubicBezTo>
                  <a:cubicBezTo>
                    <a:pt x="1098835" y="1170148"/>
                    <a:pt x="1109299" y="1170910"/>
                    <a:pt x="1111455" y="1166592"/>
                  </a:cubicBezTo>
                  <a:cubicBezTo>
                    <a:pt x="1114968" y="1161055"/>
                    <a:pt x="1119953" y="1174288"/>
                    <a:pt x="1119865" y="1158896"/>
                  </a:cubicBezTo>
                  <a:cubicBezTo>
                    <a:pt x="1122110" y="1161461"/>
                    <a:pt x="1121171" y="1153041"/>
                    <a:pt x="1122744" y="1158350"/>
                  </a:cubicBezTo>
                  <a:cubicBezTo>
                    <a:pt x="1121082" y="1167265"/>
                    <a:pt x="1127589" y="1157181"/>
                    <a:pt x="1130519" y="1157765"/>
                  </a:cubicBezTo>
                  <a:cubicBezTo>
                    <a:pt x="1129568" y="1156102"/>
                    <a:pt x="1128719" y="1154705"/>
                    <a:pt x="1128046" y="1153536"/>
                  </a:cubicBezTo>
                  <a:cubicBezTo>
                    <a:pt x="1130418" y="1156190"/>
                    <a:pt x="1133475" y="1158311"/>
                    <a:pt x="1135771" y="1156013"/>
                  </a:cubicBezTo>
                  <a:cubicBezTo>
                    <a:pt x="1135137" y="1145713"/>
                    <a:pt x="1135276" y="1137572"/>
                    <a:pt x="1125167" y="1135591"/>
                  </a:cubicBezTo>
                  <a:cubicBezTo>
                    <a:pt x="1130646" y="1136480"/>
                    <a:pt x="1136532" y="1133648"/>
                    <a:pt x="1130964" y="1129698"/>
                  </a:cubicBezTo>
                  <a:cubicBezTo>
                    <a:pt x="1132270" y="1130587"/>
                    <a:pt x="1133970" y="1130638"/>
                    <a:pt x="1135327" y="1129825"/>
                  </a:cubicBezTo>
                  <a:cubicBezTo>
                    <a:pt x="1134972" y="1130079"/>
                    <a:pt x="1134667" y="1130397"/>
                    <a:pt x="1134426" y="1130765"/>
                  </a:cubicBezTo>
                  <a:cubicBezTo>
                    <a:pt x="1134338" y="1130892"/>
                    <a:pt x="1134261" y="1131032"/>
                    <a:pt x="1134198" y="1131172"/>
                  </a:cubicBezTo>
                  <a:cubicBezTo>
                    <a:pt x="1134033" y="1131832"/>
                    <a:pt x="1134122" y="1132518"/>
                    <a:pt x="1134465" y="1133102"/>
                  </a:cubicBezTo>
                  <a:cubicBezTo>
                    <a:pt x="1137293" y="1133280"/>
                    <a:pt x="1141745" y="1144710"/>
                    <a:pt x="1144358" y="1149434"/>
                  </a:cubicBezTo>
                  <a:cubicBezTo>
                    <a:pt x="1149520" y="1147859"/>
                    <a:pt x="1159275" y="1140709"/>
                    <a:pt x="1161203" y="1148444"/>
                  </a:cubicBezTo>
                  <a:cubicBezTo>
                    <a:pt x="1162598" y="1150742"/>
                    <a:pt x="1167139" y="1145789"/>
                    <a:pt x="1162509" y="1146284"/>
                  </a:cubicBezTo>
                  <a:cubicBezTo>
                    <a:pt x="1162877" y="1144532"/>
                    <a:pt x="1161926" y="1140620"/>
                    <a:pt x="1169739" y="1138322"/>
                  </a:cubicBezTo>
                  <a:cubicBezTo>
                    <a:pt x="1171629" y="1140392"/>
                    <a:pt x="1163714" y="1144494"/>
                    <a:pt x="1172707" y="1145751"/>
                  </a:cubicBezTo>
                  <a:cubicBezTo>
                    <a:pt x="1171312" y="1149129"/>
                    <a:pt x="1176614" y="1140569"/>
                    <a:pt x="1173291" y="1141166"/>
                  </a:cubicBezTo>
                  <a:cubicBezTo>
                    <a:pt x="1171489" y="1140620"/>
                    <a:pt x="1180216" y="1140760"/>
                    <a:pt x="1184846" y="1135578"/>
                  </a:cubicBezTo>
                  <a:cubicBezTo>
                    <a:pt x="1182639" y="1143541"/>
                    <a:pt x="1196528" y="1144887"/>
                    <a:pt x="1189653" y="1135845"/>
                  </a:cubicBezTo>
                  <a:cubicBezTo>
                    <a:pt x="1191975" y="1136836"/>
                    <a:pt x="1194663" y="1136378"/>
                    <a:pt x="1196528" y="1134677"/>
                  </a:cubicBezTo>
                  <a:cubicBezTo>
                    <a:pt x="1198824" y="1147326"/>
                    <a:pt x="1208794" y="1130625"/>
                    <a:pt x="1218230" y="1134550"/>
                  </a:cubicBezTo>
                  <a:cubicBezTo>
                    <a:pt x="1219943" y="1132835"/>
                    <a:pt x="1222315" y="1124059"/>
                    <a:pt x="1219131" y="1126536"/>
                  </a:cubicBezTo>
                  <a:cubicBezTo>
                    <a:pt x="1217508" y="1125317"/>
                    <a:pt x="1220882" y="1124606"/>
                    <a:pt x="1221731" y="1125812"/>
                  </a:cubicBezTo>
                  <a:cubicBezTo>
                    <a:pt x="1221833" y="1125965"/>
                    <a:pt x="1221871" y="1126142"/>
                    <a:pt x="1221871" y="1126307"/>
                  </a:cubicBezTo>
                  <a:cubicBezTo>
                    <a:pt x="1221884" y="1126447"/>
                    <a:pt x="1221858" y="1126587"/>
                    <a:pt x="1221820" y="1126714"/>
                  </a:cubicBezTo>
                  <a:lnTo>
                    <a:pt x="1221782" y="1126853"/>
                  </a:lnTo>
                  <a:cubicBezTo>
                    <a:pt x="1221973" y="1126511"/>
                    <a:pt x="1222277" y="1126244"/>
                    <a:pt x="1222632" y="1126091"/>
                  </a:cubicBezTo>
                  <a:cubicBezTo>
                    <a:pt x="1222746" y="1126003"/>
                    <a:pt x="1222861" y="1125939"/>
                    <a:pt x="1223000" y="1125914"/>
                  </a:cubicBezTo>
                  <a:lnTo>
                    <a:pt x="1223177" y="1125812"/>
                  </a:lnTo>
                  <a:lnTo>
                    <a:pt x="1223672" y="1125685"/>
                  </a:lnTo>
                  <a:cubicBezTo>
                    <a:pt x="1223900" y="1125634"/>
                    <a:pt x="1224078" y="1125596"/>
                    <a:pt x="1224256" y="1125545"/>
                  </a:cubicBezTo>
                  <a:cubicBezTo>
                    <a:pt x="1224534" y="1125469"/>
                    <a:pt x="1224814" y="1125406"/>
                    <a:pt x="1225106" y="1125368"/>
                  </a:cubicBezTo>
                  <a:cubicBezTo>
                    <a:pt x="1225537" y="1125330"/>
                    <a:pt x="1225955" y="1125190"/>
                    <a:pt x="1226323" y="1124961"/>
                  </a:cubicBezTo>
                  <a:cubicBezTo>
                    <a:pt x="1226437" y="1124898"/>
                    <a:pt x="1226501" y="1124783"/>
                    <a:pt x="1226501" y="1124644"/>
                  </a:cubicBezTo>
                  <a:cubicBezTo>
                    <a:pt x="1226501" y="1124250"/>
                    <a:pt x="1225778" y="1123526"/>
                    <a:pt x="1223799" y="1122269"/>
                  </a:cubicBezTo>
                  <a:cubicBezTo>
                    <a:pt x="1215986" y="1122358"/>
                    <a:pt x="1219803" y="1119792"/>
                    <a:pt x="1226146" y="1121951"/>
                  </a:cubicBezTo>
                  <a:cubicBezTo>
                    <a:pt x="1230280" y="1119475"/>
                    <a:pt x="1227312" y="1113493"/>
                    <a:pt x="1230902" y="1112414"/>
                  </a:cubicBezTo>
                  <a:cubicBezTo>
                    <a:pt x="1228708" y="1116681"/>
                    <a:pt x="1236749" y="1108769"/>
                    <a:pt x="1234771" y="1115335"/>
                  </a:cubicBezTo>
                  <a:cubicBezTo>
                    <a:pt x="1236382" y="1115830"/>
                    <a:pt x="1238728" y="1112807"/>
                    <a:pt x="1239084" y="1111372"/>
                  </a:cubicBezTo>
                  <a:cubicBezTo>
                    <a:pt x="1239667" y="1116770"/>
                    <a:pt x="1240872" y="1111017"/>
                    <a:pt x="1240428" y="1108629"/>
                  </a:cubicBezTo>
                  <a:cubicBezTo>
                    <a:pt x="1245692" y="1109302"/>
                    <a:pt x="1248838" y="1107499"/>
                    <a:pt x="1244385" y="1103549"/>
                  </a:cubicBezTo>
                  <a:cubicBezTo>
                    <a:pt x="1251121" y="1106470"/>
                    <a:pt x="1251895" y="1111334"/>
                    <a:pt x="1251488" y="1099942"/>
                  </a:cubicBezTo>
                  <a:cubicBezTo>
                    <a:pt x="1255941" y="1101200"/>
                    <a:pt x="1254774" y="1099853"/>
                    <a:pt x="1253467" y="1104717"/>
                  </a:cubicBezTo>
                  <a:cubicBezTo>
                    <a:pt x="1256473" y="1102597"/>
                    <a:pt x="1259213" y="1094418"/>
                    <a:pt x="1260292" y="1096881"/>
                  </a:cubicBezTo>
                  <a:cubicBezTo>
                    <a:pt x="1266989" y="1089376"/>
                    <a:pt x="1261826" y="1092157"/>
                    <a:pt x="1254989" y="1087610"/>
                  </a:cubicBezTo>
                  <a:cubicBezTo>
                    <a:pt x="1262676" y="1087801"/>
                    <a:pt x="1260748" y="1085058"/>
                    <a:pt x="1265378" y="1081362"/>
                  </a:cubicBezTo>
                  <a:cubicBezTo>
                    <a:pt x="1267268" y="1078708"/>
                    <a:pt x="1264921" y="1085769"/>
                    <a:pt x="1267800" y="1085058"/>
                  </a:cubicBezTo>
                  <a:cubicBezTo>
                    <a:pt x="1267484" y="1082708"/>
                    <a:pt x="1274587" y="1085058"/>
                    <a:pt x="1272291" y="1081045"/>
                  </a:cubicBezTo>
                  <a:cubicBezTo>
                    <a:pt x="1273813" y="1080283"/>
                    <a:pt x="1277821" y="1089643"/>
                    <a:pt x="1279749" y="1082937"/>
                  </a:cubicBezTo>
                  <a:cubicBezTo>
                    <a:pt x="1275487" y="1081591"/>
                    <a:pt x="1286053" y="1079063"/>
                    <a:pt x="1281322" y="1078035"/>
                  </a:cubicBezTo>
                  <a:cubicBezTo>
                    <a:pt x="1279622" y="1077133"/>
                    <a:pt x="1279077" y="1077717"/>
                    <a:pt x="1277149" y="1074428"/>
                  </a:cubicBezTo>
                  <a:cubicBezTo>
                    <a:pt x="1281055" y="1077222"/>
                    <a:pt x="1278810" y="1069703"/>
                    <a:pt x="1280472" y="1074110"/>
                  </a:cubicBezTo>
                  <a:cubicBezTo>
                    <a:pt x="1282185" y="1070440"/>
                    <a:pt x="1279749" y="1078797"/>
                    <a:pt x="1282996" y="1074428"/>
                  </a:cubicBezTo>
                  <a:cubicBezTo>
                    <a:pt x="1285013" y="1074110"/>
                    <a:pt x="1291342" y="1075647"/>
                    <a:pt x="1286725" y="1073755"/>
                  </a:cubicBezTo>
                  <a:cubicBezTo>
                    <a:pt x="1286941" y="1070072"/>
                    <a:pt x="1289731" y="1075241"/>
                    <a:pt x="1289414" y="1069297"/>
                  </a:cubicBezTo>
                  <a:cubicBezTo>
                    <a:pt x="1279127" y="1072142"/>
                    <a:pt x="1293283" y="1065030"/>
                    <a:pt x="1285457" y="1063722"/>
                  </a:cubicBezTo>
                  <a:cubicBezTo>
                    <a:pt x="1288704" y="1058464"/>
                    <a:pt x="1290898" y="1064941"/>
                    <a:pt x="1290949" y="1065932"/>
                  </a:cubicBezTo>
                  <a:cubicBezTo>
                    <a:pt x="1291837" y="1065881"/>
                    <a:pt x="1290632" y="1067329"/>
                    <a:pt x="1292116" y="1067367"/>
                  </a:cubicBezTo>
                  <a:cubicBezTo>
                    <a:pt x="1290492" y="1066465"/>
                    <a:pt x="1295034" y="1066922"/>
                    <a:pt x="1293055" y="1066554"/>
                  </a:cubicBezTo>
                  <a:cubicBezTo>
                    <a:pt x="1290403" y="1061652"/>
                    <a:pt x="1295795" y="1066554"/>
                    <a:pt x="1297456" y="1064941"/>
                  </a:cubicBezTo>
                  <a:cubicBezTo>
                    <a:pt x="1300019" y="1063100"/>
                    <a:pt x="1297913" y="1058413"/>
                    <a:pt x="1294856" y="1062642"/>
                  </a:cubicBezTo>
                  <a:cubicBezTo>
                    <a:pt x="1289592" y="1057829"/>
                    <a:pt x="1300196" y="1047390"/>
                    <a:pt x="1301642" y="1056889"/>
                  </a:cubicBezTo>
                  <a:cubicBezTo>
                    <a:pt x="1303747" y="1054362"/>
                    <a:pt x="1303836" y="1057283"/>
                    <a:pt x="1302986" y="1059264"/>
                  </a:cubicBezTo>
                  <a:cubicBezTo>
                    <a:pt x="1306766" y="1059264"/>
                    <a:pt x="1303252" y="1057105"/>
                    <a:pt x="1304927" y="1056699"/>
                  </a:cubicBezTo>
                  <a:cubicBezTo>
                    <a:pt x="1307388" y="1055848"/>
                    <a:pt x="1304166" y="1061703"/>
                    <a:pt x="1307832" y="1059671"/>
                  </a:cubicBezTo>
                  <a:cubicBezTo>
                    <a:pt x="1296556" y="1045497"/>
                    <a:pt x="1318981" y="1037445"/>
                    <a:pt x="1302618" y="1039604"/>
                  </a:cubicBezTo>
                  <a:cubicBezTo>
                    <a:pt x="1314631" y="1020796"/>
                    <a:pt x="1318398" y="1032581"/>
                    <a:pt x="1305320" y="1025253"/>
                  </a:cubicBezTo>
                  <a:cubicBezTo>
                    <a:pt x="1309189" y="1022955"/>
                    <a:pt x="1315747" y="1029394"/>
                    <a:pt x="1310305" y="1020402"/>
                  </a:cubicBezTo>
                  <a:cubicBezTo>
                    <a:pt x="1306627" y="1019996"/>
                    <a:pt x="1303341" y="1023005"/>
                    <a:pt x="1306170" y="1017379"/>
                  </a:cubicBezTo>
                  <a:cubicBezTo>
                    <a:pt x="1302618" y="1014052"/>
                    <a:pt x="1307743" y="1014954"/>
                    <a:pt x="1309862" y="1017557"/>
                  </a:cubicBezTo>
                  <a:cubicBezTo>
                    <a:pt x="1308237" y="1014865"/>
                    <a:pt x="1308821" y="1012122"/>
                    <a:pt x="1310001" y="1016122"/>
                  </a:cubicBezTo>
                  <a:cubicBezTo>
                    <a:pt x="1314225" y="1010991"/>
                    <a:pt x="1309316" y="1015944"/>
                    <a:pt x="1314846" y="1018776"/>
                  </a:cubicBezTo>
                  <a:cubicBezTo>
                    <a:pt x="1314631" y="1015220"/>
                    <a:pt x="1316330" y="1014192"/>
                    <a:pt x="1319793" y="1014459"/>
                  </a:cubicBezTo>
                  <a:cubicBezTo>
                    <a:pt x="1317319" y="1009594"/>
                    <a:pt x="1320198" y="1012795"/>
                    <a:pt x="1324563" y="1009417"/>
                  </a:cubicBezTo>
                  <a:cubicBezTo>
                    <a:pt x="1323801" y="1009099"/>
                    <a:pt x="1323015" y="1008820"/>
                    <a:pt x="1322228" y="1008604"/>
                  </a:cubicBezTo>
                  <a:cubicBezTo>
                    <a:pt x="1322761" y="1008744"/>
                    <a:pt x="1325019" y="1009150"/>
                    <a:pt x="1324879" y="1007435"/>
                  </a:cubicBezTo>
                  <a:cubicBezTo>
                    <a:pt x="1323357" y="1006089"/>
                    <a:pt x="1324334" y="1006089"/>
                    <a:pt x="1325552" y="1006000"/>
                  </a:cubicBezTo>
                  <a:cubicBezTo>
                    <a:pt x="1322406" y="1000869"/>
                    <a:pt x="1329192" y="1006940"/>
                    <a:pt x="1328241" y="1004425"/>
                  </a:cubicBezTo>
                  <a:cubicBezTo>
                    <a:pt x="1327442" y="1003524"/>
                    <a:pt x="1330448" y="1004019"/>
                    <a:pt x="1328241" y="1003346"/>
                  </a:cubicBezTo>
                  <a:cubicBezTo>
                    <a:pt x="1332198" y="1003028"/>
                    <a:pt x="1326173" y="1002444"/>
                    <a:pt x="1328025" y="1001365"/>
                  </a:cubicBezTo>
                  <a:cubicBezTo>
                    <a:pt x="1327949" y="1001136"/>
                    <a:pt x="1327809" y="1000933"/>
                    <a:pt x="1327619" y="1000780"/>
                  </a:cubicBezTo>
                  <a:cubicBezTo>
                    <a:pt x="1334227" y="1004248"/>
                    <a:pt x="1334088" y="993846"/>
                    <a:pt x="1336739" y="987014"/>
                  </a:cubicBezTo>
                  <a:cubicBezTo>
                    <a:pt x="1333911" y="985845"/>
                    <a:pt x="1348510" y="979902"/>
                    <a:pt x="1338578" y="976714"/>
                  </a:cubicBezTo>
                  <a:cubicBezTo>
                    <a:pt x="1337398" y="976333"/>
                    <a:pt x="1336321" y="975685"/>
                    <a:pt x="1335433" y="974822"/>
                  </a:cubicBezTo>
                  <a:cubicBezTo>
                    <a:pt x="1352822" y="981388"/>
                    <a:pt x="1344781" y="962846"/>
                    <a:pt x="1353508" y="964420"/>
                  </a:cubicBezTo>
                  <a:cubicBezTo>
                    <a:pt x="1351034" y="970186"/>
                    <a:pt x="1354903" y="973374"/>
                    <a:pt x="1359431" y="965551"/>
                  </a:cubicBezTo>
                  <a:cubicBezTo>
                    <a:pt x="1372280" y="969462"/>
                    <a:pt x="1360015" y="956597"/>
                    <a:pt x="1354078" y="951962"/>
                  </a:cubicBezTo>
                  <a:cubicBezTo>
                    <a:pt x="1360547" y="953270"/>
                    <a:pt x="1372648" y="953803"/>
                    <a:pt x="1359977" y="946336"/>
                  </a:cubicBezTo>
                  <a:cubicBezTo>
                    <a:pt x="1360687" y="944266"/>
                    <a:pt x="1368957" y="948812"/>
                    <a:pt x="1364555" y="944405"/>
                  </a:cubicBezTo>
                  <a:cubicBezTo>
                    <a:pt x="1366673" y="942551"/>
                    <a:pt x="1363211" y="942107"/>
                    <a:pt x="1361815" y="942780"/>
                  </a:cubicBezTo>
                  <a:cubicBezTo>
                    <a:pt x="1364821" y="939401"/>
                    <a:pt x="1362843" y="940887"/>
                    <a:pt x="1357414" y="940570"/>
                  </a:cubicBezTo>
                  <a:cubicBezTo>
                    <a:pt x="1367168" y="926536"/>
                    <a:pt x="1360560" y="945574"/>
                    <a:pt x="1369540" y="933191"/>
                  </a:cubicBezTo>
                  <a:cubicBezTo>
                    <a:pt x="1364784" y="939948"/>
                    <a:pt x="1374614" y="939313"/>
                    <a:pt x="1373320" y="934906"/>
                  </a:cubicBezTo>
                  <a:cubicBezTo>
                    <a:pt x="1369642" y="935896"/>
                    <a:pt x="1377722" y="919386"/>
                    <a:pt x="1368602" y="924555"/>
                  </a:cubicBezTo>
                  <a:cubicBezTo>
                    <a:pt x="1364821" y="927883"/>
                    <a:pt x="1372914" y="924822"/>
                    <a:pt x="1368056" y="928835"/>
                  </a:cubicBezTo>
                  <a:cubicBezTo>
                    <a:pt x="1367790" y="921672"/>
                    <a:pt x="1357998" y="934956"/>
                    <a:pt x="1360560" y="929369"/>
                  </a:cubicBezTo>
                  <a:cubicBezTo>
                    <a:pt x="1359520" y="926714"/>
                    <a:pt x="1360065" y="930181"/>
                    <a:pt x="1358581" y="930588"/>
                  </a:cubicBezTo>
                  <a:cubicBezTo>
                    <a:pt x="1357591" y="926397"/>
                    <a:pt x="1360104" y="926905"/>
                    <a:pt x="1363706" y="926041"/>
                  </a:cubicBezTo>
                  <a:cubicBezTo>
                    <a:pt x="1375755" y="915424"/>
                    <a:pt x="1383658" y="916008"/>
                    <a:pt x="1366496" y="912859"/>
                  </a:cubicBezTo>
                  <a:cubicBezTo>
                    <a:pt x="1362818" y="909125"/>
                    <a:pt x="1358455" y="897250"/>
                    <a:pt x="1350273" y="900882"/>
                  </a:cubicBezTo>
                  <a:cubicBezTo>
                    <a:pt x="1348205" y="905962"/>
                    <a:pt x="1338401" y="904896"/>
                    <a:pt x="1336828" y="906153"/>
                  </a:cubicBezTo>
                  <a:cubicBezTo>
                    <a:pt x="1337500" y="905378"/>
                    <a:pt x="1337741" y="904311"/>
                    <a:pt x="1337462" y="903321"/>
                  </a:cubicBezTo>
                  <a:cubicBezTo>
                    <a:pt x="1334672" y="894050"/>
                    <a:pt x="1327035" y="903638"/>
                    <a:pt x="1322723" y="904984"/>
                  </a:cubicBezTo>
                  <a:cubicBezTo>
                    <a:pt x="1344831" y="886125"/>
                    <a:pt x="1330816" y="913798"/>
                    <a:pt x="1350222" y="890989"/>
                  </a:cubicBezTo>
                  <a:cubicBezTo>
                    <a:pt x="1397192" y="878975"/>
                    <a:pt x="1352747" y="857067"/>
                    <a:pt x="1324829" y="845853"/>
                  </a:cubicBezTo>
                  <a:cubicBezTo>
                    <a:pt x="1329775" y="844558"/>
                    <a:pt x="1335711" y="842081"/>
                    <a:pt x="1340659" y="844875"/>
                  </a:cubicBezTo>
                  <a:cubicBezTo>
                    <a:pt x="1349461" y="858058"/>
                    <a:pt x="1391890" y="856255"/>
                    <a:pt x="1357325" y="839960"/>
                  </a:cubicBezTo>
                  <a:cubicBezTo>
                    <a:pt x="1360611" y="830105"/>
                    <a:pt x="1348155" y="830385"/>
                    <a:pt x="1343347" y="823539"/>
                  </a:cubicBezTo>
                  <a:cubicBezTo>
                    <a:pt x="1341863" y="811690"/>
                    <a:pt x="1338058" y="800260"/>
                    <a:pt x="1332160" y="789884"/>
                  </a:cubicBezTo>
                  <a:cubicBezTo>
                    <a:pt x="1312703" y="740710"/>
                    <a:pt x="1269157" y="755556"/>
                    <a:pt x="1322495" y="712402"/>
                  </a:cubicBezTo>
                  <a:cubicBezTo>
                    <a:pt x="1331754" y="707817"/>
                    <a:pt x="1318588" y="711551"/>
                    <a:pt x="1320655" y="702140"/>
                  </a:cubicBezTo>
                  <a:cubicBezTo>
                    <a:pt x="1321823" y="699346"/>
                    <a:pt x="1325780" y="705785"/>
                    <a:pt x="1326313" y="699575"/>
                  </a:cubicBezTo>
                  <a:cubicBezTo>
                    <a:pt x="1327796" y="720822"/>
                    <a:pt x="1336878" y="695257"/>
                    <a:pt x="1341242" y="693225"/>
                  </a:cubicBezTo>
                  <a:cubicBezTo>
                    <a:pt x="1342270" y="698673"/>
                    <a:pt x="1342358" y="693275"/>
                    <a:pt x="1344603" y="693098"/>
                  </a:cubicBezTo>
                  <a:cubicBezTo>
                    <a:pt x="1345060" y="684589"/>
                    <a:pt x="1337424" y="692602"/>
                    <a:pt x="1339123" y="688284"/>
                  </a:cubicBezTo>
                  <a:cubicBezTo>
                    <a:pt x="1345009" y="686570"/>
                    <a:pt x="1355842" y="688005"/>
                    <a:pt x="1359038" y="680042"/>
                  </a:cubicBezTo>
                  <a:cubicBezTo>
                    <a:pt x="1361461" y="680677"/>
                    <a:pt x="1365329" y="678696"/>
                    <a:pt x="1360293" y="681477"/>
                  </a:cubicBezTo>
                  <a:cubicBezTo>
                    <a:pt x="1361777" y="687243"/>
                    <a:pt x="1376339" y="667215"/>
                    <a:pt x="1375312" y="677616"/>
                  </a:cubicBezTo>
                  <a:cubicBezTo>
                    <a:pt x="1381781" y="667317"/>
                    <a:pt x="1376973" y="685224"/>
                    <a:pt x="1385155" y="678925"/>
                  </a:cubicBezTo>
                  <a:cubicBezTo>
                    <a:pt x="1388338" y="679725"/>
                    <a:pt x="1385282" y="677400"/>
                    <a:pt x="1386043" y="676664"/>
                  </a:cubicBezTo>
                  <a:cubicBezTo>
                    <a:pt x="1392385" y="678925"/>
                    <a:pt x="1389505" y="670555"/>
                    <a:pt x="1386005" y="673794"/>
                  </a:cubicBezTo>
                  <a:cubicBezTo>
                    <a:pt x="1390761" y="666682"/>
                    <a:pt x="1388833" y="666415"/>
                    <a:pt x="1393907" y="659443"/>
                  </a:cubicBezTo>
                  <a:cubicBezTo>
                    <a:pt x="1375261" y="654045"/>
                    <a:pt x="1366458" y="663215"/>
                    <a:pt x="1356844" y="653270"/>
                  </a:cubicBezTo>
                  <a:cubicBezTo>
                    <a:pt x="1360661" y="649041"/>
                    <a:pt x="1349461" y="657462"/>
                    <a:pt x="1349689" y="650845"/>
                  </a:cubicBezTo>
                  <a:cubicBezTo>
                    <a:pt x="1337018" y="625191"/>
                    <a:pt x="1283085" y="707360"/>
                    <a:pt x="1290327" y="648330"/>
                  </a:cubicBezTo>
                  <a:cubicBezTo>
                    <a:pt x="1306868" y="651835"/>
                    <a:pt x="1286066" y="641218"/>
                    <a:pt x="1287905" y="634868"/>
                  </a:cubicBezTo>
                  <a:cubicBezTo>
                    <a:pt x="1273204" y="632849"/>
                    <a:pt x="1248762" y="635541"/>
                    <a:pt x="1248850" y="612592"/>
                  </a:cubicBezTo>
                  <a:cubicBezTo>
                    <a:pt x="1252808" y="599194"/>
                    <a:pt x="1257158" y="587180"/>
                    <a:pt x="1270693" y="601124"/>
                  </a:cubicBezTo>
                  <a:cubicBezTo>
                    <a:pt x="1276578" y="597251"/>
                    <a:pt x="1289693" y="592526"/>
                    <a:pt x="1286294" y="597441"/>
                  </a:cubicBezTo>
                  <a:cubicBezTo>
                    <a:pt x="1297659" y="589250"/>
                    <a:pt x="1294285" y="585021"/>
                    <a:pt x="1302517" y="572372"/>
                  </a:cubicBezTo>
                  <a:cubicBezTo>
                    <a:pt x="1318880" y="563596"/>
                    <a:pt x="1333758" y="552280"/>
                    <a:pt x="1346607" y="538844"/>
                  </a:cubicBezTo>
                  <a:cubicBezTo>
                    <a:pt x="1342066" y="525039"/>
                    <a:pt x="1367283" y="539250"/>
                    <a:pt x="1370821" y="528772"/>
                  </a:cubicBezTo>
                  <a:cubicBezTo>
                    <a:pt x="1379586" y="545917"/>
                    <a:pt x="1385611" y="559506"/>
                    <a:pt x="1360496" y="572054"/>
                  </a:cubicBezTo>
                  <a:cubicBezTo>
                    <a:pt x="1356273" y="576562"/>
                    <a:pt x="1365304" y="577413"/>
                    <a:pt x="1359367" y="579128"/>
                  </a:cubicBezTo>
                  <a:cubicBezTo>
                    <a:pt x="1357211" y="580157"/>
                    <a:pt x="1348852" y="582176"/>
                    <a:pt x="1354700" y="583890"/>
                  </a:cubicBezTo>
                  <a:cubicBezTo>
                    <a:pt x="1361207" y="583306"/>
                    <a:pt x="1361397" y="593288"/>
                    <a:pt x="1372445" y="586989"/>
                  </a:cubicBezTo>
                  <a:cubicBezTo>
                    <a:pt x="1369705" y="589961"/>
                    <a:pt x="1360357" y="592222"/>
                    <a:pt x="1363909" y="595905"/>
                  </a:cubicBezTo>
                  <a:cubicBezTo>
                    <a:pt x="1367866" y="605265"/>
                    <a:pt x="1344451" y="599194"/>
                    <a:pt x="1349296" y="610662"/>
                  </a:cubicBezTo>
                  <a:cubicBezTo>
                    <a:pt x="1347368" y="612554"/>
                    <a:pt x="1374284" y="606204"/>
                    <a:pt x="1362691" y="604414"/>
                  </a:cubicBezTo>
                  <a:cubicBezTo>
                    <a:pt x="1369971" y="598876"/>
                    <a:pt x="1367410" y="604998"/>
                    <a:pt x="1375857" y="599778"/>
                  </a:cubicBezTo>
                  <a:cubicBezTo>
                    <a:pt x="1382820" y="586722"/>
                    <a:pt x="1413783" y="569717"/>
                    <a:pt x="1414417" y="575343"/>
                  </a:cubicBezTo>
                  <a:cubicBezTo>
                    <a:pt x="1422953" y="567825"/>
                    <a:pt x="1426505" y="575572"/>
                    <a:pt x="1437121" y="569539"/>
                  </a:cubicBezTo>
                  <a:cubicBezTo>
                    <a:pt x="1435486" y="565094"/>
                    <a:pt x="1437413" y="560141"/>
                    <a:pt x="1441612" y="557970"/>
                  </a:cubicBezTo>
                  <a:cubicBezTo>
                    <a:pt x="1450288" y="553652"/>
                    <a:pt x="1450960" y="549384"/>
                    <a:pt x="1456529" y="547225"/>
                  </a:cubicBezTo>
                  <a:cubicBezTo>
                    <a:pt x="1460105" y="545701"/>
                    <a:pt x="1463594" y="544012"/>
                    <a:pt x="1467006" y="542145"/>
                  </a:cubicBezTo>
                  <a:cubicBezTo>
                    <a:pt x="1471192" y="540253"/>
                    <a:pt x="1469606" y="542450"/>
                    <a:pt x="1473880" y="537319"/>
                  </a:cubicBezTo>
                  <a:cubicBezTo>
                    <a:pt x="1478142" y="532189"/>
                    <a:pt x="1484395" y="533675"/>
                    <a:pt x="1488214" y="531604"/>
                  </a:cubicBezTo>
                  <a:cubicBezTo>
                    <a:pt x="1492070" y="529534"/>
                    <a:pt x="1492171" y="527464"/>
                    <a:pt x="1494276" y="523413"/>
                  </a:cubicBezTo>
                  <a:cubicBezTo>
                    <a:pt x="1496344" y="519324"/>
                    <a:pt x="1502407" y="516085"/>
                    <a:pt x="1502863" y="511805"/>
                  </a:cubicBezTo>
                  <a:cubicBezTo>
                    <a:pt x="1503308" y="507538"/>
                    <a:pt x="1501697" y="504884"/>
                    <a:pt x="1505464" y="502725"/>
                  </a:cubicBezTo>
                  <a:cubicBezTo>
                    <a:pt x="1509193" y="500566"/>
                    <a:pt x="1513328" y="497010"/>
                    <a:pt x="1514229" y="500109"/>
                  </a:cubicBezTo>
                  <a:cubicBezTo>
                    <a:pt x="1515130" y="503258"/>
                    <a:pt x="1512250" y="506408"/>
                    <a:pt x="1519036" y="508617"/>
                  </a:cubicBezTo>
                  <a:cubicBezTo>
                    <a:pt x="1525822" y="510776"/>
                    <a:pt x="1529285" y="510192"/>
                    <a:pt x="1535843" y="511818"/>
                  </a:cubicBezTo>
                  <a:cubicBezTo>
                    <a:pt x="1542413" y="513431"/>
                    <a:pt x="1542362" y="515412"/>
                    <a:pt x="1546142" y="513342"/>
                  </a:cubicBezTo>
                  <a:cubicBezTo>
                    <a:pt x="1548273" y="512364"/>
                    <a:pt x="1549554" y="510141"/>
                    <a:pt x="1549326" y="507805"/>
                  </a:cubicBezTo>
                  <a:cubicBezTo>
                    <a:pt x="1547588" y="504134"/>
                    <a:pt x="1546574" y="500159"/>
                    <a:pt x="1546358" y="496108"/>
                  </a:cubicBezTo>
                  <a:cubicBezTo>
                    <a:pt x="1546725" y="491422"/>
                    <a:pt x="1544430" y="488818"/>
                    <a:pt x="1551977" y="488767"/>
                  </a:cubicBezTo>
                  <a:cubicBezTo>
                    <a:pt x="1557152" y="489504"/>
                    <a:pt x="1562403" y="489707"/>
                    <a:pt x="1567617" y="489352"/>
                  </a:cubicBezTo>
                  <a:cubicBezTo>
                    <a:pt x="1572081" y="488983"/>
                    <a:pt x="1575924" y="486024"/>
                    <a:pt x="1577422" y="481795"/>
                  </a:cubicBezTo>
                  <a:cubicBezTo>
                    <a:pt x="1578855" y="478557"/>
                    <a:pt x="1576242" y="477033"/>
                    <a:pt x="1580744" y="475369"/>
                  </a:cubicBezTo>
                  <a:cubicBezTo>
                    <a:pt x="1585286" y="473743"/>
                    <a:pt x="1584563" y="475902"/>
                    <a:pt x="1588926" y="473743"/>
                  </a:cubicBezTo>
                  <a:cubicBezTo>
                    <a:pt x="1593327" y="471584"/>
                    <a:pt x="1593099" y="473921"/>
                    <a:pt x="1594050" y="469552"/>
                  </a:cubicBezTo>
                  <a:cubicBezTo>
                    <a:pt x="1594938" y="465145"/>
                    <a:pt x="1592072" y="463304"/>
                    <a:pt x="1595661" y="458072"/>
                  </a:cubicBezTo>
                  <a:cubicBezTo>
                    <a:pt x="1599213" y="452814"/>
                    <a:pt x="1592249" y="451188"/>
                    <a:pt x="1599213" y="452814"/>
                  </a:cubicBezTo>
                  <a:cubicBezTo>
                    <a:pt x="1606176" y="454427"/>
                    <a:pt x="1606899" y="454211"/>
                    <a:pt x="1608155" y="457271"/>
                  </a:cubicBezTo>
                  <a:cubicBezTo>
                    <a:pt x="1609272" y="459303"/>
                    <a:pt x="1610756" y="461119"/>
                    <a:pt x="1612518" y="462618"/>
                  </a:cubicBezTo>
                  <a:cubicBezTo>
                    <a:pt x="1616400" y="461945"/>
                    <a:pt x="1620345" y="461615"/>
                    <a:pt x="1624289" y="461628"/>
                  </a:cubicBezTo>
                  <a:cubicBezTo>
                    <a:pt x="1629591" y="461856"/>
                    <a:pt x="1630263" y="453893"/>
                    <a:pt x="1633460" y="446197"/>
                  </a:cubicBezTo>
                  <a:cubicBezTo>
                    <a:pt x="1635451" y="440571"/>
                    <a:pt x="1635680" y="434462"/>
                    <a:pt x="1634132" y="428696"/>
                  </a:cubicBezTo>
                  <a:cubicBezTo>
                    <a:pt x="1633688" y="422804"/>
                    <a:pt x="1629236" y="383116"/>
                    <a:pt x="1630263" y="376144"/>
                  </a:cubicBezTo>
                  <a:cubicBezTo>
                    <a:pt x="1631342" y="369171"/>
                    <a:pt x="1630263" y="376144"/>
                    <a:pt x="1634044" y="374785"/>
                  </a:cubicBezTo>
                  <a:cubicBezTo>
                    <a:pt x="1637811" y="373489"/>
                    <a:pt x="1638306" y="372359"/>
                    <a:pt x="1640563" y="372537"/>
                  </a:cubicBezTo>
                  <a:cubicBezTo>
                    <a:pt x="1642808" y="372715"/>
                    <a:pt x="1643658" y="369654"/>
                    <a:pt x="1647704" y="366238"/>
                  </a:cubicBezTo>
                  <a:cubicBezTo>
                    <a:pt x="1651751" y="362821"/>
                    <a:pt x="1649049" y="361107"/>
                    <a:pt x="1653857" y="360027"/>
                  </a:cubicBezTo>
                  <a:cubicBezTo>
                    <a:pt x="1656710" y="359939"/>
                    <a:pt x="1659462" y="361043"/>
                    <a:pt x="1661454" y="363088"/>
                  </a:cubicBezTo>
                  <a:cubicBezTo>
                    <a:pt x="1664650" y="357691"/>
                    <a:pt x="1671069" y="356611"/>
                    <a:pt x="1681280" y="367597"/>
                  </a:cubicBezTo>
                  <a:cubicBezTo>
                    <a:pt x="1681368" y="369095"/>
                    <a:pt x="1681203" y="370607"/>
                    <a:pt x="1680785" y="372042"/>
                  </a:cubicBezTo>
                  <a:lnTo>
                    <a:pt x="1680785" y="372092"/>
                  </a:lnTo>
                  <a:cubicBezTo>
                    <a:pt x="1682573" y="373261"/>
                    <a:pt x="1684286" y="373667"/>
                    <a:pt x="1685047" y="371826"/>
                  </a:cubicBezTo>
                  <a:cubicBezTo>
                    <a:pt x="1687064" y="367000"/>
                    <a:pt x="1689816" y="361475"/>
                    <a:pt x="1692734" y="355125"/>
                  </a:cubicBezTo>
                  <a:cubicBezTo>
                    <a:pt x="1695651" y="348775"/>
                    <a:pt x="1695967" y="338526"/>
                    <a:pt x="1700103" y="335872"/>
                  </a:cubicBezTo>
                  <a:cubicBezTo>
                    <a:pt x="1704187" y="333218"/>
                    <a:pt x="1704999" y="334208"/>
                    <a:pt x="1707028" y="327007"/>
                  </a:cubicBezTo>
                  <a:cubicBezTo>
                    <a:pt x="1709045" y="319807"/>
                    <a:pt x="1707967" y="323223"/>
                    <a:pt x="1710123" y="314003"/>
                  </a:cubicBezTo>
                  <a:cubicBezTo>
                    <a:pt x="1712241" y="304782"/>
                    <a:pt x="1716009" y="278951"/>
                    <a:pt x="1722440" y="274175"/>
                  </a:cubicBezTo>
                  <a:cubicBezTo>
                    <a:pt x="1728832" y="269337"/>
                    <a:pt x="1733183" y="268714"/>
                    <a:pt x="1732333" y="259672"/>
                  </a:cubicBezTo>
                  <a:close/>
                  <a:moveTo>
                    <a:pt x="1138143" y="1128809"/>
                  </a:moveTo>
                  <a:cubicBezTo>
                    <a:pt x="1137458" y="1128949"/>
                    <a:pt x="1136798" y="1129140"/>
                    <a:pt x="1136164" y="1129394"/>
                  </a:cubicBezTo>
                  <a:cubicBezTo>
                    <a:pt x="1136760" y="1129025"/>
                    <a:pt x="1137394" y="1128708"/>
                    <a:pt x="1138041" y="1128454"/>
                  </a:cubicBezTo>
                  <a:cubicBezTo>
                    <a:pt x="1138346" y="1128301"/>
                    <a:pt x="1138663" y="1128200"/>
                    <a:pt x="1138993" y="1128136"/>
                  </a:cubicBezTo>
                  <a:cubicBezTo>
                    <a:pt x="1139309" y="1128047"/>
                    <a:pt x="1139639" y="1127997"/>
                    <a:pt x="1139982" y="1127997"/>
                  </a:cubicBezTo>
                  <a:cubicBezTo>
                    <a:pt x="1140958" y="1128009"/>
                    <a:pt x="1141898" y="1128378"/>
                    <a:pt x="1142633" y="1129038"/>
                  </a:cubicBezTo>
                  <a:cubicBezTo>
                    <a:pt x="1141187" y="1128543"/>
                    <a:pt x="1139627" y="1128466"/>
                    <a:pt x="1138143" y="1128809"/>
                  </a:cubicBezTo>
                  <a:close/>
                  <a:moveTo>
                    <a:pt x="1336371" y="907067"/>
                  </a:moveTo>
                  <a:cubicBezTo>
                    <a:pt x="1336422" y="906864"/>
                    <a:pt x="1336510" y="906686"/>
                    <a:pt x="1336637" y="906521"/>
                  </a:cubicBezTo>
                  <a:cubicBezTo>
                    <a:pt x="1336637" y="907067"/>
                    <a:pt x="1337576" y="907918"/>
                    <a:pt x="1340100" y="909366"/>
                  </a:cubicBezTo>
                  <a:cubicBezTo>
                    <a:pt x="1337893" y="908998"/>
                    <a:pt x="1336866" y="908591"/>
                    <a:pt x="1336460" y="908096"/>
                  </a:cubicBezTo>
                  <a:cubicBezTo>
                    <a:pt x="1336232" y="907804"/>
                    <a:pt x="1336194" y="907397"/>
                    <a:pt x="1336371" y="907067"/>
                  </a:cubicBezTo>
                  <a:close/>
                  <a:moveTo>
                    <a:pt x="1325805" y="999574"/>
                  </a:moveTo>
                  <a:cubicBezTo>
                    <a:pt x="1326236" y="999917"/>
                    <a:pt x="1326681" y="1000209"/>
                    <a:pt x="1327150" y="1000476"/>
                  </a:cubicBezTo>
                  <a:cubicBezTo>
                    <a:pt x="1325666" y="999981"/>
                    <a:pt x="1323065" y="1001378"/>
                    <a:pt x="1322622" y="1000387"/>
                  </a:cubicBezTo>
                  <a:cubicBezTo>
                    <a:pt x="1323294" y="998901"/>
                    <a:pt x="1327873" y="996386"/>
                    <a:pt x="1325805" y="999574"/>
                  </a:cubicBezTo>
                  <a:close/>
                  <a:moveTo>
                    <a:pt x="1314795" y="838983"/>
                  </a:moveTo>
                  <a:cubicBezTo>
                    <a:pt x="1314897" y="840087"/>
                    <a:pt x="1315112" y="841167"/>
                    <a:pt x="1315429" y="842221"/>
                  </a:cubicBezTo>
                  <a:cubicBezTo>
                    <a:pt x="1310850" y="840519"/>
                    <a:pt x="1307514" y="839389"/>
                    <a:pt x="1306487" y="839033"/>
                  </a:cubicBezTo>
                  <a:cubicBezTo>
                    <a:pt x="1309493" y="834309"/>
                    <a:pt x="1309633" y="831159"/>
                    <a:pt x="1314795" y="838995"/>
                  </a:cubicBezTo>
                  <a:close/>
                  <a:moveTo>
                    <a:pt x="1301274" y="1039757"/>
                  </a:moveTo>
                  <a:cubicBezTo>
                    <a:pt x="1299879" y="1039985"/>
                    <a:pt x="1298217" y="1040201"/>
                    <a:pt x="1296276" y="1040570"/>
                  </a:cubicBezTo>
                  <a:cubicBezTo>
                    <a:pt x="1290264" y="1030854"/>
                    <a:pt x="1294792" y="1037471"/>
                    <a:pt x="1301274" y="1039757"/>
                  </a:cubicBezTo>
                  <a:close/>
                </a:path>
              </a:pathLst>
            </a:custGeom>
            <a:solidFill>
              <a:schemeClr val="tx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2" name="Vrije vorm 271">
              <a:extLst>
                <a:ext uri="{FF2B5EF4-FFF2-40B4-BE49-F238E27FC236}">
                  <a16:creationId xmlns:a16="http://schemas.microsoft.com/office/drawing/2014/main" id="{1F300F44-C881-9E48-9893-ADD13A1518E6}"/>
                </a:ext>
              </a:extLst>
            </p:cNvPr>
            <p:cNvSpPr/>
            <p:nvPr/>
          </p:nvSpPr>
          <p:spPr>
            <a:xfrm>
              <a:off x="9013062" y="3048416"/>
              <a:ext cx="182768" cy="196773"/>
            </a:xfrm>
            <a:custGeom>
              <a:avLst/>
              <a:gdLst>
                <a:gd name="connsiteX0" fmla="*/ 182742 w 182768"/>
                <a:gd name="connsiteY0" fmla="*/ 26533 h 196773"/>
                <a:gd name="connsiteX1" fmla="*/ 177212 w 182768"/>
                <a:gd name="connsiteY1" fmla="*/ 26571 h 196773"/>
                <a:gd name="connsiteX2" fmla="*/ 157209 w 182768"/>
                <a:gd name="connsiteY2" fmla="*/ 80254 h 196773"/>
                <a:gd name="connsiteX3" fmla="*/ 114476 w 182768"/>
                <a:gd name="connsiteY3" fmla="*/ 111305 h 196773"/>
                <a:gd name="connsiteX4" fmla="*/ 94473 w 182768"/>
                <a:gd name="connsiteY4" fmla="*/ 135689 h 196773"/>
                <a:gd name="connsiteX5" fmla="*/ 92901 w 182768"/>
                <a:gd name="connsiteY5" fmla="*/ 136769 h 196773"/>
                <a:gd name="connsiteX6" fmla="*/ 118294 w 182768"/>
                <a:gd name="connsiteY6" fmla="*/ 168709 h 196773"/>
                <a:gd name="connsiteX7" fmla="*/ 110976 w 182768"/>
                <a:gd name="connsiteY7" fmla="*/ 174424 h 196773"/>
                <a:gd name="connsiteX8" fmla="*/ 93040 w 182768"/>
                <a:gd name="connsiteY8" fmla="*/ 175504 h 196773"/>
                <a:gd name="connsiteX9" fmla="*/ 75650 w 182768"/>
                <a:gd name="connsiteY9" fmla="*/ 179060 h 196773"/>
                <a:gd name="connsiteX10" fmla="*/ 65363 w 182768"/>
                <a:gd name="connsiteY10" fmla="*/ 192115 h 196773"/>
                <a:gd name="connsiteX11" fmla="*/ 65224 w 182768"/>
                <a:gd name="connsiteY11" fmla="*/ 192154 h 196773"/>
                <a:gd name="connsiteX12" fmla="*/ 49723 w 182768"/>
                <a:gd name="connsiteY12" fmla="*/ 189677 h 196773"/>
                <a:gd name="connsiteX13" fmla="*/ 39335 w 182768"/>
                <a:gd name="connsiteY13" fmla="*/ 185816 h 196773"/>
                <a:gd name="connsiteX14" fmla="*/ 40591 w 182768"/>
                <a:gd name="connsiteY14" fmla="*/ 191976 h 196773"/>
                <a:gd name="connsiteX15" fmla="*/ 33627 w 182768"/>
                <a:gd name="connsiteY15" fmla="*/ 196522 h 196773"/>
                <a:gd name="connsiteX16" fmla="*/ 37902 w 182768"/>
                <a:gd name="connsiteY16" fmla="*/ 191747 h 196773"/>
                <a:gd name="connsiteX17" fmla="*/ 33804 w 182768"/>
                <a:gd name="connsiteY17" fmla="*/ 190045 h 196773"/>
                <a:gd name="connsiteX18" fmla="*/ 33627 w 182768"/>
                <a:gd name="connsiteY18" fmla="*/ 191747 h 196773"/>
                <a:gd name="connsiteX19" fmla="*/ 30304 w 182768"/>
                <a:gd name="connsiteY19" fmla="*/ 188559 h 196773"/>
                <a:gd name="connsiteX20" fmla="*/ 23289 w 182768"/>
                <a:gd name="connsiteY20" fmla="*/ 189550 h 196773"/>
                <a:gd name="connsiteX21" fmla="*/ 27970 w 182768"/>
                <a:gd name="connsiteY21" fmla="*/ 186578 h 196773"/>
                <a:gd name="connsiteX22" fmla="*/ 28960 w 182768"/>
                <a:gd name="connsiteY22" fmla="*/ 184508 h 196773"/>
                <a:gd name="connsiteX23" fmla="*/ 16237 w 182768"/>
                <a:gd name="connsiteY23" fmla="*/ 180546 h 196773"/>
                <a:gd name="connsiteX24" fmla="*/ 22706 w 182768"/>
                <a:gd name="connsiteY24" fmla="*/ 177980 h 196773"/>
                <a:gd name="connsiteX25" fmla="*/ 26790 w 182768"/>
                <a:gd name="connsiteY25" fmla="*/ 162283 h 196773"/>
                <a:gd name="connsiteX26" fmla="*/ 35606 w 182768"/>
                <a:gd name="connsiteY26" fmla="*/ 158092 h 196773"/>
                <a:gd name="connsiteX27" fmla="*/ 34706 w 182768"/>
                <a:gd name="connsiteY27" fmla="*/ 138344 h 196773"/>
                <a:gd name="connsiteX28" fmla="*/ 34654 w 182768"/>
                <a:gd name="connsiteY28" fmla="*/ 130330 h 196773"/>
                <a:gd name="connsiteX29" fmla="*/ 31014 w 182768"/>
                <a:gd name="connsiteY29" fmla="*/ 130965 h 196773"/>
                <a:gd name="connsiteX30" fmla="*/ 15692 w 182768"/>
                <a:gd name="connsiteY30" fmla="*/ 121376 h 196773"/>
                <a:gd name="connsiteX31" fmla="*/ 12369 w 182768"/>
                <a:gd name="connsiteY31" fmla="*/ 126469 h 196773"/>
                <a:gd name="connsiteX32" fmla="*/ 8728 w 182768"/>
                <a:gd name="connsiteY32" fmla="*/ 112512 h 196773"/>
                <a:gd name="connsiteX33" fmla="*/ 2703 w 182768"/>
                <a:gd name="connsiteY33" fmla="*/ 115979 h 196773"/>
                <a:gd name="connsiteX34" fmla="*/ 547 w 182768"/>
                <a:gd name="connsiteY34" fmla="*/ 117325 h 196773"/>
                <a:gd name="connsiteX35" fmla="*/ 5050 w 182768"/>
                <a:gd name="connsiteY35" fmla="*/ 105768 h 196773"/>
                <a:gd name="connsiteX36" fmla="*/ 19967 w 182768"/>
                <a:gd name="connsiteY36" fmla="*/ 95011 h 196773"/>
                <a:gd name="connsiteX37" fmla="*/ 30431 w 182768"/>
                <a:gd name="connsiteY37" fmla="*/ 89931 h 196773"/>
                <a:gd name="connsiteX38" fmla="*/ 37318 w 182768"/>
                <a:gd name="connsiteY38" fmla="*/ 85118 h 196773"/>
                <a:gd name="connsiteX39" fmla="*/ 51652 w 182768"/>
                <a:gd name="connsiteY39" fmla="*/ 79403 h 196773"/>
                <a:gd name="connsiteX40" fmla="*/ 57714 w 182768"/>
                <a:gd name="connsiteY40" fmla="*/ 71211 h 196773"/>
                <a:gd name="connsiteX41" fmla="*/ 66289 w 182768"/>
                <a:gd name="connsiteY41" fmla="*/ 59604 h 196773"/>
                <a:gd name="connsiteX42" fmla="*/ 68902 w 182768"/>
                <a:gd name="connsiteY42" fmla="*/ 50510 h 196773"/>
                <a:gd name="connsiteX43" fmla="*/ 77666 w 182768"/>
                <a:gd name="connsiteY43" fmla="*/ 47907 h 196773"/>
                <a:gd name="connsiteX44" fmla="*/ 82474 w 182768"/>
                <a:gd name="connsiteY44" fmla="*/ 56416 h 196773"/>
                <a:gd name="connsiteX45" fmla="*/ 99281 w 182768"/>
                <a:gd name="connsiteY45" fmla="*/ 59604 h 196773"/>
                <a:gd name="connsiteX46" fmla="*/ 109567 w 182768"/>
                <a:gd name="connsiteY46" fmla="*/ 61128 h 196773"/>
                <a:gd name="connsiteX47" fmla="*/ 112764 w 182768"/>
                <a:gd name="connsiteY47" fmla="*/ 55590 h 196773"/>
                <a:gd name="connsiteX48" fmla="*/ 109796 w 182768"/>
                <a:gd name="connsiteY48" fmla="*/ 43894 h 196773"/>
                <a:gd name="connsiteX49" fmla="*/ 115415 w 182768"/>
                <a:gd name="connsiteY49" fmla="*/ 36566 h 196773"/>
                <a:gd name="connsiteX50" fmla="*/ 131055 w 182768"/>
                <a:gd name="connsiteY50" fmla="*/ 37150 h 196773"/>
                <a:gd name="connsiteX51" fmla="*/ 140847 w 182768"/>
                <a:gd name="connsiteY51" fmla="*/ 29581 h 196773"/>
                <a:gd name="connsiteX52" fmla="*/ 144183 w 182768"/>
                <a:gd name="connsiteY52" fmla="*/ 23155 h 196773"/>
                <a:gd name="connsiteX53" fmla="*/ 152351 w 182768"/>
                <a:gd name="connsiteY53" fmla="*/ 21529 h 196773"/>
                <a:gd name="connsiteX54" fmla="*/ 157475 w 182768"/>
                <a:gd name="connsiteY54" fmla="*/ 17338 h 196773"/>
                <a:gd name="connsiteX55" fmla="*/ 159099 w 182768"/>
                <a:gd name="connsiteY55" fmla="*/ 5870 h 196773"/>
                <a:gd name="connsiteX56" fmla="*/ 162651 w 182768"/>
                <a:gd name="connsiteY56" fmla="*/ 599 h 196773"/>
                <a:gd name="connsiteX57" fmla="*/ 171593 w 182768"/>
                <a:gd name="connsiteY57" fmla="*/ 5057 h 196773"/>
                <a:gd name="connsiteX58" fmla="*/ 175956 w 182768"/>
                <a:gd name="connsiteY58" fmla="*/ 10416 h 196773"/>
                <a:gd name="connsiteX59" fmla="*/ 176083 w 182768"/>
                <a:gd name="connsiteY59" fmla="*/ 10544 h 196773"/>
                <a:gd name="connsiteX60" fmla="*/ 179368 w 182768"/>
                <a:gd name="connsiteY60" fmla="*/ 14011 h 196773"/>
                <a:gd name="connsiteX61" fmla="*/ 181258 w 182768"/>
                <a:gd name="connsiteY61" fmla="*/ 24272 h 196773"/>
                <a:gd name="connsiteX62" fmla="*/ 182742 w 182768"/>
                <a:gd name="connsiteY62" fmla="*/ 26533 h 196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182768" h="196773">
                  <a:moveTo>
                    <a:pt x="182742" y="26533"/>
                  </a:moveTo>
                  <a:cubicBezTo>
                    <a:pt x="180979" y="27307"/>
                    <a:pt x="178975" y="27333"/>
                    <a:pt x="177212" y="26571"/>
                  </a:cubicBezTo>
                  <a:cubicBezTo>
                    <a:pt x="160139" y="38636"/>
                    <a:pt x="152199" y="59947"/>
                    <a:pt x="157209" y="80254"/>
                  </a:cubicBezTo>
                  <a:cubicBezTo>
                    <a:pt x="140898" y="86553"/>
                    <a:pt x="129621" y="106987"/>
                    <a:pt x="114476" y="111305"/>
                  </a:cubicBezTo>
                  <a:cubicBezTo>
                    <a:pt x="102566" y="114810"/>
                    <a:pt x="92494" y="120526"/>
                    <a:pt x="94473" y="135689"/>
                  </a:cubicBezTo>
                  <a:cubicBezTo>
                    <a:pt x="92862" y="133353"/>
                    <a:pt x="88956" y="136769"/>
                    <a:pt x="92901" y="136769"/>
                  </a:cubicBezTo>
                  <a:cubicBezTo>
                    <a:pt x="98342" y="145087"/>
                    <a:pt x="108274" y="156022"/>
                    <a:pt x="118294" y="168709"/>
                  </a:cubicBezTo>
                  <a:cubicBezTo>
                    <a:pt x="116722" y="171529"/>
                    <a:pt x="114083" y="173586"/>
                    <a:pt x="110976" y="174424"/>
                  </a:cubicBezTo>
                  <a:cubicBezTo>
                    <a:pt x="105052" y="175402"/>
                    <a:pt x="99039" y="175758"/>
                    <a:pt x="93040" y="175504"/>
                  </a:cubicBezTo>
                  <a:cubicBezTo>
                    <a:pt x="86837" y="175009"/>
                    <a:pt x="76817" y="174513"/>
                    <a:pt x="75650" y="179060"/>
                  </a:cubicBezTo>
                  <a:cubicBezTo>
                    <a:pt x="74483" y="183568"/>
                    <a:pt x="67913" y="191938"/>
                    <a:pt x="65363" y="192115"/>
                  </a:cubicBezTo>
                  <a:lnTo>
                    <a:pt x="65224" y="192154"/>
                  </a:lnTo>
                  <a:cubicBezTo>
                    <a:pt x="58488" y="192560"/>
                    <a:pt x="54835" y="194452"/>
                    <a:pt x="49723" y="189677"/>
                  </a:cubicBezTo>
                  <a:cubicBezTo>
                    <a:pt x="52780" y="197741"/>
                    <a:pt x="42836" y="181003"/>
                    <a:pt x="39335" y="185816"/>
                  </a:cubicBezTo>
                  <a:cubicBezTo>
                    <a:pt x="46083" y="189639"/>
                    <a:pt x="42075" y="187391"/>
                    <a:pt x="40591" y="191976"/>
                  </a:cubicBezTo>
                  <a:cubicBezTo>
                    <a:pt x="40819" y="195354"/>
                    <a:pt x="38612" y="193601"/>
                    <a:pt x="33627" y="196522"/>
                  </a:cubicBezTo>
                  <a:cubicBezTo>
                    <a:pt x="30798" y="198008"/>
                    <a:pt x="34579" y="192471"/>
                    <a:pt x="37902" y="191747"/>
                  </a:cubicBezTo>
                  <a:cubicBezTo>
                    <a:pt x="35923" y="191658"/>
                    <a:pt x="37407" y="187518"/>
                    <a:pt x="33804" y="190045"/>
                  </a:cubicBezTo>
                  <a:cubicBezTo>
                    <a:pt x="38523" y="192649"/>
                    <a:pt x="31471" y="189639"/>
                    <a:pt x="33627" y="191747"/>
                  </a:cubicBezTo>
                  <a:cubicBezTo>
                    <a:pt x="28414" y="194503"/>
                    <a:pt x="32511" y="190845"/>
                    <a:pt x="30304" y="188559"/>
                  </a:cubicBezTo>
                  <a:cubicBezTo>
                    <a:pt x="28287" y="191480"/>
                    <a:pt x="26397" y="191163"/>
                    <a:pt x="23289" y="189550"/>
                  </a:cubicBezTo>
                  <a:cubicBezTo>
                    <a:pt x="19789" y="186489"/>
                    <a:pt x="27475" y="188331"/>
                    <a:pt x="27970" y="186578"/>
                  </a:cubicBezTo>
                  <a:cubicBezTo>
                    <a:pt x="24774" y="186845"/>
                    <a:pt x="26080" y="183784"/>
                    <a:pt x="28960" y="184508"/>
                  </a:cubicBezTo>
                  <a:cubicBezTo>
                    <a:pt x="36684" y="182984"/>
                    <a:pt x="7067" y="183289"/>
                    <a:pt x="16237" y="180546"/>
                  </a:cubicBezTo>
                  <a:cubicBezTo>
                    <a:pt x="18356" y="177041"/>
                    <a:pt x="20321" y="179733"/>
                    <a:pt x="22706" y="177980"/>
                  </a:cubicBezTo>
                  <a:cubicBezTo>
                    <a:pt x="12635" y="173891"/>
                    <a:pt x="27869" y="165522"/>
                    <a:pt x="26790" y="162283"/>
                  </a:cubicBezTo>
                  <a:cubicBezTo>
                    <a:pt x="32194" y="159845"/>
                    <a:pt x="46832" y="167135"/>
                    <a:pt x="35606" y="158092"/>
                  </a:cubicBezTo>
                  <a:cubicBezTo>
                    <a:pt x="22934" y="167592"/>
                    <a:pt x="29137" y="143792"/>
                    <a:pt x="34706" y="138344"/>
                  </a:cubicBezTo>
                  <a:cubicBezTo>
                    <a:pt x="36278" y="134292"/>
                    <a:pt x="30342" y="136273"/>
                    <a:pt x="34654" y="130330"/>
                  </a:cubicBezTo>
                  <a:cubicBezTo>
                    <a:pt x="38206" y="127269"/>
                    <a:pt x="32143" y="130559"/>
                    <a:pt x="31014" y="130965"/>
                  </a:cubicBezTo>
                  <a:cubicBezTo>
                    <a:pt x="27019" y="126964"/>
                    <a:pt x="19066" y="127320"/>
                    <a:pt x="15692" y="121376"/>
                  </a:cubicBezTo>
                  <a:cubicBezTo>
                    <a:pt x="17493" y="125301"/>
                    <a:pt x="11151" y="130432"/>
                    <a:pt x="12369" y="126469"/>
                  </a:cubicBezTo>
                  <a:cubicBezTo>
                    <a:pt x="15654" y="120932"/>
                    <a:pt x="-5745" y="115306"/>
                    <a:pt x="8728" y="112512"/>
                  </a:cubicBezTo>
                  <a:cubicBezTo>
                    <a:pt x="2665" y="109769"/>
                    <a:pt x="6572" y="111305"/>
                    <a:pt x="2703" y="115979"/>
                  </a:cubicBezTo>
                  <a:cubicBezTo>
                    <a:pt x="1942" y="116474"/>
                    <a:pt x="1219" y="116969"/>
                    <a:pt x="547" y="117325"/>
                  </a:cubicBezTo>
                  <a:cubicBezTo>
                    <a:pt x="-1077" y="112893"/>
                    <a:pt x="851" y="107940"/>
                    <a:pt x="5050" y="105768"/>
                  </a:cubicBezTo>
                  <a:cubicBezTo>
                    <a:pt x="13713" y="101450"/>
                    <a:pt x="14398" y="97170"/>
                    <a:pt x="19967" y="95011"/>
                  </a:cubicBezTo>
                  <a:cubicBezTo>
                    <a:pt x="23543" y="93487"/>
                    <a:pt x="27031" y="91798"/>
                    <a:pt x="30431" y="89931"/>
                  </a:cubicBezTo>
                  <a:cubicBezTo>
                    <a:pt x="34617" y="88039"/>
                    <a:pt x="33043" y="90249"/>
                    <a:pt x="37318" y="85118"/>
                  </a:cubicBezTo>
                  <a:cubicBezTo>
                    <a:pt x="41580" y="79987"/>
                    <a:pt x="47821" y="81473"/>
                    <a:pt x="51652" y="79403"/>
                  </a:cubicBezTo>
                  <a:cubicBezTo>
                    <a:pt x="55508" y="77333"/>
                    <a:pt x="55596" y="75263"/>
                    <a:pt x="57714" y="71211"/>
                  </a:cubicBezTo>
                  <a:cubicBezTo>
                    <a:pt x="59782" y="67122"/>
                    <a:pt x="65845" y="63871"/>
                    <a:pt x="66289" y="59604"/>
                  </a:cubicBezTo>
                  <a:cubicBezTo>
                    <a:pt x="66746" y="55324"/>
                    <a:pt x="65122" y="52669"/>
                    <a:pt x="68902" y="50510"/>
                  </a:cubicBezTo>
                  <a:cubicBezTo>
                    <a:pt x="72631" y="48351"/>
                    <a:pt x="76766" y="44795"/>
                    <a:pt x="77666" y="47907"/>
                  </a:cubicBezTo>
                  <a:cubicBezTo>
                    <a:pt x="78568" y="51057"/>
                    <a:pt x="75688" y="54206"/>
                    <a:pt x="82474" y="56416"/>
                  </a:cubicBezTo>
                  <a:cubicBezTo>
                    <a:pt x="89260" y="58575"/>
                    <a:pt x="92723" y="57991"/>
                    <a:pt x="99281" y="59604"/>
                  </a:cubicBezTo>
                  <a:cubicBezTo>
                    <a:pt x="105838" y="61229"/>
                    <a:pt x="105800" y="63210"/>
                    <a:pt x="109567" y="61128"/>
                  </a:cubicBezTo>
                  <a:cubicBezTo>
                    <a:pt x="111699" y="60150"/>
                    <a:pt x="112979" y="57927"/>
                    <a:pt x="112764" y="55590"/>
                  </a:cubicBezTo>
                  <a:cubicBezTo>
                    <a:pt x="111026" y="51933"/>
                    <a:pt x="110012" y="47958"/>
                    <a:pt x="109796" y="43894"/>
                  </a:cubicBezTo>
                  <a:cubicBezTo>
                    <a:pt x="110163" y="39220"/>
                    <a:pt x="107868" y="36604"/>
                    <a:pt x="115415" y="36566"/>
                  </a:cubicBezTo>
                  <a:cubicBezTo>
                    <a:pt x="120590" y="37302"/>
                    <a:pt x="125828" y="37493"/>
                    <a:pt x="131055" y="37150"/>
                  </a:cubicBezTo>
                  <a:cubicBezTo>
                    <a:pt x="135519" y="36782"/>
                    <a:pt x="139350" y="33823"/>
                    <a:pt x="140847" y="29581"/>
                  </a:cubicBezTo>
                  <a:cubicBezTo>
                    <a:pt x="142293" y="26342"/>
                    <a:pt x="139680" y="24818"/>
                    <a:pt x="144183" y="23155"/>
                  </a:cubicBezTo>
                  <a:cubicBezTo>
                    <a:pt x="148711" y="21529"/>
                    <a:pt x="148001" y="23688"/>
                    <a:pt x="152351" y="21529"/>
                  </a:cubicBezTo>
                  <a:cubicBezTo>
                    <a:pt x="156765" y="19370"/>
                    <a:pt x="156537" y="21719"/>
                    <a:pt x="157475" y="17338"/>
                  </a:cubicBezTo>
                  <a:cubicBezTo>
                    <a:pt x="158376" y="12931"/>
                    <a:pt x="155497" y="11090"/>
                    <a:pt x="159099" y="5870"/>
                  </a:cubicBezTo>
                  <a:cubicBezTo>
                    <a:pt x="162651" y="599"/>
                    <a:pt x="155674" y="-1014"/>
                    <a:pt x="162651" y="599"/>
                  </a:cubicBezTo>
                  <a:cubicBezTo>
                    <a:pt x="169614" y="2225"/>
                    <a:pt x="170337" y="1996"/>
                    <a:pt x="171593" y="5057"/>
                  </a:cubicBezTo>
                  <a:cubicBezTo>
                    <a:pt x="172710" y="7089"/>
                    <a:pt x="174180" y="8905"/>
                    <a:pt x="175956" y="10416"/>
                  </a:cubicBezTo>
                  <a:lnTo>
                    <a:pt x="176083" y="10544"/>
                  </a:lnTo>
                  <a:cubicBezTo>
                    <a:pt x="177263" y="11623"/>
                    <a:pt x="178354" y="12779"/>
                    <a:pt x="179368" y="14011"/>
                  </a:cubicBezTo>
                  <a:cubicBezTo>
                    <a:pt x="181385" y="16716"/>
                    <a:pt x="177339" y="18964"/>
                    <a:pt x="181258" y="24272"/>
                  </a:cubicBezTo>
                  <a:cubicBezTo>
                    <a:pt x="181791" y="24996"/>
                    <a:pt x="182286" y="25745"/>
                    <a:pt x="182742" y="26533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3" name="Vrije vorm 272">
              <a:extLst>
                <a:ext uri="{FF2B5EF4-FFF2-40B4-BE49-F238E27FC236}">
                  <a16:creationId xmlns:a16="http://schemas.microsoft.com/office/drawing/2014/main" id="{D17B5C4E-6B6F-7D44-974E-AE3E8739CE91}"/>
                </a:ext>
              </a:extLst>
            </p:cNvPr>
            <p:cNvSpPr/>
            <p:nvPr/>
          </p:nvSpPr>
          <p:spPr>
            <a:xfrm>
              <a:off x="9067804" y="3217125"/>
              <a:ext cx="96026" cy="146717"/>
            </a:xfrm>
            <a:custGeom>
              <a:avLst/>
              <a:gdLst>
                <a:gd name="connsiteX0" fmla="*/ 70339 w 96026"/>
                <a:gd name="connsiteY0" fmla="*/ 115609 h 146717"/>
                <a:gd name="connsiteX1" fmla="*/ 64098 w 96026"/>
                <a:gd name="connsiteY1" fmla="*/ 122213 h 146717"/>
                <a:gd name="connsiteX2" fmla="*/ 65798 w 96026"/>
                <a:gd name="connsiteY2" fmla="*/ 126989 h 146717"/>
                <a:gd name="connsiteX3" fmla="*/ 59151 w 96026"/>
                <a:gd name="connsiteY3" fmla="*/ 126760 h 146717"/>
                <a:gd name="connsiteX4" fmla="*/ 53304 w 96026"/>
                <a:gd name="connsiteY4" fmla="*/ 121807 h 146717"/>
                <a:gd name="connsiteX5" fmla="*/ 42294 w 96026"/>
                <a:gd name="connsiteY5" fmla="*/ 135485 h 146717"/>
                <a:gd name="connsiteX6" fmla="*/ 39554 w 96026"/>
                <a:gd name="connsiteY6" fmla="*/ 126798 h 146717"/>
                <a:gd name="connsiteX7" fmla="*/ 36954 w 96026"/>
                <a:gd name="connsiteY7" fmla="*/ 130087 h 146717"/>
                <a:gd name="connsiteX8" fmla="*/ 34658 w 96026"/>
                <a:gd name="connsiteY8" fmla="*/ 137517 h 146717"/>
                <a:gd name="connsiteX9" fmla="*/ 35013 w 96026"/>
                <a:gd name="connsiteY9" fmla="*/ 140488 h 146717"/>
                <a:gd name="connsiteX10" fmla="*/ 29990 w 96026"/>
                <a:gd name="connsiteY10" fmla="*/ 139727 h 146717"/>
                <a:gd name="connsiteX11" fmla="*/ 30383 w 96026"/>
                <a:gd name="connsiteY11" fmla="*/ 137606 h 146717"/>
                <a:gd name="connsiteX12" fmla="*/ 33085 w 96026"/>
                <a:gd name="connsiteY12" fmla="*/ 134101 h 146717"/>
                <a:gd name="connsiteX13" fmla="*/ 18929 w 96026"/>
                <a:gd name="connsiteY13" fmla="*/ 137161 h 146717"/>
                <a:gd name="connsiteX14" fmla="*/ 10216 w 96026"/>
                <a:gd name="connsiteY14" fmla="*/ 140984 h 146717"/>
                <a:gd name="connsiteX15" fmla="*/ 5586 w 96026"/>
                <a:gd name="connsiteY15" fmla="*/ 131662 h 146717"/>
                <a:gd name="connsiteX16" fmla="*/ 7286 w 96026"/>
                <a:gd name="connsiteY16" fmla="*/ 132932 h 146717"/>
                <a:gd name="connsiteX17" fmla="*/ 6930 w 96026"/>
                <a:gd name="connsiteY17" fmla="*/ 131980 h 146717"/>
                <a:gd name="connsiteX18" fmla="*/ 15429 w 96026"/>
                <a:gd name="connsiteY18" fmla="*/ 129592 h 146717"/>
                <a:gd name="connsiteX19" fmla="*/ 8909 w 96026"/>
                <a:gd name="connsiteY19" fmla="*/ 123610 h 146717"/>
                <a:gd name="connsiteX20" fmla="*/ 5091 w 96026"/>
                <a:gd name="connsiteY20" fmla="*/ 123928 h 146717"/>
                <a:gd name="connsiteX21" fmla="*/ 3747 w 96026"/>
                <a:gd name="connsiteY21" fmla="*/ 118708 h 146717"/>
                <a:gd name="connsiteX22" fmla="*/ 9227 w 96026"/>
                <a:gd name="connsiteY22" fmla="*/ 119292 h 146717"/>
                <a:gd name="connsiteX23" fmla="*/ 9670 w 96026"/>
                <a:gd name="connsiteY23" fmla="*/ 102147 h 146717"/>
                <a:gd name="connsiteX24" fmla="*/ 18435 w 96026"/>
                <a:gd name="connsiteY24" fmla="*/ 96115 h 146717"/>
                <a:gd name="connsiteX25" fmla="*/ 16418 w 96026"/>
                <a:gd name="connsiteY25" fmla="*/ 93867 h 146717"/>
                <a:gd name="connsiteX26" fmla="*/ 19513 w 96026"/>
                <a:gd name="connsiteY26" fmla="*/ 91352 h 146717"/>
                <a:gd name="connsiteX27" fmla="*/ 18435 w 96026"/>
                <a:gd name="connsiteY27" fmla="*/ 87441 h 146717"/>
                <a:gd name="connsiteX28" fmla="*/ 10977 w 96026"/>
                <a:gd name="connsiteY28" fmla="*/ 82983 h 146717"/>
                <a:gd name="connsiteX29" fmla="*/ 13628 w 96026"/>
                <a:gd name="connsiteY29" fmla="*/ 82259 h 146717"/>
                <a:gd name="connsiteX30" fmla="*/ 13044 w 96026"/>
                <a:gd name="connsiteY30" fmla="*/ 75909 h 146717"/>
                <a:gd name="connsiteX31" fmla="*/ 12334 w 96026"/>
                <a:gd name="connsiteY31" fmla="*/ 72264 h 146717"/>
                <a:gd name="connsiteX32" fmla="*/ 13006 w 96026"/>
                <a:gd name="connsiteY32" fmla="*/ 71947 h 146717"/>
                <a:gd name="connsiteX33" fmla="*/ 10266 w 96026"/>
                <a:gd name="connsiteY33" fmla="*/ 70829 h 146717"/>
                <a:gd name="connsiteX34" fmla="*/ 9543 w 96026"/>
                <a:gd name="connsiteY34" fmla="*/ 67362 h 146717"/>
                <a:gd name="connsiteX35" fmla="*/ 10761 w 96026"/>
                <a:gd name="connsiteY35" fmla="*/ 62993 h 146717"/>
                <a:gd name="connsiteX36" fmla="*/ 6930 w 96026"/>
                <a:gd name="connsiteY36" fmla="*/ 63450 h 146717"/>
                <a:gd name="connsiteX37" fmla="*/ 4280 w 96026"/>
                <a:gd name="connsiteY37" fmla="*/ 64619 h 146717"/>
                <a:gd name="connsiteX38" fmla="*/ 1134 w 96026"/>
                <a:gd name="connsiteY38" fmla="*/ 63489 h 146717"/>
                <a:gd name="connsiteX39" fmla="*/ 246 w 96026"/>
                <a:gd name="connsiteY39" fmla="*/ 61291 h 146717"/>
                <a:gd name="connsiteX40" fmla="*/ 2579 w 96026"/>
                <a:gd name="connsiteY40" fmla="*/ 58142 h 146717"/>
                <a:gd name="connsiteX41" fmla="*/ 4647 w 96026"/>
                <a:gd name="connsiteY41" fmla="*/ 54446 h 146717"/>
                <a:gd name="connsiteX42" fmla="*/ 4774 w 96026"/>
                <a:gd name="connsiteY42" fmla="*/ 60517 h 146717"/>
                <a:gd name="connsiteX43" fmla="*/ 10266 w 96026"/>
                <a:gd name="connsiteY43" fmla="*/ 58675 h 146717"/>
                <a:gd name="connsiteX44" fmla="*/ 10622 w 96026"/>
                <a:gd name="connsiteY44" fmla="*/ 52820 h 146717"/>
                <a:gd name="connsiteX45" fmla="*/ 12600 w 96026"/>
                <a:gd name="connsiteY45" fmla="*/ 53417 h 146717"/>
                <a:gd name="connsiteX46" fmla="*/ 10977 w 96026"/>
                <a:gd name="connsiteY46" fmla="*/ 51614 h 146717"/>
                <a:gd name="connsiteX47" fmla="*/ 11433 w 96026"/>
                <a:gd name="connsiteY47" fmla="*/ 51614 h 146717"/>
                <a:gd name="connsiteX48" fmla="*/ 11788 w 96026"/>
                <a:gd name="connsiteY48" fmla="*/ 51703 h 146717"/>
                <a:gd name="connsiteX49" fmla="*/ 13272 w 96026"/>
                <a:gd name="connsiteY49" fmla="*/ 52605 h 146717"/>
                <a:gd name="connsiteX50" fmla="*/ 14668 w 96026"/>
                <a:gd name="connsiteY50" fmla="*/ 55576 h 146717"/>
                <a:gd name="connsiteX51" fmla="*/ 16558 w 96026"/>
                <a:gd name="connsiteY51" fmla="*/ 53417 h 146717"/>
                <a:gd name="connsiteX52" fmla="*/ 18219 w 96026"/>
                <a:gd name="connsiteY52" fmla="*/ 54002 h 146717"/>
                <a:gd name="connsiteX53" fmla="*/ 20604 w 96026"/>
                <a:gd name="connsiteY53" fmla="*/ 59983 h 146717"/>
                <a:gd name="connsiteX54" fmla="*/ 24422 w 96026"/>
                <a:gd name="connsiteY54" fmla="*/ 53773 h 146717"/>
                <a:gd name="connsiteX55" fmla="*/ 21809 w 96026"/>
                <a:gd name="connsiteY55" fmla="*/ 49671 h 146717"/>
                <a:gd name="connsiteX56" fmla="*/ 21048 w 96026"/>
                <a:gd name="connsiteY56" fmla="*/ 46763 h 146717"/>
                <a:gd name="connsiteX57" fmla="*/ 15213 w 96026"/>
                <a:gd name="connsiteY57" fmla="*/ 44057 h 146717"/>
                <a:gd name="connsiteX58" fmla="*/ 14757 w 96026"/>
                <a:gd name="connsiteY58" fmla="*/ 35460 h 146717"/>
                <a:gd name="connsiteX59" fmla="*/ 15302 w 96026"/>
                <a:gd name="connsiteY59" fmla="*/ 26100 h 146717"/>
                <a:gd name="connsiteX60" fmla="*/ 16418 w 96026"/>
                <a:gd name="connsiteY60" fmla="*/ 23534 h 146717"/>
                <a:gd name="connsiteX61" fmla="*/ 10495 w 96026"/>
                <a:gd name="connsiteY61" fmla="*/ 23445 h 146717"/>
                <a:gd name="connsiteX62" fmla="*/ 10622 w 96026"/>
                <a:gd name="connsiteY62" fmla="*/ 23407 h 146717"/>
                <a:gd name="connsiteX63" fmla="*/ 20921 w 96026"/>
                <a:gd name="connsiteY63" fmla="*/ 10352 h 146717"/>
                <a:gd name="connsiteX64" fmla="*/ 38311 w 96026"/>
                <a:gd name="connsiteY64" fmla="*/ 6796 h 146717"/>
                <a:gd name="connsiteX65" fmla="*/ 56234 w 96026"/>
                <a:gd name="connsiteY65" fmla="*/ 5716 h 146717"/>
                <a:gd name="connsiteX66" fmla="*/ 63566 w 96026"/>
                <a:gd name="connsiteY66" fmla="*/ 1 h 146717"/>
                <a:gd name="connsiteX67" fmla="*/ 93094 w 96026"/>
                <a:gd name="connsiteY67" fmla="*/ 82399 h 146717"/>
                <a:gd name="connsiteX68" fmla="*/ 70339 w 96026"/>
                <a:gd name="connsiteY68" fmla="*/ 115609 h 146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96026" h="146717">
                  <a:moveTo>
                    <a:pt x="70339" y="115609"/>
                  </a:moveTo>
                  <a:cubicBezTo>
                    <a:pt x="71645" y="125236"/>
                    <a:pt x="68766" y="115736"/>
                    <a:pt x="64098" y="122213"/>
                  </a:cubicBezTo>
                  <a:cubicBezTo>
                    <a:pt x="68271" y="120689"/>
                    <a:pt x="66699" y="122709"/>
                    <a:pt x="65798" y="126989"/>
                  </a:cubicBezTo>
                  <a:cubicBezTo>
                    <a:pt x="65798" y="131306"/>
                    <a:pt x="62297" y="122404"/>
                    <a:pt x="59151" y="126760"/>
                  </a:cubicBezTo>
                  <a:cubicBezTo>
                    <a:pt x="52366" y="127839"/>
                    <a:pt x="57172" y="118441"/>
                    <a:pt x="53304" y="121807"/>
                  </a:cubicBezTo>
                  <a:cubicBezTo>
                    <a:pt x="25716" y="133377"/>
                    <a:pt x="57083" y="122759"/>
                    <a:pt x="42294" y="135485"/>
                  </a:cubicBezTo>
                  <a:cubicBezTo>
                    <a:pt x="39605" y="134316"/>
                    <a:pt x="41482" y="129236"/>
                    <a:pt x="39554" y="126798"/>
                  </a:cubicBezTo>
                  <a:cubicBezTo>
                    <a:pt x="39554" y="130087"/>
                    <a:pt x="32857" y="128017"/>
                    <a:pt x="36954" y="130087"/>
                  </a:cubicBezTo>
                  <a:cubicBezTo>
                    <a:pt x="32553" y="131929"/>
                    <a:pt x="44057" y="137733"/>
                    <a:pt x="34658" y="137517"/>
                  </a:cubicBezTo>
                  <a:cubicBezTo>
                    <a:pt x="36586" y="139041"/>
                    <a:pt x="38159" y="139091"/>
                    <a:pt x="35013" y="140488"/>
                  </a:cubicBezTo>
                  <a:cubicBezTo>
                    <a:pt x="33491" y="145518"/>
                    <a:pt x="31919" y="135624"/>
                    <a:pt x="29990" y="139727"/>
                  </a:cubicBezTo>
                  <a:cubicBezTo>
                    <a:pt x="25678" y="139727"/>
                    <a:pt x="32996" y="132615"/>
                    <a:pt x="30383" y="137606"/>
                  </a:cubicBezTo>
                  <a:cubicBezTo>
                    <a:pt x="33846" y="138774"/>
                    <a:pt x="30789" y="130722"/>
                    <a:pt x="33085" y="134101"/>
                  </a:cubicBezTo>
                  <a:cubicBezTo>
                    <a:pt x="33263" y="122709"/>
                    <a:pt x="18929" y="153354"/>
                    <a:pt x="18929" y="137161"/>
                  </a:cubicBezTo>
                  <a:cubicBezTo>
                    <a:pt x="16634" y="141212"/>
                    <a:pt x="11611" y="154078"/>
                    <a:pt x="10216" y="140984"/>
                  </a:cubicBezTo>
                  <a:cubicBezTo>
                    <a:pt x="15162" y="136933"/>
                    <a:pt x="-1834" y="138418"/>
                    <a:pt x="5586" y="131662"/>
                  </a:cubicBezTo>
                  <a:cubicBezTo>
                    <a:pt x="8377" y="137428"/>
                    <a:pt x="8681" y="139142"/>
                    <a:pt x="7286" y="132932"/>
                  </a:cubicBezTo>
                  <a:cubicBezTo>
                    <a:pt x="14212" y="137745"/>
                    <a:pt x="15061" y="134050"/>
                    <a:pt x="6930" y="131980"/>
                  </a:cubicBezTo>
                  <a:cubicBezTo>
                    <a:pt x="8732" y="129871"/>
                    <a:pt x="12676" y="131446"/>
                    <a:pt x="15429" y="129592"/>
                  </a:cubicBezTo>
                  <a:cubicBezTo>
                    <a:pt x="11383" y="122531"/>
                    <a:pt x="5726" y="138863"/>
                    <a:pt x="8909" y="123610"/>
                  </a:cubicBezTo>
                  <a:cubicBezTo>
                    <a:pt x="6626" y="122848"/>
                    <a:pt x="6626" y="128246"/>
                    <a:pt x="5091" y="123928"/>
                  </a:cubicBezTo>
                  <a:cubicBezTo>
                    <a:pt x="10393" y="121413"/>
                    <a:pt x="3975" y="121223"/>
                    <a:pt x="3747" y="118708"/>
                  </a:cubicBezTo>
                  <a:cubicBezTo>
                    <a:pt x="5941" y="115520"/>
                    <a:pt x="8871" y="126176"/>
                    <a:pt x="9227" y="119292"/>
                  </a:cubicBezTo>
                  <a:cubicBezTo>
                    <a:pt x="-2913" y="110199"/>
                    <a:pt x="25500" y="101474"/>
                    <a:pt x="9670" y="102147"/>
                  </a:cubicBezTo>
                  <a:cubicBezTo>
                    <a:pt x="11027" y="99722"/>
                    <a:pt x="15251" y="93778"/>
                    <a:pt x="18435" y="96115"/>
                  </a:cubicBezTo>
                  <a:cubicBezTo>
                    <a:pt x="20059" y="96877"/>
                    <a:pt x="17585" y="94095"/>
                    <a:pt x="16418" y="93867"/>
                  </a:cubicBezTo>
                  <a:cubicBezTo>
                    <a:pt x="16684" y="92432"/>
                    <a:pt x="21809" y="93232"/>
                    <a:pt x="19513" y="91352"/>
                  </a:cubicBezTo>
                  <a:cubicBezTo>
                    <a:pt x="10127" y="92660"/>
                    <a:pt x="11966" y="89727"/>
                    <a:pt x="18435" y="87441"/>
                  </a:cubicBezTo>
                  <a:cubicBezTo>
                    <a:pt x="14934" y="88025"/>
                    <a:pt x="15251" y="84736"/>
                    <a:pt x="10977" y="82983"/>
                  </a:cubicBezTo>
                  <a:cubicBezTo>
                    <a:pt x="9810" y="84824"/>
                    <a:pt x="11472" y="80684"/>
                    <a:pt x="13628" y="82259"/>
                  </a:cubicBezTo>
                  <a:cubicBezTo>
                    <a:pt x="11345" y="79783"/>
                    <a:pt x="11472" y="77446"/>
                    <a:pt x="13044" y="75909"/>
                  </a:cubicBezTo>
                  <a:cubicBezTo>
                    <a:pt x="10888" y="74601"/>
                    <a:pt x="9772" y="74423"/>
                    <a:pt x="12334" y="72264"/>
                  </a:cubicBezTo>
                  <a:cubicBezTo>
                    <a:pt x="12600" y="72137"/>
                    <a:pt x="12829" y="72036"/>
                    <a:pt x="13006" y="71947"/>
                  </a:cubicBezTo>
                  <a:cubicBezTo>
                    <a:pt x="11928" y="72404"/>
                    <a:pt x="9670" y="73026"/>
                    <a:pt x="10266" y="70829"/>
                  </a:cubicBezTo>
                  <a:cubicBezTo>
                    <a:pt x="11928" y="69343"/>
                    <a:pt x="9315" y="69661"/>
                    <a:pt x="9543" y="67362"/>
                  </a:cubicBezTo>
                  <a:cubicBezTo>
                    <a:pt x="13590" y="67400"/>
                    <a:pt x="8325" y="63489"/>
                    <a:pt x="10761" y="62993"/>
                  </a:cubicBezTo>
                  <a:cubicBezTo>
                    <a:pt x="8909" y="59894"/>
                    <a:pt x="7793" y="73077"/>
                    <a:pt x="6930" y="63450"/>
                  </a:cubicBezTo>
                  <a:cubicBezTo>
                    <a:pt x="5142" y="58447"/>
                    <a:pt x="6436" y="73521"/>
                    <a:pt x="4280" y="64619"/>
                  </a:cubicBezTo>
                  <a:cubicBezTo>
                    <a:pt x="5637" y="60479"/>
                    <a:pt x="868" y="67222"/>
                    <a:pt x="1134" y="63489"/>
                  </a:cubicBezTo>
                  <a:cubicBezTo>
                    <a:pt x="4952" y="60796"/>
                    <a:pt x="-1377" y="64974"/>
                    <a:pt x="246" y="61291"/>
                  </a:cubicBezTo>
                  <a:cubicBezTo>
                    <a:pt x="4369" y="58993"/>
                    <a:pt x="1857" y="60974"/>
                    <a:pt x="2579" y="58142"/>
                  </a:cubicBezTo>
                  <a:cubicBezTo>
                    <a:pt x="779" y="55030"/>
                    <a:pt x="5675" y="59983"/>
                    <a:pt x="4647" y="54446"/>
                  </a:cubicBezTo>
                  <a:cubicBezTo>
                    <a:pt x="6436" y="54941"/>
                    <a:pt x="4774" y="58993"/>
                    <a:pt x="4774" y="60517"/>
                  </a:cubicBezTo>
                  <a:cubicBezTo>
                    <a:pt x="10533" y="59348"/>
                    <a:pt x="4863" y="44997"/>
                    <a:pt x="10266" y="58675"/>
                  </a:cubicBezTo>
                  <a:cubicBezTo>
                    <a:pt x="10660" y="52465"/>
                    <a:pt x="14846" y="58942"/>
                    <a:pt x="10622" y="52820"/>
                  </a:cubicBezTo>
                  <a:cubicBezTo>
                    <a:pt x="11154" y="53011"/>
                    <a:pt x="13006" y="55170"/>
                    <a:pt x="12600" y="53417"/>
                  </a:cubicBezTo>
                  <a:cubicBezTo>
                    <a:pt x="11116" y="52287"/>
                    <a:pt x="10799" y="51754"/>
                    <a:pt x="10977" y="51614"/>
                  </a:cubicBezTo>
                  <a:cubicBezTo>
                    <a:pt x="11129" y="51563"/>
                    <a:pt x="11281" y="51563"/>
                    <a:pt x="11433" y="51614"/>
                  </a:cubicBezTo>
                  <a:cubicBezTo>
                    <a:pt x="11548" y="51627"/>
                    <a:pt x="11675" y="51652"/>
                    <a:pt x="11788" y="51703"/>
                  </a:cubicBezTo>
                  <a:cubicBezTo>
                    <a:pt x="12334" y="51919"/>
                    <a:pt x="12829" y="52224"/>
                    <a:pt x="13272" y="52605"/>
                  </a:cubicBezTo>
                  <a:cubicBezTo>
                    <a:pt x="14262" y="53240"/>
                    <a:pt x="14808" y="54395"/>
                    <a:pt x="14668" y="55576"/>
                  </a:cubicBezTo>
                  <a:cubicBezTo>
                    <a:pt x="15201" y="54217"/>
                    <a:pt x="15873" y="53544"/>
                    <a:pt x="16558" y="53417"/>
                  </a:cubicBezTo>
                  <a:cubicBezTo>
                    <a:pt x="17179" y="53290"/>
                    <a:pt x="17814" y="53519"/>
                    <a:pt x="18219" y="54002"/>
                  </a:cubicBezTo>
                  <a:cubicBezTo>
                    <a:pt x="19704" y="55640"/>
                    <a:pt x="20554" y="57761"/>
                    <a:pt x="20604" y="59983"/>
                  </a:cubicBezTo>
                  <a:cubicBezTo>
                    <a:pt x="22265" y="57824"/>
                    <a:pt x="28557" y="52554"/>
                    <a:pt x="24422" y="53773"/>
                  </a:cubicBezTo>
                  <a:cubicBezTo>
                    <a:pt x="20870" y="59437"/>
                    <a:pt x="20870" y="51881"/>
                    <a:pt x="21809" y="49671"/>
                  </a:cubicBezTo>
                  <a:cubicBezTo>
                    <a:pt x="17814" y="54535"/>
                    <a:pt x="16279" y="49544"/>
                    <a:pt x="21048" y="46763"/>
                  </a:cubicBezTo>
                  <a:cubicBezTo>
                    <a:pt x="14224" y="48693"/>
                    <a:pt x="17585" y="48274"/>
                    <a:pt x="15213" y="44057"/>
                  </a:cubicBezTo>
                  <a:cubicBezTo>
                    <a:pt x="27834" y="45175"/>
                    <a:pt x="10799" y="40730"/>
                    <a:pt x="14757" y="35460"/>
                  </a:cubicBezTo>
                  <a:cubicBezTo>
                    <a:pt x="12968" y="34342"/>
                    <a:pt x="8782" y="23623"/>
                    <a:pt x="15302" y="26100"/>
                  </a:cubicBezTo>
                  <a:cubicBezTo>
                    <a:pt x="17053" y="33935"/>
                    <a:pt x="15936" y="28665"/>
                    <a:pt x="16418" y="23534"/>
                  </a:cubicBezTo>
                  <a:cubicBezTo>
                    <a:pt x="14452" y="23331"/>
                    <a:pt x="12461" y="23306"/>
                    <a:pt x="10495" y="23445"/>
                  </a:cubicBezTo>
                  <a:lnTo>
                    <a:pt x="10622" y="23407"/>
                  </a:lnTo>
                  <a:cubicBezTo>
                    <a:pt x="13183" y="23229"/>
                    <a:pt x="19742" y="14860"/>
                    <a:pt x="20921" y="10352"/>
                  </a:cubicBezTo>
                  <a:cubicBezTo>
                    <a:pt x="22088" y="5805"/>
                    <a:pt x="32108" y="6300"/>
                    <a:pt x="38311" y="6796"/>
                  </a:cubicBezTo>
                  <a:cubicBezTo>
                    <a:pt x="44311" y="7050"/>
                    <a:pt x="50310" y="6694"/>
                    <a:pt x="56234" y="5716"/>
                  </a:cubicBezTo>
                  <a:cubicBezTo>
                    <a:pt x="59342" y="4878"/>
                    <a:pt x="61980" y="2821"/>
                    <a:pt x="63566" y="1"/>
                  </a:cubicBezTo>
                  <a:cubicBezTo>
                    <a:pt x="81856" y="23141"/>
                    <a:pt x="100552" y="52249"/>
                    <a:pt x="93094" y="82399"/>
                  </a:cubicBezTo>
                  <a:cubicBezTo>
                    <a:pt x="102696" y="92254"/>
                    <a:pt x="86790" y="135091"/>
                    <a:pt x="70339" y="115609"/>
                  </a:cubicBezTo>
                  <a:close/>
                </a:path>
              </a:pathLst>
            </a:custGeom>
            <a:solidFill>
              <a:schemeClr val="tx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4" name="Vrije vorm 273">
              <a:extLst>
                <a:ext uri="{FF2B5EF4-FFF2-40B4-BE49-F238E27FC236}">
                  <a16:creationId xmlns:a16="http://schemas.microsoft.com/office/drawing/2014/main" id="{3F266065-CD98-FB45-BB20-0334658FBE26}"/>
                </a:ext>
              </a:extLst>
            </p:cNvPr>
            <p:cNvSpPr/>
            <p:nvPr/>
          </p:nvSpPr>
          <p:spPr>
            <a:xfrm>
              <a:off x="8284802" y="4106112"/>
              <a:ext cx="5175" cy="4053"/>
            </a:xfrm>
            <a:custGeom>
              <a:avLst/>
              <a:gdLst>
                <a:gd name="connsiteX0" fmla="*/ 5149 w 5175"/>
                <a:gd name="connsiteY0" fmla="*/ 1 h 4053"/>
                <a:gd name="connsiteX1" fmla="*/ -26 w 5175"/>
                <a:gd name="connsiteY1" fmla="*/ 2478 h 4053"/>
                <a:gd name="connsiteX2" fmla="*/ 5149 w 5175"/>
                <a:gd name="connsiteY2" fmla="*/ 14 h 4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175" h="4053">
                  <a:moveTo>
                    <a:pt x="5149" y="1"/>
                  </a:moveTo>
                  <a:cubicBezTo>
                    <a:pt x="2536" y="4916"/>
                    <a:pt x="874" y="4865"/>
                    <a:pt x="-26" y="2478"/>
                  </a:cubicBezTo>
                  <a:cubicBezTo>
                    <a:pt x="1775" y="1817"/>
                    <a:pt x="3500" y="992"/>
                    <a:pt x="5149" y="14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5" name="Vrije vorm 274">
              <a:extLst>
                <a:ext uri="{FF2B5EF4-FFF2-40B4-BE49-F238E27FC236}">
                  <a16:creationId xmlns:a16="http://schemas.microsoft.com/office/drawing/2014/main" id="{9E9A9B5B-DA23-CB45-B9F8-6DAD0AE18E08}"/>
                </a:ext>
              </a:extLst>
            </p:cNvPr>
            <p:cNvSpPr/>
            <p:nvPr/>
          </p:nvSpPr>
          <p:spPr>
            <a:xfrm>
              <a:off x="8437875" y="4345755"/>
              <a:ext cx="11403" cy="10566"/>
            </a:xfrm>
            <a:custGeom>
              <a:avLst/>
              <a:gdLst>
                <a:gd name="connsiteX0" fmla="*/ 4020 w 11403"/>
                <a:gd name="connsiteY0" fmla="*/ 7792 h 10566"/>
                <a:gd name="connsiteX1" fmla="*/ -26 w 11403"/>
                <a:gd name="connsiteY1" fmla="*/ 9773 h 10566"/>
                <a:gd name="connsiteX2" fmla="*/ 685 w 11403"/>
                <a:gd name="connsiteY2" fmla="*/ 6751 h 10566"/>
                <a:gd name="connsiteX3" fmla="*/ 4464 w 11403"/>
                <a:gd name="connsiteY3" fmla="*/ 1264 h 10566"/>
                <a:gd name="connsiteX4" fmla="*/ 8104 w 11403"/>
                <a:gd name="connsiteY4" fmla="*/ 7 h 10566"/>
                <a:gd name="connsiteX5" fmla="*/ 4020 w 11403"/>
                <a:gd name="connsiteY5" fmla="*/ 7792 h 10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403" h="10566">
                  <a:moveTo>
                    <a:pt x="4020" y="7792"/>
                  </a:moveTo>
                  <a:cubicBezTo>
                    <a:pt x="2930" y="8884"/>
                    <a:pt x="1496" y="9583"/>
                    <a:pt x="-26" y="9773"/>
                  </a:cubicBezTo>
                  <a:cubicBezTo>
                    <a:pt x="418" y="8833"/>
                    <a:pt x="659" y="7805"/>
                    <a:pt x="685" y="6751"/>
                  </a:cubicBezTo>
                  <a:cubicBezTo>
                    <a:pt x="646" y="3880"/>
                    <a:pt x="2841" y="3423"/>
                    <a:pt x="4464" y="1264"/>
                  </a:cubicBezTo>
                  <a:cubicBezTo>
                    <a:pt x="5479" y="401"/>
                    <a:pt x="6773" y="-57"/>
                    <a:pt x="8104" y="7"/>
                  </a:cubicBezTo>
                  <a:cubicBezTo>
                    <a:pt x="12646" y="9367"/>
                    <a:pt x="13457" y="13875"/>
                    <a:pt x="4020" y="7792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76" name="Graphic 5">
              <a:extLst>
                <a:ext uri="{FF2B5EF4-FFF2-40B4-BE49-F238E27FC236}">
                  <a16:creationId xmlns:a16="http://schemas.microsoft.com/office/drawing/2014/main" id="{A86A2F5F-3792-C34A-8957-8C1B8E4D577D}"/>
                </a:ext>
              </a:extLst>
            </p:cNvPr>
            <p:cNvGrpSpPr/>
            <p:nvPr/>
          </p:nvGrpSpPr>
          <p:grpSpPr>
            <a:xfrm>
              <a:off x="8328486" y="4198039"/>
              <a:ext cx="545242" cy="173570"/>
              <a:chOff x="8328486" y="4198039"/>
              <a:chExt cx="545242" cy="173570"/>
            </a:xfrm>
            <a:solidFill>
              <a:schemeClr val="bg2"/>
            </a:solidFill>
          </p:grpSpPr>
          <p:sp>
            <p:nvSpPr>
              <p:cNvPr id="575" name="Vrije vorm 574">
                <a:extLst>
                  <a:ext uri="{FF2B5EF4-FFF2-40B4-BE49-F238E27FC236}">
                    <a16:creationId xmlns:a16="http://schemas.microsoft.com/office/drawing/2014/main" id="{B0420AC2-3E6E-0449-A599-C60FB08A7B42}"/>
                  </a:ext>
                </a:extLst>
              </p:cNvPr>
              <p:cNvSpPr/>
              <p:nvPr/>
            </p:nvSpPr>
            <p:spPr>
              <a:xfrm>
                <a:off x="8598606" y="4198039"/>
                <a:ext cx="275122" cy="173570"/>
              </a:xfrm>
              <a:custGeom>
                <a:avLst/>
                <a:gdLst>
                  <a:gd name="connsiteX0" fmla="*/ 255702 w 275122"/>
                  <a:gd name="connsiteY0" fmla="*/ 70787 h 173570"/>
                  <a:gd name="connsiteX1" fmla="*/ 228964 w 275122"/>
                  <a:gd name="connsiteY1" fmla="*/ 77035 h 173570"/>
                  <a:gd name="connsiteX2" fmla="*/ 227568 w 275122"/>
                  <a:gd name="connsiteY2" fmla="*/ 79918 h 173570"/>
                  <a:gd name="connsiteX3" fmla="*/ 220643 w 275122"/>
                  <a:gd name="connsiteY3" fmla="*/ 77264 h 173570"/>
                  <a:gd name="connsiteX4" fmla="*/ 208327 w 275122"/>
                  <a:gd name="connsiteY4" fmla="*/ 75333 h 173570"/>
                  <a:gd name="connsiteX5" fmla="*/ 196911 w 275122"/>
                  <a:gd name="connsiteY5" fmla="*/ 73885 h 173570"/>
                  <a:gd name="connsiteX6" fmla="*/ 182704 w 275122"/>
                  <a:gd name="connsiteY6" fmla="*/ 77441 h 173570"/>
                  <a:gd name="connsiteX7" fmla="*/ 173533 w 275122"/>
                  <a:gd name="connsiteY7" fmla="*/ 80959 h 173570"/>
                  <a:gd name="connsiteX8" fmla="*/ 169538 w 275122"/>
                  <a:gd name="connsiteY8" fmla="*/ 89951 h 173570"/>
                  <a:gd name="connsiteX9" fmla="*/ 169538 w 275122"/>
                  <a:gd name="connsiteY9" fmla="*/ 103946 h 173570"/>
                  <a:gd name="connsiteX10" fmla="*/ 163564 w 275122"/>
                  <a:gd name="connsiteY10" fmla="*/ 109890 h 173570"/>
                  <a:gd name="connsiteX11" fmla="*/ 157894 w 275122"/>
                  <a:gd name="connsiteY11" fmla="*/ 115643 h 173570"/>
                  <a:gd name="connsiteX12" fmla="*/ 159162 w 275122"/>
                  <a:gd name="connsiteY12" fmla="*/ 127975 h 173570"/>
                  <a:gd name="connsiteX13" fmla="*/ 150309 w 275122"/>
                  <a:gd name="connsiteY13" fmla="*/ 132788 h 173570"/>
                  <a:gd name="connsiteX14" fmla="*/ 147835 w 275122"/>
                  <a:gd name="connsiteY14" fmla="*/ 140624 h 173570"/>
                  <a:gd name="connsiteX15" fmla="*/ 142077 w 275122"/>
                  <a:gd name="connsiteY15" fmla="*/ 153895 h 173570"/>
                  <a:gd name="connsiteX16" fmla="*/ 132145 w 275122"/>
                  <a:gd name="connsiteY16" fmla="*/ 157045 h 173570"/>
                  <a:gd name="connsiteX17" fmla="*/ 123203 w 275122"/>
                  <a:gd name="connsiteY17" fmla="*/ 157540 h 173570"/>
                  <a:gd name="connsiteX18" fmla="*/ 111292 w 275122"/>
                  <a:gd name="connsiteY18" fmla="*/ 160919 h 173570"/>
                  <a:gd name="connsiteX19" fmla="*/ 98443 w 275122"/>
                  <a:gd name="connsiteY19" fmla="*/ 157540 h 173570"/>
                  <a:gd name="connsiteX20" fmla="*/ 89552 w 275122"/>
                  <a:gd name="connsiteY20" fmla="*/ 153349 h 173570"/>
                  <a:gd name="connsiteX21" fmla="*/ 78314 w 275122"/>
                  <a:gd name="connsiteY21" fmla="*/ 154784 h 173570"/>
                  <a:gd name="connsiteX22" fmla="*/ 64919 w 275122"/>
                  <a:gd name="connsiteY22" fmla="*/ 164233 h 173570"/>
                  <a:gd name="connsiteX23" fmla="*/ 56471 w 275122"/>
                  <a:gd name="connsiteY23" fmla="*/ 168869 h 173570"/>
                  <a:gd name="connsiteX24" fmla="*/ 45906 w 275122"/>
                  <a:gd name="connsiteY24" fmla="*/ 167662 h 173570"/>
                  <a:gd name="connsiteX25" fmla="*/ 29328 w 275122"/>
                  <a:gd name="connsiteY25" fmla="*/ 172780 h 173570"/>
                  <a:gd name="connsiteX26" fmla="*/ 18635 w 275122"/>
                  <a:gd name="connsiteY26" fmla="*/ 168018 h 173570"/>
                  <a:gd name="connsiteX27" fmla="*/ 10098 w 275122"/>
                  <a:gd name="connsiteY27" fmla="*/ 159915 h 173570"/>
                  <a:gd name="connsiteX28" fmla="*/ 560 w 275122"/>
                  <a:gd name="connsiteY28" fmla="*/ 148981 h 173570"/>
                  <a:gd name="connsiteX29" fmla="*/ 166 w 275122"/>
                  <a:gd name="connsiteY29" fmla="*/ 142554 h 173570"/>
                  <a:gd name="connsiteX30" fmla="*/ 9870 w 275122"/>
                  <a:gd name="connsiteY30" fmla="*/ 150289 h 173570"/>
                  <a:gd name="connsiteX31" fmla="*/ 31166 w 275122"/>
                  <a:gd name="connsiteY31" fmla="*/ 157121 h 173570"/>
                  <a:gd name="connsiteX32" fmla="*/ 51170 w 275122"/>
                  <a:gd name="connsiteY32" fmla="*/ 159826 h 173570"/>
                  <a:gd name="connsiteX33" fmla="*/ 51030 w 275122"/>
                  <a:gd name="connsiteY33" fmla="*/ 137017 h 173570"/>
                  <a:gd name="connsiteX34" fmla="*/ 47301 w 275122"/>
                  <a:gd name="connsiteY34" fmla="*/ 129270 h 173570"/>
                  <a:gd name="connsiteX35" fmla="*/ 54138 w 275122"/>
                  <a:gd name="connsiteY35" fmla="*/ 128191 h 173570"/>
                  <a:gd name="connsiteX36" fmla="*/ 99344 w 275122"/>
                  <a:gd name="connsiteY36" fmla="*/ 106093 h 173570"/>
                  <a:gd name="connsiteX37" fmla="*/ 129228 w 275122"/>
                  <a:gd name="connsiteY37" fmla="*/ 71942 h 173570"/>
                  <a:gd name="connsiteX38" fmla="*/ 130306 w 275122"/>
                  <a:gd name="connsiteY38" fmla="*/ 74381 h 173570"/>
                  <a:gd name="connsiteX39" fmla="*/ 136775 w 275122"/>
                  <a:gd name="connsiteY39" fmla="*/ 77708 h 173570"/>
                  <a:gd name="connsiteX40" fmla="*/ 143206 w 275122"/>
                  <a:gd name="connsiteY40" fmla="*/ 84591 h 173570"/>
                  <a:gd name="connsiteX41" fmla="*/ 146669 w 275122"/>
                  <a:gd name="connsiteY41" fmla="*/ 74381 h 173570"/>
                  <a:gd name="connsiteX42" fmla="*/ 146669 w 275122"/>
                  <a:gd name="connsiteY42" fmla="*/ 63713 h 173570"/>
                  <a:gd name="connsiteX43" fmla="*/ 152275 w 275122"/>
                  <a:gd name="connsiteY43" fmla="*/ 63713 h 173570"/>
                  <a:gd name="connsiteX44" fmla="*/ 154571 w 275122"/>
                  <a:gd name="connsiteY44" fmla="*/ 72984 h 173570"/>
                  <a:gd name="connsiteX45" fmla="*/ 163564 w 275122"/>
                  <a:gd name="connsiteY45" fmla="*/ 76222 h 173570"/>
                  <a:gd name="connsiteX46" fmla="*/ 157894 w 275122"/>
                  <a:gd name="connsiteY46" fmla="*/ 59395 h 173570"/>
                  <a:gd name="connsiteX47" fmla="*/ 157222 w 275122"/>
                  <a:gd name="connsiteY47" fmla="*/ 57731 h 173570"/>
                  <a:gd name="connsiteX48" fmla="*/ 160101 w 275122"/>
                  <a:gd name="connsiteY48" fmla="*/ 57947 h 173570"/>
                  <a:gd name="connsiteX49" fmla="*/ 171288 w 275122"/>
                  <a:gd name="connsiteY49" fmla="*/ 39405 h 173570"/>
                  <a:gd name="connsiteX50" fmla="*/ 206259 w 275122"/>
                  <a:gd name="connsiteY50" fmla="*/ 3185 h 173570"/>
                  <a:gd name="connsiteX51" fmla="*/ 212677 w 275122"/>
                  <a:gd name="connsiteY51" fmla="*/ 263 h 173570"/>
                  <a:gd name="connsiteX52" fmla="*/ 225349 w 275122"/>
                  <a:gd name="connsiteY52" fmla="*/ 10843 h 173570"/>
                  <a:gd name="connsiteX53" fmla="*/ 227505 w 275122"/>
                  <a:gd name="connsiteY53" fmla="*/ 22857 h 173570"/>
                  <a:gd name="connsiteX54" fmla="*/ 239327 w 275122"/>
                  <a:gd name="connsiteY54" fmla="*/ 26718 h 173570"/>
                  <a:gd name="connsiteX55" fmla="*/ 242650 w 275122"/>
                  <a:gd name="connsiteY55" fmla="*/ 37246 h 173570"/>
                  <a:gd name="connsiteX56" fmla="*/ 275096 w 275122"/>
                  <a:gd name="connsiteY56" fmla="*/ 47012 h 173570"/>
                  <a:gd name="connsiteX57" fmla="*/ 255702 w 275122"/>
                  <a:gd name="connsiteY57" fmla="*/ 70787 h 1735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</a:cxnLst>
                <a:rect l="l" t="t" r="r" b="b"/>
                <a:pathLst>
                  <a:path w="275122" h="173570">
                    <a:moveTo>
                      <a:pt x="255702" y="70787"/>
                    </a:moveTo>
                    <a:cubicBezTo>
                      <a:pt x="259063" y="83207"/>
                      <a:pt x="223966" y="70964"/>
                      <a:pt x="228964" y="77035"/>
                    </a:cubicBezTo>
                    <a:cubicBezTo>
                      <a:pt x="228901" y="78153"/>
                      <a:pt x="228393" y="79181"/>
                      <a:pt x="227568" y="79918"/>
                    </a:cubicBezTo>
                    <a:cubicBezTo>
                      <a:pt x="225501" y="79016"/>
                      <a:pt x="223155" y="78076"/>
                      <a:pt x="220643" y="77264"/>
                    </a:cubicBezTo>
                    <a:cubicBezTo>
                      <a:pt x="210851" y="74025"/>
                      <a:pt x="218753" y="76730"/>
                      <a:pt x="208327" y="75333"/>
                    </a:cubicBezTo>
                    <a:cubicBezTo>
                      <a:pt x="204483" y="75232"/>
                      <a:pt x="200665" y="74749"/>
                      <a:pt x="196911" y="73885"/>
                    </a:cubicBezTo>
                    <a:cubicBezTo>
                      <a:pt x="188920" y="72006"/>
                      <a:pt x="194755" y="76133"/>
                      <a:pt x="182704" y="77441"/>
                    </a:cubicBezTo>
                    <a:cubicBezTo>
                      <a:pt x="170616" y="78750"/>
                      <a:pt x="179876" y="75422"/>
                      <a:pt x="173533" y="80959"/>
                    </a:cubicBezTo>
                    <a:cubicBezTo>
                      <a:pt x="167191" y="86446"/>
                      <a:pt x="170845" y="84058"/>
                      <a:pt x="169538" y="89951"/>
                    </a:cubicBezTo>
                    <a:cubicBezTo>
                      <a:pt x="168866" y="94599"/>
                      <a:pt x="168866" y="99311"/>
                      <a:pt x="169538" y="103946"/>
                    </a:cubicBezTo>
                    <a:cubicBezTo>
                      <a:pt x="169538" y="106601"/>
                      <a:pt x="167699" y="108671"/>
                      <a:pt x="163564" y="109890"/>
                    </a:cubicBezTo>
                    <a:cubicBezTo>
                      <a:pt x="159480" y="111058"/>
                      <a:pt x="160596" y="112189"/>
                      <a:pt x="157894" y="115643"/>
                    </a:cubicBezTo>
                    <a:cubicBezTo>
                      <a:pt x="155154" y="119110"/>
                      <a:pt x="155700" y="120558"/>
                      <a:pt x="159162" y="127975"/>
                    </a:cubicBezTo>
                    <a:cubicBezTo>
                      <a:pt x="162625" y="135404"/>
                      <a:pt x="157273" y="128610"/>
                      <a:pt x="150309" y="132788"/>
                    </a:cubicBezTo>
                    <a:cubicBezTo>
                      <a:pt x="143333" y="136979"/>
                      <a:pt x="146897" y="135811"/>
                      <a:pt x="147835" y="140624"/>
                    </a:cubicBezTo>
                    <a:cubicBezTo>
                      <a:pt x="148825" y="145386"/>
                      <a:pt x="144195" y="150390"/>
                      <a:pt x="142077" y="153895"/>
                    </a:cubicBezTo>
                    <a:cubicBezTo>
                      <a:pt x="140010" y="157451"/>
                      <a:pt x="140200" y="157680"/>
                      <a:pt x="132145" y="157045"/>
                    </a:cubicBezTo>
                    <a:cubicBezTo>
                      <a:pt x="124066" y="156410"/>
                      <a:pt x="132145" y="157045"/>
                      <a:pt x="123203" y="157540"/>
                    </a:cubicBezTo>
                    <a:cubicBezTo>
                      <a:pt x="114312" y="158036"/>
                      <a:pt x="119563" y="160245"/>
                      <a:pt x="111292" y="160919"/>
                    </a:cubicBezTo>
                    <a:cubicBezTo>
                      <a:pt x="103073" y="161630"/>
                      <a:pt x="107614" y="160817"/>
                      <a:pt x="98443" y="157540"/>
                    </a:cubicBezTo>
                    <a:cubicBezTo>
                      <a:pt x="89273" y="154251"/>
                      <a:pt x="95793" y="153667"/>
                      <a:pt x="89552" y="153349"/>
                    </a:cubicBezTo>
                    <a:cubicBezTo>
                      <a:pt x="85747" y="153019"/>
                      <a:pt x="81916" y="153514"/>
                      <a:pt x="78314" y="154784"/>
                    </a:cubicBezTo>
                    <a:cubicBezTo>
                      <a:pt x="74585" y="155826"/>
                      <a:pt x="73329" y="160639"/>
                      <a:pt x="64919" y="164233"/>
                    </a:cubicBezTo>
                    <a:cubicBezTo>
                      <a:pt x="56510" y="167840"/>
                      <a:pt x="61241" y="166710"/>
                      <a:pt x="56471" y="168869"/>
                    </a:cubicBezTo>
                    <a:cubicBezTo>
                      <a:pt x="51753" y="171079"/>
                      <a:pt x="53186" y="169135"/>
                      <a:pt x="45906" y="167662"/>
                    </a:cubicBezTo>
                    <a:cubicBezTo>
                      <a:pt x="38625" y="166176"/>
                      <a:pt x="35708" y="170316"/>
                      <a:pt x="29328" y="172780"/>
                    </a:cubicBezTo>
                    <a:cubicBezTo>
                      <a:pt x="22948" y="175257"/>
                      <a:pt x="23302" y="171434"/>
                      <a:pt x="18635" y="168018"/>
                    </a:cubicBezTo>
                    <a:cubicBezTo>
                      <a:pt x="15527" y="165605"/>
                      <a:pt x="12673" y="162887"/>
                      <a:pt x="10098" y="159915"/>
                    </a:cubicBezTo>
                    <a:cubicBezTo>
                      <a:pt x="6648" y="156512"/>
                      <a:pt x="3464" y="152867"/>
                      <a:pt x="560" y="148981"/>
                    </a:cubicBezTo>
                    <a:cubicBezTo>
                      <a:pt x="-50" y="146898"/>
                      <a:pt x="-189" y="144701"/>
                      <a:pt x="166" y="142554"/>
                    </a:cubicBezTo>
                    <a:cubicBezTo>
                      <a:pt x="3439" y="142504"/>
                      <a:pt x="6851" y="144624"/>
                      <a:pt x="9870" y="150289"/>
                    </a:cubicBezTo>
                    <a:cubicBezTo>
                      <a:pt x="19751" y="149476"/>
                      <a:pt x="31395" y="148041"/>
                      <a:pt x="31166" y="157121"/>
                    </a:cubicBezTo>
                    <a:cubicBezTo>
                      <a:pt x="37369" y="149654"/>
                      <a:pt x="42722" y="161490"/>
                      <a:pt x="51170" y="159826"/>
                    </a:cubicBezTo>
                    <a:cubicBezTo>
                      <a:pt x="32701" y="156004"/>
                      <a:pt x="43394" y="145107"/>
                      <a:pt x="51030" y="137017"/>
                    </a:cubicBezTo>
                    <a:cubicBezTo>
                      <a:pt x="45411" y="139621"/>
                      <a:pt x="44066" y="134363"/>
                      <a:pt x="47301" y="129270"/>
                    </a:cubicBezTo>
                    <a:cubicBezTo>
                      <a:pt x="55710" y="136154"/>
                      <a:pt x="50041" y="127429"/>
                      <a:pt x="54138" y="128191"/>
                    </a:cubicBezTo>
                    <a:cubicBezTo>
                      <a:pt x="39931" y="115186"/>
                      <a:pt x="95032" y="115681"/>
                      <a:pt x="99344" y="106093"/>
                    </a:cubicBezTo>
                    <a:cubicBezTo>
                      <a:pt x="107792" y="93469"/>
                      <a:pt x="117837" y="82001"/>
                      <a:pt x="129228" y="71942"/>
                    </a:cubicBezTo>
                    <a:cubicBezTo>
                      <a:pt x="129659" y="72717"/>
                      <a:pt x="130014" y="73530"/>
                      <a:pt x="130306" y="74381"/>
                    </a:cubicBezTo>
                    <a:cubicBezTo>
                      <a:pt x="132196" y="79689"/>
                      <a:pt x="133503" y="76133"/>
                      <a:pt x="136775" y="77708"/>
                    </a:cubicBezTo>
                    <a:cubicBezTo>
                      <a:pt x="140060" y="79232"/>
                      <a:pt x="139566" y="81353"/>
                      <a:pt x="143206" y="84591"/>
                    </a:cubicBezTo>
                    <a:cubicBezTo>
                      <a:pt x="146846" y="87868"/>
                      <a:pt x="147557" y="77619"/>
                      <a:pt x="146669" y="74381"/>
                    </a:cubicBezTo>
                    <a:cubicBezTo>
                      <a:pt x="146301" y="70825"/>
                      <a:pt x="146301" y="67256"/>
                      <a:pt x="146669" y="63713"/>
                    </a:cubicBezTo>
                    <a:cubicBezTo>
                      <a:pt x="146440" y="60017"/>
                      <a:pt x="150296" y="62087"/>
                      <a:pt x="152275" y="63713"/>
                    </a:cubicBezTo>
                    <a:cubicBezTo>
                      <a:pt x="154254" y="65326"/>
                      <a:pt x="154799" y="67358"/>
                      <a:pt x="154571" y="72984"/>
                    </a:cubicBezTo>
                    <a:cubicBezTo>
                      <a:pt x="154342" y="78559"/>
                      <a:pt x="156905" y="73568"/>
                      <a:pt x="163564" y="76222"/>
                    </a:cubicBezTo>
                    <a:cubicBezTo>
                      <a:pt x="170261" y="78876"/>
                      <a:pt x="160952" y="66367"/>
                      <a:pt x="157894" y="59395"/>
                    </a:cubicBezTo>
                    <a:cubicBezTo>
                      <a:pt x="157628" y="58810"/>
                      <a:pt x="157400" y="58226"/>
                      <a:pt x="157222" y="57731"/>
                    </a:cubicBezTo>
                    <a:cubicBezTo>
                      <a:pt x="158186" y="57706"/>
                      <a:pt x="159150" y="57782"/>
                      <a:pt x="160101" y="57947"/>
                    </a:cubicBezTo>
                    <a:cubicBezTo>
                      <a:pt x="181182" y="59433"/>
                      <a:pt x="155700" y="45437"/>
                      <a:pt x="171288" y="39405"/>
                    </a:cubicBezTo>
                    <a:cubicBezTo>
                      <a:pt x="178252" y="54886"/>
                      <a:pt x="200412" y="-7877"/>
                      <a:pt x="206259" y="3185"/>
                    </a:cubicBezTo>
                    <a:cubicBezTo>
                      <a:pt x="200944" y="17993"/>
                      <a:pt x="212601" y="7147"/>
                      <a:pt x="212677" y="263"/>
                    </a:cubicBezTo>
                    <a:cubicBezTo>
                      <a:pt x="220364" y="-2531"/>
                      <a:pt x="216495" y="18082"/>
                      <a:pt x="225349" y="10843"/>
                    </a:cubicBezTo>
                    <a:cubicBezTo>
                      <a:pt x="227911" y="14843"/>
                      <a:pt x="236498" y="18221"/>
                      <a:pt x="227505" y="22857"/>
                    </a:cubicBezTo>
                    <a:cubicBezTo>
                      <a:pt x="229446" y="34465"/>
                      <a:pt x="224359" y="33563"/>
                      <a:pt x="239327" y="26718"/>
                    </a:cubicBezTo>
                    <a:cubicBezTo>
                      <a:pt x="248675" y="36166"/>
                      <a:pt x="226566" y="34325"/>
                      <a:pt x="242650" y="37246"/>
                    </a:cubicBezTo>
                    <a:cubicBezTo>
                      <a:pt x="245174" y="26222"/>
                      <a:pt x="264809" y="46339"/>
                      <a:pt x="275096" y="47012"/>
                    </a:cubicBezTo>
                    <a:cubicBezTo>
                      <a:pt x="273498" y="65922"/>
                      <a:pt x="219882" y="50175"/>
                      <a:pt x="255702" y="70787"/>
                    </a:cubicBezTo>
                    <a:close/>
                  </a:path>
                </a:pathLst>
              </a:custGeom>
              <a:solidFill>
                <a:schemeClr val="tx2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6" name="Vrije vorm 575">
                <a:extLst>
                  <a:ext uri="{FF2B5EF4-FFF2-40B4-BE49-F238E27FC236}">
                    <a16:creationId xmlns:a16="http://schemas.microsoft.com/office/drawing/2014/main" id="{312ED961-AD33-0C4E-86E1-DB85574979AD}"/>
                  </a:ext>
                </a:extLst>
              </p:cNvPr>
              <p:cNvSpPr/>
              <p:nvPr/>
            </p:nvSpPr>
            <p:spPr>
              <a:xfrm>
                <a:off x="8328486" y="4202629"/>
                <a:ext cx="117519" cy="153130"/>
              </a:xfrm>
              <a:custGeom>
                <a:avLst/>
                <a:gdLst>
                  <a:gd name="connsiteX0" fmla="*/ 117493 w 117519"/>
                  <a:gd name="connsiteY0" fmla="*/ 143146 h 153130"/>
                  <a:gd name="connsiteX1" fmla="*/ 113853 w 117519"/>
                  <a:gd name="connsiteY1" fmla="*/ 144403 h 153130"/>
                  <a:gd name="connsiteX2" fmla="*/ 110073 w 117519"/>
                  <a:gd name="connsiteY2" fmla="*/ 149890 h 153130"/>
                  <a:gd name="connsiteX3" fmla="*/ 109363 w 117519"/>
                  <a:gd name="connsiteY3" fmla="*/ 152900 h 153130"/>
                  <a:gd name="connsiteX4" fmla="*/ 109312 w 117519"/>
                  <a:gd name="connsiteY4" fmla="*/ 152900 h 153130"/>
                  <a:gd name="connsiteX5" fmla="*/ 48783 w 117519"/>
                  <a:gd name="connsiteY5" fmla="*/ 120413 h 153130"/>
                  <a:gd name="connsiteX6" fmla="*/ 35972 w 117519"/>
                  <a:gd name="connsiteY6" fmla="*/ 105249 h 153130"/>
                  <a:gd name="connsiteX7" fmla="*/ 17326 w 117519"/>
                  <a:gd name="connsiteY7" fmla="*/ 61561 h 153130"/>
                  <a:gd name="connsiteX8" fmla="*/ -26 w 117519"/>
                  <a:gd name="connsiteY8" fmla="*/ 8513 h 153130"/>
                  <a:gd name="connsiteX9" fmla="*/ -26 w 117519"/>
                  <a:gd name="connsiteY9" fmla="*/ 8475 h 153130"/>
                  <a:gd name="connsiteX10" fmla="*/ 3488 w 117519"/>
                  <a:gd name="connsiteY10" fmla="*/ 2303 h 153130"/>
                  <a:gd name="connsiteX11" fmla="*/ 6722 w 117519"/>
                  <a:gd name="connsiteY11" fmla="*/ 9821 h 153130"/>
                  <a:gd name="connsiteX12" fmla="*/ 12062 w 117519"/>
                  <a:gd name="connsiteY12" fmla="*/ 11929 h 153130"/>
                  <a:gd name="connsiteX13" fmla="*/ 19571 w 117519"/>
                  <a:gd name="connsiteY13" fmla="*/ 15181 h 153130"/>
                  <a:gd name="connsiteX14" fmla="*/ 26002 w 117519"/>
                  <a:gd name="connsiteY14" fmla="*/ 16248 h 153130"/>
                  <a:gd name="connsiteX15" fmla="*/ 24835 w 117519"/>
                  <a:gd name="connsiteY15" fmla="*/ 28490 h 153130"/>
                  <a:gd name="connsiteX16" fmla="*/ 36466 w 117519"/>
                  <a:gd name="connsiteY16" fmla="*/ 26382 h 153130"/>
                  <a:gd name="connsiteX17" fmla="*/ 43164 w 117519"/>
                  <a:gd name="connsiteY17" fmla="*/ 31284 h 153130"/>
                  <a:gd name="connsiteX18" fmla="*/ 53235 w 117519"/>
                  <a:gd name="connsiteY18" fmla="*/ 26243 h 153130"/>
                  <a:gd name="connsiteX19" fmla="*/ 57865 w 117519"/>
                  <a:gd name="connsiteY19" fmla="*/ 14177 h 153130"/>
                  <a:gd name="connsiteX20" fmla="*/ 97185 w 117519"/>
                  <a:gd name="connsiteY20" fmla="*/ 73169 h 153130"/>
                  <a:gd name="connsiteX21" fmla="*/ 117493 w 117519"/>
                  <a:gd name="connsiteY21" fmla="*/ 143146 h 153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7519" h="153130">
                    <a:moveTo>
                      <a:pt x="117493" y="143146"/>
                    </a:moveTo>
                    <a:cubicBezTo>
                      <a:pt x="116161" y="143070"/>
                      <a:pt x="114868" y="143527"/>
                      <a:pt x="113853" y="144403"/>
                    </a:cubicBezTo>
                    <a:cubicBezTo>
                      <a:pt x="112229" y="146562"/>
                      <a:pt x="110035" y="147007"/>
                      <a:pt x="110073" y="149890"/>
                    </a:cubicBezTo>
                    <a:cubicBezTo>
                      <a:pt x="110048" y="150931"/>
                      <a:pt x="109807" y="151960"/>
                      <a:pt x="109363" y="152900"/>
                    </a:cubicBezTo>
                    <a:lnTo>
                      <a:pt x="109312" y="152900"/>
                    </a:lnTo>
                    <a:cubicBezTo>
                      <a:pt x="95917" y="155516"/>
                      <a:pt x="64600" y="135488"/>
                      <a:pt x="48783" y="120413"/>
                    </a:cubicBezTo>
                    <a:cubicBezTo>
                      <a:pt x="36822" y="117136"/>
                      <a:pt x="36378" y="113492"/>
                      <a:pt x="35972" y="105249"/>
                    </a:cubicBezTo>
                    <a:cubicBezTo>
                      <a:pt x="27791" y="84688"/>
                      <a:pt x="9550" y="81538"/>
                      <a:pt x="17326" y="61561"/>
                    </a:cubicBezTo>
                    <a:cubicBezTo>
                      <a:pt x="9056" y="51896"/>
                      <a:pt x="8612" y="25569"/>
                      <a:pt x="-26" y="8513"/>
                    </a:cubicBezTo>
                    <a:lnTo>
                      <a:pt x="-26" y="8475"/>
                    </a:lnTo>
                    <a:cubicBezTo>
                      <a:pt x="1014" y="6342"/>
                      <a:pt x="2194" y="4284"/>
                      <a:pt x="3488" y="2303"/>
                    </a:cubicBezTo>
                    <a:cubicBezTo>
                      <a:pt x="7305" y="-3361"/>
                      <a:pt x="3488" y="2303"/>
                      <a:pt x="6722" y="9821"/>
                    </a:cubicBezTo>
                    <a:cubicBezTo>
                      <a:pt x="9906" y="17327"/>
                      <a:pt x="6722" y="9821"/>
                      <a:pt x="12062" y="11929"/>
                    </a:cubicBezTo>
                    <a:cubicBezTo>
                      <a:pt x="17415" y="14089"/>
                      <a:pt x="12062" y="11929"/>
                      <a:pt x="19571" y="15181"/>
                    </a:cubicBezTo>
                    <a:cubicBezTo>
                      <a:pt x="27080" y="18368"/>
                      <a:pt x="19571" y="15181"/>
                      <a:pt x="26002" y="16248"/>
                    </a:cubicBezTo>
                    <a:cubicBezTo>
                      <a:pt x="32421" y="17327"/>
                      <a:pt x="27080" y="21607"/>
                      <a:pt x="24835" y="28490"/>
                    </a:cubicBezTo>
                    <a:cubicBezTo>
                      <a:pt x="22578" y="35425"/>
                      <a:pt x="30264" y="31284"/>
                      <a:pt x="36466" y="26382"/>
                    </a:cubicBezTo>
                    <a:cubicBezTo>
                      <a:pt x="42631" y="21518"/>
                      <a:pt x="41008" y="26966"/>
                      <a:pt x="43164" y="31284"/>
                    </a:cubicBezTo>
                    <a:cubicBezTo>
                      <a:pt x="45320" y="35602"/>
                      <a:pt x="48517" y="30205"/>
                      <a:pt x="53235" y="26243"/>
                    </a:cubicBezTo>
                    <a:cubicBezTo>
                      <a:pt x="56292" y="23728"/>
                      <a:pt x="56647" y="18953"/>
                      <a:pt x="57865" y="14177"/>
                    </a:cubicBezTo>
                    <a:cubicBezTo>
                      <a:pt x="79390" y="26674"/>
                      <a:pt x="93913" y="48468"/>
                      <a:pt x="97185" y="73169"/>
                    </a:cubicBezTo>
                    <a:cubicBezTo>
                      <a:pt x="81635" y="82846"/>
                      <a:pt x="107878" y="123613"/>
                      <a:pt x="117493" y="143146"/>
                    </a:cubicBezTo>
                    <a:close/>
                  </a:path>
                </a:pathLst>
              </a:custGeom>
              <a:solidFill>
                <a:schemeClr val="tx2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77" name="Vrije vorm 276">
              <a:extLst>
                <a:ext uri="{FF2B5EF4-FFF2-40B4-BE49-F238E27FC236}">
                  <a16:creationId xmlns:a16="http://schemas.microsoft.com/office/drawing/2014/main" id="{5DB802D2-A420-B648-9958-6983C9285A5A}"/>
                </a:ext>
              </a:extLst>
            </p:cNvPr>
            <p:cNvSpPr/>
            <p:nvPr/>
          </p:nvSpPr>
          <p:spPr>
            <a:xfrm>
              <a:off x="8390869" y="3980712"/>
              <a:ext cx="152274" cy="122796"/>
            </a:xfrm>
            <a:custGeom>
              <a:avLst/>
              <a:gdLst>
                <a:gd name="connsiteX0" fmla="*/ 148808 w 152274"/>
                <a:gd name="connsiteY0" fmla="*/ 60250 h 122796"/>
                <a:gd name="connsiteX1" fmla="*/ 137215 w 152274"/>
                <a:gd name="connsiteY1" fmla="*/ 72493 h 122796"/>
                <a:gd name="connsiteX2" fmla="*/ 117846 w 152274"/>
                <a:gd name="connsiteY2" fmla="*/ 73839 h 122796"/>
                <a:gd name="connsiteX3" fmla="*/ 109436 w 152274"/>
                <a:gd name="connsiteY3" fmla="*/ 81446 h 122796"/>
                <a:gd name="connsiteX4" fmla="*/ 100862 w 152274"/>
                <a:gd name="connsiteY4" fmla="*/ 83694 h 122796"/>
                <a:gd name="connsiteX5" fmla="*/ 104096 w 152274"/>
                <a:gd name="connsiteY5" fmla="*/ 92787 h 122796"/>
                <a:gd name="connsiteX6" fmla="*/ 109436 w 152274"/>
                <a:gd name="connsiteY6" fmla="*/ 108446 h 122796"/>
                <a:gd name="connsiteX7" fmla="*/ 95382 w 152274"/>
                <a:gd name="connsiteY7" fmla="*/ 107088 h 122796"/>
                <a:gd name="connsiteX8" fmla="*/ 79337 w 152274"/>
                <a:gd name="connsiteY8" fmla="*/ 106199 h 122796"/>
                <a:gd name="connsiteX9" fmla="*/ 70750 w 152274"/>
                <a:gd name="connsiteY9" fmla="*/ 121756 h 122796"/>
                <a:gd name="connsiteX10" fmla="*/ 64813 w 152274"/>
                <a:gd name="connsiteY10" fmla="*/ 122798 h 122796"/>
                <a:gd name="connsiteX11" fmla="*/ 42527 w 152274"/>
                <a:gd name="connsiteY11" fmla="*/ 116359 h 122796"/>
                <a:gd name="connsiteX12" fmla="*/ 40688 w 152274"/>
                <a:gd name="connsiteY12" fmla="*/ 110377 h 122796"/>
                <a:gd name="connsiteX13" fmla="*/ 34486 w 152274"/>
                <a:gd name="connsiteY13" fmla="*/ 100573 h 122796"/>
                <a:gd name="connsiteX14" fmla="*/ 24732 w 152274"/>
                <a:gd name="connsiteY14" fmla="*/ 106503 h 122796"/>
                <a:gd name="connsiteX15" fmla="*/ 24959 w 152274"/>
                <a:gd name="connsiteY15" fmla="*/ 88876 h 122796"/>
                <a:gd name="connsiteX16" fmla="*/ 19886 w 152274"/>
                <a:gd name="connsiteY16" fmla="*/ 87072 h 122796"/>
                <a:gd name="connsiteX17" fmla="*/ 20470 w 152274"/>
                <a:gd name="connsiteY17" fmla="*/ 84151 h 122796"/>
                <a:gd name="connsiteX18" fmla="*/ 18313 w 152274"/>
                <a:gd name="connsiteY18" fmla="*/ 79198 h 122796"/>
                <a:gd name="connsiteX19" fmla="*/ 10981 w 152274"/>
                <a:gd name="connsiteY19" fmla="*/ 69788 h 122796"/>
                <a:gd name="connsiteX20" fmla="*/ 10893 w 152274"/>
                <a:gd name="connsiteY20" fmla="*/ 69610 h 122796"/>
                <a:gd name="connsiteX21" fmla="*/ 4474 w 152274"/>
                <a:gd name="connsiteY21" fmla="*/ 48642 h 122796"/>
                <a:gd name="connsiteX22" fmla="*/ 4474 w 152274"/>
                <a:gd name="connsiteY22" fmla="*/ 29884 h 122796"/>
                <a:gd name="connsiteX23" fmla="*/ 23704 w 152274"/>
                <a:gd name="connsiteY23" fmla="*/ 5360 h 122796"/>
                <a:gd name="connsiteX24" fmla="*/ 42045 w 152274"/>
                <a:gd name="connsiteY24" fmla="*/ 3468 h 122796"/>
                <a:gd name="connsiteX25" fmla="*/ 66526 w 152274"/>
                <a:gd name="connsiteY25" fmla="*/ 6478 h 122796"/>
                <a:gd name="connsiteX26" fmla="*/ 81404 w 152274"/>
                <a:gd name="connsiteY26" fmla="*/ 8548 h 122796"/>
                <a:gd name="connsiteX27" fmla="*/ 97589 w 152274"/>
                <a:gd name="connsiteY27" fmla="*/ 16117 h 122796"/>
                <a:gd name="connsiteX28" fmla="*/ 107204 w 152274"/>
                <a:gd name="connsiteY28" fmla="*/ 18226 h 122796"/>
                <a:gd name="connsiteX29" fmla="*/ 106126 w 152274"/>
                <a:gd name="connsiteY29" fmla="*/ 6440 h 122796"/>
                <a:gd name="connsiteX30" fmla="*/ 122121 w 152274"/>
                <a:gd name="connsiteY30" fmla="*/ 1081 h 122796"/>
                <a:gd name="connsiteX31" fmla="*/ 125405 w 152274"/>
                <a:gd name="connsiteY31" fmla="*/ 2160 h 122796"/>
                <a:gd name="connsiteX32" fmla="*/ 140373 w 152274"/>
                <a:gd name="connsiteY32" fmla="*/ 1081 h 122796"/>
                <a:gd name="connsiteX33" fmla="*/ 143607 w 152274"/>
                <a:gd name="connsiteY33" fmla="*/ 1 h 122796"/>
                <a:gd name="connsiteX34" fmla="*/ 143696 w 152274"/>
                <a:gd name="connsiteY34" fmla="*/ 11609 h 122796"/>
                <a:gd name="connsiteX35" fmla="*/ 150571 w 152274"/>
                <a:gd name="connsiteY35" fmla="*/ 37885 h 122796"/>
                <a:gd name="connsiteX36" fmla="*/ 148808 w 152274"/>
                <a:gd name="connsiteY36" fmla="*/ 60250 h 122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52274" h="122796">
                  <a:moveTo>
                    <a:pt x="148808" y="60250"/>
                  </a:moveTo>
                  <a:cubicBezTo>
                    <a:pt x="143595" y="63311"/>
                    <a:pt x="145802" y="66689"/>
                    <a:pt x="137215" y="72493"/>
                  </a:cubicBezTo>
                  <a:cubicBezTo>
                    <a:pt x="128590" y="78297"/>
                    <a:pt x="122121" y="69343"/>
                    <a:pt x="117846" y="73839"/>
                  </a:cubicBezTo>
                  <a:cubicBezTo>
                    <a:pt x="113622" y="78297"/>
                    <a:pt x="116007" y="82437"/>
                    <a:pt x="109436" y="81446"/>
                  </a:cubicBezTo>
                  <a:cubicBezTo>
                    <a:pt x="102878" y="80456"/>
                    <a:pt x="103107" y="76227"/>
                    <a:pt x="100862" y="83694"/>
                  </a:cubicBezTo>
                  <a:cubicBezTo>
                    <a:pt x="98616" y="91213"/>
                    <a:pt x="99961" y="85815"/>
                    <a:pt x="104096" y="92787"/>
                  </a:cubicBezTo>
                  <a:cubicBezTo>
                    <a:pt x="108231" y="99760"/>
                    <a:pt x="118163" y="104255"/>
                    <a:pt x="109436" y="108446"/>
                  </a:cubicBezTo>
                  <a:cubicBezTo>
                    <a:pt x="100773" y="112625"/>
                    <a:pt x="103957" y="106872"/>
                    <a:pt x="95382" y="107088"/>
                  </a:cubicBezTo>
                  <a:cubicBezTo>
                    <a:pt x="86833" y="107278"/>
                    <a:pt x="82520" y="99709"/>
                    <a:pt x="79337" y="106199"/>
                  </a:cubicBezTo>
                  <a:cubicBezTo>
                    <a:pt x="76102" y="112625"/>
                    <a:pt x="78880" y="123153"/>
                    <a:pt x="70750" y="121756"/>
                  </a:cubicBezTo>
                  <a:cubicBezTo>
                    <a:pt x="68707" y="121477"/>
                    <a:pt x="66640" y="121832"/>
                    <a:pt x="64813" y="122798"/>
                  </a:cubicBezTo>
                  <a:cubicBezTo>
                    <a:pt x="59651" y="115914"/>
                    <a:pt x="50556" y="113285"/>
                    <a:pt x="42527" y="116359"/>
                  </a:cubicBezTo>
                  <a:cubicBezTo>
                    <a:pt x="41043" y="120041"/>
                    <a:pt x="29856" y="111863"/>
                    <a:pt x="40688" y="110377"/>
                  </a:cubicBezTo>
                  <a:cubicBezTo>
                    <a:pt x="43745" y="105246"/>
                    <a:pt x="35424" y="93905"/>
                    <a:pt x="34486" y="100573"/>
                  </a:cubicBezTo>
                  <a:cubicBezTo>
                    <a:pt x="32964" y="108307"/>
                    <a:pt x="29894" y="105246"/>
                    <a:pt x="24732" y="106503"/>
                  </a:cubicBezTo>
                  <a:cubicBezTo>
                    <a:pt x="23628" y="100674"/>
                    <a:pt x="23704" y="94680"/>
                    <a:pt x="24959" y="88876"/>
                  </a:cubicBezTo>
                  <a:cubicBezTo>
                    <a:pt x="22258" y="90667"/>
                    <a:pt x="24097" y="85764"/>
                    <a:pt x="19886" y="87072"/>
                  </a:cubicBezTo>
                  <a:cubicBezTo>
                    <a:pt x="21002" y="86437"/>
                    <a:pt x="22765" y="84189"/>
                    <a:pt x="20470" y="84151"/>
                  </a:cubicBezTo>
                  <a:cubicBezTo>
                    <a:pt x="24782" y="80684"/>
                    <a:pt x="20152" y="83834"/>
                    <a:pt x="18313" y="79198"/>
                  </a:cubicBezTo>
                  <a:cubicBezTo>
                    <a:pt x="24059" y="94451"/>
                    <a:pt x="15078" y="74880"/>
                    <a:pt x="10981" y="69788"/>
                  </a:cubicBezTo>
                  <a:cubicBezTo>
                    <a:pt x="10931" y="69750"/>
                    <a:pt x="10893" y="69686"/>
                    <a:pt x="10893" y="69610"/>
                  </a:cubicBezTo>
                  <a:cubicBezTo>
                    <a:pt x="7887" y="62917"/>
                    <a:pt x="5730" y="55868"/>
                    <a:pt x="4474" y="48642"/>
                  </a:cubicBezTo>
                  <a:cubicBezTo>
                    <a:pt x="3257" y="35409"/>
                    <a:pt x="-5013" y="37263"/>
                    <a:pt x="4474" y="29884"/>
                  </a:cubicBezTo>
                  <a:cubicBezTo>
                    <a:pt x="13950" y="22544"/>
                    <a:pt x="14128" y="7519"/>
                    <a:pt x="23704" y="5360"/>
                  </a:cubicBezTo>
                  <a:cubicBezTo>
                    <a:pt x="33280" y="3240"/>
                    <a:pt x="26177" y="1576"/>
                    <a:pt x="42045" y="3468"/>
                  </a:cubicBezTo>
                  <a:cubicBezTo>
                    <a:pt x="57901" y="5360"/>
                    <a:pt x="57989" y="7608"/>
                    <a:pt x="66526" y="6478"/>
                  </a:cubicBezTo>
                  <a:cubicBezTo>
                    <a:pt x="75024" y="5360"/>
                    <a:pt x="70572" y="4230"/>
                    <a:pt x="81404" y="8548"/>
                  </a:cubicBezTo>
                  <a:cubicBezTo>
                    <a:pt x="92186" y="12866"/>
                    <a:pt x="87962" y="13997"/>
                    <a:pt x="97589" y="16117"/>
                  </a:cubicBezTo>
                  <a:cubicBezTo>
                    <a:pt x="107204" y="18226"/>
                    <a:pt x="108244" y="30062"/>
                    <a:pt x="107204" y="18226"/>
                  </a:cubicBezTo>
                  <a:cubicBezTo>
                    <a:pt x="106126" y="6440"/>
                    <a:pt x="95382" y="11787"/>
                    <a:pt x="106126" y="6440"/>
                  </a:cubicBezTo>
                  <a:cubicBezTo>
                    <a:pt x="116818" y="1081"/>
                    <a:pt x="118886" y="1"/>
                    <a:pt x="122121" y="1081"/>
                  </a:cubicBezTo>
                  <a:cubicBezTo>
                    <a:pt x="125405" y="2160"/>
                    <a:pt x="113622" y="1081"/>
                    <a:pt x="125405" y="2160"/>
                  </a:cubicBezTo>
                  <a:cubicBezTo>
                    <a:pt x="137189" y="3240"/>
                    <a:pt x="133942" y="3202"/>
                    <a:pt x="140373" y="1081"/>
                  </a:cubicBezTo>
                  <a:cubicBezTo>
                    <a:pt x="141717" y="636"/>
                    <a:pt x="142758" y="268"/>
                    <a:pt x="143607" y="1"/>
                  </a:cubicBezTo>
                  <a:cubicBezTo>
                    <a:pt x="141401" y="3570"/>
                    <a:pt x="141439" y="8078"/>
                    <a:pt x="143696" y="11609"/>
                  </a:cubicBezTo>
                  <a:cubicBezTo>
                    <a:pt x="147743" y="19813"/>
                    <a:pt x="150076" y="28754"/>
                    <a:pt x="150571" y="37885"/>
                  </a:cubicBezTo>
                  <a:cubicBezTo>
                    <a:pt x="152182" y="47207"/>
                    <a:pt x="154021" y="57240"/>
                    <a:pt x="148808" y="60250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8" name="Vrije vorm 277">
              <a:extLst>
                <a:ext uri="{FF2B5EF4-FFF2-40B4-BE49-F238E27FC236}">
                  <a16:creationId xmlns:a16="http://schemas.microsoft.com/office/drawing/2014/main" id="{3F51ECA7-0679-5F4A-8341-07C258F7A869}"/>
                </a:ext>
              </a:extLst>
            </p:cNvPr>
            <p:cNvSpPr/>
            <p:nvPr/>
          </p:nvSpPr>
          <p:spPr>
            <a:xfrm>
              <a:off x="8385147" y="3719802"/>
              <a:ext cx="210417" cy="433442"/>
            </a:xfrm>
            <a:custGeom>
              <a:avLst/>
              <a:gdLst>
                <a:gd name="connsiteX0" fmla="*/ 210392 w 210417"/>
                <a:gd name="connsiteY0" fmla="*/ 316487 h 433442"/>
                <a:gd name="connsiteX1" fmla="*/ 208502 w 210417"/>
                <a:gd name="connsiteY1" fmla="*/ 315356 h 433442"/>
                <a:gd name="connsiteX2" fmla="*/ 207246 w 210417"/>
                <a:gd name="connsiteY2" fmla="*/ 312207 h 433442"/>
                <a:gd name="connsiteX3" fmla="*/ 206219 w 210417"/>
                <a:gd name="connsiteY3" fmla="*/ 324094 h 433442"/>
                <a:gd name="connsiteX4" fmla="*/ 202438 w 210417"/>
                <a:gd name="connsiteY4" fmla="*/ 329440 h 433442"/>
                <a:gd name="connsiteX5" fmla="*/ 203251 w 210417"/>
                <a:gd name="connsiteY5" fmla="*/ 334800 h 433442"/>
                <a:gd name="connsiteX6" fmla="*/ 198304 w 210417"/>
                <a:gd name="connsiteY6" fmla="*/ 345646 h 433442"/>
                <a:gd name="connsiteX7" fmla="*/ 141047 w 210417"/>
                <a:gd name="connsiteY7" fmla="*/ 375389 h 433442"/>
                <a:gd name="connsiteX8" fmla="*/ 140413 w 210417"/>
                <a:gd name="connsiteY8" fmla="*/ 377002 h 433442"/>
                <a:gd name="connsiteX9" fmla="*/ 133488 w 210417"/>
                <a:gd name="connsiteY9" fmla="*/ 374348 h 433442"/>
                <a:gd name="connsiteX10" fmla="*/ 128414 w 210417"/>
                <a:gd name="connsiteY10" fmla="*/ 378717 h 433442"/>
                <a:gd name="connsiteX11" fmla="*/ 133944 w 210417"/>
                <a:gd name="connsiteY11" fmla="*/ 384838 h 433442"/>
                <a:gd name="connsiteX12" fmla="*/ 130354 w 210417"/>
                <a:gd name="connsiteY12" fmla="*/ 393474 h 433442"/>
                <a:gd name="connsiteX13" fmla="*/ 123569 w 210417"/>
                <a:gd name="connsiteY13" fmla="*/ 388749 h 433442"/>
                <a:gd name="connsiteX14" fmla="*/ 122668 w 210417"/>
                <a:gd name="connsiteY14" fmla="*/ 388115 h 433442"/>
                <a:gd name="connsiteX15" fmla="*/ 122439 w 210417"/>
                <a:gd name="connsiteY15" fmla="*/ 387975 h 433442"/>
                <a:gd name="connsiteX16" fmla="*/ 130938 w 210417"/>
                <a:gd name="connsiteY16" fmla="*/ 396979 h 433442"/>
                <a:gd name="connsiteX17" fmla="*/ 130354 w 210417"/>
                <a:gd name="connsiteY17" fmla="*/ 397652 h 433442"/>
                <a:gd name="connsiteX18" fmla="*/ 129911 w 210417"/>
                <a:gd name="connsiteY18" fmla="*/ 397563 h 433442"/>
                <a:gd name="connsiteX19" fmla="*/ 129416 w 210417"/>
                <a:gd name="connsiteY19" fmla="*/ 397373 h 433442"/>
                <a:gd name="connsiteX20" fmla="*/ 128959 w 210417"/>
                <a:gd name="connsiteY20" fmla="*/ 397195 h 433442"/>
                <a:gd name="connsiteX21" fmla="*/ 126536 w 210417"/>
                <a:gd name="connsiteY21" fmla="*/ 395620 h 433442"/>
                <a:gd name="connsiteX22" fmla="*/ 125687 w 210417"/>
                <a:gd name="connsiteY22" fmla="*/ 394985 h 433442"/>
                <a:gd name="connsiteX23" fmla="*/ 124291 w 210417"/>
                <a:gd name="connsiteY23" fmla="*/ 393906 h 433442"/>
                <a:gd name="connsiteX24" fmla="*/ 122313 w 210417"/>
                <a:gd name="connsiteY24" fmla="*/ 392293 h 433442"/>
                <a:gd name="connsiteX25" fmla="*/ 117734 w 210417"/>
                <a:gd name="connsiteY25" fmla="*/ 388191 h 433442"/>
                <a:gd name="connsiteX26" fmla="*/ 123162 w 210417"/>
                <a:gd name="connsiteY26" fmla="*/ 394541 h 433442"/>
                <a:gd name="connsiteX27" fmla="*/ 123885 w 210417"/>
                <a:gd name="connsiteY27" fmla="*/ 395531 h 433442"/>
                <a:gd name="connsiteX28" fmla="*/ 124698 w 210417"/>
                <a:gd name="connsiteY28" fmla="*/ 396750 h 433442"/>
                <a:gd name="connsiteX29" fmla="*/ 125953 w 210417"/>
                <a:gd name="connsiteY29" fmla="*/ 399049 h 433442"/>
                <a:gd name="connsiteX30" fmla="*/ 126308 w 210417"/>
                <a:gd name="connsiteY30" fmla="*/ 399849 h 433442"/>
                <a:gd name="connsiteX31" fmla="*/ 126714 w 210417"/>
                <a:gd name="connsiteY31" fmla="*/ 401068 h 433442"/>
                <a:gd name="connsiteX32" fmla="*/ 126270 w 210417"/>
                <a:gd name="connsiteY32" fmla="*/ 403723 h 433442"/>
                <a:gd name="connsiteX33" fmla="*/ 125598 w 210417"/>
                <a:gd name="connsiteY33" fmla="*/ 404129 h 433442"/>
                <a:gd name="connsiteX34" fmla="*/ 125496 w 210417"/>
                <a:gd name="connsiteY34" fmla="*/ 404129 h 433442"/>
                <a:gd name="connsiteX35" fmla="*/ 125103 w 210417"/>
                <a:gd name="connsiteY35" fmla="*/ 404218 h 433442"/>
                <a:gd name="connsiteX36" fmla="*/ 124609 w 210417"/>
                <a:gd name="connsiteY36" fmla="*/ 404269 h 433442"/>
                <a:gd name="connsiteX37" fmla="*/ 119484 w 210417"/>
                <a:gd name="connsiteY37" fmla="*/ 402593 h 433442"/>
                <a:gd name="connsiteX38" fmla="*/ 112064 w 210417"/>
                <a:gd name="connsiteY38" fmla="*/ 397373 h 433442"/>
                <a:gd name="connsiteX39" fmla="*/ 95663 w 210417"/>
                <a:gd name="connsiteY39" fmla="*/ 421096 h 433442"/>
                <a:gd name="connsiteX40" fmla="*/ 75889 w 210417"/>
                <a:gd name="connsiteY40" fmla="*/ 432247 h 433442"/>
                <a:gd name="connsiteX41" fmla="*/ 86810 w 210417"/>
                <a:gd name="connsiteY41" fmla="*/ 396789 h 433442"/>
                <a:gd name="connsiteX42" fmla="*/ 72604 w 210417"/>
                <a:gd name="connsiteY42" fmla="*/ 387568 h 433442"/>
                <a:gd name="connsiteX43" fmla="*/ 70536 w 210417"/>
                <a:gd name="connsiteY43" fmla="*/ 383695 h 433442"/>
                <a:gd name="connsiteX44" fmla="*/ 76472 w 210417"/>
                <a:gd name="connsiteY44" fmla="*/ 382666 h 433442"/>
                <a:gd name="connsiteX45" fmla="*/ 85046 w 210417"/>
                <a:gd name="connsiteY45" fmla="*/ 367096 h 433442"/>
                <a:gd name="connsiteX46" fmla="*/ 101092 w 210417"/>
                <a:gd name="connsiteY46" fmla="*/ 367998 h 433442"/>
                <a:gd name="connsiteX47" fmla="*/ 115159 w 210417"/>
                <a:gd name="connsiteY47" fmla="*/ 369344 h 433442"/>
                <a:gd name="connsiteX48" fmla="*/ 109819 w 210417"/>
                <a:gd name="connsiteY48" fmla="*/ 353685 h 433442"/>
                <a:gd name="connsiteX49" fmla="*/ 106572 w 210417"/>
                <a:gd name="connsiteY49" fmla="*/ 344604 h 433442"/>
                <a:gd name="connsiteX50" fmla="*/ 115159 w 210417"/>
                <a:gd name="connsiteY50" fmla="*/ 342344 h 433442"/>
                <a:gd name="connsiteX51" fmla="*/ 123569 w 210417"/>
                <a:gd name="connsiteY51" fmla="*/ 334749 h 433442"/>
                <a:gd name="connsiteX52" fmla="*/ 142937 w 210417"/>
                <a:gd name="connsiteY52" fmla="*/ 333390 h 433442"/>
                <a:gd name="connsiteX53" fmla="*/ 154531 w 210417"/>
                <a:gd name="connsiteY53" fmla="*/ 321160 h 433442"/>
                <a:gd name="connsiteX54" fmla="*/ 156281 w 210417"/>
                <a:gd name="connsiteY54" fmla="*/ 298795 h 433442"/>
                <a:gd name="connsiteX55" fmla="*/ 149406 w 210417"/>
                <a:gd name="connsiteY55" fmla="*/ 272519 h 433442"/>
                <a:gd name="connsiteX56" fmla="*/ 149317 w 210417"/>
                <a:gd name="connsiteY56" fmla="*/ 260911 h 433442"/>
                <a:gd name="connsiteX57" fmla="*/ 152552 w 210417"/>
                <a:gd name="connsiteY57" fmla="*/ 250015 h 433442"/>
                <a:gd name="connsiteX58" fmla="*/ 152552 w 210417"/>
                <a:gd name="connsiteY58" fmla="*/ 242458 h 433442"/>
                <a:gd name="connsiteX59" fmla="*/ 148467 w 210417"/>
                <a:gd name="connsiteY59" fmla="*/ 222303 h 433442"/>
                <a:gd name="connsiteX60" fmla="*/ 138802 w 210417"/>
                <a:gd name="connsiteY60" fmla="*/ 208346 h 433442"/>
                <a:gd name="connsiteX61" fmla="*/ 125813 w 210417"/>
                <a:gd name="connsiteY61" fmla="*/ 203444 h 433442"/>
                <a:gd name="connsiteX62" fmla="*/ 118977 w 210417"/>
                <a:gd name="connsiteY62" fmla="*/ 182209 h 433442"/>
                <a:gd name="connsiteX63" fmla="*/ 105316 w 210417"/>
                <a:gd name="connsiteY63" fmla="*/ 175910 h 433442"/>
                <a:gd name="connsiteX64" fmla="*/ 101092 w 210417"/>
                <a:gd name="connsiteY64" fmla="*/ 160924 h 433442"/>
                <a:gd name="connsiteX65" fmla="*/ 86036 w 210417"/>
                <a:gd name="connsiteY65" fmla="*/ 151425 h 433442"/>
                <a:gd name="connsiteX66" fmla="*/ 84158 w 210417"/>
                <a:gd name="connsiteY66" fmla="*/ 140541 h 433442"/>
                <a:gd name="connsiteX67" fmla="*/ 73681 w 210417"/>
                <a:gd name="connsiteY67" fmla="*/ 134965 h 433442"/>
                <a:gd name="connsiteX68" fmla="*/ 56152 w 210417"/>
                <a:gd name="connsiteY68" fmla="*/ 126139 h 433442"/>
                <a:gd name="connsiteX69" fmla="*/ 52740 w 210417"/>
                <a:gd name="connsiteY69" fmla="*/ 111750 h 433442"/>
                <a:gd name="connsiteX70" fmla="*/ 53057 w 210417"/>
                <a:gd name="connsiteY70" fmla="*/ 110035 h 433442"/>
                <a:gd name="connsiteX71" fmla="*/ 64740 w 210417"/>
                <a:gd name="connsiteY71" fmla="*/ 113858 h 433442"/>
                <a:gd name="connsiteX72" fmla="*/ 80911 w 210417"/>
                <a:gd name="connsiteY72" fmla="*/ 100675 h 433442"/>
                <a:gd name="connsiteX73" fmla="*/ 78451 w 210417"/>
                <a:gd name="connsiteY73" fmla="*/ 92890 h 433442"/>
                <a:gd name="connsiteX74" fmla="*/ 66845 w 210417"/>
                <a:gd name="connsiteY74" fmla="*/ 79035 h 433442"/>
                <a:gd name="connsiteX75" fmla="*/ 59209 w 210417"/>
                <a:gd name="connsiteY75" fmla="*/ 74526 h 433442"/>
                <a:gd name="connsiteX76" fmla="*/ 43163 w 210417"/>
                <a:gd name="connsiteY76" fmla="*/ 77447 h 433442"/>
                <a:gd name="connsiteX77" fmla="*/ 28475 w 210417"/>
                <a:gd name="connsiteY77" fmla="*/ 73129 h 433442"/>
                <a:gd name="connsiteX78" fmla="*/ 22907 w 210417"/>
                <a:gd name="connsiteY78" fmla="*/ 57114 h 433442"/>
                <a:gd name="connsiteX79" fmla="*/ 11796 w 210417"/>
                <a:gd name="connsiteY79" fmla="*/ 40960 h 433442"/>
                <a:gd name="connsiteX80" fmla="*/ -26 w 210417"/>
                <a:gd name="connsiteY80" fmla="*/ 23866 h 433442"/>
                <a:gd name="connsiteX81" fmla="*/ 8066 w 210417"/>
                <a:gd name="connsiteY81" fmla="*/ 21656 h 433442"/>
                <a:gd name="connsiteX82" fmla="*/ 13241 w 210417"/>
                <a:gd name="connsiteY82" fmla="*/ 17389 h 433442"/>
                <a:gd name="connsiteX83" fmla="*/ 22907 w 210417"/>
                <a:gd name="connsiteY83" fmla="*/ 18468 h 433442"/>
                <a:gd name="connsiteX84" fmla="*/ 32559 w 210417"/>
                <a:gd name="connsiteY84" fmla="*/ 16309 h 433442"/>
                <a:gd name="connsiteX85" fmla="*/ 43252 w 210417"/>
                <a:gd name="connsiteY85" fmla="*/ 19548 h 433442"/>
                <a:gd name="connsiteX86" fmla="*/ 61505 w 210417"/>
                <a:gd name="connsiteY86" fmla="*/ 15230 h 433442"/>
                <a:gd name="connsiteX87" fmla="*/ 72248 w 210417"/>
                <a:gd name="connsiteY87" fmla="*/ 16398 h 433442"/>
                <a:gd name="connsiteX88" fmla="*/ 84158 w 210417"/>
                <a:gd name="connsiteY88" fmla="*/ 3800 h 433442"/>
                <a:gd name="connsiteX89" fmla="*/ 96741 w 210417"/>
                <a:gd name="connsiteY89" fmla="*/ 1323 h 433442"/>
                <a:gd name="connsiteX90" fmla="*/ 107789 w 210417"/>
                <a:gd name="connsiteY90" fmla="*/ 13071 h 433442"/>
                <a:gd name="connsiteX91" fmla="*/ 122795 w 210417"/>
                <a:gd name="connsiteY91" fmla="*/ 11991 h 433442"/>
                <a:gd name="connsiteX92" fmla="*/ 131064 w 210417"/>
                <a:gd name="connsiteY92" fmla="*/ 15230 h 433442"/>
                <a:gd name="connsiteX93" fmla="*/ 127831 w 210417"/>
                <a:gd name="connsiteY93" fmla="*/ 27066 h 433442"/>
                <a:gd name="connsiteX94" fmla="*/ 132143 w 210417"/>
                <a:gd name="connsiteY94" fmla="*/ 40973 h 433442"/>
                <a:gd name="connsiteX95" fmla="*/ 148062 w 210417"/>
                <a:gd name="connsiteY95" fmla="*/ 50866 h 433442"/>
                <a:gd name="connsiteX96" fmla="*/ 161672 w 210417"/>
                <a:gd name="connsiteY96" fmla="*/ 54651 h 433442"/>
                <a:gd name="connsiteX97" fmla="*/ 158526 w 210417"/>
                <a:gd name="connsiteY97" fmla="*/ 59642 h 433442"/>
                <a:gd name="connsiteX98" fmla="*/ 155520 w 210417"/>
                <a:gd name="connsiteY98" fmla="*/ 59553 h 433442"/>
                <a:gd name="connsiteX99" fmla="*/ 153402 w 210417"/>
                <a:gd name="connsiteY99" fmla="*/ 60632 h 433442"/>
                <a:gd name="connsiteX100" fmla="*/ 149140 w 210417"/>
                <a:gd name="connsiteY100" fmla="*/ 69802 h 433442"/>
                <a:gd name="connsiteX101" fmla="*/ 144548 w 210417"/>
                <a:gd name="connsiteY101" fmla="*/ 68951 h 433442"/>
                <a:gd name="connsiteX102" fmla="*/ 141047 w 210417"/>
                <a:gd name="connsiteY102" fmla="*/ 69586 h 433442"/>
                <a:gd name="connsiteX103" fmla="*/ 140907 w 210417"/>
                <a:gd name="connsiteY103" fmla="*/ 70399 h 433442"/>
                <a:gd name="connsiteX104" fmla="*/ 136468 w 210417"/>
                <a:gd name="connsiteY104" fmla="*/ 70259 h 433442"/>
                <a:gd name="connsiteX105" fmla="*/ 136557 w 210417"/>
                <a:gd name="connsiteY105" fmla="*/ 73548 h 433442"/>
                <a:gd name="connsiteX106" fmla="*/ 132333 w 210417"/>
                <a:gd name="connsiteY106" fmla="*/ 69814 h 433442"/>
                <a:gd name="connsiteX107" fmla="*/ 130748 w 210417"/>
                <a:gd name="connsiteY107" fmla="*/ 79124 h 433442"/>
                <a:gd name="connsiteX108" fmla="*/ 129542 w 210417"/>
                <a:gd name="connsiteY108" fmla="*/ 81511 h 433442"/>
                <a:gd name="connsiteX109" fmla="*/ 126663 w 210417"/>
                <a:gd name="connsiteY109" fmla="*/ 86959 h 433442"/>
                <a:gd name="connsiteX110" fmla="*/ 122846 w 210417"/>
                <a:gd name="connsiteY110" fmla="*/ 156886 h 433442"/>
                <a:gd name="connsiteX111" fmla="*/ 124152 w 210417"/>
                <a:gd name="connsiteY111" fmla="*/ 157775 h 433442"/>
                <a:gd name="connsiteX112" fmla="*/ 125091 w 210417"/>
                <a:gd name="connsiteY112" fmla="*/ 159299 h 433442"/>
                <a:gd name="connsiteX113" fmla="*/ 125445 w 210417"/>
                <a:gd name="connsiteY113" fmla="*/ 160251 h 433442"/>
                <a:gd name="connsiteX114" fmla="*/ 125813 w 210417"/>
                <a:gd name="connsiteY114" fmla="*/ 161775 h 433442"/>
                <a:gd name="connsiteX115" fmla="*/ 125547 w 210417"/>
                <a:gd name="connsiteY115" fmla="*/ 165776 h 433442"/>
                <a:gd name="connsiteX116" fmla="*/ 125230 w 210417"/>
                <a:gd name="connsiteY116" fmla="*/ 166449 h 433442"/>
                <a:gd name="connsiteX117" fmla="*/ 124825 w 210417"/>
                <a:gd name="connsiteY117" fmla="*/ 166995 h 433442"/>
                <a:gd name="connsiteX118" fmla="*/ 122439 w 210417"/>
                <a:gd name="connsiteY118" fmla="*/ 167668 h 433442"/>
                <a:gd name="connsiteX119" fmla="*/ 121907 w 210417"/>
                <a:gd name="connsiteY119" fmla="*/ 167528 h 433442"/>
                <a:gd name="connsiteX120" fmla="*/ 121146 w 210417"/>
                <a:gd name="connsiteY120" fmla="*/ 167223 h 433442"/>
                <a:gd name="connsiteX121" fmla="*/ 121678 w 210417"/>
                <a:gd name="connsiteY121" fmla="*/ 167579 h 433442"/>
                <a:gd name="connsiteX122" fmla="*/ 156776 w 210417"/>
                <a:gd name="connsiteY122" fmla="*/ 202402 h 433442"/>
                <a:gd name="connsiteX123" fmla="*/ 159071 w 210417"/>
                <a:gd name="connsiteY123" fmla="*/ 204523 h 433442"/>
                <a:gd name="connsiteX124" fmla="*/ 160416 w 210417"/>
                <a:gd name="connsiteY124" fmla="*/ 205692 h 433442"/>
                <a:gd name="connsiteX125" fmla="*/ 162445 w 210417"/>
                <a:gd name="connsiteY125" fmla="*/ 207178 h 433442"/>
                <a:gd name="connsiteX126" fmla="*/ 164411 w 210417"/>
                <a:gd name="connsiteY126" fmla="*/ 208206 h 433442"/>
                <a:gd name="connsiteX127" fmla="*/ 167113 w 210417"/>
                <a:gd name="connsiteY127" fmla="*/ 208397 h 433442"/>
                <a:gd name="connsiteX128" fmla="*/ 191290 w 210417"/>
                <a:gd name="connsiteY128" fmla="*/ 237721 h 433442"/>
                <a:gd name="connsiteX129" fmla="*/ 204189 w 210417"/>
                <a:gd name="connsiteY129" fmla="*/ 280469 h 433442"/>
                <a:gd name="connsiteX130" fmla="*/ 205901 w 210417"/>
                <a:gd name="connsiteY130" fmla="*/ 292661 h 433442"/>
                <a:gd name="connsiteX131" fmla="*/ 205534 w 210417"/>
                <a:gd name="connsiteY131" fmla="*/ 294185 h 433442"/>
                <a:gd name="connsiteX132" fmla="*/ 203656 w 210417"/>
                <a:gd name="connsiteY132" fmla="*/ 292928 h 433442"/>
                <a:gd name="connsiteX133" fmla="*/ 210392 w 210417"/>
                <a:gd name="connsiteY133" fmla="*/ 316487 h 433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</a:cxnLst>
              <a:rect l="l" t="t" r="r" b="b"/>
              <a:pathLst>
                <a:path w="210417" h="433442">
                  <a:moveTo>
                    <a:pt x="210392" y="316487"/>
                  </a:moveTo>
                  <a:cubicBezTo>
                    <a:pt x="209313" y="320347"/>
                    <a:pt x="208641" y="317782"/>
                    <a:pt x="208502" y="315356"/>
                  </a:cubicBezTo>
                  <a:cubicBezTo>
                    <a:pt x="205990" y="318506"/>
                    <a:pt x="208552" y="314366"/>
                    <a:pt x="207246" y="312207"/>
                  </a:cubicBezTo>
                  <a:cubicBezTo>
                    <a:pt x="198849" y="317833"/>
                    <a:pt x="205724" y="320220"/>
                    <a:pt x="206219" y="324094"/>
                  </a:cubicBezTo>
                  <a:cubicBezTo>
                    <a:pt x="198126" y="322062"/>
                    <a:pt x="205939" y="323332"/>
                    <a:pt x="202438" y="329440"/>
                  </a:cubicBezTo>
                  <a:cubicBezTo>
                    <a:pt x="205407" y="333492"/>
                    <a:pt x="204151" y="344655"/>
                    <a:pt x="203251" y="334800"/>
                  </a:cubicBezTo>
                  <a:cubicBezTo>
                    <a:pt x="199788" y="325300"/>
                    <a:pt x="206662" y="353469"/>
                    <a:pt x="198304" y="345646"/>
                  </a:cubicBezTo>
                  <a:cubicBezTo>
                    <a:pt x="193813" y="361978"/>
                    <a:pt x="141364" y="388877"/>
                    <a:pt x="141047" y="375389"/>
                  </a:cubicBezTo>
                  <a:cubicBezTo>
                    <a:pt x="141047" y="377053"/>
                    <a:pt x="140641" y="377358"/>
                    <a:pt x="140413" y="377002"/>
                  </a:cubicBezTo>
                  <a:cubicBezTo>
                    <a:pt x="140362" y="382272"/>
                    <a:pt x="135377" y="369979"/>
                    <a:pt x="133488" y="374348"/>
                  </a:cubicBezTo>
                  <a:cubicBezTo>
                    <a:pt x="133944" y="377142"/>
                    <a:pt x="129454" y="381498"/>
                    <a:pt x="128414" y="378717"/>
                  </a:cubicBezTo>
                  <a:cubicBezTo>
                    <a:pt x="128908" y="381955"/>
                    <a:pt x="136645" y="376951"/>
                    <a:pt x="133944" y="384838"/>
                  </a:cubicBezTo>
                  <a:cubicBezTo>
                    <a:pt x="114766" y="384381"/>
                    <a:pt x="141682" y="383847"/>
                    <a:pt x="130354" y="393474"/>
                  </a:cubicBezTo>
                  <a:cubicBezTo>
                    <a:pt x="127070" y="391213"/>
                    <a:pt x="124875" y="389689"/>
                    <a:pt x="123569" y="388749"/>
                  </a:cubicBezTo>
                  <a:cubicBezTo>
                    <a:pt x="123213" y="388470"/>
                    <a:pt x="122896" y="388292"/>
                    <a:pt x="122668" y="388115"/>
                  </a:cubicBezTo>
                  <a:lnTo>
                    <a:pt x="122439" y="387975"/>
                  </a:lnTo>
                  <a:cubicBezTo>
                    <a:pt x="125648" y="390604"/>
                    <a:pt x="128503" y="393626"/>
                    <a:pt x="130938" y="396979"/>
                  </a:cubicBezTo>
                  <a:cubicBezTo>
                    <a:pt x="130938" y="397424"/>
                    <a:pt x="130722" y="397652"/>
                    <a:pt x="130354" y="397652"/>
                  </a:cubicBezTo>
                  <a:cubicBezTo>
                    <a:pt x="130202" y="397640"/>
                    <a:pt x="130050" y="397601"/>
                    <a:pt x="129911" y="397563"/>
                  </a:cubicBezTo>
                  <a:cubicBezTo>
                    <a:pt x="129733" y="397512"/>
                    <a:pt x="129568" y="397449"/>
                    <a:pt x="129416" y="397373"/>
                  </a:cubicBezTo>
                  <a:cubicBezTo>
                    <a:pt x="129264" y="397335"/>
                    <a:pt x="129111" y="397271"/>
                    <a:pt x="128959" y="397195"/>
                  </a:cubicBezTo>
                  <a:cubicBezTo>
                    <a:pt x="128122" y="396725"/>
                    <a:pt x="127310" y="396192"/>
                    <a:pt x="126536" y="395620"/>
                  </a:cubicBezTo>
                  <a:cubicBezTo>
                    <a:pt x="126245" y="395430"/>
                    <a:pt x="125953" y="395214"/>
                    <a:pt x="125687" y="394985"/>
                  </a:cubicBezTo>
                  <a:cubicBezTo>
                    <a:pt x="125230" y="394668"/>
                    <a:pt x="124786" y="394312"/>
                    <a:pt x="124291" y="393906"/>
                  </a:cubicBezTo>
                  <a:cubicBezTo>
                    <a:pt x="123619" y="393410"/>
                    <a:pt x="122985" y="392877"/>
                    <a:pt x="122313" y="392293"/>
                  </a:cubicBezTo>
                  <a:cubicBezTo>
                    <a:pt x="120651" y="390896"/>
                    <a:pt x="119079" y="389410"/>
                    <a:pt x="117734" y="388191"/>
                  </a:cubicBezTo>
                  <a:cubicBezTo>
                    <a:pt x="119675" y="390197"/>
                    <a:pt x="121489" y="392318"/>
                    <a:pt x="123162" y="394541"/>
                  </a:cubicBezTo>
                  <a:cubicBezTo>
                    <a:pt x="123429" y="394909"/>
                    <a:pt x="123657" y="395214"/>
                    <a:pt x="123885" y="395531"/>
                  </a:cubicBezTo>
                  <a:cubicBezTo>
                    <a:pt x="124190" y="395912"/>
                    <a:pt x="124456" y="396319"/>
                    <a:pt x="124698" y="396750"/>
                  </a:cubicBezTo>
                  <a:cubicBezTo>
                    <a:pt x="125167" y="397487"/>
                    <a:pt x="125586" y="398249"/>
                    <a:pt x="125953" y="399049"/>
                  </a:cubicBezTo>
                  <a:cubicBezTo>
                    <a:pt x="126093" y="399303"/>
                    <a:pt x="126206" y="399570"/>
                    <a:pt x="126308" y="399849"/>
                  </a:cubicBezTo>
                  <a:cubicBezTo>
                    <a:pt x="126473" y="400256"/>
                    <a:pt x="126613" y="400649"/>
                    <a:pt x="126714" y="401068"/>
                  </a:cubicBezTo>
                  <a:cubicBezTo>
                    <a:pt x="127056" y="401970"/>
                    <a:pt x="126892" y="402986"/>
                    <a:pt x="126270" y="403723"/>
                  </a:cubicBezTo>
                  <a:cubicBezTo>
                    <a:pt x="126080" y="403913"/>
                    <a:pt x="125839" y="404053"/>
                    <a:pt x="125598" y="404129"/>
                  </a:cubicBezTo>
                  <a:lnTo>
                    <a:pt x="125496" y="404129"/>
                  </a:lnTo>
                  <a:cubicBezTo>
                    <a:pt x="125370" y="404180"/>
                    <a:pt x="125243" y="404205"/>
                    <a:pt x="125103" y="404218"/>
                  </a:cubicBezTo>
                  <a:cubicBezTo>
                    <a:pt x="124938" y="404256"/>
                    <a:pt x="124773" y="404269"/>
                    <a:pt x="124609" y="404269"/>
                  </a:cubicBezTo>
                  <a:cubicBezTo>
                    <a:pt x="122795" y="404104"/>
                    <a:pt x="121032" y="403545"/>
                    <a:pt x="119484" y="402593"/>
                  </a:cubicBezTo>
                  <a:cubicBezTo>
                    <a:pt x="116820" y="401132"/>
                    <a:pt x="114334" y="399379"/>
                    <a:pt x="112064" y="397373"/>
                  </a:cubicBezTo>
                  <a:cubicBezTo>
                    <a:pt x="124786" y="410746"/>
                    <a:pt x="108246" y="411686"/>
                    <a:pt x="95663" y="421096"/>
                  </a:cubicBezTo>
                  <a:cubicBezTo>
                    <a:pt x="92962" y="427751"/>
                    <a:pt x="82320" y="436705"/>
                    <a:pt x="75889" y="432247"/>
                  </a:cubicBezTo>
                  <a:cubicBezTo>
                    <a:pt x="85960" y="436527"/>
                    <a:pt x="68836" y="393372"/>
                    <a:pt x="86810" y="396789"/>
                  </a:cubicBezTo>
                  <a:cubicBezTo>
                    <a:pt x="87038" y="387746"/>
                    <a:pt x="74899" y="387124"/>
                    <a:pt x="72604" y="387568"/>
                  </a:cubicBezTo>
                  <a:cubicBezTo>
                    <a:pt x="72109" y="386184"/>
                    <a:pt x="71411" y="384889"/>
                    <a:pt x="70536" y="383695"/>
                  </a:cubicBezTo>
                  <a:cubicBezTo>
                    <a:pt x="72350" y="382742"/>
                    <a:pt x="74430" y="382374"/>
                    <a:pt x="76472" y="382666"/>
                  </a:cubicBezTo>
                  <a:cubicBezTo>
                    <a:pt x="84603" y="384063"/>
                    <a:pt x="81812" y="373535"/>
                    <a:pt x="85046" y="367096"/>
                  </a:cubicBezTo>
                  <a:cubicBezTo>
                    <a:pt x="88243" y="360619"/>
                    <a:pt x="92556" y="368175"/>
                    <a:pt x="101092" y="367998"/>
                  </a:cubicBezTo>
                  <a:cubicBezTo>
                    <a:pt x="109679" y="367769"/>
                    <a:pt x="106483" y="373535"/>
                    <a:pt x="115159" y="369344"/>
                  </a:cubicBezTo>
                  <a:cubicBezTo>
                    <a:pt x="123885" y="365166"/>
                    <a:pt x="113941" y="360657"/>
                    <a:pt x="109819" y="353685"/>
                  </a:cubicBezTo>
                  <a:cubicBezTo>
                    <a:pt x="105684" y="346712"/>
                    <a:pt x="104327" y="352110"/>
                    <a:pt x="106572" y="344604"/>
                  </a:cubicBezTo>
                  <a:cubicBezTo>
                    <a:pt x="108829" y="337124"/>
                    <a:pt x="108601" y="341366"/>
                    <a:pt x="115159" y="342344"/>
                  </a:cubicBezTo>
                  <a:cubicBezTo>
                    <a:pt x="121729" y="343334"/>
                    <a:pt x="119345" y="339194"/>
                    <a:pt x="123569" y="334749"/>
                  </a:cubicBezTo>
                  <a:cubicBezTo>
                    <a:pt x="127831" y="330241"/>
                    <a:pt x="134312" y="339194"/>
                    <a:pt x="142937" y="333390"/>
                  </a:cubicBezTo>
                  <a:cubicBezTo>
                    <a:pt x="151524" y="327586"/>
                    <a:pt x="149317" y="324221"/>
                    <a:pt x="154531" y="321160"/>
                  </a:cubicBezTo>
                  <a:cubicBezTo>
                    <a:pt x="159744" y="318137"/>
                    <a:pt x="157904" y="308105"/>
                    <a:pt x="156281" y="298795"/>
                  </a:cubicBezTo>
                  <a:cubicBezTo>
                    <a:pt x="155786" y="289664"/>
                    <a:pt x="153452" y="280723"/>
                    <a:pt x="149406" y="272519"/>
                  </a:cubicBezTo>
                  <a:cubicBezTo>
                    <a:pt x="147148" y="268989"/>
                    <a:pt x="147110" y="264467"/>
                    <a:pt x="149317" y="260911"/>
                  </a:cubicBezTo>
                  <a:cubicBezTo>
                    <a:pt x="151245" y="257584"/>
                    <a:pt x="152349" y="253850"/>
                    <a:pt x="152552" y="250015"/>
                  </a:cubicBezTo>
                  <a:lnTo>
                    <a:pt x="152552" y="242458"/>
                  </a:lnTo>
                  <a:cubicBezTo>
                    <a:pt x="149888" y="236070"/>
                    <a:pt x="148505" y="229225"/>
                    <a:pt x="148467" y="222303"/>
                  </a:cubicBezTo>
                  <a:cubicBezTo>
                    <a:pt x="148683" y="208346"/>
                    <a:pt x="146121" y="219065"/>
                    <a:pt x="138802" y="208346"/>
                  </a:cubicBezTo>
                  <a:cubicBezTo>
                    <a:pt x="131471" y="197602"/>
                    <a:pt x="132194" y="208346"/>
                    <a:pt x="125813" y="203444"/>
                  </a:cubicBezTo>
                  <a:cubicBezTo>
                    <a:pt x="119383" y="198542"/>
                    <a:pt x="120372" y="187962"/>
                    <a:pt x="118977" y="182209"/>
                  </a:cubicBezTo>
                  <a:cubicBezTo>
                    <a:pt x="117543" y="176444"/>
                    <a:pt x="115032" y="180457"/>
                    <a:pt x="105316" y="175910"/>
                  </a:cubicBezTo>
                  <a:cubicBezTo>
                    <a:pt x="95612" y="171414"/>
                    <a:pt x="103248" y="170779"/>
                    <a:pt x="101092" y="160924"/>
                  </a:cubicBezTo>
                  <a:cubicBezTo>
                    <a:pt x="98936" y="151031"/>
                    <a:pt x="95752" y="156873"/>
                    <a:pt x="86036" y="151425"/>
                  </a:cubicBezTo>
                  <a:cubicBezTo>
                    <a:pt x="76282" y="145989"/>
                    <a:pt x="86125" y="145037"/>
                    <a:pt x="84158" y="140541"/>
                  </a:cubicBezTo>
                  <a:cubicBezTo>
                    <a:pt x="82180" y="135994"/>
                    <a:pt x="77550" y="136489"/>
                    <a:pt x="73681" y="134965"/>
                  </a:cubicBezTo>
                  <a:cubicBezTo>
                    <a:pt x="68164" y="131409"/>
                    <a:pt x="62291" y="128450"/>
                    <a:pt x="56152" y="126139"/>
                  </a:cubicBezTo>
                  <a:cubicBezTo>
                    <a:pt x="48744" y="124437"/>
                    <a:pt x="50761" y="121465"/>
                    <a:pt x="52740" y="111750"/>
                  </a:cubicBezTo>
                  <a:cubicBezTo>
                    <a:pt x="52879" y="111064"/>
                    <a:pt x="52968" y="110480"/>
                    <a:pt x="53057" y="110035"/>
                  </a:cubicBezTo>
                  <a:cubicBezTo>
                    <a:pt x="53641" y="112055"/>
                    <a:pt x="56152" y="114988"/>
                    <a:pt x="64740" y="113858"/>
                  </a:cubicBezTo>
                  <a:cubicBezTo>
                    <a:pt x="81901" y="111648"/>
                    <a:pt x="71120" y="110708"/>
                    <a:pt x="80911" y="100675"/>
                  </a:cubicBezTo>
                  <a:cubicBezTo>
                    <a:pt x="90716" y="90592"/>
                    <a:pt x="78451" y="92890"/>
                    <a:pt x="78451" y="92890"/>
                  </a:cubicBezTo>
                  <a:cubicBezTo>
                    <a:pt x="78451" y="92890"/>
                    <a:pt x="67885" y="87124"/>
                    <a:pt x="66845" y="79035"/>
                  </a:cubicBezTo>
                  <a:cubicBezTo>
                    <a:pt x="65767" y="70932"/>
                    <a:pt x="65767" y="75339"/>
                    <a:pt x="59209" y="74526"/>
                  </a:cubicBezTo>
                  <a:cubicBezTo>
                    <a:pt x="52702" y="73764"/>
                    <a:pt x="52867" y="74259"/>
                    <a:pt x="43163" y="77447"/>
                  </a:cubicBezTo>
                  <a:cubicBezTo>
                    <a:pt x="33460" y="80647"/>
                    <a:pt x="40018" y="77447"/>
                    <a:pt x="28475" y="73129"/>
                  </a:cubicBezTo>
                  <a:cubicBezTo>
                    <a:pt x="16920" y="68811"/>
                    <a:pt x="22907" y="67821"/>
                    <a:pt x="22907" y="57114"/>
                  </a:cubicBezTo>
                  <a:cubicBezTo>
                    <a:pt x="19976" y="51234"/>
                    <a:pt x="16235" y="45799"/>
                    <a:pt x="11796" y="40960"/>
                  </a:cubicBezTo>
                  <a:cubicBezTo>
                    <a:pt x="5999" y="35562"/>
                    <a:pt x="8967" y="36693"/>
                    <a:pt x="-26" y="23866"/>
                  </a:cubicBezTo>
                  <a:cubicBezTo>
                    <a:pt x="6811" y="24894"/>
                    <a:pt x="2853" y="25936"/>
                    <a:pt x="8066" y="21656"/>
                  </a:cubicBezTo>
                  <a:cubicBezTo>
                    <a:pt x="13241" y="17389"/>
                    <a:pt x="3614" y="16309"/>
                    <a:pt x="13241" y="17389"/>
                  </a:cubicBezTo>
                  <a:cubicBezTo>
                    <a:pt x="22907" y="18468"/>
                    <a:pt x="13241" y="20627"/>
                    <a:pt x="22907" y="18468"/>
                  </a:cubicBezTo>
                  <a:cubicBezTo>
                    <a:pt x="32559" y="16309"/>
                    <a:pt x="21816" y="13109"/>
                    <a:pt x="32559" y="16309"/>
                  </a:cubicBezTo>
                  <a:cubicBezTo>
                    <a:pt x="43252" y="19548"/>
                    <a:pt x="29325" y="23815"/>
                    <a:pt x="43252" y="19548"/>
                  </a:cubicBezTo>
                  <a:cubicBezTo>
                    <a:pt x="57192" y="15268"/>
                    <a:pt x="52968" y="12029"/>
                    <a:pt x="61505" y="15230"/>
                  </a:cubicBezTo>
                  <a:cubicBezTo>
                    <a:pt x="70041" y="18468"/>
                    <a:pt x="62634" y="27193"/>
                    <a:pt x="72248" y="16398"/>
                  </a:cubicBezTo>
                  <a:cubicBezTo>
                    <a:pt x="81812" y="5603"/>
                    <a:pt x="76827" y="6314"/>
                    <a:pt x="84158" y="3800"/>
                  </a:cubicBezTo>
                  <a:cubicBezTo>
                    <a:pt x="91477" y="1323"/>
                    <a:pt x="90171" y="-1826"/>
                    <a:pt x="96741" y="1323"/>
                  </a:cubicBezTo>
                  <a:cubicBezTo>
                    <a:pt x="103248" y="4524"/>
                    <a:pt x="101688" y="14099"/>
                    <a:pt x="107789" y="13071"/>
                  </a:cubicBezTo>
                  <a:cubicBezTo>
                    <a:pt x="112736" y="12156"/>
                    <a:pt x="117772" y="11788"/>
                    <a:pt x="122795" y="11991"/>
                  </a:cubicBezTo>
                  <a:cubicBezTo>
                    <a:pt x="130025" y="12029"/>
                    <a:pt x="133234" y="8791"/>
                    <a:pt x="131064" y="15230"/>
                  </a:cubicBezTo>
                  <a:cubicBezTo>
                    <a:pt x="128959" y="21707"/>
                    <a:pt x="122439" y="17389"/>
                    <a:pt x="127831" y="27066"/>
                  </a:cubicBezTo>
                  <a:cubicBezTo>
                    <a:pt x="133272" y="36693"/>
                    <a:pt x="124596" y="33416"/>
                    <a:pt x="132143" y="40973"/>
                  </a:cubicBezTo>
                  <a:cubicBezTo>
                    <a:pt x="139690" y="48516"/>
                    <a:pt x="134439" y="47081"/>
                    <a:pt x="148062" y="50866"/>
                  </a:cubicBezTo>
                  <a:cubicBezTo>
                    <a:pt x="152679" y="51806"/>
                    <a:pt x="157233" y="53063"/>
                    <a:pt x="161672" y="54651"/>
                  </a:cubicBezTo>
                  <a:cubicBezTo>
                    <a:pt x="165667" y="56619"/>
                    <a:pt x="157004" y="57889"/>
                    <a:pt x="158526" y="59642"/>
                  </a:cubicBezTo>
                  <a:cubicBezTo>
                    <a:pt x="157587" y="59680"/>
                    <a:pt x="156509" y="62791"/>
                    <a:pt x="155520" y="59553"/>
                  </a:cubicBezTo>
                  <a:cubicBezTo>
                    <a:pt x="154620" y="59997"/>
                    <a:pt x="156053" y="61839"/>
                    <a:pt x="153402" y="60632"/>
                  </a:cubicBezTo>
                  <a:cubicBezTo>
                    <a:pt x="148594" y="60048"/>
                    <a:pt x="153084" y="68278"/>
                    <a:pt x="149140" y="69802"/>
                  </a:cubicBezTo>
                  <a:cubicBezTo>
                    <a:pt x="147161" y="70564"/>
                    <a:pt x="139018" y="73726"/>
                    <a:pt x="144548" y="68951"/>
                  </a:cubicBezTo>
                  <a:cubicBezTo>
                    <a:pt x="141897" y="69497"/>
                    <a:pt x="142214" y="69040"/>
                    <a:pt x="141047" y="69586"/>
                  </a:cubicBezTo>
                  <a:cubicBezTo>
                    <a:pt x="142303" y="70576"/>
                    <a:pt x="138485" y="68773"/>
                    <a:pt x="140907" y="70399"/>
                  </a:cubicBezTo>
                  <a:cubicBezTo>
                    <a:pt x="140819" y="73193"/>
                    <a:pt x="137179" y="69941"/>
                    <a:pt x="136468" y="70259"/>
                  </a:cubicBezTo>
                  <a:cubicBezTo>
                    <a:pt x="138219" y="73142"/>
                    <a:pt x="139107" y="72240"/>
                    <a:pt x="136557" y="73548"/>
                  </a:cubicBezTo>
                  <a:cubicBezTo>
                    <a:pt x="133716" y="71745"/>
                    <a:pt x="135923" y="67795"/>
                    <a:pt x="132333" y="69814"/>
                  </a:cubicBezTo>
                  <a:cubicBezTo>
                    <a:pt x="127247" y="67922"/>
                    <a:pt x="139969" y="81473"/>
                    <a:pt x="130748" y="79124"/>
                  </a:cubicBezTo>
                  <a:cubicBezTo>
                    <a:pt x="134705" y="82768"/>
                    <a:pt x="126308" y="79301"/>
                    <a:pt x="129542" y="81511"/>
                  </a:cubicBezTo>
                  <a:cubicBezTo>
                    <a:pt x="125852" y="85613"/>
                    <a:pt x="130532" y="82997"/>
                    <a:pt x="126663" y="86959"/>
                  </a:cubicBezTo>
                  <a:cubicBezTo>
                    <a:pt x="136278" y="92890"/>
                    <a:pt x="69864" y="121961"/>
                    <a:pt x="122846" y="156886"/>
                  </a:cubicBezTo>
                  <a:cubicBezTo>
                    <a:pt x="123353" y="157051"/>
                    <a:pt x="123810" y="157356"/>
                    <a:pt x="124152" y="157775"/>
                  </a:cubicBezTo>
                  <a:cubicBezTo>
                    <a:pt x="124533" y="158244"/>
                    <a:pt x="124849" y="158753"/>
                    <a:pt x="125091" y="159299"/>
                  </a:cubicBezTo>
                  <a:cubicBezTo>
                    <a:pt x="125230" y="159616"/>
                    <a:pt x="125357" y="159934"/>
                    <a:pt x="125445" y="160251"/>
                  </a:cubicBezTo>
                  <a:cubicBezTo>
                    <a:pt x="125598" y="160746"/>
                    <a:pt x="125712" y="161254"/>
                    <a:pt x="125813" y="161775"/>
                  </a:cubicBezTo>
                  <a:cubicBezTo>
                    <a:pt x="126042" y="163109"/>
                    <a:pt x="125953" y="164480"/>
                    <a:pt x="125547" y="165776"/>
                  </a:cubicBezTo>
                  <a:cubicBezTo>
                    <a:pt x="125459" y="166017"/>
                    <a:pt x="125344" y="166233"/>
                    <a:pt x="125230" y="166449"/>
                  </a:cubicBezTo>
                  <a:cubicBezTo>
                    <a:pt x="125103" y="166639"/>
                    <a:pt x="124976" y="166830"/>
                    <a:pt x="124825" y="166995"/>
                  </a:cubicBezTo>
                  <a:cubicBezTo>
                    <a:pt x="124215" y="167643"/>
                    <a:pt x="123302" y="167909"/>
                    <a:pt x="122439" y="167668"/>
                  </a:cubicBezTo>
                  <a:cubicBezTo>
                    <a:pt x="122250" y="167668"/>
                    <a:pt x="122072" y="167617"/>
                    <a:pt x="121907" y="167528"/>
                  </a:cubicBezTo>
                  <a:cubicBezTo>
                    <a:pt x="121678" y="167439"/>
                    <a:pt x="121412" y="167350"/>
                    <a:pt x="121146" y="167223"/>
                  </a:cubicBezTo>
                  <a:cubicBezTo>
                    <a:pt x="121324" y="167350"/>
                    <a:pt x="121501" y="167439"/>
                    <a:pt x="121678" y="167579"/>
                  </a:cubicBezTo>
                  <a:cubicBezTo>
                    <a:pt x="134376" y="178133"/>
                    <a:pt x="146121" y="189791"/>
                    <a:pt x="156776" y="202402"/>
                  </a:cubicBezTo>
                  <a:cubicBezTo>
                    <a:pt x="157587" y="203164"/>
                    <a:pt x="158348" y="203888"/>
                    <a:pt x="159071" y="204523"/>
                  </a:cubicBezTo>
                  <a:cubicBezTo>
                    <a:pt x="159566" y="204968"/>
                    <a:pt x="159972" y="205336"/>
                    <a:pt x="160416" y="205692"/>
                  </a:cubicBezTo>
                  <a:cubicBezTo>
                    <a:pt x="161063" y="206225"/>
                    <a:pt x="161735" y="206720"/>
                    <a:pt x="162445" y="207178"/>
                  </a:cubicBezTo>
                  <a:cubicBezTo>
                    <a:pt x="163042" y="207622"/>
                    <a:pt x="163701" y="207978"/>
                    <a:pt x="164411" y="208206"/>
                  </a:cubicBezTo>
                  <a:cubicBezTo>
                    <a:pt x="165248" y="208638"/>
                    <a:pt x="166225" y="208702"/>
                    <a:pt x="167113" y="208397"/>
                  </a:cubicBezTo>
                  <a:cubicBezTo>
                    <a:pt x="180330" y="216982"/>
                    <a:pt x="174940" y="222430"/>
                    <a:pt x="191290" y="237721"/>
                  </a:cubicBezTo>
                  <a:cubicBezTo>
                    <a:pt x="190655" y="231473"/>
                    <a:pt x="212142" y="291175"/>
                    <a:pt x="204189" y="280469"/>
                  </a:cubicBezTo>
                  <a:cubicBezTo>
                    <a:pt x="201399" y="288305"/>
                    <a:pt x="206523" y="290058"/>
                    <a:pt x="205901" y="292661"/>
                  </a:cubicBezTo>
                  <a:cubicBezTo>
                    <a:pt x="207246" y="291950"/>
                    <a:pt x="206346" y="295138"/>
                    <a:pt x="205534" y="294185"/>
                  </a:cubicBezTo>
                  <a:cubicBezTo>
                    <a:pt x="205039" y="294503"/>
                    <a:pt x="205305" y="290324"/>
                    <a:pt x="203656" y="292928"/>
                  </a:cubicBezTo>
                  <a:cubicBezTo>
                    <a:pt x="206346" y="300650"/>
                    <a:pt x="208603" y="308511"/>
                    <a:pt x="210392" y="316487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9" name="Vrije vorm 278">
              <a:extLst>
                <a:ext uri="{FF2B5EF4-FFF2-40B4-BE49-F238E27FC236}">
                  <a16:creationId xmlns:a16="http://schemas.microsoft.com/office/drawing/2014/main" id="{A7D0C458-E189-F343-BE5A-AD91B0549FB9}"/>
                </a:ext>
              </a:extLst>
            </p:cNvPr>
            <p:cNvSpPr/>
            <p:nvPr/>
          </p:nvSpPr>
          <p:spPr>
            <a:xfrm>
              <a:off x="8252508" y="3807281"/>
              <a:ext cx="234005" cy="428224"/>
            </a:xfrm>
            <a:custGeom>
              <a:avLst/>
              <a:gdLst>
                <a:gd name="connsiteX0" fmla="*/ 232298 w 234005"/>
                <a:gd name="connsiteY0" fmla="*/ 154217 h 428224"/>
                <a:gd name="connsiteX1" fmla="*/ 231271 w 234005"/>
                <a:gd name="connsiteY1" fmla="*/ 160783 h 428224"/>
                <a:gd name="connsiteX2" fmla="*/ 231271 w 234005"/>
                <a:gd name="connsiteY2" fmla="*/ 171400 h 428224"/>
                <a:gd name="connsiteX3" fmla="*/ 226679 w 234005"/>
                <a:gd name="connsiteY3" fmla="*/ 179503 h 428224"/>
                <a:gd name="connsiteX4" fmla="*/ 219765 w 234005"/>
                <a:gd name="connsiteY4" fmla="*/ 181979 h 428224"/>
                <a:gd name="connsiteX5" fmla="*/ 204887 w 234005"/>
                <a:gd name="connsiteY5" fmla="*/ 179909 h 428224"/>
                <a:gd name="connsiteX6" fmla="*/ 180394 w 234005"/>
                <a:gd name="connsiteY6" fmla="*/ 176899 h 428224"/>
                <a:gd name="connsiteX7" fmla="*/ 162053 w 234005"/>
                <a:gd name="connsiteY7" fmla="*/ 178792 h 428224"/>
                <a:gd name="connsiteX8" fmla="*/ 142823 w 234005"/>
                <a:gd name="connsiteY8" fmla="*/ 203303 h 428224"/>
                <a:gd name="connsiteX9" fmla="*/ 142823 w 234005"/>
                <a:gd name="connsiteY9" fmla="*/ 222073 h 428224"/>
                <a:gd name="connsiteX10" fmla="*/ 149255 w 234005"/>
                <a:gd name="connsiteY10" fmla="*/ 243041 h 428224"/>
                <a:gd name="connsiteX11" fmla="*/ 147770 w 234005"/>
                <a:gd name="connsiteY11" fmla="*/ 246013 h 428224"/>
                <a:gd name="connsiteX12" fmla="*/ 139627 w 234005"/>
                <a:gd name="connsiteY12" fmla="*/ 237821 h 428224"/>
                <a:gd name="connsiteX13" fmla="*/ 138917 w 234005"/>
                <a:gd name="connsiteY13" fmla="*/ 238317 h 428224"/>
                <a:gd name="connsiteX14" fmla="*/ 133386 w 234005"/>
                <a:gd name="connsiteY14" fmla="*/ 232462 h 428224"/>
                <a:gd name="connsiteX15" fmla="*/ 131407 w 234005"/>
                <a:gd name="connsiteY15" fmla="*/ 231662 h 428224"/>
                <a:gd name="connsiteX16" fmla="*/ 129607 w 234005"/>
                <a:gd name="connsiteY16" fmla="*/ 230531 h 428224"/>
                <a:gd name="connsiteX17" fmla="*/ 127906 w 234005"/>
                <a:gd name="connsiteY17" fmla="*/ 230481 h 428224"/>
                <a:gd name="connsiteX18" fmla="*/ 98556 w 234005"/>
                <a:gd name="connsiteY18" fmla="*/ 228283 h 428224"/>
                <a:gd name="connsiteX19" fmla="*/ 74469 w 234005"/>
                <a:gd name="connsiteY19" fmla="*/ 208078 h 428224"/>
                <a:gd name="connsiteX20" fmla="*/ 52905 w 234005"/>
                <a:gd name="connsiteY20" fmla="*/ 299099 h 428224"/>
                <a:gd name="connsiteX21" fmla="*/ 66871 w 234005"/>
                <a:gd name="connsiteY21" fmla="*/ 324931 h 428224"/>
                <a:gd name="connsiteX22" fmla="*/ 78159 w 234005"/>
                <a:gd name="connsiteY22" fmla="*/ 347702 h 428224"/>
                <a:gd name="connsiteX23" fmla="*/ 86873 w 234005"/>
                <a:gd name="connsiteY23" fmla="*/ 382436 h 428224"/>
                <a:gd name="connsiteX24" fmla="*/ 86062 w 234005"/>
                <a:gd name="connsiteY24" fmla="*/ 385179 h 428224"/>
                <a:gd name="connsiteX25" fmla="*/ 133831 w 234005"/>
                <a:gd name="connsiteY25" fmla="*/ 409525 h 428224"/>
                <a:gd name="connsiteX26" fmla="*/ 129213 w 234005"/>
                <a:gd name="connsiteY26" fmla="*/ 421590 h 428224"/>
                <a:gd name="connsiteX27" fmla="*/ 119142 w 234005"/>
                <a:gd name="connsiteY27" fmla="*/ 426632 h 428224"/>
                <a:gd name="connsiteX28" fmla="*/ 112445 w 234005"/>
                <a:gd name="connsiteY28" fmla="*/ 421730 h 428224"/>
                <a:gd name="connsiteX29" fmla="*/ 100801 w 234005"/>
                <a:gd name="connsiteY29" fmla="*/ 423838 h 428224"/>
                <a:gd name="connsiteX30" fmla="*/ 101968 w 234005"/>
                <a:gd name="connsiteY30" fmla="*/ 411595 h 428224"/>
                <a:gd name="connsiteX31" fmla="*/ 95550 w 234005"/>
                <a:gd name="connsiteY31" fmla="*/ 410516 h 428224"/>
                <a:gd name="connsiteX32" fmla="*/ 88040 w 234005"/>
                <a:gd name="connsiteY32" fmla="*/ 407277 h 428224"/>
                <a:gd name="connsiteX33" fmla="*/ 82700 w 234005"/>
                <a:gd name="connsiteY33" fmla="*/ 405169 h 428224"/>
                <a:gd name="connsiteX34" fmla="*/ 79466 w 234005"/>
                <a:gd name="connsiteY34" fmla="*/ 397651 h 428224"/>
                <a:gd name="connsiteX35" fmla="*/ 75952 w 234005"/>
                <a:gd name="connsiteY35" fmla="*/ 403823 h 428224"/>
                <a:gd name="connsiteX36" fmla="*/ 65399 w 234005"/>
                <a:gd name="connsiteY36" fmla="*/ 391580 h 428224"/>
                <a:gd name="connsiteX37" fmla="*/ 62647 w 234005"/>
                <a:gd name="connsiteY37" fmla="*/ 386360 h 428224"/>
                <a:gd name="connsiteX38" fmla="*/ 61670 w 234005"/>
                <a:gd name="connsiteY38" fmla="*/ 382258 h 428224"/>
                <a:gd name="connsiteX39" fmla="*/ 59907 w 234005"/>
                <a:gd name="connsiteY39" fmla="*/ 382716 h 428224"/>
                <a:gd name="connsiteX40" fmla="*/ 49760 w 234005"/>
                <a:gd name="connsiteY40" fmla="*/ 368987 h 428224"/>
                <a:gd name="connsiteX41" fmla="*/ 39548 w 234005"/>
                <a:gd name="connsiteY41" fmla="*/ 361697 h 428224"/>
                <a:gd name="connsiteX42" fmla="*/ 29846 w 234005"/>
                <a:gd name="connsiteY42" fmla="*/ 353328 h 428224"/>
                <a:gd name="connsiteX43" fmla="*/ 24899 w 234005"/>
                <a:gd name="connsiteY43" fmla="*/ 347117 h 428224"/>
                <a:gd name="connsiteX44" fmla="*/ 34247 w 234005"/>
                <a:gd name="connsiteY44" fmla="*/ 309729 h 428224"/>
                <a:gd name="connsiteX45" fmla="*/ 39003 w 234005"/>
                <a:gd name="connsiteY45" fmla="*/ 296991 h 428224"/>
                <a:gd name="connsiteX46" fmla="*/ 46196 w 234005"/>
                <a:gd name="connsiteY46" fmla="*/ 272568 h 428224"/>
                <a:gd name="connsiteX47" fmla="*/ 59273 w 234005"/>
                <a:gd name="connsiteY47" fmla="*/ 252947 h 428224"/>
                <a:gd name="connsiteX48" fmla="*/ 55544 w 234005"/>
                <a:gd name="connsiteY48" fmla="*/ 234456 h 428224"/>
                <a:gd name="connsiteX49" fmla="*/ 51320 w 234005"/>
                <a:gd name="connsiteY49" fmla="*/ 208891 h 428224"/>
                <a:gd name="connsiteX50" fmla="*/ 39866 w 234005"/>
                <a:gd name="connsiteY50" fmla="*/ 189548 h 428224"/>
                <a:gd name="connsiteX51" fmla="*/ 28183 w 234005"/>
                <a:gd name="connsiteY51" fmla="*/ 173483 h 428224"/>
                <a:gd name="connsiteX52" fmla="*/ 19558 w 234005"/>
                <a:gd name="connsiteY52" fmla="*/ 157011 h 428224"/>
                <a:gd name="connsiteX53" fmla="*/ 34424 w 234005"/>
                <a:gd name="connsiteY53" fmla="*/ 140450 h 428224"/>
                <a:gd name="connsiteX54" fmla="*/ 35592 w 234005"/>
                <a:gd name="connsiteY54" fmla="*/ 122594 h 428224"/>
                <a:gd name="connsiteX55" fmla="*/ 30251 w 234005"/>
                <a:gd name="connsiteY55" fmla="*/ 111698 h 428224"/>
                <a:gd name="connsiteX56" fmla="*/ 24949 w 234005"/>
                <a:gd name="connsiteY56" fmla="*/ 100407 h 428224"/>
                <a:gd name="connsiteX57" fmla="*/ 8815 w 234005"/>
                <a:gd name="connsiteY57" fmla="*/ 80024 h 428224"/>
                <a:gd name="connsiteX58" fmla="*/ 1268 w 234005"/>
                <a:gd name="connsiteY58" fmla="*/ 58650 h 428224"/>
                <a:gd name="connsiteX59" fmla="*/ 6747 w 234005"/>
                <a:gd name="connsiteY59" fmla="*/ 49252 h 428224"/>
                <a:gd name="connsiteX60" fmla="*/ 15195 w 234005"/>
                <a:gd name="connsiteY60" fmla="*/ 24322 h 428224"/>
                <a:gd name="connsiteX61" fmla="*/ 24949 w 234005"/>
                <a:gd name="connsiteY61" fmla="*/ 23382 h 428224"/>
                <a:gd name="connsiteX62" fmla="*/ 40678 w 234005"/>
                <a:gd name="connsiteY62" fmla="*/ 14606 h 428224"/>
                <a:gd name="connsiteX63" fmla="*/ 56989 w 234005"/>
                <a:gd name="connsiteY63" fmla="*/ 4078 h 428224"/>
                <a:gd name="connsiteX64" fmla="*/ 65488 w 234005"/>
                <a:gd name="connsiteY64" fmla="*/ 661 h 428224"/>
                <a:gd name="connsiteX65" fmla="*/ 74164 w 234005"/>
                <a:gd name="connsiteY65" fmla="*/ 1373 h 428224"/>
                <a:gd name="connsiteX66" fmla="*/ 77259 w 234005"/>
                <a:gd name="connsiteY66" fmla="*/ 4294 h 428224"/>
                <a:gd name="connsiteX67" fmla="*/ 84806 w 234005"/>
                <a:gd name="connsiteY67" fmla="*/ 2135 h 428224"/>
                <a:gd name="connsiteX68" fmla="*/ 89931 w 234005"/>
                <a:gd name="connsiteY68" fmla="*/ 6008 h 428224"/>
                <a:gd name="connsiteX69" fmla="*/ 87140 w 234005"/>
                <a:gd name="connsiteY69" fmla="*/ 13209 h 428224"/>
                <a:gd name="connsiteX70" fmla="*/ 85884 w 234005"/>
                <a:gd name="connsiteY70" fmla="*/ 24995 h 428224"/>
                <a:gd name="connsiteX71" fmla="*/ 94103 w 234005"/>
                <a:gd name="connsiteY71" fmla="*/ 27293 h 428224"/>
                <a:gd name="connsiteX72" fmla="*/ 102069 w 234005"/>
                <a:gd name="connsiteY72" fmla="*/ 24283 h 428224"/>
                <a:gd name="connsiteX73" fmla="*/ 108272 w 234005"/>
                <a:gd name="connsiteY73" fmla="*/ 27077 h 428224"/>
                <a:gd name="connsiteX74" fmla="*/ 109210 w 234005"/>
                <a:gd name="connsiteY74" fmla="*/ 43143 h 428224"/>
                <a:gd name="connsiteX75" fmla="*/ 102107 w 234005"/>
                <a:gd name="connsiteY75" fmla="*/ 74995 h 428224"/>
                <a:gd name="connsiteX76" fmla="*/ 105113 w 234005"/>
                <a:gd name="connsiteY76" fmla="*/ 87098 h 428224"/>
                <a:gd name="connsiteX77" fmla="*/ 114423 w 234005"/>
                <a:gd name="connsiteY77" fmla="*/ 80659 h 428224"/>
                <a:gd name="connsiteX78" fmla="*/ 123138 w 234005"/>
                <a:gd name="connsiteY78" fmla="*/ 74449 h 428224"/>
                <a:gd name="connsiteX79" fmla="*/ 129213 w 234005"/>
                <a:gd name="connsiteY79" fmla="*/ 68645 h 428224"/>
                <a:gd name="connsiteX80" fmla="*/ 139868 w 234005"/>
                <a:gd name="connsiteY80" fmla="*/ 70804 h 428224"/>
                <a:gd name="connsiteX81" fmla="*/ 148937 w 234005"/>
                <a:gd name="connsiteY81" fmla="*/ 76303 h 428224"/>
                <a:gd name="connsiteX82" fmla="*/ 155546 w 234005"/>
                <a:gd name="connsiteY82" fmla="*/ 72835 h 428224"/>
                <a:gd name="connsiteX83" fmla="*/ 162243 w 234005"/>
                <a:gd name="connsiteY83" fmla="*/ 68733 h 428224"/>
                <a:gd name="connsiteX84" fmla="*/ 168217 w 234005"/>
                <a:gd name="connsiteY84" fmla="*/ 63209 h 428224"/>
                <a:gd name="connsiteX85" fmla="*/ 177882 w 234005"/>
                <a:gd name="connsiteY85" fmla="*/ 61050 h 428224"/>
                <a:gd name="connsiteX86" fmla="*/ 186964 w 234005"/>
                <a:gd name="connsiteY86" fmla="*/ 62980 h 428224"/>
                <a:gd name="connsiteX87" fmla="*/ 205154 w 234005"/>
                <a:gd name="connsiteY87" fmla="*/ 86374 h 428224"/>
                <a:gd name="connsiteX88" fmla="*/ 213018 w 234005"/>
                <a:gd name="connsiteY88" fmla="*/ 115711 h 428224"/>
                <a:gd name="connsiteX89" fmla="*/ 221871 w 234005"/>
                <a:gd name="connsiteY89" fmla="*/ 130430 h 428224"/>
                <a:gd name="connsiteX90" fmla="*/ 232614 w 234005"/>
                <a:gd name="connsiteY90" fmla="*/ 138888 h 428224"/>
                <a:gd name="connsiteX91" fmla="*/ 233743 w 234005"/>
                <a:gd name="connsiteY91" fmla="*/ 144959 h 428224"/>
                <a:gd name="connsiteX92" fmla="*/ 232298 w 234005"/>
                <a:gd name="connsiteY92" fmla="*/ 154217 h 428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</a:cxnLst>
              <a:rect l="l" t="t" r="r" b="b"/>
              <a:pathLst>
                <a:path w="234005" h="428224">
                  <a:moveTo>
                    <a:pt x="232298" y="154217"/>
                  </a:moveTo>
                  <a:cubicBezTo>
                    <a:pt x="230547" y="159119"/>
                    <a:pt x="231271" y="155652"/>
                    <a:pt x="231271" y="160783"/>
                  </a:cubicBezTo>
                  <a:cubicBezTo>
                    <a:pt x="231473" y="164326"/>
                    <a:pt x="231473" y="167870"/>
                    <a:pt x="231271" y="171400"/>
                  </a:cubicBezTo>
                  <a:cubicBezTo>
                    <a:pt x="230902" y="171997"/>
                    <a:pt x="228885" y="178792"/>
                    <a:pt x="226679" y="179503"/>
                  </a:cubicBezTo>
                  <a:cubicBezTo>
                    <a:pt x="224484" y="180227"/>
                    <a:pt x="219765" y="181979"/>
                    <a:pt x="219765" y="181979"/>
                  </a:cubicBezTo>
                  <a:cubicBezTo>
                    <a:pt x="208933" y="177661"/>
                    <a:pt x="213385" y="178792"/>
                    <a:pt x="204887" y="179909"/>
                  </a:cubicBezTo>
                  <a:cubicBezTo>
                    <a:pt x="196350" y="181039"/>
                    <a:pt x="196262" y="178792"/>
                    <a:pt x="180394" y="176899"/>
                  </a:cubicBezTo>
                  <a:cubicBezTo>
                    <a:pt x="164526" y="175007"/>
                    <a:pt x="171629" y="176671"/>
                    <a:pt x="162053" y="178792"/>
                  </a:cubicBezTo>
                  <a:cubicBezTo>
                    <a:pt x="152489" y="180951"/>
                    <a:pt x="152311" y="195975"/>
                    <a:pt x="142823" y="203303"/>
                  </a:cubicBezTo>
                  <a:cubicBezTo>
                    <a:pt x="133348" y="210694"/>
                    <a:pt x="141606" y="208840"/>
                    <a:pt x="142823" y="222073"/>
                  </a:cubicBezTo>
                  <a:cubicBezTo>
                    <a:pt x="144079" y="229300"/>
                    <a:pt x="146235" y="236348"/>
                    <a:pt x="149255" y="243041"/>
                  </a:cubicBezTo>
                  <a:cubicBezTo>
                    <a:pt x="147770" y="241288"/>
                    <a:pt x="146958" y="241555"/>
                    <a:pt x="147770" y="246013"/>
                  </a:cubicBezTo>
                  <a:cubicBezTo>
                    <a:pt x="143952" y="244438"/>
                    <a:pt x="137661" y="240247"/>
                    <a:pt x="139627" y="237821"/>
                  </a:cubicBezTo>
                  <a:cubicBezTo>
                    <a:pt x="138194" y="236335"/>
                    <a:pt x="135720" y="232017"/>
                    <a:pt x="138917" y="238317"/>
                  </a:cubicBezTo>
                  <a:cubicBezTo>
                    <a:pt x="136532" y="239802"/>
                    <a:pt x="132625" y="232157"/>
                    <a:pt x="133386" y="232462"/>
                  </a:cubicBezTo>
                  <a:cubicBezTo>
                    <a:pt x="133881" y="232462"/>
                    <a:pt x="132219" y="230849"/>
                    <a:pt x="131407" y="231662"/>
                  </a:cubicBezTo>
                  <a:cubicBezTo>
                    <a:pt x="135276" y="236196"/>
                    <a:pt x="129708" y="231522"/>
                    <a:pt x="129607" y="230531"/>
                  </a:cubicBezTo>
                  <a:cubicBezTo>
                    <a:pt x="129251" y="234037"/>
                    <a:pt x="128934" y="230798"/>
                    <a:pt x="127906" y="230481"/>
                  </a:cubicBezTo>
                  <a:cubicBezTo>
                    <a:pt x="122516" y="225045"/>
                    <a:pt x="103185" y="231471"/>
                    <a:pt x="98556" y="228283"/>
                  </a:cubicBezTo>
                  <a:cubicBezTo>
                    <a:pt x="106788" y="209208"/>
                    <a:pt x="96805" y="194933"/>
                    <a:pt x="74469" y="208078"/>
                  </a:cubicBezTo>
                  <a:cubicBezTo>
                    <a:pt x="83462" y="238088"/>
                    <a:pt x="53172" y="277509"/>
                    <a:pt x="52905" y="299099"/>
                  </a:cubicBezTo>
                  <a:cubicBezTo>
                    <a:pt x="47502" y="306935"/>
                    <a:pt x="49987" y="337757"/>
                    <a:pt x="66871" y="324931"/>
                  </a:cubicBezTo>
                  <a:cubicBezTo>
                    <a:pt x="72223" y="321514"/>
                    <a:pt x="76587" y="361151"/>
                    <a:pt x="78159" y="347702"/>
                  </a:cubicBezTo>
                  <a:cubicBezTo>
                    <a:pt x="83639" y="351524"/>
                    <a:pt x="91275" y="391656"/>
                    <a:pt x="86873" y="382436"/>
                  </a:cubicBezTo>
                  <a:cubicBezTo>
                    <a:pt x="80899" y="356249"/>
                    <a:pt x="73530" y="371857"/>
                    <a:pt x="86062" y="385179"/>
                  </a:cubicBezTo>
                  <a:cubicBezTo>
                    <a:pt x="102627" y="391961"/>
                    <a:pt x="118609" y="400102"/>
                    <a:pt x="133831" y="409525"/>
                  </a:cubicBezTo>
                  <a:cubicBezTo>
                    <a:pt x="132625" y="414288"/>
                    <a:pt x="132257" y="419063"/>
                    <a:pt x="129213" y="421590"/>
                  </a:cubicBezTo>
                  <a:cubicBezTo>
                    <a:pt x="124495" y="425553"/>
                    <a:pt x="121298" y="430950"/>
                    <a:pt x="119142" y="426632"/>
                  </a:cubicBezTo>
                  <a:cubicBezTo>
                    <a:pt x="116986" y="422314"/>
                    <a:pt x="118597" y="416866"/>
                    <a:pt x="112445" y="421730"/>
                  </a:cubicBezTo>
                  <a:cubicBezTo>
                    <a:pt x="106242" y="426632"/>
                    <a:pt x="98556" y="430772"/>
                    <a:pt x="100801" y="423838"/>
                  </a:cubicBezTo>
                  <a:cubicBezTo>
                    <a:pt x="103058" y="416955"/>
                    <a:pt x="108399" y="412675"/>
                    <a:pt x="101968" y="411595"/>
                  </a:cubicBezTo>
                  <a:cubicBezTo>
                    <a:pt x="95550" y="410516"/>
                    <a:pt x="103058" y="413716"/>
                    <a:pt x="95550" y="410516"/>
                  </a:cubicBezTo>
                  <a:cubicBezTo>
                    <a:pt x="88040" y="407277"/>
                    <a:pt x="93393" y="409436"/>
                    <a:pt x="88040" y="407277"/>
                  </a:cubicBezTo>
                  <a:cubicBezTo>
                    <a:pt x="82700" y="405169"/>
                    <a:pt x="85884" y="412675"/>
                    <a:pt x="82700" y="405169"/>
                  </a:cubicBezTo>
                  <a:cubicBezTo>
                    <a:pt x="79466" y="397651"/>
                    <a:pt x="83283" y="391986"/>
                    <a:pt x="79466" y="397651"/>
                  </a:cubicBezTo>
                  <a:cubicBezTo>
                    <a:pt x="78172" y="399632"/>
                    <a:pt x="76992" y="401689"/>
                    <a:pt x="75952" y="403823"/>
                  </a:cubicBezTo>
                  <a:cubicBezTo>
                    <a:pt x="73669" y="398806"/>
                    <a:pt x="70003" y="394565"/>
                    <a:pt x="65399" y="391580"/>
                  </a:cubicBezTo>
                  <a:cubicBezTo>
                    <a:pt x="66655" y="387795"/>
                    <a:pt x="67416" y="386183"/>
                    <a:pt x="62647" y="386360"/>
                  </a:cubicBezTo>
                  <a:cubicBezTo>
                    <a:pt x="59590" y="384468"/>
                    <a:pt x="65564" y="377585"/>
                    <a:pt x="61670" y="382258"/>
                  </a:cubicBezTo>
                  <a:cubicBezTo>
                    <a:pt x="60224" y="380785"/>
                    <a:pt x="60313" y="378207"/>
                    <a:pt x="59907" y="382716"/>
                  </a:cubicBezTo>
                  <a:cubicBezTo>
                    <a:pt x="52766" y="380595"/>
                    <a:pt x="56494" y="372276"/>
                    <a:pt x="49760" y="368987"/>
                  </a:cubicBezTo>
                  <a:cubicBezTo>
                    <a:pt x="46792" y="375197"/>
                    <a:pt x="45890" y="355398"/>
                    <a:pt x="39548" y="361697"/>
                  </a:cubicBezTo>
                  <a:cubicBezTo>
                    <a:pt x="37621" y="353239"/>
                    <a:pt x="36669" y="350356"/>
                    <a:pt x="29846" y="353328"/>
                  </a:cubicBezTo>
                  <a:cubicBezTo>
                    <a:pt x="32852" y="368949"/>
                    <a:pt x="18658" y="343790"/>
                    <a:pt x="24899" y="347117"/>
                  </a:cubicBezTo>
                  <a:cubicBezTo>
                    <a:pt x="25520" y="334163"/>
                    <a:pt x="28704" y="321451"/>
                    <a:pt x="34247" y="309729"/>
                  </a:cubicBezTo>
                  <a:cubicBezTo>
                    <a:pt x="29300" y="313831"/>
                    <a:pt x="39003" y="297854"/>
                    <a:pt x="39003" y="296991"/>
                  </a:cubicBezTo>
                  <a:cubicBezTo>
                    <a:pt x="42428" y="291148"/>
                    <a:pt x="43418" y="275985"/>
                    <a:pt x="46196" y="272568"/>
                  </a:cubicBezTo>
                  <a:cubicBezTo>
                    <a:pt x="51548" y="266739"/>
                    <a:pt x="55949" y="260122"/>
                    <a:pt x="59273" y="252947"/>
                  </a:cubicBezTo>
                  <a:cubicBezTo>
                    <a:pt x="62697" y="244527"/>
                    <a:pt x="54833" y="245301"/>
                    <a:pt x="55544" y="234456"/>
                  </a:cubicBezTo>
                  <a:cubicBezTo>
                    <a:pt x="56216" y="223610"/>
                    <a:pt x="51586" y="221718"/>
                    <a:pt x="51320" y="208891"/>
                  </a:cubicBezTo>
                  <a:cubicBezTo>
                    <a:pt x="51002" y="196064"/>
                    <a:pt x="40893" y="192736"/>
                    <a:pt x="39866" y="189548"/>
                  </a:cubicBezTo>
                  <a:cubicBezTo>
                    <a:pt x="37279" y="183351"/>
                    <a:pt x="33270" y="177852"/>
                    <a:pt x="28183" y="173483"/>
                  </a:cubicBezTo>
                  <a:cubicBezTo>
                    <a:pt x="21892" y="168124"/>
                    <a:pt x="21613" y="159488"/>
                    <a:pt x="19558" y="157011"/>
                  </a:cubicBezTo>
                  <a:cubicBezTo>
                    <a:pt x="17529" y="154535"/>
                    <a:pt x="32319" y="145543"/>
                    <a:pt x="34424" y="140450"/>
                  </a:cubicBezTo>
                  <a:cubicBezTo>
                    <a:pt x="35908" y="134621"/>
                    <a:pt x="36301" y="128563"/>
                    <a:pt x="35592" y="122594"/>
                  </a:cubicBezTo>
                  <a:cubicBezTo>
                    <a:pt x="35642" y="115749"/>
                    <a:pt x="32319" y="117641"/>
                    <a:pt x="30251" y="111698"/>
                  </a:cubicBezTo>
                  <a:cubicBezTo>
                    <a:pt x="28996" y="107722"/>
                    <a:pt x="27207" y="103925"/>
                    <a:pt x="24949" y="100407"/>
                  </a:cubicBezTo>
                  <a:cubicBezTo>
                    <a:pt x="21841" y="94959"/>
                    <a:pt x="17301" y="91898"/>
                    <a:pt x="8815" y="80024"/>
                  </a:cubicBezTo>
                  <a:cubicBezTo>
                    <a:pt x="279" y="68149"/>
                    <a:pt x="4452" y="68327"/>
                    <a:pt x="1268" y="58650"/>
                  </a:cubicBezTo>
                  <a:cubicBezTo>
                    <a:pt x="-1979" y="49023"/>
                    <a:pt x="1268" y="58650"/>
                    <a:pt x="6747" y="49252"/>
                  </a:cubicBezTo>
                  <a:cubicBezTo>
                    <a:pt x="12227" y="39803"/>
                    <a:pt x="9842" y="33999"/>
                    <a:pt x="15195" y="24322"/>
                  </a:cubicBezTo>
                  <a:cubicBezTo>
                    <a:pt x="20548" y="14695"/>
                    <a:pt x="15195" y="24322"/>
                    <a:pt x="24949" y="23382"/>
                  </a:cubicBezTo>
                  <a:cubicBezTo>
                    <a:pt x="31380" y="23471"/>
                    <a:pt x="37367" y="20130"/>
                    <a:pt x="40678" y="14606"/>
                  </a:cubicBezTo>
                  <a:cubicBezTo>
                    <a:pt x="43645" y="10288"/>
                    <a:pt x="52677" y="11456"/>
                    <a:pt x="56989" y="4078"/>
                  </a:cubicBezTo>
                  <a:cubicBezTo>
                    <a:pt x="61251" y="-3301"/>
                    <a:pt x="60173" y="1830"/>
                    <a:pt x="65488" y="661"/>
                  </a:cubicBezTo>
                  <a:cubicBezTo>
                    <a:pt x="69357" y="-190"/>
                    <a:pt x="72185" y="1970"/>
                    <a:pt x="74164" y="1373"/>
                  </a:cubicBezTo>
                  <a:cubicBezTo>
                    <a:pt x="73581" y="3722"/>
                    <a:pt x="73796" y="5246"/>
                    <a:pt x="77259" y="4294"/>
                  </a:cubicBezTo>
                  <a:cubicBezTo>
                    <a:pt x="84806" y="2135"/>
                    <a:pt x="82700" y="-1053"/>
                    <a:pt x="84806" y="2135"/>
                  </a:cubicBezTo>
                  <a:cubicBezTo>
                    <a:pt x="86962" y="5386"/>
                    <a:pt x="90019" y="2363"/>
                    <a:pt x="89931" y="6008"/>
                  </a:cubicBezTo>
                  <a:cubicBezTo>
                    <a:pt x="89842" y="9653"/>
                    <a:pt x="88409" y="9920"/>
                    <a:pt x="87140" y="13209"/>
                  </a:cubicBezTo>
                  <a:cubicBezTo>
                    <a:pt x="85884" y="16448"/>
                    <a:pt x="80493" y="22429"/>
                    <a:pt x="85884" y="24995"/>
                  </a:cubicBezTo>
                  <a:cubicBezTo>
                    <a:pt x="91237" y="27560"/>
                    <a:pt x="89081" y="29186"/>
                    <a:pt x="94103" y="27293"/>
                  </a:cubicBezTo>
                  <a:cubicBezTo>
                    <a:pt x="99101" y="25401"/>
                    <a:pt x="97528" y="23204"/>
                    <a:pt x="102069" y="24283"/>
                  </a:cubicBezTo>
                  <a:cubicBezTo>
                    <a:pt x="106597" y="25401"/>
                    <a:pt x="107409" y="23788"/>
                    <a:pt x="108272" y="27077"/>
                  </a:cubicBezTo>
                  <a:cubicBezTo>
                    <a:pt x="109540" y="32323"/>
                    <a:pt x="109857" y="37771"/>
                    <a:pt x="109210" y="43143"/>
                  </a:cubicBezTo>
                  <a:cubicBezTo>
                    <a:pt x="105925" y="53532"/>
                    <a:pt x="103541" y="64187"/>
                    <a:pt x="102107" y="74995"/>
                  </a:cubicBezTo>
                  <a:cubicBezTo>
                    <a:pt x="103414" y="81205"/>
                    <a:pt x="99367" y="88050"/>
                    <a:pt x="105113" y="87098"/>
                  </a:cubicBezTo>
                  <a:cubicBezTo>
                    <a:pt x="110922" y="86196"/>
                    <a:pt x="109705" y="83364"/>
                    <a:pt x="114423" y="80659"/>
                  </a:cubicBezTo>
                  <a:cubicBezTo>
                    <a:pt x="117531" y="78893"/>
                    <a:pt x="120449" y="76811"/>
                    <a:pt x="123138" y="74449"/>
                  </a:cubicBezTo>
                  <a:cubicBezTo>
                    <a:pt x="126956" y="71540"/>
                    <a:pt x="122503" y="69330"/>
                    <a:pt x="129213" y="68645"/>
                  </a:cubicBezTo>
                  <a:cubicBezTo>
                    <a:pt x="132905" y="67781"/>
                    <a:pt x="136799" y="68568"/>
                    <a:pt x="139868" y="70804"/>
                  </a:cubicBezTo>
                  <a:cubicBezTo>
                    <a:pt x="144485" y="72975"/>
                    <a:pt x="144092" y="77471"/>
                    <a:pt x="148937" y="76303"/>
                  </a:cubicBezTo>
                  <a:cubicBezTo>
                    <a:pt x="153745" y="75134"/>
                    <a:pt x="150155" y="74855"/>
                    <a:pt x="155546" y="72835"/>
                  </a:cubicBezTo>
                  <a:cubicBezTo>
                    <a:pt x="160898" y="70804"/>
                    <a:pt x="158603" y="72023"/>
                    <a:pt x="162243" y="68733"/>
                  </a:cubicBezTo>
                  <a:cubicBezTo>
                    <a:pt x="165883" y="65457"/>
                    <a:pt x="164133" y="64555"/>
                    <a:pt x="168217" y="63209"/>
                  </a:cubicBezTo>
                  <a:cubicBezTo>
                    <a:pt x="172314" y="61901"/>
                    <a:pt x="172352" y="59475"/>
                    <a:pt x="177882" y="61050"/>
                  </a:cubicBezTo>
                  <a:cubicBezTo>
                    <a:pt x="183413" y="62625"/>
                    <a:pt x="178415" y="57265"/>
                    <a:pt x="186964" y="62980"/>
                  </a:cubicBezTo>
                  <a:cubicBezTo>
                    <a:pt x="194892" y="69127"/>
                    <a:pt x="201146" y="77179"/>
                    <a:pt x="205154" y="86374"/>
                  </a:cubicBezTo>
                  <a:cubicBezTo>
                    <a:pt x="207677" y="92267"/>
                    <a:pt x="210557" y="112701"/>
                    <a:pt x="213018" y="115711"/>
                  </a:cubicBezTo>
                  <a:cubicBezTo>
                    <a:pt x="215541" y="118733"/>
                    <a:pt x="217115" y="126785"/>
                    <a:pt x="221871" y="130430"/>
                  </a:cubicBezTo>
                  <a:cubicBezTo>
                    <a:pt x="226590" y="134113"/>
                    <a:pt x="231144" y="135421"/>
                    <a:pt x="232614" y="138888"/>
                  </a:cubicBezTo>
                  <a:cubicBezTo>
                    <a:pt x="234099" y="142355"/>
                    <a:pt x="233376" y="139739"/>
                    <a:pt x="233743" y="144959"/>
                  </a:cubicBezTo>
                  <a:cubicBezTo>
                    <a:pt x="234327" y="148121"/>
                    <a:pt x="233820" y="151385"/>
                    <a:pt x="232298" y="154217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0" name="Vrije vorm 279">
              <a:extLst>
                <a:ext uri="{FF2B5EF4-FFF2-40B4-BE49-F238E27FC236}">
                  <a16:creationId xmlns:a16="http://schemas.microsoft.com/office/drawing/2014/main" id="{E9EAEB3D-877D-884E-A897-191E7A41094B}"/>
                </a:ext>
              </a:extLst>
            </p:cNvPr>
            <p:cNvSpPr/>
            <p:nvPr/>
          </p:nvSpPr>
          <p:spPr>
            <a:xfrm>
              <a:off x="8103172" y="3559229"/>
              <a:ext cx="255603" cy="549359"/>
            </a:xfrm>
            <a:custGeom>
              <a:avLst/>
              <a:gdLst>
                <a:gd name="connsiteX0" fmla="*/ 255578 w 255603"/>
                <a:gd name="connsiteY0" fmla="*/ 216570 h 549359"/>
                <a:gd name="connsiteX1" fmla="*/ 240522 w 255603"/>
                <a:gd name="connsiteY1" fmla="*/ 224267 h 549359"/>
                <a:gd name="connsiteX2" fmla="*/ 235220 w 255603"/>
                <a:gd name="connsiteY2" fmla="*/ 235874 h 549359"/>
                <a:gd name="connsiteX3" fmla="*/ 225288 w 255603"/>
                <a:gd name="connsiteY3" fmla="*/ 247304 h 549359"/>
                <a:gd name="connsiteX4" fmla="*/ 223487 w 255603"/>
                <a:gd name="connsiteY4" fmla="*/ 249425 h 549359"/>
                <a:gd name="connsiteX5" fmla="*/ 214824 w 255603"/>
                <a:gd name="connsiteY5" fmla="*/ 248701 h 549359"/>
                <a:gd name="connsiteX6" fmla="*/ 206325 w 255603"/>
                <a:gd name="connsiteY6" fmla="*/ 252118 h 549359"/>
                <a:gd name="connsiteX7" fmla="*/ 190000 w 255603"/>
                <a:gd name="connsiteY7" fmla="*/ 262646 h 549359"/>
                <a:gd name="connsiteX8" fmla="*/ 174272 w 255603"/>
                <a:gd name="connsiteY8" fmla="*/ 271422 h 549359"/>
                <a:gd name="connsiteX9" fmla="*/ 164531 w 255603"/>
                <a:gd name="connsiteY9" fmla="*/ 272374 h 549359"/>
                <a:gd name="connsiteX10" fmla="*/ 156070 w 255603"/>
                <a:gd name="connsiteY10" fmla="*/ 297292 h 549359"/>
                <a:gd name="connsiteX11" fmla="*/ 150591 w 255603"/>
                <a:gd name="connsiteY11" fmla="*/ 306702 h 549359"/>
                <a:gd name="connsiteX12" fmla="*/ 158151 w 255603"/>
                <a:gd name="connsiteY12" fmla="*/ 328064 h 549359"/>
                <a:gd name="connsiteX13" fmla="*/ 174272 w 255603"/>
                <a:gd name="connsiteY13" fmla="*/ 348447 h 549359"/>
                <a:gd name="connsiteX14" fmla="*/ 179587 w 255603"/>
                <a:gd name="connsiteY14" fmla="*/ 359750 h 549359"/>
                <a:gd name="connsiteX15" fmla="*/ 184927 w 255603"/>
                <a:gd name="connsiteY15" fmla="*/ 370634 h 549359"/>
                <a:gd name="connsiteX16" fmla="*/ 183760 w 255603"/>
                <a:gd name="connsiteY16" fmla="*/ 388503 h 549359"/>
                <a:gd name="connsiteX17" fmla="*/ 168882 w 255603"/>
                <a:gd name="connsiteY17" fmla="*/ 405051 h 549359"/>
                <a:gd name="connsiteX18" fmla="*/ 177507 w 255603"/>
                <a:gd name="connsiteY18" fmla="*/ 421523 h 549359"/>
                <a:gd name="connsiteX19" fmla="*/ 189202 w 255603"/>
                <a:gd name="connsiteY19" fmla="*/ 437588 h 549359"/>
                <a:gd name="connsiteX20" fmla="*/ 200656 w 255603"/>
                <a:gd name="connsiteY20" fmla="*/ 456943 h 549359"/>
                <a:gd name="connsiteX21" fmla="*/ 204879 w 255603"/>
                <a:gd name="connsiteY21" fmla="*/ 482496 h 549359"/>
                <a:gd name="connsiteX22" fmla="*/ 208609 w 255603"/>
                <a:gd name="connsiteY22" fmla="*/ 500987 h 549359"/>
                <a:gd name="connsiteX23" fmla="*/ 195531 w 255603"/>
                <a:gd name="connsiteY23" fmla="*/ 520608 h 549359"/>
                <a:gd name="connsiteX24" fmla="*/ 188339 w 255603"/>
                <a:gd name="connsiteY24" fmla="*/ 545043 h 549359"/>
                <a:gd name="connsiteX25" fmla="*/ 186766 w 255603"/>
                <a:gd name="connsiteY25" fmla="*/ 546885 h 549359"/>
                <a:gd name="connsiteX26" fmla="*/ 181604 w 255603"/>
                <a:gd name="connsiteY26" fmla="*/ 549361 h 549359"/>
                <a:gd name="connsiteX27" fmla="*/ 186994 w 255603"/>
                <a:gd name="connsiteY27" fmla="*/ 526996 h 549359"/>
                <a:gd name="connsiteX28" fmla="*/ 187312 w 255603"/>
                <a:gd name="connsiteY28" fmla="*/ 511833 h 549359"/>
                <a:gd name="connsiteX29" fmla="*/ 192335 w 255603"/>
                <a:gd name="connsiteY29" fmla="*/ 504632 h 549359"/>
                <a:gd name="connsiteX30" fmla="*/ 189963 w 255603"/>
                <a:gd name="connsiteY30" fmla="*/ 500085 h 549359"/>
                <a:gd name="connsiteX31" fmla="*/ 184166 w 255603"/>
                <a:gd name="connsiteY31" fmla="*/ 501444 h 549359"/>
                <a:gd name="connsiteX32" fmla="*/ 182859 w 255603"/>
                <a:gd name="connsiteY32" fmla="*/ 498688 h 549359"/>
                <a:gd name="connsiteX33" fmla="*/ 184876 w 255603"/>
                <a:gd name="connsiteY33" fmla="*/ 491982 h 549359"/>
                <a:gd name="connsiteX34" fmla="*/ 183938 w 255603"/>
                <a:gd name="connsiteY34" fmla="*/ 490192 h 549359"/>
                <a:gd name="connsiteX35" fmla="*/ 187083 w 255603"/>
                <a:gd name="connsiteY35" fmla="*/ 485734 h 549359"/>
                <a:gd name="connsiteX36" fmla="*/ 186271 w 255603"/>
                <a:gd name="connsiteY36" fmla="*/ 473948 h 549359"/>
                <a:gd name="connsiteX37" fmla="*/ 172293 w 255603"/>
                <a:gd name="connsiteY37" fmla="*/ 436014 h 549359"/>
                <a:gd name="connsiteX38" fmla="*/ 171304 w 255603"/>
                <a:gd name="connsiteY38" fmla="*/ 447355 h 549359"/>
                <a:gd name="connsiteX39" fmla="*/ 166091 w 255603"/>
                <a:gd name="connsiteY39" fmla="*/ 424812 h 549359"/>
                <a:gd name="connsiteX40" fmla="*/ 167042 w 255603"/>
                <a:gd name="connsiteY40" fmla="*/ 416849 h 549359"/>
                <a:gd name="connsiteX41" fmla="*/ 159673 w 255603"/>
                <a:gd name="connsiteY41" fmla="*/ 362989 h 549359"/>
                <a:gd name="connsiteX42" fmla="*/ 146050 w 255603"/>
                <a:gd name="connsiteY42" fmla="*/ 359064 h 549359"/>
                <a:gd name="connsiteX43" fmla="*/ 144883 w 255603"/>
                <a:gd name="connsiteY43" fmla="*/ 352905 h 549359"/>
                <a:gd name="connsiteX44" fmla="*/ 144883 w 255603"/>
                <a:gd name="connsiteY44" fmla="*/ 346745 h 549359"/>
                <a:gd name="connsiteX45" fmla="*/ 136169 w 255603"/>
                <a:gd name="connsiteY45" fmla="*/ 341614 h 549359"/>
                <a:gd name="connsiteX46" fmla="*/ 122685 w 255603"/>
                <a:gd name="connsiteY46" fmla="*/ 365414 h 549359"/>
                <a:gd name="connsiteX47" fmla="*/ 110509 w 255603"/>
                <a:gd name="connsiteY47" fmla="*/ 368069 h 549359"/>
                <a:gd name="connsiteX48" fmla="*/ 107186 w 255603"/>
                <a:gd name="connsiteY48" fmla="*/ 372260 h 549359"/>
                <a:gd name="connsiteX49" fmla="*/ 90874 w 255603"/>
                <a:gd name="connsiteY49" fmla="*/ 382382 h 549359"/>
                <a:gd name="connsiteX50" fmla="*/ 91813 w 255603"/>
                <a:gd name="connsiteY50" fmla="*/ 378368 h 549359"/>
                <a:gd name="connsiteX51" fmla="*/ 89073 w 255603"/>
                <a:gd name="connsiteY51" fmla="*/ 383321 h 549359"/>
                <a:gd name="connsiteX52" fmla="*/ 89339 w 255603"/>
                <a:gd name="connsiteY52" fmla="*/ 380045 h 549359"/>
                <a:gd name="connsiteX53" fmla="*/ 88933 w 255603"/>
                <a:gd name="connsiteY53" fmla="*/ 381886 h 549359"/>
                <a:gd name="connsiteX54" fmla="*/ 88806 w 255603"/>
                <a:gd name="connsiteY54" fmla="*/ 382382 h 549359"/>
                <a:gd name="connsiteX55" fmla="*/ 86866 w 255603"/>
                <a:gd name="connsiteY55" fmla="*/ 385988 h 549359"/>
                <a:gd name="connsiteX56" fmla="*/ 81881 w 255603"/>
                <a:gd name="connsiteY56" fmla="*/ 385442 h 549359"/>
                <a:gd name="connsiteX57" fmla="*/ 81741 w 255603"/>
                <a:gd name="connsiteY57" fmla="*/ 372082 h 549359"/>
                <a:gd name="connsiteX58" fmla="*/ 71632 w 255603"/>
                <a:gd name="connsiteY58" fmla="*/ 382153 h 549359"/>
                <a:gd name="connsiteX59" fmla="*/ 71632 w 255603"/>
                <a:gd name="connsiteY59" fmla="*/ 382026 h 549359"/>
                <a:gd name="connsiteX60" fmla="*/ 71809 w 255603"/>
                <a:gd name="connsiteY60" fmla="*/ 381442 h 549359"/>
                <a:gd name="connsiteX61" fmla="*/ 75678 w 255603"/>
                <a:gd name="connsiteY61" fmla="*/ 376260 h 549359"/>
                <a:gd name="connsiteX62" fmla="*/ 75767 w 255603"/>
                <a:gd name="connsiteY62" fmla="*/ 376171 h 549359"/>
                <a:gd name="connsiteX63" fmla="*/ 75678 w 255603"/>
                <a:gd name="connsiteY63" fmla="*/ 376222 h 549359"/>
                <a:gd name="connsiteX64" fmla="*/ 75678 w 255603"/>
                <a:gd name="connsiteY64" fmla="*/ 376260 h 549359"/>
                <a:gd name="connsiteX65" fmla="*/ 75412 w 255603"/>
                <a:gd name="connsiteY65" fmla="*/ 376489 h 549359"/>
                <a:gd name="connsiteX66" fmla="*/ 70338 w 255603"/>
                <a:gd name="connsiteY66" fmla="*/ 381442 h 549359"/>
                <a:gd name="connsiteX67" fmla="*/ 72811 w 255603"/>
                <a:gd name="connsiteY67" fmla="*/ 363801 h 549359"/>
                <a:gd name="connsiteX68" fmla="*/ 71644 w 255603"/>
                <a:gd name="connsiteY68" fmla="*/ 369885 h 549359"/>
                <a:gd name="connsiteX69" fmla="*/ 67281 w 255603"/>
                <a:gd name="connsiteY69" fmla="*/ 323301 h 549359"/>
                <a:gd name="connsiteX70" fmla="*/ 65442 w 255603"/>
                <a:gd name="connsiteY70" fmla="*/ 311109 h 549359"/>
                <a:gd name="connsiteX71" fmla="*/ 55688 w 255603"/>
                <a:gd name="connsiteY71" fmla="*/ 279486 h 549359"/>
                <a:gd name="connsiteX72" fmla="*/ 41304 w 255603"/>
                <a:gd name="connsiteY72" fmla="*/ 283753 h 549359"/>
                <a:gd name="connsiteX73" fmla="*/ 53176 w 255603"/>
                <a:gd name="connsiteY73" fmla="*/ 276781 h 549359"/>
                <a:gd name="connsiteX74" fmla="*/ 46834 w 255603"/>
                <a:gd name="connsiteY74" fmla="*/ 270482 h 549359"/>
                <a:gd name="connsiteX75" fmla="*/ 45705 w 255603"/>
                <a:gd name="connsiteY75" fmla="*/ 267650 h 549359"/>
                <a:gd name="connsiteX76" fmla="*/ 46149 w 255603"/>
                <a:gd name="connsiteY76" fmla="*/ 264233 h 549359"/>
                <a:gd name="connsiteX77" fmla="*/ 31994 w 255603"/>
                <a:gd name="connsiteY77" fmla="*/ 266075 h 549359"/>
                <a:gd name="connsiteX78" fmla="*/ 27681 w 255603"/>
                <a:gd name="connsiteY78" fmla="*/ 256220 h 549359"/>
                <a:gd name="connsiteX79" fmla="*/ 27643 w 255603"/>
                <a:gd name="connsiteY79" fmla="*/ 244663 h 549359"/>
                <a:gd name="connsiteX80" fmla="*/ 21478 w 255603"/>
                <a:gd name="connsiteY80" fmla="*/ 257032 h 549359"/>
                <a:gd name="connsiteX81" fmla="*/ 19462 w 255603"/>
                <a:gd name="connsiteY81" fmla="*/ 246136 h 549359"/>
                <a:gd name="connsiteX82" fmla="*/ 14883 w 255603"/>
                <a:gd name="connsiteY82" fmla="*/ 239710 h 549359"/>
                <a:gd name="connsiteX83" fmla="*/ 943 w 255603"/>
                <a:gd name="connsiteY83" fmla="*/ 227734 h 549359"/>
                <a:gd name="connsiteX84" fmla="*/ 943 w 255603"/>
                <a:gd name="connsiteY84" fmla="*/ 227607 h 549359"/>
                <a:gd name="connsiteX85" fmla="*/ 448 w 255603"/>
                <a:gd name="connsiteY85" fmla="*/ 221041 h 549359"/>
                <a:gd name="connsiteX86" fmla="*/ 13031 w 255603"/>
                <a:gd name="connsiteY86" fmla="*/ 223098 h 549359"/>
                <a:gd name="connsiteX87" fmla="*/ 14426 w 255603"/>
                <a:gd name="connsiteY87" fmla="*/ 218742 h 549359"/>
                <a:gd name="connsiteX88" fmla="*/ 12054 w 255603"/>
                <a:gd name="connsiteY88" fmla="*/ 207223 h 549359"/>
                <a:gd name="connsiteX89" fmla="*/ 14109 w 255603"/>
                <a:gd name="connsiteY89" fmla="*/ 197685 h 549359"/>
                <a:gd name="connsiteX90" fmla="*/ 26514 w 255603"/>
                <a:gd name="connsiteY90" fmla="*/ 193952 h 549359"/>
                <a:gd name="connsiteX91" fmla="*/ 24142 w 255603"/>
                <a:gd name="connsiteY91" fmla="*/ 177886 h 549359"/>
                <a:gd name="connsiteX92" fmla="*/ 31245 w 255603"/>
                <a:gd name="connsiteY92" fmla="*/ 163218 h 549359"/>
                <a:gd name="connsiteX93" fmla="*/ 38704 w 255603"/>
                <a:gd name="connsiteY93" fmla="*/ 140180 h 549359"/>
                <a:gd name="connsiteX94" fmla="*/ 50297 w 255603"/>
                <a:gd name="connsiteY94" fmla="*/ 140586 h 549359"/>
                <a:gd name="connsiteX95" fmla="*/ 67142 w 255603"/>
                <a:gd name="connsiteY95" fmla="*/ 121600 h 549359"/>
                <a:gd name="connsiteX96" fmla="*/ 79737 w 255603"/>
                <a:gd name="connsiteY96" fmla="*/ 71955 h 549359"/>
                <a:gd name="connsiteX97" fmla="*/ 88274 w 255603"/>
                <a:gd name="connsiteY97" fmla="*/ 50315 h 549359"/>
                <a:gd name="connsiteX98" fmla="*/ 115228 w 255603"/>
                <a:gd name="connsiteY98" fmla="*/ 38211 h 549359"/>
                <a:gd name="connsiteX99" fmla="*/ 139772 w 255603"/>
                <a:gd name="connsiteY99" fmla="*/ 42225 h 549359"/>
                <a:gd name="connsiteX100" fmla="*/ 140849 w 255603"/>
                <a:gd name="connsiteY100" fmla="*/ 19098 h 549359"/>
                <a:gd name="connsiteX101" fmla="*/ 149881 w 255603"/>
                <a:gd name="connsiteY101" fmla="*/ 10627 h 549359"/>
                <a:gd name="connsiteX102" fmla="*/ 159267 w 255603"/>
                <a:gd name="connsiteY102" fmla="*/ 1140 h 549359"/>
                <a:gd name="connsiteX103" fmla="*/ 168882 w 255603"/>
                <a:gd name="connsiteY103" fmla="*/ 12748 h 549359"/>
                <a:gd name="connsiteX104" fmla="*/ 178598 w 255603"/>
                <a:gd name="connsiteY104" fmla="*/ 28356 h 549359"/>
                <a:gd name="connsiteX105" fmla="*/ 186005 w 255603"/>
                <a:gd name="connsiteY105" fmla="*/ 38211 h 549359"/>
                <a:gd name="connsiteX106" fmla="*/ 186005 w 255603"/>
                <a:gd name="connsiteY106" fmla="*/ 65262 h 549359"/>
                <a:gd name="connsiteX107" fmla="*/ 184927 w 255603"/>
                <a:gd name="connsiteY107" fmla="*/ 79969 h 549359"/>
                <a:gd name="connsiteX108" fmla="*/ 174272 w 255603"/>
                <a:gd name="connsiteY108" fmla="*/ 88707 h 549359"/>
                <a:gd name="connsiteX109" fmla="*/ 166763 w 255603"/>
                <a:gd name="connsiteY109" fmla="*/ 90637 h 549359"/>
                <a:gd name="connsiteX110" fmla="*/ 153648 w 255603"/>
                <a:gd name="connsiteY110" fmla="*/ 106741 h 549359"/>
                <a:gd name="connsiteX111" fmla="*/ 151809 w 255603"/>
                <a:gd name="connsiteY111" fmla="*/ 128610 h 549359"/>
                <a:gd name="connsiteX112" fmla="*/ 153648 w 255603"/>
                <a:gd name="connsiteY112" fmla="*/ 142250 h 549359"/>
                <a:gd name="connsiteX113" fmla="*/ 173143 w 255603"/>
                <a:gd name="connsiteY113" fmla="*/ 136535 h 549359"/>
                <a:gd name="connsiteX114" fmla="*/ 190000 w 255603"/>
                <a:gd name="connsiteY114" fmla="*/ 135176 h 549359"/>
                <a:gd name="connsiteX115" fmla="*/ 190140 w 255603"/>
                <a:gd name="connsiteY115" fmla="*/ 152816 h 549359"/>
                <a:gd name="connsiteX116" fmla="*/ 196837 w 255603"/>
                <a:gd name="connsiteY116" fmla="*/ 168348 h 549359"/>
                <a:gd name="connsiteX117" fmla="*/ 203078 w 255603"/>
                <a:gd name="connsiteY117" fmla="*/ 169377 h 549359"/>
                <a:gd name="connsiteX118" fmla="*/ 203078 w 255603"/>
                <a:gd name="connsiteY118" fmla="*/ 188681 h 549359"/>
                <a:gd name="connsiteX119" fmla="*/ 209547 w 255603"/>
                <a:gd name="connsiteY119" fmla="*/ 199578 h 549359"/>
                <a:gd name="connsiteX120" fmla="*/ 215927 w 255603"/>
                <a:gd name="connsiteY120" fmla="*/ 207223 h 549359"/>
                <a:gd name="connsiteX121" fmla="*/ 223436 w 255603"/>
                <a:gd name="connsiteY121" fmla="*/ 213383 h 549359"/>
                <a:gd name="connsiteX122" fmla="*/ 235207 w 255603"/>
                <a:gd name="connsiteY122" fmla="*/ 216583 h 549359"/>
                <a:gd name="connsiteX123" fmla="*/ 251392 w 255603"/>
                <a:gd name="connsiteY123" fmla="*/ 212265 h 549359"/>
                <a:gd name="connsiteX124" fmla="*/ 255578 w 255603"/>
                <a:gd name="connsiteY124" fmla="*/ 216570 h 549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</a:cxnLst>
              <a:rect l="l" t="t" r="r" b="b"/>
              <a:pathLst>
                <a:path w="255603" h="549359">
                  <a:moveTo>
                    <a:pt x="255578" y="216570"/>
                  </a:moveTo>
                  <a:cubicBezTo>
                    <a:pt x="255578" y="216570"/>
                    <a:pt x="242640" y="216888"/>
                    <a:pt x="240522" y="224267"/>
                  </a:cubicBezTo>
                  <a:cubicBezTo>
                    <a:pt x="238454" y="231607"/>
                    <a:pt x="241651" y="228369"/>
                    <a:pt x="235220" y="235874"/>
                  </a:cubicBezTo>
                  <a:cubicBezTo>
                    <a:pt x="228789" y="243393"/>
                    <a:pt x="227127" y="242631"/>
                    <a:pt x="225288" y="247304"/>
                  </a:cubicBezTo>
                  <a:cubicBezTo>
                    <a:pt x="225035" y="248244"/>
                    <a:pt x="224375" y="249019"/>
                    <a:pt x="223487" y="249425"/>
                  </a:cubicBezTo>
                  <a:cubicBezTo>
                    <a:pt x="221508" y="250009"/>
                    <a:pt x="218679" y="247850"/>
                    <a:pt x="214824" y="248701"/>
                  </a:cubicBezTo>
                  <a:cubicBezTo>
                    <a:pt x="209521" y="249870"/>
                    <a:pt x="210600" y="244739"/>
                    <a:pt x="206325" y="252118"/>
                  </a:cubicBezTo>
                  <a:cubicBezTo>
                    <a:pt x="202013" y="259496"/>
                    <a:pt x="192969" y="258328"/>
                    <a:pt x="190000" y="262646"/>
                  </a:cubicBezTo>
                  <a:cubicBezTo>
                    <a:pt x="186702" y="268170"/>
                    <a:pt x="180703" y="271510"/>
                    <a:pt x="174272" y="271422"/>
                  </a:cubicBezTo>
                  <a:cubicBezTo>
                    <a:pt x="164531" y="272374"/>
                    <a:pt x="169871" y="262748"/>
                    <a:pt x="164531" y="272374"/>
                  </a:cubicBezTo>
                  <a:cubicBezTo>
                    <a:pt x="159178" y="282039"/>
                    <a:pt x="161562" y="287855"/>
                    <a:pt x="156070" y="297292"/>
                  </a:cubicBezTo>
                  <a:cubicBezTo>
                    <a:pt x="150591" y="306702"/>
                    <a:pt x="147356" y="297075"/>
                    <a:pt x="150591" y="306702"/>
                  </a:cubicBezTo>
                  <a:cubicBezTo>
                    <a:pt x="153787" y="316367"/>
                    <a:pt x="149601" y="316189"/>
                    <a:pt x="158151" y="328064"/>
                  </a:cubicBezTo>
                  <a:cubicBezTo>
                    <a:pt x="166636" y="339951"/>
                    <a:pt x="171177" y="343011"/>
                    <a:pt x="174272" y="348447"/>
                  </a:cubicBezTo>
                  <a:cubicBezTo>
                    <a:pt x="176543" y="351965"/>
                    <a:pt x="178319" y="355762"/>
                    <a:pt x="179587" y="359750"/>
                  </a:cubicBezTo>
                  <a:cubicBezTo>
                    <a:pt x="181642" y="365681"/>
                    <a:pt x="184978" y="363801"/>
                    <a:pt x="184927" y="370634"/>
                  </a:cubicBezTo>
                  <a:cubicBezTo>
                    <a:pt x="185637" y="376616"/>
                    <a:pt x="185244" y="382661"/>
                    <a:pt x="183760" y="388503"/>
                  </a:cubicBezTo>
                  <a:cubicBezTo>
                    <a:pt x="181642" y="393583"/>
                    <a:pt x="166865" y="402587"/>
                    <a:pt x="168882" y="405051"/>
                  </a:cubicBezTo>
                  <a:cubicBezTo>
                    <a:pt x="170949" y="407527"/>
                    <a:pt x="171228" y="416176"/>
                    <a:pt x="177507" y="421523"/>
                  </a:cubicBezTo>
                  <a:cubicBezTo>
                    <a:pt x="182606" y="425892"/>
                    <a:pt x="186614" y="431391"/>
                    <a:pt x="189202" y="437588"/>
                  </a:cubicBezTo>
                  <a:cubicBezTo>
                    <a:pt x="190229" y="440789"/>
                    <a:pt x="200338" y="444116"/>
                    <a:pt x="200656" y="456943"/>
                  </a:cubicBezTo>
                  <a:cubicBezTo>
                    <a:pt x="200922" y="469770"/>
                    <a:pt x="205551" y="471650"/>
                    <a:pt x="204879" y="482496"/>
                  </a:cubicBezTo>
                  <a:cubicBezTo>
                    <a:pt x="204156" y="493341"/>
                    <a:pt x="212021" y="492579"/>
                    <a:pt x="208609" y="500987"/>
                  </a:cubicBezTo>
                  <a:cubicBezTo>
                    <a:pt x="205285" y="508162"/>
                    <a:pt x="200871" y="514779"/>
                    <a:pt x="195531" y="520608"/>
                  </a:cubicBezTo>
                  <a:cubicBezTo>
                    <a:pt x="192740" y="524025"/>
                    <a:pt x="191751" y="539188"/>
                    <a:pt x="188339" y="545043"/>
                  </a:cubicBezTo>
                  <a:cubicBezTo>
                    <a:pt x="188339" y="544865"/>
                    <a:pt x="187895" y="545348"/>
                    <a:pt x="186766" y="546885"/>
                  </a:cubicBezTo>
                  <a:cubicBezTo>
                    <a:pt x="185130" y="547863"/>
                    <a:pt x="183392" y="548688"/>
                    <a:pt x="181604" y="549361"/>
                  </a:cubicBezTo>
                  <a:cubicBezTo>
                    <a:pt x="179486" y="543519"/>
                    <a:pt x="182009" y="523758"/>
                    <a:pt x="186994" y="526996"/>
                  </a:cubicBezTo>
                  <a:cubicBezTo>
                    <a:pt x="187578" y="521967"/>
                    <a:pt x="187679" y="516887"/>
                    <a:pt x="187312" y="511833"/>
                  </a:cubicBezTo>
                  <a:cubicBezTo>
                    <a:pt x="191498" y="511972"/>
                    <a:pt x="182948" y="503641"/>
                    <a:pt x="192335" y="504632"/>
                  </a:cubicBezTo>
                  <a:cubicBezTo>
                    <a:pt x="189379" y="502879"/>
                    <a:pt x="189734" y="503019"/>
                    <a:pt x="189963" y="500085"/>
                  </a:cubicBezTo>
                  <a:cubicBezTo>
                    <a:pt x="188745" y="504721"/>
                    <a:pt x="183938" y="505800"/>
                    <a:pt x="184166" y="501444"/>
                  </a:cubicBezTo>
                  <a:cubicBezTo>
                    <a:pt x="189468" y="496935"/>
                    <a:pt x="184204" y="500720"/>
                    <a:pt x="182859" y="498688"/>
                  </a:cubicBezTo>
                  <a:cubicBezTo>
                    <a:pt x="189328" y="498193"/>
                    <a:pt x="187032" y="494827"/>
                    <a:pt x="184876" y="491982"/>
                  </a:cubicBezTo>
                  <a:cubicBezTo>
                    <a:pt x="186906" y="490636"/>
                    <a:pt x="188516" y="487029"/>
                    <a:pt x="183938" y="490192"/>
                  </a:cubicBezTo>
                  <a:cubicBezTo>
                    <a:pt x="178864" y="487398"/>
                    <a:pt x="186322" y="487487"/>
                    <a:pt x="187083" y="485734"/>
                  </a:cubicBezTo>
                  <a:cubicBezTo>
                    <a:pt x="182897" y="482585"/>
                    <a:pt x="185777" y="476692"/>
                    <a:pt x="186271" y="473948"/>
                  </a:cubicBezTo>
                  <a:cubicBezTo>
                    <a:pt x="182720" y="461883"/>
                    <a:pt x="177469" y="451584"/>
                    <a:pt x="172293" y="436014"/>
                  </a:cubicBezTo>
                  <a:cubicBezTo>
                    <a:pt x="173283" y="441182"/>
                    <a:pt x="171177" y="457832"/>
                    <a:pt x="171304" y="447355"/>
                  </a:cubicBezTo>
                  <a:cubicBezTo>
                    <a:pt x="169237" y="443164"/>
                    <a:pt x="168793" y="427822"/>
                    <a:pt x="166091" y="424812"/>
                  </a:cubicBezTo>
                  <a:cubicBezTo>
                    <a:pt x="162095" y="415186"/>
                    <a:pt x="164835" y="418653"/>
                    <a:pt x="167042" y="416849"/>
                  </a:cubicBezTo>
                  <a:cubicBezTo>
                    <a:pt x="158544" y="410499"/>
                    <a:pt x="154866" y="378419"/>
                    <a:pt x="159673" y="362989"/>
                  </a:cubicBezTo>
                  <a:cubicBezTo>
                    <a:pt x="154827" y="365668"/>
                    <a:pt x="148727" y="363916"/>
                    <a:pt x="146050" y="359064"/>
                  </a:cubicBezTo>
                  <a:cubicBezTo>
                    <a:pt x="145010" y="357185"/>
                    <a:pt x="144604" y="355026"/>
                    <a:pt x="144883" y="352905"/>
                  </a:cubicBezTo>
                  <a:cubicBezTo>
                    <a:pt x="143944" y="351876"/>
                    <a:pt x="142283" y="347012"/>
                    <a:pt x="144883" y="346745"/>
                  </a:cubicBezTo>
                  <a:cubicBezTo>
                    <a:pt x="140253" y="345170"/>
                    <a:pt x="130867" y="330908"/>
                    <a:pt x="136169" y="341614"/>
                  </a:cubicBezTo>
                  <a:cubicBezTo>
                    <a:pt x="133467" y="350428"/>
                    <a:pt x="137070" y="362315"/>
                    <a:pt x="122685" y="365414"/>
                  </a:cubicBezTo>
                  <a:cubicBezTo>
                    <a:pt x="103355" y="340891"/>
                    <a:pt x="131400" y="377835"/>
                    <a:pt x="110509" y="368069"/>
                  </a:cubicBezTo>
                  <a:cubicBezTo>
                    <a:pt x="115633" y="371079"/>
                    <a:pt x="105968" y="375003"/>
                    <a:pt x="107186" y="372260"/>
                  </a:cubicBezTo>
                  <a:cubicBezTo>
                    <a:pt x="104573" y="372476"/>
                    <a:pt x="89478" y="399742"/>
                    <a:pt x="90874" y="382382"/>
                  </a:cubicBezTo>
                  <a:cubicBezTo>
                    <a:pt x="91229" y="380578"/>
                    <a:pt x="91584" y="379270"/>
                    <a:pt x="91813" y="378368"/>
                  </a:cubicBezTo>
                  <a:cubicBezTo>
                    <a:pt x="91102" y="380134"/>
                    <a:pt x="90176" y="381797"/>
                    <a:pt x="89073" y="383321"/>
                  </a:cubicBezTo>
                  <a:cubicBezTo>
                    <a:pt x="89212" y="381391"/>
                    <a:pt x="89301" y="380413"/>
                    <a:pt x="89339" y="380045"/>
                  </a:cubicBezTo>
                  <a:cubicBezTo>
                    <a:pt x="89250" y="380362"/>
                    <a:pt x="89111" y="381035"/>
                    <a:pt x="88933" y="381886"/>
                  </a:cubicBezTo>
                  <a:lnTo>
                    <a:pt x="88806" y="382382"/>
                  </a:lnTo>
                  <a:cubicBezTo>
                    <a:pt x="88400" y="383867"/>
                    <a:pt x="87766" y="385531"/>
                    <a:pt x="86866" y="385988"/>
                  </a:cubicBezTo>
                  <a:cubicBezTo>
                    <a:pt x="83720" y="374457"/>
                    <a:pt x="86371" y="371269"/>
                    <a:pt x="81881" y="385442"/>
                  </a:cubicBezTo>
                  <a:cubicBezTo>
                    <a:pt x="74283" y="387068"/>
                    <a:pt x="78380" y="376438"/>
                    <a:pt x="81741" y="372082"/>
                  </a:cubicBezTo>
                  <a:cubicBezTo>
                    <a:pt x="76934" y="372260"/>
                    <a:pt x="76629" y="388185"/>
                    <a:pt x="71632" y="382153"/>
                  </a:cubicBezTo>
                  <a:lnTo>
                    <a:pt x="71632" y="382026"/>
                  </a:lnTo>
                  <a:cubicBezTo>
                    <a:pt x="71644" y="381810"/>
                    <a:pt x="71708" y="381620"/>
                    <a:pt x="71809" y="381442"/>
                  </a:cubicBezTo>
                  <a:cubicBezTo>
                    <a:pt x="72913" y="379575"/>
                    <a:pt x="74207" y="377847"/>
                    <a:pt x="75678" y="376260"/>
                  </a:cubicBezTo>
                  <a:lnTo>
                    <a:pt x="75767" y="376171"/>
                  </a:lnTo>
                  <a:lnTo>
                    <a:pt x="75678" y="376222"/>
                  </a:lnTo>
                  <a:lnTo>
                    <a:pt x="75678" y="376260"/>
                  </a:lnTo>
                  <a:cubicBezTo>
                    <a:pt x="75590" y="376260"/>
                    <a:pt x="75501" y="376349"/>
                    <a:pt x="75412" y="376489"/>
                  </a:cubicBezTo>
                  <a:cubicBezTo>
                    <a:pt x="74651" y="377162"/>
                    <a:pt x="73116" y="378698"/>
                    <a:pt x="70338" y="381442"/>
                  </a:cubicBezTo>
                  <a:cubicBezTo>
                    <a:pt x="70605" y="376984"/>
                    <a:pt x="77073" y="366329"/>
                    <a:pt x="72811" y="363801"/>
                  </a:cubicBezTo>
                  <a:cubicBezTo>
                    <a:pt x="74511" y="367218"/>
                    <a:pt x="68905" y="376133"/>
                    <a:pt x="71644" y="369885"/>
                  </a:cubicBezTo>
                  <a:cubicBezTo>
                    <a:pt x="42027" y="402638"/>
                    <a:pt x="78748" y="334960"/>
                    <a:pt x="67281" y="323301"/>
                  </a:cubicBezTo>
                  <a:cubicBezTo>
                    <a:pt x="68994" y="312100"/>
                    <a:pt x="58871" y="312684"/>
                    <a:pt x="65442" y="311109"/>
                  </a:cubicBezTo>
                  <a:cubicBezTo>
                    <a:pt x="57984" y="295907"/>
                    <a:pt x="52859" y="297926"/>
                    <a:pt x="55688" y="279486"/>
                  </a:cubicBezTo>
                  <a:cubicBezTo>
                    <a:pt x="52403" y="287487"/>
                    <a:pt x="52010" y="302791"/>
                    <a:pt x="41304" y="283753"/>
                  </a:cubicBezTo>
                  <a:cubicBezTo>
                    <a:pt x="32628" y="269085"/>
                    <a:pt x="54153" y="293431"/>
                    <a:pt x="53176" y="276781"/>
                  </a:cubicBezTo>
                  <a:cubicBezTo>
                    <a:pt x="42116" y="274038"/>
                    <a:pt x="50653" y="266977"/>
                    <a:pt x="46834" y="270482"/>
                  </a:cubicBezTo>
                  <a:cubicBezTo>
                    <a:pt x="43777" y="270710"/>
                    <a:pt x="46923" y="266926"/>
                    <a:pt x="45705" y="267650"/>
                  </a:cubicBezTo>
                  <a:cubicBezTo>
                    <a:pt x="42382" y="272463"/>
                    <a:pt x="40492" y="264271"/>
                    <a:pt x="46149" y="264233"/>
                  </a:cubicBezTo>
                  <a:cubicBezTo>
                    <a:pt x="41203" y="263687"/>
                    <a:pt x="25931" y="251356"/>
                    <a:pt x="31994" y="266075"/>
                  </a:cubicBezTo>
                  <a:cubicBezTo>
                    <a:pt x="27542" y="258429"/>
                    <a:pt x="22835" y="265897"/>
                    <a:pt x="27681" y="256220"/>
                  </a:cubicBezTo>
                  <a:cubicBezTo>
                    <a:pt x="25525" y="254912"/>
                    <a:pt x="24358" y="252930"/>
                    <a:pt x="27643" y="244663"/>
                  </a:cubicBezTo>
                  <a:cubicBezTo>
                    <a:pt x="25525" y="245336"/>
                    <a:pt x="25525" y="254962"/>
                    <a:pt x="21478" y="257032"/>
                  </a:cubicBezTo>
                  <a:cubicBezTo>
                    <a:pt x="15010" y="252664"/>
                    <a:pt x="26248" y="250682"/>
                    <a:pt x="19462" y="246136"/>
                  </a:cubicBezTo>
                  <a:cubicBezTo>
                    <a:pt x="18155" y="248663"/>
                    <a:pt x="17623" y="240827"/>
                    <a:pt x="14883" y="239710"/>
                  </a:cubicBezTo>
                  <a:cubicBezTo>
                    <a:pt x="22519" y="256893"/>
                    <a:pt x="7729" y="244612"/>
                    <a:pt x="943" y="227734"/>
                  </a:cubicBezTo>
                  <a:lnTo>
                    <a:pt x="943" y="227607"/>
                  </a:lnTo>
                  <a:cubicBezTo>
                    <a:pt x="993" y="225397"/>
                    <a:pt x="829" y="223200"/>
                    <a:pt x="448" y="221041"/>
                  </a:cubicBezTo>
                  <a:cubicBezTo>
                    <a:pt x="-1835" y="210322"/>
                    <a:pt x="4406" y="228724"/>
                    <a:pt x="13031" y="223098"/>
                  </a:cubicBezTo>
                  <a:cubicBezTo>
                    <a:pt x="21707" y="217434"/>
                    <a:pt x="14426" y="218742"/>
                    <a:pt x="14426" y="218742"/>
                  </a:cubicBezTo>
                  <a:lnTo>
                    <a:pt x="12054" y="207223"/>
                  </a:lnTo>
                  <a:cubicBezTo>
                    <a:pt x="10697" y="200784"/>
                    <a:pt x="11103" y="198892"/>
                    <a:pt x="14109" y="197685"/>
                  </a:cubicBezTo>
                  <a:cubicBezTo>
                    <a:pt x="16493" y="196644"/>
                    <a:pt x="20451" y="196060"/>
                    <a:pt x="26514" y="193952"/>
                  </a:cubicBezTo>
                  <a:cubicBezTo>
                    <a:pt x="40264" y="189087"/>
                    <a:pt x="28455" y="184096"/>
                    <a:pt x="24142" y="177886"/>
                  </a:cubicBezTo>
                  <a:cubicBezTo>
                    <a:pt x="19817" y="171676"/>
                    <a:pt x="32222" y="169517"/>
                    <a:pt x="31245" y="163218"/>
                  </a:cubicBezTo>
                  <a:cubicBezTo>
                    <a:pt x="31512" y="154988"/>
                    <a:pt x="34099" y="147000"/>
                    <a:pt x="38704" y="140180"/>
                  </a:cubicBezTo>
                  <a:cubicBezTo>
                    <a:pt x="42065" y="135176"/>
                    <a:pt x="48052" y="140853"/>
                    <a:pt x="50297" y="140586"/>
                  </a:cubicBezTo>
                  <a:cubicBezTo>
                    <a:pt x="57400" y="135760"/>
                    <a:pt x="63197" y="129232"/>
                    <a:pt x="67142" y="121600"/>
                  </a:cubicBezTo>
                  <a:cubicBezTo>
                    <a:pt x="73965" y="105826"/>
                    <a:pt x="78215" y="89075"/>
                    <a:pt x="79737" y="71955"/>
                  </a:cubicBezTo>
                  <a:cubicBezTo>
                    <a:pt x="80092" y="61618"/>
                    <a:pt x="88274" y="55407"/>
                    <a:pt x="88274" y="50315"/>
                  </a:cubicBezTo>
                  <a:cubicBezTo>
                    <a:pt x="88274" y="45235"/>
                    <a:pt x="104090" y="45641"/>
                    <a:pt x="115228" y="38211"/>
                  </a:cubicBezTo>
                  <a:cubicBezTo>
                    <a:pt x="126339" y="30795"/>
                    <a:pt x="125121" y="35646"/>
                    <a:pt x="139772" y="42225"/>
                  </a:cubicBezTo>
                  <a:cubicBezTo>
                    <a:pt x="154371" y="48829"/>
                    <a:pt x="138959" y="36319"/>
                    <a:pt x="140849" y="19098"/>
                  </a:cubicBezTo>
                  <a:cubicBezTo>
                    <a:pt x="144084" y="16520"/>
                    <a:pt x="147103" y="13688"/>
                    <a:pt x="149881" y="10627"/>
                  </a:cubicBezTo>
                  <a:cubicBezTo>
                    <a:pt x="154866" y="5280"/>
                    <a:pt x="154066" y="-3051"/>
                    <a:pt x="159267" y="1140"/>
                  </a:cubicBezTo>
                  <a:cubicBezTo>
                    <a:pt x="164531" y="5280"/>
                    <a:pt x="163630" y="3071"/>
                    <a:pt x="168882" y="12748"/>
                  </a:cubicBezTo>
                  <a:cubicBezTo>
                    <a:pt x="174145" y="22425"/>
                    <a:pt x="173422" y="27861"/>
                    <a:pt x="178598" y="28356"/>
                  </a:cubicBezTo>
                  <a:cubicBezTo>
                    <a:pt x="183811" y="28852"/>
                    <a:pt x="184978" y="26108"/>
                    <a:pt x="186005" y="38211"/>
                  </a:cubicBezTo>
                  <a:cubicBezTo>
                    <a:pt x="186551" y="47216"/>
                    <a:pt x="186551" y="56245"/>
                    <a:pt x="186005" y="65262"/>
                  </a:cubicBezTo>
                  <a:cubicBezTo>
                    <a:pt x="185967" y="69619"/>
                    <a:pt x="192474" y="75245"/>
                    <a:pt x="184927" y="79969"/>
                  </a:cubicBezTo>
                  <a:cubicBezTo>
                    <a:pt x="177380" y="84655"/>
                    <a:pt x="177608" y="87348"/>
                    <a:pt x="174272" y="88707"/>
                  </a:cubicBezTo>
                  <a:cubicBezTo>
                    <a:pt x="170949" y="90002"/>
                    <a:pt x="172204" y="81633"/>
                    <a:pt x="166763" y="90637"/>
                  </a:cubicBezTo>
                  <a:cubicBezTo>
                    <a:pt x="161284" y="99679"/>
                    <a:pt x="154586" y="100988"/>
                    <a:pt x="153648" y="106741"/>
                  </a:cubicBezTo>
                  <a:cubicBezTo>
                    <a:pt x="151517" y="113827"/>
                    <a:pt x="150883" y="121270"/>
                    <a:pt x="151809" y="128610"/>
                  </a:cubicBezTo>
                  <a:cubicBezTo>
                    <a:pt x="153775" y="136129"/>
                    <a:pt x="145999" y="135455"/>
                    <a:pt x="153648" y="142250"/>
                  </a:cubicBezTo>
                  <a:cubicBezTo>
                    <a:pt x="161284" y="148994"/>
                    <a:pt x="160345" y="141208"/>
                    <a:pt x="173143" y="136535"/>
                  </a:cubicBezTo>
                  <a:cubicBezTo>
                    <a:pt x="185955" y="131849"/>
                    <a:pt x="187616" y="126718"/>
                    <a:pt x="190000" y="135176"/>
                  </a:cubicBezTo>
                  <a:cubicBezTo>
                    <a:pt x="192385" y="143647"/>
                    <a:pt x="187895" y="141615"/>
                    <a:pt x="190140" y="152816"/>
                  </a:cubicBezTo>
                  <a:cubicBezTo>
                    <a:pt x="192385" y="164030"/>
                    <a:pt x="190584" y="167269"/>
                    <a:pt x="196837" y="168348"/>
                  </a:cubicBezTo>
                  <a:cubicBezTo>
                    <a:pt x="203078" y="169377"/>
                    <a:pt x="203078" y="154391"/>
                    <a:pt x="203078" y="169377"/>
                  </a:cubicBezTo>
                  <a:cubicBezTo>
                    <a:pt x="202520" y="175803"/>
                    <a:pt x="202520" y="182255"/>
                    <a:pt x="203078" y="188681"/>
                  </a:cubicBezTo>
                  <a:cubicBezTo>
                    <a:pt x="204156" y="198358"/>
                    <a:pt x="205323" y="197546"/>
                    <a:pt x="209547" y="199578"/>
                  </a:cubicBezTo>
                  <a:cubicBezTo>
                    <a:pt x="213771" y="201597"/>
                    <a:pt x="208380" y="201064"/>
                    <a:pt x="215927" y="207223"/>
                  </a:cubicBezTo>
                  <a:cubicBezTo>
                    <a:pt x="223436" y="213383"/>
                    <a:pt x="214849" y="211224"/>
                    <a:pt x="223436" y="213383"/>
                  </a:cubicBezTo>
                  <a:cubicBezTo>
                    <a:pt x="232023" y="215541"/>
                    <a:pt x="224464" y="218742"/>
                    <a:pt x="235207" y="216583"/>
                  </a:cubicBezTo>
                  <a:cubicBezTo>
                    <a:pt x="240687" y="215491"/>
                    <a:pt x="246090" y="214043"/>
                    <a:pt x="251392" y="212265"/>
                  </a:cubicBezTo>
                  <a:cubicBezTo>
                    <a:pt x="255578" y="211224"/>
                    <a:pt x="255578" y="213332"/>
                    <a:pt x="255578" y="216570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1" name="Vrije vorm 280">
              <a:extLst>
                <a:ext uri="{FF2B5EF4-FFF2-40B4-BE49-F238E27FC236}">
                  <a16:creationId xmlns:a16="http://schemas.microsoft.com/office/drawing/2014/main" id="{04AAA31F-3454-B946-B445-F90978F5F9DB}"/>
                </a:ext>
              </a:extLst>
            </p:cNvPr>
            <p:cNvSpPr/>
            <p:nvPr/>
          </p:nvSpPr>
          <p:spPr>
            <a:xfrm>
              <a:off x="7985576" y="3617695"/>
              <a:ext cx="134914" cy="169126"/>
            </a:xfrm>
            <a:custGeom>
              <a:avLst/>
              <a:gdLst>
                <a:gd name="connsiteX0" fmla="*/ 130640 w 134914"/>
                <a:gd name="connsiteY0" fmla="*/ 164632 h 169126"/>
                <a:gd name="connsiteX1" fmla="*/ 118057 w 134914"/>
                <a:gd name="connsiteY1" fmla="*/ 162562 h 169126"/>
                <a:gd name="connsiteX2" fmla="*/ 118552 w 134914"/>
                <a:gd name="connsiteY2" fmla="*/ 169128 h 169126"/>
                <a:gd name="connsiteX3" fmla="*/ 115495 w 134914"/>
                <a:gd name="connsiteY3" fmla="*/ 151856 h 169126"/>
                <a:gd name="connsiteX4" fmla="*/ 113783 w 134914"/>
                <a:gd name="connsiteY4" fmla="*/ 152034 h 169126"/>
                <a:gd name="connsiteX5" fmla="*/ 111892 w 134914"/>
                <a:gd name="connsiteY5" fmla="*/ 148440 h 169126"/>
                <a:gd name="connsiteX6" fmla="*/ 109470 w 134914"/>
                <a:gd name="connsiteY6" fmla="*/ 132958 h 169126"/>
                <a:gd name="connsiteX7" fmla="*/ 97876 w 134914"/>
                <a:gd name="connsiteY7" fmla="*/ 118734 h 169126"/>
                <a:gd name="connsiteX8" fmla="*/ 93070 w 134914"/>
                <a:gd name="connsiteY8" fmla="*/ 120449 h 169126"/>
                <a:gd name="connsiteX9" fmla="*/ 93285 w 134914"/>
                <a:gd name="connsiteY9" fmla="*/ 121566 h 169126"/>
                <a:gd name="connsiteX10" fmla="*/ 86233 w 134914"/>
                <a:gd name="connsiteY10" fmla="*/ 121033 h 169126"/>
                <a:gd name="connsiteX11" fmla="*/ 81476 w 134914"/>
                <a:gd name="connsiteY11" fmla="*/ 120842 h 169126"/>
                <a:gd name="connsiteX12" fmla="*/ 75540 w 134914"/>
                <a:gd name="connsiteY12" fmla="*/ 92636 h 169126"/>
                <a:gd name="connsiteX13" fmla="*/ 74018 w 134914"/>
                <a:gd name="connsiteY13" fmla="*/ 93271 h 169126"/>
                <a:gd name="connsiteX14" fmla="*/ 73751 w 134914"/>
                <a:gd name="connsiteY14" fmla="*/ 93715 h 169126"/>
                <a:gd name="connsiteX15" fmla="*/ 73523 w 134914"/>
                <a:gd name="connsiteY15" fmla="*/ 94757 h 169126"/>
                <a:gd name="connsiteX16" fmla="*/ 73434 w 134914"/>
                <a:gd name="connsiteY16" fmla="*/ 96560 h 169126"/>
                <a:gd name="connsiteX17" fmla="*/ 73295 w 134914"/>
                <a:gd name="connsiteY17" fmla="*/ 97678 h 169126"/>
                <a:gd name="connsiteX18" fmla="*/ 66915 w 134914"/>
                <a:gd name="connsiteY18" fmla="*/ 98135 h 169126"/>
                <a:gd name="connsiteX19" fmla="*/ 71139 w 134914"/>
                <a:gd name="connsiteY19" fmla="*/ 100560 h 169126"/>
                <a:gd name="connsiteX20" fmla="*/ 72077 w 134914"/>
                <a:gd name="connsiteY20" fmla="*/ 101373 h 169126"/>
                <a:gd name="connsiteX21" fmla="*/ 72356 w 134914"/>
                <a:gd name="connsiteY21" fmla="*/ 101640 h 169126"/>
                <a:gd name="connsiteX22" fmla="*/ 72939 w 134914"/>
                <a:gd name="connsiteY22" fmla="*/ 114645 h 169126"/>
                <a:gd name="connsiteX23" fmla="*/ 70289 w 134914"/>
                <a:gd name="connsiteY23" fmla="*/ 126710 h 169126"/>
                <a:gd name="connsiteX24" fmla="*/ 69388 w 134914"/>
                <a:gd name="connsiteY24" fmla="*/ 133098 h 169126"/>
                <a:gd name="connsiteX25" fmla="*/ 60446 w 134914"/>
                <a:gd name="connsiteY25" fmla="*/ 146052 h 169126"/>
                <a:gd name="connsiteX26" fmla="*/ 61169 w 134914"/>
                <a:gd name="connsiteY26" fmla="*/ 144922 h 169126"/>
                <a:gd name="connsiteX27" fmla="*/ 59545 w 134914"/>
                <a:gd name="connsiteY27" fmla="*/ 145823 h 169126"/>
                <a:gd name="connsiteX28" fmla="*/ 58695 w 134914"/>
                <a:gd name="connsiteY28" fmla="*/ 145963 h 169126"/>
                <a:gd name="connsiteX29" fmla="*/ 58429 w 134914"/>
                <a:gd name="connsiteY29" fmla="*/ 145963 h 169126"/>
                <a:gd name="connsiteX30" fmla="*/ 60535 w 134914"/>
                <a:gd name="connsiteY30" fmla="*/ 140832 h 169126"/>
                <a:gd name="connsiteX31" fmla="*/ 59228 w 134914"/>
                <a:gd name="connsiteY31" fmla="*/ 142090 h 169126"/>
                <a:gd name="connsiteX32" fmla="*/ 58111 w 134914"/>
                <a:gd name="connsiteY32" fmla="*/ 140426 h 169126"/>
                <a:gd name="connsiteX33" fmla="*/ 56843 w 134914"/>
                <a:gd name="connsiteY33" fmla="*/ 142534 h 169126"/>
                <a:gd name="connsiteX34" fmla="*/ 54877 w 134914"/>
                <a:gd name="connsiteY34" fmla="*/ 132958 h 169126"/>
                <a:gd name="connsiteX35" fmla="*/ 53393 w 134914"/>
                <a:gd name="connsiteY35" fmla="*/ 139613 h 169126"/>
                <a:gd name="connsiteX36" fmla="*/ 47723 w 134914"/>
                <a:gd name="connsiteY36" fmla="*/ 144020 h 169126"/>
                <a:gd name="connsiteX37" fmla="*/ 46290 w 134914"/>
                <a:gd name="connsiteY37" fmla="*/ 149062 h 169126"/>
                <a:gd name="connsiteX38" fmla="*/ 45440 w 134914"/>
                <a:gd name="connsiteY38" fmla="*/ 138178 h 169126"/>
                <a:gd name="connsiteX39" fmla="*/ 45034 w 134914"/>
                <a:gd name="connsiteY39" fmla="*/ 141962 h 169126"/>
                <a:gd name="connsiteX40" fmla="*/ 42878 w 134914"/>
                <a:gd name="connsiteY40" fmla="*/ 138622 h 169126"/>
                <a:gd name="connsiteX41" fmla="*/ 39593 w 134914"/>
                <a:gd name="connsiteY41" fmla="*/ 142585 h 169126"/>
                <a:gd name="connsiteX42" fmla="*/ 30790 w 134914"/>
                <a:gd name="connsiteY42" fmla="*/ 138000 h 169126"/>
                <a:gd name="connsiteX43" fmla="*/ 30333 w 134914"/>
                <a:gd name="connsiteY43" fmla="*/ 144020 h 169126"/>
                <a:gd name="connsiteX44" fmla="*/ 28088 w 134914"/>
                <a:gd name="connsiteY44" fmla="*/ 129174 h 169126"/>
                <a:gd name="connsiteX45" fmla="*/ 17129 w 134914"/>
                <a:gd name="connsiteY45" fmla="*/ 91429 h 169126"/>
                <a:gd name="connsiteX46" fmla="*/ 5662 w 134914"/>
                <a:gd name="connsiteY46" fmla="*/ 66728 h 169126"/>
                <a:gd name="connsiteX47" fmla="*/ 11282 w 134914"/>
                <a:gd name="connsiteY47" fmla="*/ 48275 h 169126"/>
                <a:gd name="connsiteX48" fmla="*/ 24131 w 134914"/>
                <a:gd name="connsiteY48" fmla="*/ 40578 h 169126"/>
                <a:gd name="connsiteX49" fmla="*/ 3824 w 134914"/>
                <a:gd name="connsiteY49" fmla="*/ 22989 h 169126"/>
                <a:gd name="connsiteX50" fmla="*/ 9975 w 134914"/>
                <a:gd name="connsiteY50" fmla="*/ 3456 h 169126"/>
                <a:gd name="connsiteX51" fmla="*/ 30511 w 134914"/>
                <a:gd name="connsiteY51" fmla="*/ 10302 h 169126"/>
                <a:gd name="connsiteX52" fmla="*/ 41926 w 134914"/>
                <a:gd name="connsiteY52" fmla="*/ 15344 h 169126"/>
                <a:gd name="connsiteX53" fmla="*/ 50970 w 134914"/>
                <a:gd name="connsiteY53" fmla="*/ 21503 h 169126"/>
                <a:gd name="connsiteX54" fmla="*/ 52632 w 134914"/>
                <a:gd name="connsiteY54" fmla="*/ 40490 h 169126"/>
                <a:gd name="connsiteX55" fmla="*/ 72901 w 134914"/>
                <a:gd name="connsiteY55" fmla="*/ 42064 h 169126"/>
                <a:gd name="connsiteX56" fmla="*/ 116269 w 134914"/>
                <a:gd name="connsiteY56" fmla="*/ 46027 h 169126"/>
                <a:gd name="connsiteX57" fmla="*/ 120442 w 134914"/>
                <a:gd name="connsiteY57" fmla="*/ 60835 h 169126"/>
                <a:gd name="connsiteX58" fmla="*/ 108037 w 134914"/>
                <a:gd name="connsiteY58" fmla="*/ 72481 h 169126"/>
                <a:gd name="connsiteX59" fmla="*/ 92359 w 134914"/>
                <a:gd name="connsiteY59" fmla="*/ 83771 h 169126"/>
                <a:gd name="connsiteX60" fmla="*/ 93475 w 134914"/>
                <a:gd name="connsiteY60" fmla="*/ 101284 h 169126"/>
                <a:gd name="connsiteX61" fmla="*/ 104308 w 134914"/>
                <a:gd name="connsiteY61" fmla="*/ 103443 h 169126"/>
                <a:gd name="connsiteX62" fmla="*/ 112134 w 134914"/>
                <a:gd name="connsiteY62" fmla="*/ 89359 h 169126"/>
                <a:gd name="connsiteX63" fmla="*/ 124717 w 134914"/>
                <a:gd name="connsiteY63" fmla="*/ 99976 h 169126"/>
                <a:gd name="connsiteX64" fmla="*/ 128800 w 134914"/>
                <a:gd name="connsiteY64" fmla="*/ 125986 h 169126"/>
                <a:gd name="connsiteX65" fmla="*/ 131718 w 134914"/>
                <a:gd name="connsiteY65" fmla="*/ 139207 h 169126"/>
                <a:gd name="connsiteX66" fmla="*/ 129650 w 134914"/>
                <a:gd name="connsiteY66" fmla="*/ 148744 h 169126"/>
                <a:gd name="connsiteX67" fmla="*/ 132035 w 134914"/>
                <a:gd name="connsiteY67" fmla="*/ 160263 h 169126"/>
                <a:gd name="connsiteX68" fmla="*/ 130640 w 134914"/>
                <a:gd name="connsiteY68" fmla="*/ 164632 h 169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134914" h="169126">
                  <a:moveTo>
                    <a:pt x="130640" y="164632"/>
                  </a:moveTo>
                  <a:cubicBezTo>
                    <a:pt x="122015" y="170258"/>
                    <a:pt x="115762" y="151856"/>
                    <a:pt x="118057" y="162562"/>
                  </a:cubicBezTo>
                  <a:cubicBezTo>
                    <a:pt x="118425" y="164734"/>
                    <a:pt x="118590" y="166931"/>
                    <a:pt x="118552" y="169128"/>
                  </a:cubicBezTo>
                  <a:cubicBezTo>
                    <a:pt x="116116" y="163718"/>
                    <a:pt x="115063" y="157774"/>
                    <a:pt x="115495" y="151856"/>
                  </a:cubicBezTo>
                  <a:cubicBezTo>
                    <a:pt x="114734" y="149151"/>
                    <a:pt x="115533" y="153202"/>
                    <a:pt x="113783" y="152034"/>
                  </a:cubicBezTo>
                  <a:cubicBezTo>
                    <a:pt x="112261" y="150421"/>
                    <a:pt x="116205" y="147398"/>
                    <a:pt x="111892" y="148440"/>
                  </a:cubicBezTo>
                  <a:cubicBezTo>
                    <a:pt x="111385" y="143232"/>
                    <a:pt x="110574" y="138064"/>
                    <a:pt x="109470" y="132958"/>
                  </a:cubicBezTo>
                  <a:cubicBezTo>
                    <a:pt x="105512" y="134978"/>
                    <a:pt x="101238" y="109514"/>
                    <a:pt x="97876" y="118734"/>
                  </a:cubicBezTo>
                  <a:cubicBezTo>
                    <a:pt x="94008" y="116397"/>
                    <a:pt x="97826" y="121706"/>
                    <a:pt x="93070" y="120449"/>
                  </a:cubicBezTo>
                  <a:cubicBezTo>
                    <a:pt x="91586" y="117693"/>
                    <a:pt x="90279" y="121795"/>
                    <a:pt x="93285" y="121566"/>
                  </a:cubicBezTo>
                  <a:cubicBezTo>
                    <a:pt x="92701" y="128183"/>
                    <a:pt x="88262" y="124983"/>
                    <a:pt x="86233" y="121033"/>
                  </a:cubicBezTo>
                  <a:cubicBezTo>
                    <a:pt x="88934" y="127192"/>
                    <a:pt x="83404" y="122506"/>
                    <a:pt x="81476" y="120842"/>
                  </a:cubicBezTo>
                  <a:cubicBezTo>
                    <a:pt x="72749" y="108244"/>
                    <a:pt x="77430" y="97043"/>
                    <a:pt x="75540" y="92636"/>
                  </a:cubicBezTo>
                  <a:cubicBezTo>
                    <a:pt x="74956" y="92585"/>
                    <a:pt x="74386" y="92826"/>
                    <a:pt x="74018" y="93271"/>
                  </a:cubicBezTo>
                  <a:cubicBezTo>
                    <a:pt x="73903" y="93398"/>
                    <a:pt x="73815" y="93550"/>
                    <a:pt x="73751" y="93715"/>
                  </a:cubicBezTo>
                  <a:cubicBezTo>
                    <a:pt x="73612" y="94045"/>
                    <a:pt x="73535" y="94401"/>
                    <a:pt x="73523" y="94757"/>
                  </a:cubicBezTo>
                  <a:cubicBezTo>
                    <a:pt x="73434" y="95290"/>
                    <a:pt x="73472" y="95925"/>
                    <a:pt x="73434" y="96560"/>
                  </a:cubicBezTo>
                  <a:cubicBezTo>
                    <a:pt x="73434" y="96928"/>
                    <a:pt x="73396" y="97309"/>
                    <a:pt x="73295" y="97678"/>
                  </a:cubicBezTo>
                  <a:cubicBezTo>
                    <a:pt x="72939" y="99125"/>
                    <a:pt x="71633" y="99887"/>
                    <a:pt x="66915" y="98135"/>
                  </a:cubicBezTo>
                  <a:cubicBezTo>
                    <a:pt x="68399" y="98795"/>
                    <a:pt x="69819" y="99608"/>
                    <a:pt x="71139" y="100560"/>
                  </a:cubicBezTo>
                  <a:cubicBezTo>
                    <a:pt x="71468" y="100802"/>
                    <a:pt x="71785" y="101081"/>
                    <a:pt x="72077" y="101373"/>
                  </a:cubicBezTo>
                  <a:lnTo>
                    <a:pt x="72356" y="101640"/>
                  </a:lnTo>
                  <a:cubicBezTo>
                    <a:pt x="76440" y="105958"/>
                    <a:pt x="70961" y="109781"/>
                    <a:pt x="72939" y="114645"/>
                  </a:cubicBezTo>
                  <a:cubicBezTo>
                    <a:pt x="64707" y="118468"/>
                    <a:pt x="75540" y="119280"/>
                    <a:pt x="70289" y="126710"/>
                  </a:cubicBezTo>
                  <a:cubicBezTo>
                    <a:pt x="81248" y="114150"/>
                    <a:pt x="68767" y="154828"/>
                    <a:pt x="69388" y="133098"/>
                  </a:cubicBezTo>
                  <a:cubicBezTo>
                    <a:pt x="68804" y="134762"/>
                    <a:pt x="66065" y="153037"/>
                    <a:pt x="60446" y="146052"/>
                  </a:cubicBezTo>
                  <a:cubicBezTo>
                    <a:pt x="60851" y="145379"/>
                    <a:pt x="61080" y="145061"/>
                    <a:pt x="61169" y="144922"/>
                  </a:cubicBezTo>
                  <a:cubicBezTo>
                    <a:pt x="60712" y="145353"/>
                    <a:pt x="60154" y="145658"/>
                    <a:pt x="59545" y="145823"/>
                  </a:cubicBezTo>
                  <a:cubicBezTo>
                    <a:pt x="59266" y="145912"/>
                    <a:pt x="58987" y="145963"/>
                    <a:pt x="58695" y="145963"/>
                  </a:cubicBezTo>
                  <a:lnTo>
                    <a:pt x="58429" y="145963"/>
                  </a:lnTo>
                  <a:cubicBezTo>
                    <a:pt x="58822" y="144134"/>
                    <a:pt x="59532" y="142407"/>
                    <a:pt x="60535" y="140832"/>
                  </a:cubicBezTo>
                  <a:cubicBezTo>
                    <a:pt x="60128" y="141239"/>
                    <a:pt x="59723" y="141645"/>
                    <a:pt x="59228" y="142090"/>
                  </a:cubicBezTo>
                  <a:cubicBezTo>
                    <a:pt x="58632" y="141721"/>
                    <a:pt x="58226" y="141124"/>
                    <a:pt x="58111" y="140426"/>
                  </a:cubicBezTo>
                  <a:cubicBezTo>
                    <a:pt x="57795" y="141061"/>
                    <a:pt x="57388" y="141683"/>
                    <a:pt x="56843" y="142534"/>
                  </a:cubicBezTo>
                  <a:cubicBezTo>
                    <a:pt x="55715" y="139461"/>
                    <a:pt x="55042" y="136235"/>
                    <a:pt x="54877" y="132958"/>
                  </a:cubicBezTo>
                  <a:cubicBezTo>
                    <a:pt x="54560" y="134622"/>
                    <a:pt x="54116" y="136781"/>
                    <a:pt x="53393" y="139613"/>
                  </a:cubicBezTo>
                  <a:cubicBezTo>
                    <a:pt x="54471" y="141556"/>
                    <a:pt x="51503" y="151716"/>
                    <a:pt x="47723" y="144020"/>
                  </a:cubicBezTo>
                  <a:cubicBezTo>
                    <a:pt x="44806" y="146458"/>
                    <a:pt x="53216" y="150141"/>
                    <a:pt x="46290" y="149062"/>
                  </a:cubicBezTo>
                  <a:cubicBezTo>
                    <a:pt x="44717" y="150586"/>
                    <a:pt x="45034" y="143258"/>
                    <a:pt x="45440" y="138178"/>
                  </a:cubicBezTo>
                  <a:cubicBezTo>
                    <a:pt x="45339" y="139207"/>
                    <a:pt x="45212" y="140477"/>
                    <a:pt x="45034" y="141962"/>
                  </a:cubicBezTo>
                  <a:cubicBezTo>
                    <a:pt x="43144" y="139981"/>
                    <a:pt x="43182" y="126202"/>
                    <a:pt x="42878" y="138622"/>
                  </a:cubicBezTo>
                  <a:cubicBezTo>
                    <a:pt x="46873" y="138445"/>
                    <a:pt x="39327" y="160085"/>
                    <a:pt x="39593" y="142585"/>
                  </a:cubicBezTo>
                  <a:cubicBezTo>
                    <a:pt x="36447" y="161076"/>
                    <a:pt x="33124" y="147398"/>
                    <a:pt x="30790" y="138000"/>
                  </a:cubicBezTo>
                  <a:cubicBezTo>
                    <a:pt x="31107" y="140019"/>
                    <a:pt x="30942" y="142077"/>
                    <a:pt x="30333" y="144020"/>
                  </a:cubicBezTo>
                  <a:cubicBezTo>
                    <a:pt x="29115" y="139156"/>
                    <a:pt x="28367" y="134190"/>
                    <a:pt x="28088" y="129174"/>
                  </a:cubicBezTo>
                  <a:cubicBezTo>
                    <a:pt x="28038" y="114683"/>
                    <a:pt x="25666" y="112841"/>
                    <a:pt x="17129" y="91429"/>
                  </a:cubicBezTo>
                  <a:cubicBezTo>
                    <a:pt x="8580" y="70004"/>
                    <a:pt x="18918" y="73154"/>
                    <a:pt x="5662" y="66728"/>
                  </a:cubicBezTo>
                  <a:cubicBezTo>
                    <a:pt x="-7643" y="60251"/>
                    <a:pt x="5840" y="53177"/>
                    <a:pt x="11282" y="48275"/>
                  </a:cubicBezTo>
                  <a:cubicBezTo>
                    <a:pt x="16673" y="43410"/>
                    <a:pt x="20541" y="44046"/>
                    <a:pt x="24131" y="40578"/>
                  </a:cubicBezTo>
                  <a:cubicBezTo>
                    <a:pt x="27771" y="37111"/>
                    <a:pt x="13438" y="31269"/>
                    <a:pt x="3824" y="22989"/>
                  </a:cubicBezTo>
                  <a:cubicBezTo>
                    <a:pt x="-5842" y="14658"/>
                    <a:pt x="6512" y="13718"/>
                    <a:pt x="9975" y="3456"/>
                  </a:cubicBezTo>
                  <a:cubicBezTo>
                    <a:pt x="13400" y="-6843"/>
                    <a:pt x="23103" y="9044"/>
                    <a:pt x="30511" y="10302"/>
                  </a:cubicBezTo>
                  <a:cubicBezTo>
                    <a:pt x="37881" y="11559"/>
                    <a:pt x="36307" y="14797"/>
                    <a:pt x="41926" y="15344"/>
                  </a:cubicBezTo>
                  <a:cubicBezTo>
                    <a:pt x="47597" y="15877"/>
                    <a:pt x="46430" y="6873"/>
                    <a:pt x="50970" y="21503"/>
                  </a:cubicBezTo>
                  <a:cubicBezTo>
                    <a:pt x="55499" y="36121"/>
                    <a:pt x="52455" y="31536"/>
                    <a:pt x="52632" y="40490"/>
                  </a:cubicBezTo>
                  <a:cubicBezTo>
                    <a:pt x="52810" y="49443"/>
                    <a:pt x="67676" y="42915"/>
                    <a:pt x="72901" y="42064"/>
                  </a:cubicBezTo>
                  <a:cubicBezTo>
                    <a:pt x="78115" y="41251"/>
                    <a:pt x="103090" y="44858"/>
                    <a:pt x="116269" y="46027"/>
                  </a:cubicBezTo>
                  <a:cubicBezTo>
                    <a:pt x="129384" y="47195"/>
                    <a:pt x="121609" y="52415"/>
                    <a:pt x="120442" y="60835"/>
                  </a:cubicBezTo>
                  <a:cubicBezTo>
                    <a:pt x="119224" y="69242"/>
                    <a:pt x="117347" y="66004"/>
                    <a:pt x="108037" y="72481"/>
                  </a:cubicBezTo>
                  <a:cubicBezTo>
                    <a:pt x="102583" y="75922"/>
                    <a:pt x="97344" y="79694"/>
                    <a:pt x="92359" y="83771"/>
                  </a:cubicBezTo>
                  <a:cubicBezTo>
                    <a:pt x="84495" y="90210"/>
                    <a:pt x="91636" y="91734"/>
                    <a:pt x="93475" y="101284"/>
                  </a:cubicBezTo>
                  <a:cubicBezTo>
                    <a:pt x="95365" y="110822"/>
                    <a:pt x="95276" y="105641"/>
                    <a:pt x="104308" y="103443"/>
                  </a:cubicBezTo>
                  <a:cubicBezTo>
                    <a:pt x="113338" y="101284"/>
                    <a:pt x="112134" y="89359"/>
                    <a:pt x="112134" y="89359"/>
                  </a:cubicBezTo>
                  <a:cubicBezTo>
                    <a:pt x="117233" y="91632"/>
                    <a:pt x="121596" y="95315"/>
                    <a:pt x="124717" y="99976"/>
                  </a:cubicBezTo>
                  <a:cubicBezTo>
                    <a:pt x="129118" y="107177"/>
                    <a:pt x="126682" y="112168"/>
                    <a:pt x="128800" y="125986"/>
                  </a:cubicBezTo>
                  <a:cubicBezTo>
                    <a:pt x="129448" y="130456"/>
                    <a:pt x="130424" y="134876"/>
                    <a:pt x="131718" y="139207"/>
                  </a:cubicBezTo>
                  <a:cubicBezTo>
                    <a:pt x="128712" y="140426"/>
                    <a:pt x="128306" y="142318"/>
                    <a:pt x="129650" y="148744"/>
                  </a:cubicBezTo>
                  <a:lnTo>
                    <a:pt x="132035" y="160263"/>
                  </a:lnTo>
                  <a:cubicBezTo>
                    <a:pt x="132035" y="160263"/>
                    <a:pt x="139303" y="158968"/>
                    <a:pt x="130640" y="164632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2" name="Vrije vorm 281">
              <a:extLst>
                <a:ext uri="{FF2B5EF4-FFF2-40B4-BE49-F238E27FC236}">
                  <a16:creationId xmlns:a16="http://schemas.microsoft.com/office/drawing/2014/main" id="{A2556072-86C1-C94A-93D7-B4A4A1D3C02C}"/>
                </a:ext>
              </a:extLst>
            </p:cNvPr>
            <p:cNvSpPr/>
            <p:nvPr/>
          </p:nvSpPr>
          <p:spPr>
            <a:xfrm>
              <a:off x="6810399" y="2507470"/>
              <a:ext cx="1154128" cy="632686"/>
            </a:xfrm>
            <a:custGeom>
              <a:avLst/>
              <a:gdLst>
                <a:gd name="connsiteX0" fmla="*/ 1140035 w 1154128"/>
                <a:gd name="connsiteY0" fmla="*/ 276039 h 632686"/>
                <a:gd name="connsiteX1" fmla="*/ 1134948 w 1154128"/>
                <a:gd name="connsiteY1" fmla="*/ 264559 h 632686"/>
                <a:gd name="connsiteX2" fmla="*/ 1110962 w 1154128"/>
                <a:gd name="connsiteY2" fmla="*/ 274325 h 632686"/>
                <a:gd name="connsiteX3" fmla="*/ 1093255 w 1154128"/>
                <a:gd name="connsiteY3" fmla="*/ 264025 h 632686"/>
                <a:gd name="connsiteX4" fmla="*/ 1082284 w 1154128"/>
                <a:gd name="connsiteY4" fmla="*/ 241749 h 632686"/>
                <a:gd name="connsiteX5" fmla="*/ 1067494 w 1154128"/>
                <a:gd name="connsiteY5" fmla="*/ 232123 h 632686"/>
                <a:gd name="connsiteX6" fmla="*/ 1048632 w 1154128"/>
                <a:gd name="connsiteY6" fmla="*/ 211739 h 632686"/>
                <a:gd name="connsiteX7" fmla="*/ 1030697 w 1154128"/>
                <a:gd name="connsiteY7" fmla="*/ 210749 h 632686"/>
                <a:gd name="connsiteX8" fmla="*/ 1019548 w 1154128"/>
                <a:gd name="connsiteY8" fmla="*/ 219118 h 632686"/>
                <a:gd name="connsiteX9" fmla="*/ 983106 w 1154128"/>
                <a:gd name="connsiteY9" fmla="*/ 213898 h 632686"/>
                <a:gd name="connsiteX10" fmla="*/ 980632 w 1154128"/>
                <a:gd name="connsiteY10" fmla="*/ 200716 h 632686"/>
                <a:gd name="connsiteX11" fmla="*/ 966832 w 1154128"/>
                <a:gd name="connsiteY11" fmla="*/ 196614 h 632686"/>
                <a:gd name="connsiteX12" fmla="*/ 956811 w 1154128"/>
                <a:gd name="connsiteY12" fmla="*/ 209580 h 632686"/>
                <a:gd name="connsiteX13" fmla="*/ 945713 w 1154128"/>
                <a:gd name="connsiteY13" fmla="*/ 212717 h 632686"/>
                <a:gd name="connsiteX14" fmla="*/ 929579 w 1154128"/>
                <a:gd name="connsiteY14" fmla="*/ 178427 h 632686"/>
                <a:gd name="connsiteX15" fmla="*/ 905403 w 1154128"/>
                <a:gd name="connsiteY15" fmla="*/ 133348 h 632686"/>
                <a:gd name="connsiteX16" fmla="*/ 850975 w 1154128"/>
                <a:gd name="connsiteY16" fmla="*/ 59376 h 632686"/>
                <a:gd name="connsiteX17" fmla="*/ 856416 w 1154128"/>
                <a:gd name="connsiteY17" fmla="*/ 47184 h 632686"/>
                <a:gd name="connsiteX18" fmla="*/ 840155 w 1154128"/>
                <a:gd name="connsiteY18" fmla="*/ 55374 h 632686"/>
                <a:gd name="connsiteX19" fmla="*/ 819302 w 1154128"/>
                <a:gd name="connsiteY19" fmla="*/ 68063 h 632686"/>
                <a:gd name="connsiteX20" fmla="*/ 804779 w 1154128"/>
                <a:gd name="connsiteY20" fmla="*/ 79042 h 632686"/>
                <a:gd name="connsiteX21" fmla="*/ 786666 w 1154128"/>
                <a:gd name="connsiteY21" fmla="*/ 87366 h 632686"/>
                <a:gd name="connsiteX22" fmla="*/ 764291 w 1154128"/>
                <a:gd name="connsiteY22" fmla="*/ 83683 h 632686"/>
                <a:gd name="connsiteX23" fmla="*/ 763035 w 1154128"/>
                <a:gd name="connsiteY23" fmla="*/ 67935 h 632686"/>
                <a:gd name="connsiteX24" fmla="*/ 752292 w 1154128"/>
                <a:gd name="connsiteY24" fmla="*/ 62580 h 632686"/>
                <a:gd name="connsiteX25" fmla="*/ 737236 w 1154128"/>
                <a:gd name="connsiteY25" fmla="*/ 63840 h 632686"/>
                <a:gd name="connsiteX26" fmla="*/ 725604 w 1154128"/>
                <a:gd name="connsiteY26" fmla="*/ 57587 h 632686"/>
                <a:gd name="connsiteX27" fmla="*/ 704117 w 1154128"/>
                <a:gd name="connsiteY27" fmla="*/ 58349 h 632686"/>
                <a:gd name="connsiteX28" fmla="*/ 697648 w 1154128"/>
                <a:gd name="connsiteY28" fmla="*/ 57223 h 632686"/>
                <a:gd name="connsiteX29" fmla="*/ 698866 w 1154128"/>
                <a:gd name="connsiteY29" fmla="*/ 50880 h 632686"/>
                <a:gd name="connsiteX30" fmla="*/ 700883 w 1154128"/>
                <a:gd name="connsiteY30" fmla="*/ 38641 h 632686"/>
                <a:gd name="connsiteX31" fmla="*/ 694413 w 1154128"/>
                <a:gd name="connsiteY31" fmla="*/ 26986 h 632686"/>
                <a:gd name="connsiteX32" fmla="*/ 687095 w 1154128"/>
                <a:gd name="connsiteY32" fmla="*/ 9932 h 632686"/>
                <a:gd name="connsiteX33" fmla="*/ 673028 w 1154128"/>
                <a:gd name="connsiteY33" fmla="*/ 6783 h 632686"/>
                <a:gd name="connsiteX34" fmla="*/ 661968 w 1154128"/>
                <a:gd name="connsiteY34" fmla="*/ 5748 h 632686"/>
                <a:gd name="connsiteX35" fmla="*/ 647546 w 1154128"/>
                <a:gd name="connsiteY35" fmla="*/ 1653 h 632686"/>
                <a:gd name="connsiteX36" fmla="*/ 629027 w 1154128"/>
                <a:gd name="connsiteY36" fmla="*/ 2058 h 632686"/>
                <a:gd name="connsiteX37" fmla="*/ 615137 w 1154128"/>
                <a:gd name="connsiteY37" fmla="*/ 12992 h 632686"/>
                <a:gd name="connsiteX38" fmla="*/ 604445 w 1154128"/>
                <a:gd name="connsiteY38" fmla="*/ 27166 h 632686"/>
                <a:gd name="connsiteX39" fmla="*/ 587499 w 1154128"/>
                <a:gd name="connsiteY39" fmla="*/ 32970 h 632686"/>
                <a:gd name="connsiteX40" fmla="*/ 555192 w 1154128"/>
                <a:gd name="connsiteY40" fmla="*/ 36840 h 632686"/>
                <a:gd name="connsiteX41" fmla="*/ 539096 w 1154128"/>
                <a:gd name="connsiteY41" fmla="*/ 36840 h 632686"/>
                <a:gd name="connsiteX42" fmla="*/ 528404 w 1154128"/>
                <a:gd name="connsiteY42" fmla="*/ 49667 h 632686"/>
                <a:gd name="connsiteX43" fmla="*/ 517837 w 1154128"/>
                <a:gd name="connsiteY43" fmla="*/ 51064 h 632686"/>
                <a:gd name="connsiteX44" fmla="*/ 500625 w 1154128"/>
                <a:gd name="connsiteY44" fmla="*/ 53858 h 632686"/>
                <a:gd name="connsiteX45" fmla="*/ 478973 w 1154128"/>
                <a:gd name="connsiteY45" fmla="*/ 59617 h 632686"/>
                <a:gd name="connsiteX46" fmla="*/ 461671 w 1154128"/>
                <a:gd name="connsiteY46" fmla="*/ 66907 h 632686"/>
                <a:gd name="connsiteX47" fmla="*/ 428680 w 1154128"/>
                <a:gd name="connsiteY47" fmla="*/ 68077 h 632686"/>
                <a:gd name="connsiteX48" fmla="*/ 414614 w 1154128"/>
                <a:gd name="connsiteY48" fmla="*/ 70101 h 632686"/>
                <a:gd name="connsiteX49" fmla="*/ 409311 w 1154128"/>
                <a:gd name="connsiteY49" fmla="*/ 81981 h 632686"/>
                <a:gd name="connsiteX50" fmla="*/ 420195 w 1154128"/>
                <a:gd name="connsiteY50" fmla="*/ 90260 h 632686"/>
                <a:gd name="connsiteX51" fmla="*/ 415920 w 1154128"/>
                <a:gd name="connsiteY51" fmla="*/ 97324 h 632686"/>
                <a:gd name="connsiteX52" fmla="*/ 435555 w 1154128"/>
                <a:gd name="connsiteY52" fmla="*/ 112082 h 632686"/>
                <a:gd name="connsiteX53" fmla="*/ 417036 w 1154128"/>
                <a:gd name="connsiteY53" fmla="*/ 112173 h 632686"/>
                <a:gd name="connsiteX54" fmla="*/ 403109 w 1154128"/>
                <a:gd name="connsiteY54" fmla="*/ 124456 h 632686"/>
                <a:gd name="connsiteX55" fmla="*/ 401980 w 1154128"/>
                <a:gd name="connsiteY55" fmla="*/ 145469 h 632686"/>
                <a:gd name="connsiteX56" fmla="*/ 389981 w 1154128"/>
                <a:gd name="connsiteY56" fmla="*/ 157040 h 632686"/>
                <a:gd name="connsiteX57" fmla="*/ 389981 w 1154128"/>
                <a:gd name="connsiteY57" fmla="*/ 169182 h 632686"/>
                <a:gd name="connsiteX58" fmla="*/ 398035 w 1154128"/>
                <a:gd name="connsiteY58" fmla="*/ 177284 h 632686"/>
                <a:gd name="connsiteX59" fmla="*/ 419104 w 1154128"/>
                <a:gd name="connsiteY59" fmla="*/ 188892 h 632686"/>
                <a:gd name="connsiteX60" fmla="*/ 425395 w 1154128"/>
                <a:gd name="connsiteY60" fmla="*/ 210761 h 632686"/>
                <a:gd name="connsiteX61" fmla="*/ 401041 w 1154128"/>
                <a:gd name="connsiteY61" fmla="*/ 221379 h 632686"/>
                <a:gd name="connsiteX62" fmla="*/ 384146 w 1154128"/>
                <a:gd name="connsiteY62" fmla="*/ 217149 h 632686"/>
                <a:gd name="connsiteX63" fmla="*/ 372819 w 1154128"/>
                <a:gd name="connsiteY63" fmla="*/ 226776 h 632686"/>
                <a:gd name="connsiteX64" fmla="*/ 346258 w 1154128"/>
                <a:gd name="connsiteY64" fmla="*/ 214851 h 632686"/>
                <a:gd name="connsiteX65" fmla="*/ 330175 w 1154128"/>
                <a:gd name="connsiteY65" fmla="*/ 197757 h 632686"/>
                <a:gd name="connsiteX66" fmla="*/ 318404 w 1154128"/>
                <a:gd name="connsiteY66" fmla="*/ 208425 h 632686"/>
                <a:gd name="connsiteX67" fmla="*/ 305466 w 1154128"/>
                <a:gd name="connsiteY67" fmla="*/ 206266 h 632686"/>
                <a:gd name="connsiteX68" fmla="*/ 279527 w 1154128"/>
                <a:gd name="connsiteY68" fmla="*/ 206266 h 632686"/>
                <a:gd name="connsiteX69" fmla="*/ 266044 w 1154128"/>
                <a:gd name="connsiteY69" fmla="*/ 215841 h 632686"/>
                <a:gd name="connsiteX70" fmla="*/ 252839 w 1154128"/>
                <a:gd name="connsiteY70" fmla="*/ 222242 h 632686"/>
                <a:gd name="connsiteX71" fmla="*/ 230540 w 1154128"/>
                <a:gd name="connsiteY71" fmla="*/ 213873 h 632686"/>
                <a:gd name="connsiteX72" fmla="*/ 227674 w 1154128"/>
                <a:gd name="connsiteY72" fmla="*/ 228046 h 632686"/>
                <a:gd name="connsiteX73" fmla="*/ 218592 w 1154128"/>
                <a:gd name="connsiteY73" fmla="*/ 210761 h 632686"/>
                <a:gd name="connsiteX74" fmla="*/ 201519 w 1154128"/>
                <a:gd name="connsiteY74" fmla="*/ 195775 h 632686"/>
                <a:gd name="connsiteX75" fmla="*/ 188937 w 1154128"/>
                <a:gd name="connsiteY75" fmla="*/ 188168 h 632686"/>
                <a:gd name="connsiteX76" fmla="*/ 174147 w 1154128"/>
                <a:gd name="connsiteY76" fmla="*/ 188892 h 632686"/>
                <a:gd name="connsiteX77" fmla="*/ 161970 w 1154128"/>
                <a:gd name="connsiteY77" fmla="*/ 175265 h 632686"/>
                <a:gd name="connsiteX78" fmla="*/ 150326 w 1154128"/>
                <a:gd name="connsiteY78" fmla="*/ 178503 h 632686"/>
                <a:gd name="connsiteX79" fmla="*/ 133481 w 1154128"/>
                <a:gd name="connsiteY79" fmla="*/ 185018 h 632686"/>
                <a:gd name="connsiteX80" fmla="*/ 123055 w 1154128"/>
                <a:gd name="connsiteY80" fmla="*/ 175265 h 632686"/>
                <a:gd name="connsiteX81" fmla="*/ 111094 w 1154128"/>
                <a:gd name="connsiteY81" fmla="*/ 188397 h 632686"/>
                <a:gd name="connsiteX82" fmla="*/ 84267 w 1154128"/>
                <a:gd name="connsiteY82" fmla="*/ 200728 h 632686"/>
                <a:gd name="connsiteX83" fmla="*/ 71455 w 1154128"/>
                <a:gd name="connsiteY83" fmla="*/ 217149 h 632686"/>
                <a:gd name="connsiteX84" fmla="*/ 61168 w 1154128"/>
                <a:gd name="connsiteY84" fmla="*/ 228033 h 632686"/>
                <a:gd name="connsiteX85" fmla="*/ 56983 w 1154128"/>
                <a:gd name="connsiteY85" fmla="*/ 255707 h 632686"/>
                <a:gd name="connsiteX86" fmla="*/ 45973 w 1154128"/>
                <a:gd name="connsiteY86" fmla="*/ 254627 h 632686"/>
                <a:gd name="connsiteX87" fmla="*/ 32769 w 1154128"/>
                <a:gd name="connsiteY87" fmla="*/ 234472 h 632686"/>
                <a:gd name="connsiteX88" fmla="*/ 21847 w 1154128"/>
                <a:gd name="connsiteY88" fmla="*/ 242308 h 632686"/>
                <a:gd name="connsiteX89" fmla="*/ 3468 w 1154128"/>
                <a:gd name="connsiteY89" fmla="*/ 306418 h 632686"/>
                <a:gd name="connsiteX90" fmla="*/ 2251 w 1154128"/>
                <a:gd name="connsiteY90" fmla="*/ 322305 h 632686"/>
                <a:gd name="connsiteX91" fmla="*/ 15277 w 1154128"/>
                <a:gd name="connsiteY91" fmla="*/ 334409 h 632686"/>
                <a:gd name="connsiteX92" fmla="*/ 21619 w 1154128"/>
                <a:gd name="connsiteY92" fmla="*/ 350118 h 632686"/>
                <a:gd name="connsiteX93" fmla="*/ 27099 w 1154128"/>
                <a:gd name="connsiteY93" fmla="*/ 346512 h 632686"/>
                <a:gd name="connsiteX94" fmla="*/ 40760 w 1154128"/>
                <a:gd name="connsiteY94" fmla="*/ 346829 h 632686"/>
                <a:gd name="connsiteX95" fmla="*/ 49930 w 1154128"/>
                <a:gd name="connsiteY95" fmla="*/ 356913 h 632686"/>
                <a:gd name="connsiteX96" fmla="*/ 64048 w 1154128"/>
                <a:gd name="connsiteY96" fmla="*/ 380256 h 632686"/>
                <a:gd name="connsiteX97" fmla="*/ 60446 w 1154128"/>
                <a:gd name="connsiteY97" fmla="*/ 390568 h 632686"/>
                <a:gd name="connsiteX98" fmla="*/ 59456 w 1154128"/>
                <a:gd name="connsiteY98" fmla="*/ 398798 h 632686"/>
                <a:gd name="connsiteX99" fmla="*/ 74068 w 1154128"/>
                <a:gd name="connsiteY99" fmla="*/ 408564 h 632686"/>
                <a:gd name="connsiteX100" fmla="*/ 74386 w 1154128"/>
                <a:gd name="connsiteY100" fmla="*/ 408157 h 632686"/>
                <a:gd name="connsiteX101" fmla="*/ 74918 w 1154128"/>
                <a:gd name="connsiteY101" fmla="*/ 408919 h 632686"/>
                <a:gd name="connsiteX102" fmla="*/ 74969 w 1154128"/>
                <a:gd name="connsiteY102" fmla="*/ 408970 h 632686"/>
                <a:gd name="connsiteX103" fmla="*/ 76669 w 1154128"/>
                <a:gd name="connsiteY103" fmla="*/ 409732 h 632686"/>
                <a:gd name="connsiteX104" fmla="*/ 77975 w 1154128"/>
                <a:gd name="connsiteY104" fmla="*/ 405986 h 632686"/>
                <a:gd name="connsiteX105" fmla="*/ 77392 w 1154128"/>
                <a:gd name="connsiteY105" fmla="*/ 404144 h 632686"/>
                <a:gd name="connsiteX106" fmla="*/ 78026 w 1154128"/>
                <a:gd name="connsiteY106" fmla="*/ 403611 h 632686"/>
                <a:gd name="connsiteX107" fmla="*/ 79244 w 1154128"/>
                <a:gd name="connsiteY107" fmla="*/ 404779 h 632686"/>
                <a:gd name="connsiteX108" fmla="*/ 79827 w 1154128"/>
                <a:gd name="connsiteY108" fmla="*/ 405363 h 632686"/>
                <a:gd name="connsiteX109" fmla="*/ 80499 w 1154128"/>
                <a:gd name="connsiteY109" fmla="*/ 405999 h 632686"/>
                <a:gd name="connsiteX110" fmla="*/ 79053 w 1154128"/>
                <a:gd name="connsiteY110" fmla="*/ 402760 h 632686"/>
                <a:gd name="connsiteX111" fmla="*/ 80182 w 1154128"/>
                <a:gd name="connsiteY111" fmla="*/ 401947 h 632686"/>
                <a:gd name="connsiteX112" fmla="*/ 80728 w 1154128"/>
                <a:gd name="connsiteY112" fmla="*/ 402087 h 632686"/>
                <a:gd name="connsiteX113" fmla="*/ 80677 w 1154128"/>
                <a:gd name="connsiteY113" fmla="*/ 401541 h 632686"/>
                <a:gd name="connsiteX114" fmla="*/ 80728 w 1154128"/>
                <a:gd name="connsiteY114" fmla="*/ 401503 h 632686"/>
                <a:gd name="connsiteX115" fmla="*/ 82516 w 1154128"/>
                <a:gd name="connsiteY115" fmla="*/ 400144 h 632686"/>
                <a:gd name="connsiteX116" fmla="*/ 87869 w 1154128"/>
                <a:gd name="connsiteY116" fmla="*/ 400639 h 632686"/>
                <a:gd name="connsiteX117" fmla="*/ 90342 w 1154128"/>
                <a:gd name="connsiteY117" fmla="*/ 398886 h 632686"/>
                <a:gd name="connsiteX118" fmla="*/ 105031 w 1154128"/>
                <a:gd name="connsiteY118" fmla="*/ 392092 h 632686"/>
                <a:gd name="connsiteX119" fmla="*/ 145430 w 1154128"/>
                <a:gd name="connsiteY119" fmla="*/ 378274 h 632686"/>
                <a:gd name="connsiteX120" fmla="*/ 155184 w 1154128"/>
                <a:gd name="connsiteY120" fmla="*/ 385297 h 632686"/>
                <a:gd name="connsiteX121" fmla="*/ 160942 w 1154128"/>
                <a:gd name="connsiteY121" fmla="*/ 385526 h 632686"/>
                <a:gd name="connsiteX122" fmla="*/ 175947 w 1154128"/>
                <a:gd name="connsiteY122" fmla="*/ 439971 h 632686"/>
                <a:gd name="connsiteX123" fmla="*/ 176988 w 1154128"/>
                <a:gd name="connsiteY123" fmla="*/ 440784 h 632686"/>
                <a:gd name="connsiteX124" fmla="*/ 177838 w 1154128"/>
                <a:gd name="connsiteY124" fmla="*/ 441419 h 632686"/>
                <a:gd name="connsiteX125" fmla="*/ 181073 w 1154128"/>
                <a:gd name="connsiteY125" fmla="*/ 443489 h 632686"/>
                <a:gd name="connsiteX126" fmla="*/ 183634 w 1154128"/>
                <a:gd name="connsiteY126" fmla="*/ 445013 h 632686"/>
                <a:gd name="connsiteX127" fmla="*/ 152444 w 1154128"/>
                <a:gd name="connsiteY127" fmla="*/ 445191 h 632686"/>
                <a:gd name="connsiteX128" fmla="*/ 138554 w 1154128"/>
                <a:gd name="connsiteY128" fmla="*/ 451045 h 632686"/>
                <a:gd name="connsiteX129" fmla="*/ 138517 w 1154128"/>
                <a:gd name="connsiteY129" fmla="*/ 451083 h 632686"/>
                <a:gd name="connsiteX130" fmla="*/ 134559 w 1154128"/>
                <a:gd name="connsiteY130" fmla="*/ 453877 h 632686"/>
                <a:gd name="connsiteX131" fmla="*/ 132935 w 1154128"/>
                <a:gd name="connsiteY131" fmla="*/ 455452 h 632686"/>
                <a:gd name="connsiteX132" fmla="*/ 131592 w 1154128"/>
                <a:gd name="connsiteY132" fmla="*/ 457116 h 632686"/>
                <a:gd name="connsiteX133" fmla="*/ 129701 w 1154128"/>
                <a:gd name="connsiteY133" fmla="*/ 460723 h 632686"/>
                <a:gd name="connsiteX134" fmla="*/ 129346 w 1154128"/>
                <a:gd name="connsiteY134" fmla="*/ 462158 h 632686"/>
                <a:gd name="connsiteX135" fmla="*/ 130018 w 1154128"/>
                <a:gd name="connsiteY135" fmla="*/ 469359 h 632686"/>
                <a:gd name="connsiteX136" fmla="*/ 130690 w 1154128"/>
                <a:gd name="connsiteY136" fmla="*/ 470845 h 632686"/>
                <a:gd name="connsiteX137" fmla="*/ 131769 w 1154128"/>
                <a:gd name="connsiteY137" fmla="*/ 472648 h 632686"/>
                <a:gd name="connsiteX138" fmla="*/ 132847 w 1154128"/>
                <a:gd name="connsiteY138" fmla="*/ 474083 h 632686"/>
                <a:gd name="connsiteX139" fmla="*/ 132935 w 1154128"/>
                <a:gd name="connsiteY139" fmla="*/ 474223 h 632686"/>
                <a:gd name="connsiteX140" fmla="*/ 134293 w 1154128"/>
                <a:gd name="connsiteY140" fmla="*/ 475709 h 632686"/>
                <a:gd name="connsiteX141" fmla="*/ 135993 w 1154128"/>
                <a:gd name="connsiteY141" fmla="*/ 477322 h 632686"/>
                <a:gd name="connsiteX142" fmla="*/ 117930 w 1154128"/>
                <a:gd name="connsiteY142" fmla="*/ 477322 h 632686"/>
                <a:gd name="connsiteX143" fmla="*/ 113301 w 1154128"/>
                <a:gd name="connsiteY143" fmla="*/ 476649 h 632686"/>
                <a:gd name="connsiteX144" fmla="*/ 107770 w 1154128"/>
                <a:gd name="connsiteY144" fmla="*/ 477233 h 632686"/>
                <a:gd name="connsiteX145" fmla="*/ 105982 w 1154128"/>
                <a:gd name="connsiteY145" fmla="*/ 478490 h 632686"/>
                <a:gd name="connsiteX146" fmla="*/ 104992 w 1154128"/>
                <a:gd name="connsiteY146" fmla="*/ 483126 h 632686"/>
                <a:gd name="connsiteX147" fmla="*/ 134293 w 1154128"/>
                <a:gd name="connsiteY147" fmla="*/ 534599 h 632686"/>
                <a:gd name="connsiteX148" fmla="*/ 175364 w 1154128"/>
                <a:gd name="connsiteY148" fmla="*/ 556963 h 632686"/>
                <a:gd name="connsiteX149" fmla="*/ 168718 w 1154128"/>
                <a:gd name="connsiteY149" fmla="*/ 582033 h 632686"/>
                <a:gd name="connsiteX150" fmla="*/ 177292 w 1154128"/>
                <a:gd name="connsiteY150" fmla="*/ 577525 h 632686"/>
                <a:gd name="connsiteX151" fmla="*/ 203004 w 1154128"/>
                <a:gd name="connsiteY151" fmla="*/ 567771 h 632686"/>
                <a:gd name="connsiteX152" fmla="*/ 220622 w 1154128"/>
                <a:gd name="connsiteY152" fmla="*/ 572178 h 632686"/>
                <a:gd name="connsiteX153" fmla="*/ 240168 w 1154128"/>
                <a:gd name="connsiteY153" fmla="*/ 588561 h 632686"/>
                <a:gd name="connsiteX154" fmla="*/ 251495 w 1154128"/>
                <a:gd name="connsiteY154" fmla="*/ 605528 h 632686"/>
                <a:gd name="connsiteX155" fmla="*/ 268035 w 1154128"/>
                <a:gd name="connsiteY155" fmla="*/ 606328 h 632686"/>
                <a:gd name="connsiteX156" fmla="*/ 267045 w 1154128"/>
                <a:gd name="connsiteY156" fmla="*/ 578566 h 632686"/>
                <a:gd name="connsiteX157" fmla="*/ 267045 w 1154128"/>
                <a:gd name="connsiteY157" fmla="*/ 501985 h 632686"/>
                <a:gd name="connsiteX158" fmla="*/ 326458 w 1154128"/>
                <a:gd name="connsiteY158" fmla="*/ 441114 h 632686"/>
                <a:gd name="connsiteX159" fmla="*/ 348072 w 1154128"/>
                <a:gd name="connsiteY159" fmla="*/ 444352 h 632686"/>
                <a:gd name="connsiteX160" fmla="*/ 428744 w 1154128"/>
                <a:gd name="connsiteY160" fmla="*/ 512831 h 632686"/>
                <a:gd name="connsiteX161" fmla="*/ 444739 w 1154128"/>
                <a:gd name="connsiteY161" fmla="*/ 521340 h 632686"/>
                <a:gd name="connsiteX162" fmla="*/ 476918 w 1154128"/>
                <a:gd name="connsiteY162" fmla="*/ 516298 h 632686"/>
                <a:gd name="connsiteX163" fmla="*/ 507652 w 1154128"/>
                <a:gd name="connsiteY163" fmla="*/ 514952 h 632686"/>
                <a:gd name="connsiteX164" fmla="*/ 524915 w 1154128"/>
                <a:gd name="connsiteY164" fmla="*/ 516844 h 632686"/>
                <a:gd name="connsiteX165" fmla="*/ 543701 w 1154128"/>
                <a:gd name="connsiteY165" fmla="*/ 536504 h 632686"/>
                <a:gd name="connsiteX166" fmla="*/ 555155 w 1154128"/>
                <a:gd name="connsiteY166" fmla="*/ 541368 h 632686"/>
                <a:gd name="connsiteX167" fmla="*/ 552960 w 1154128"/>
                <a:gd name="connsiteY167" fmla="*/ 552798 h 632686"/>
                <a:gd name="connsiteX168" fmla="*/ 552960 w 1154128"/>
                <a:gd name="connsiteY168" fmla="*/ 575785 h 632686"/>
                <a:gd name="connsiteX169" fmla="*/ 565809 w 1154128"/>
                <a:gd name="connsiteY169" fmla="*/ 579519 h 632686"/>
                <a:gd name="connsiteX170" fmla="*/ 568549 w 1154128"/>
                <a:gd name="connsiteY170" fmla="*/ 589691 h 632686"/>
                <a:gd name="connsiteX171" fmla="*/ 571428 w 1154128"/>
                <a:gd name="connsiteY171" fmla="*/ 607598 h 632686"/>
                <a:gd name="connsiteX172" fmla="*/ 585850 w 1154128"/>
                <a:gd name="connsiteY172" fmla="*/ 614075 h 632686"/>
                <a:gd name="connsiteX173" fmla="*/ 604318 w 1154128"/>
                <a:gd name="connsiteY173" fmla="*/ 611243 h 632686"/>
                <a:gd name="connsiteX174" fmla="*/ 608592 w 1154128"/>
                <a:gd name="connsiteY174" fmla="*/ 628566 h 632686"/>
                <a:gd name="connsiteX175" fmla="*/ 625805 w 1154128"/>
                <a:gd name="connsiteY175" fmla="*/ 632122 h 632686"/>
                <a:gd name="connsiteX176" fmla="*/ 625171 w 1154128"/>
                <a:gd name="connsiteY176" fmla="*/ 620374 h 632686"/>
                <a:gd name="connsiteX177" fmla="*/ 637880 w 1154128"/>
                <a:gd name="connsiteY177" fmla="*/ 608640 h 632686"/>
                <a:gd name="connsiteX178" fmla="*/ 654598 w 1154128"/>
                <a:gd name="connsiteY178" fmla="*/ 595673 h 632686"/>
                <a:gd name="connsiteX179" fmla="*/ 673384 w 1154128"/>
                <a:gd name="connsiteY179" fmla="*/ 577550 h 632686"/>
                <a:gd name="connsiteX180" fmla="*/ 687184 w 1154128"/>
                <a:gd name="connsiteY180" fmla="*/ 571835 h 632686"/>
                <a:gd name="connsiteX181" fmla="*/ 696215 w 1154128"/>
                <a:gd name="connsiteY181" fmla="*/ 560316 h 632686"/>
                <a:gd name="connsiteX182" fmla="*/ 703407 w 1154128"/>
                <a:gd name="connsiteY182" fmla="*/ 551134 h 632686"/>
                <a:gd name="connsiteX183" fmla="*/ 727089 w 1154128"/>
                <a:gd name="connsiteY183" fmla="*/ 550055 h 632686"/>
                <a:gd name="connsiteX184" fmla="*/ 752799 w 1154128"/>
                <a:gd name="connsiteY184" fmla="*/ 558284 h 632686"/>
                <a:gd name="connsiteX185" fmla="*/ 763454 w 1154128"/>
                <a:gd name="connsiteY185" fmla="*/ 555998 h 632686"/>
                <a:gd name="connsiteX186" fmla="*/ 765255 w 1154128"/>
                <a:gd name="connsiteY186" fmla="*/ 546410 h 632686"/>
                <a:gd name="connsiteX187" fmla="*/ 780299 w 1154128"/>
                <a:gd name="connsiteY187" fmla="*/ 533951 h 632686"/>
                <a:gd name="connsiteX188" fmla="*/ 806047 w 1154128"/>
                <a:gd name="connsiteY188" fmla="*/ 537101 h 632686"/>
                <a:gd name="connsiteX189" fmla="*/ 822727 w 1154128"/>
                <a:gd name="connsiteY189" fmla="*/ 547667 h 632686"/>
                <a:gd name="connsiteX190" fmla="*/ 838455 w 1154128"/>
                <a:gd name="connsiteY190" fmla="*/ 543527 h 632686"/>
                <a:gd name="connsiteX191" fmla="*/ 857469 w 1154128"/>
                <a:gd name="connsiteY191" fmla="*/ 543209 h 632686"/>
                <a:gd name="connsiteX192" fmla="*/ 882635 w 1154128"/>
                <a:gd name="connsiteY192" fmla="*/ 544479 h 632686"/>
                <a:gd name="connsiteX193" fmla="*/ 904781 w 1154128"/>
                <a:gd name="connsiteY193" fmla="*/ 545597 h 632686"/>
                <a:gd name="connsiteX194" fmla="*/ 922754 w 1154128"/>
                <a:gd name="connsiteY194" fmla="*/ 545330 h 632686"/>
                <a:gd name="connsiteX195" fmla="*/ 930492 w 1154128"/>
                <a:gd name="connsiteY195" fmla="*/ 553839 h 632686"/>
                <a:gd name="connsiteX196" fmla="*/ 956064 w 1154128"/>
                <a:gd name="connsiteY196" fmla="*/ 569943 h 632686"/>
                <a:gd name="connsiteX197" fmla="*/ 955518 w 1154128"/>
                <a:gd name="connsiteY197" fmla="*/ 556036 h 632686"/>
                <a:gd name="connsiteX198" fmla="*/ 962481 w 1154128"/>
                <a:gd name="connsiteY198" fmla="*/ 546651 h 632686"/>
                <a:gd name="connsiteX199" fmla="*/ 966845 w 1154128"/>
                <a:gd name="connsiteY199" fmla="*/ 537101 h 632686"/>
                <a:gd name="connsiteX200" fmla="*/ 964549 w 1154128"/>
                <a:gd name="connsiteY200" fmla="*/ 506417 h 632686"/>
                <a:gd name="connsiteX201" fmla="*/ 956825 w 1154128"/>
                <a:gd name="connsiteY201" fmla="*/ 475594 h 632686"/>
                <a:gd name="connsiteX202" fmla="*/ 944102 w 1154128"/>
                <a:gd name="connsiteY202" fmla="*/ 463491 h 632686"/>
                <a:gd name="connsiteX203" fmla="*/ 944102 w 1154128"/>
                <a:gd name="connsiteY203" fmla="*/ 462856 h 632686"/>
                <a:gd name="connsiteX204" fmla="*/ 990755 w 1154128"/>
                <a:gd name="connsiteY204" fmla="*/ 453014 h 632686"/>
                <a:gd name="connsiteX205" fmla="*/ 1003071 w 1154128"/>
                <a:gd name="connsiteY205" fmla="*/ 455351 h 632686"/>
                <a:gd name="connsiteX206" fmla="*/ 1023645 w 1154128"/>
                <a:gd name="connsiteY206" fmla="*/ 452430 h 632686"/>
                <a:gd name="connsiteX207" fmla="*/ 1015831 w 1154128"/>
                <a:gd name="connsiteY207" fmla="*/ 439831 h 632686"/>
                <a:gd name="connsiteX208" fmla="*/ 1027742 w 1154128"/>
                <a:gd name="connsiteY208" fmla="*/ 382275 h 632686"/>
                <a:gd name="connsiteX209" fmla="*/ 1039512 w 1154128"/>
                <a:gd name="connsiteY209" fmla="*/ 376788 h 632686"/>
                <a:gd name="connsiteX210" fmla="*/ 1061406 w 1154128"/>
                <a:gd name="connsiteY210" fmla="*/ 384929 h 632686"/>
                <a:gd name="connsiteX211" fmla="*/ 1087243 w 1154128"/>
                <a:gd name="connsiteY211" fmla="*/ 387317 h 632686"/>
                <a:gd name="connsiteX212" fmla="*/ 1108045 w 1154128"/>
                <a:gd name="connsiteY212" fmla="*/ 373499 h 632686"/>
                <a:gd name="connsiteX213" fmla="*/ 1110201 w 1154128"/>
                <a:gd name="connsiteY213" fmla="*/ 334447 h 632686"/>
                <a:gd name="connsiteX214" fmla="*/ 1121477 w 1154128"/>
                <a:gd name="connsiteY214" fmla="*/ 322166 h 632686"/>
                <a:gd name="connsiteX215" fmla="*/ 1138056 w 1154128"/>
                <a:gd name="connsiteY215" fmla="*/ 311180 h 632686"/>
                <a:gd name="connsiteX216" fmla="*/ 1147138 w 1154128"/>
                <a:gd name="connsiteY216" fmla="*/ 295026 h 632686"/>
                <a:gd name="connsiteX217" fmla="*/ 1153885 w 1154128"/>
                <a:gd name="connsiteY217" fmla="*/ 291114 h 632686"/>
                <a:gd name="connsiteX218" fmla="*/ 1154101 w 1154128"/>
                <a:gd name="connsiteY218" fmla="*/ 289997 h 632686"/>
                <a:gd name="connsiteX219" fmla="*/ 1140035 w 1154128"/>
                <a:gd name="connsiteY219" fmla="*/ 276039 h 632686"/>
                <a:gd name="connsiteX220" fmla="*/ 922425 w 1154128"/>
                <a:gd name="connsiteY220" fmla="*/ 402887 h 632686"/>
                <a:gd name="connsiteX221" fmla="*/ 862162 w 1154128"/>
                <a:gd name="connsiteY221" fmla="*/ 403154 h 632686"/>
                <a:gd name="connsiteX222" fmla="*/ 822119 w 1154128"/>
                <a:gd name="connsiteY222" fmla="*/ 396219 h 632686"/>
                <a:gd name="connsiteX223" fmla="*/ 819873 w 1154128"/>
                <a:gd name="connsiteY223" fmla="*/ 401617 h 632686"/>
                <a:gd name="connsiteX224" fmla="*/ 817172 w 1154128"/>
                <a:gd name="connsiteY224" fmla="*/ 402481 h 632686"/>
                <a:gd name="connsiteX225" fmla="*/ 813582 w 1154128"/>
                <a:gd name="connsiteY225" fmla="*/ 404589 h 632686"/>
                <a:gd name="connsiteX226" fmla="*/ 811654 w 1154128"/>
                <a:gd name="connsiteY226" fmla="*/ 402074 h 632686"/>
                <a:gd name="connsiteX227" fmla="*/ 790433 w 1154128"/>
                <a:gd name="connsiteY227" fmla="*/ 420426 h 632686"/>
                <a:gd name="connsiteX228" fmla="*/ 788682 w 1154128"/>
                <a:gd name="connsiteY228" fmla="*/ 435056 h 632686"/>
                <a:gd name="connsiteX229" fmla="*/ 783152 w 1154128"/>
                <a:gd name="connsiteY229" fmla="*/ 438968 h 632686"/>
                <a:gd name="connsiteX230" fmla="*/ 782391 w 1154128"/>
                <a:gd name="connsiteY230" fmla="*/ 441038 h 632686"/>
                <a:gd name="connsiteX231" fmla="*/ 782759 w 1154128"/>
                <a:gd name="connsiteY231" fmla="*/ 448416 h 632686"/>
                <a:gd name="connsiteX232" fmla="*/ 781136 w 1154128"/>
                <a:gd name="connsiteY232" fmla="*/ 460570 h 632686"/>
                <a:gd name="connsiteX233" fmla="*/ 762845 w 1154128"/>
                <a:gd name="connsiteY233" fmla="*/ 437850 h 632686"/>
                <a:gd name="connsiteX234" fmla="*/ 767069 w 1154128"/>
                <a:gd name="connsiteY234" fmla="*/ 429608 h 632686"/>
                <a:gd name="connsiteX235" fmla="*/ 771698 w 1154128"/>
                <a:gd name="connsiteY235" fmla="*/ 422458 h 632686"/>
                <a:gd name="connsiteX236" fmla="*/ 780552 w 1154128"/>
                <a:gd name="connsiteY236" fmla="*/ 412463 h 632686"/>
                <a:gd name="connsiteX237" fmla="*/ 795786 w 1154128"/>
                <a:gd name="connsiteY237" fmla="*/ 391178 h 632686"/>
                <a:gd name="connsiteX238" fmla="*/ 834168 w 1154128"/>
                <a:gd name="connsiteY238" fmla="*/ 388612 h 632686"/>
                <a:gd name="connsiteX239" fmla="*/ 856315 w 1154128"/>
                <a:gd name="connsiteY239" fmla="*/ 393832 h 632686"/>
                <a:gd name="connsiteX240" fmla="*/ 859232 w 1154128"/>
                <a:gd name="connsiteY240" fmla="*/ 393832 h 632686"/>
                <a:gd name="connsiteX241" fmla="*/ 898160 w 1154128"/>
                <a:gd name="connsiteY241" fmla="*/ 399331 h 632686"/>
                <a:gd name="connsiteX242" fmla="*/ 903994 w 1154128"/>
                <a:gd name="connsiteY242" fmla="*/ 397121 h 632686"/>
                <a:gd name="connsiteX243" fmla="*/ 915055 w 1154128"/>
                <a:gd name="connsiteY243" fmla="*/ 396397 h 632686"/>
                <a:gd name="connsiteX244" fmla="*/ 916628 w 1154128"/>
                <a:gd name="connsiteY244" fmla="*/ 394149 h 632686"/>
                <a:gd name="connsiteX245" fmla="*/ 921664 w 1154128"/>
                <a:gd name="connsiteY245" fmla="*/ 389603 h 632686"/>
                <a:gd name="connsiteX246" fmla="*/ 928260 w 1154128"/>
                <a:gd name="connsiteY246" fmla="*/ 394734 h 632686"/>
                <a:gd name="connsiteX247" fmla="*/ 922425 w 1154128"/>
                <a:gd name="connsiteY247" fmla="*/ 402887 h 632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</a:cxnLst>
              <a:rect l="l" t="t" r="r" b="b"/>
              <a:pathLst>
                <a:path w="1154128" h="632686">
                  <a:moveTo>
                    <a:pt x="1140035" y="276039"/>
                  </a:moveTo>
                  <a:cubicBezTo>
                    <a:pt x="1131308" y="268521"/>
                    <a:pt x="1143358" y="265333"/>
                    <a:pt x="1134948" y="264559"/>
                  </a:cubicBezTo>
                  <a:cubicBezTo>
                    <a:pt x="1126551" y="263847"/>
                    <a:pt x="1127312" y="271760"/>
                    <a:pt x="1110962" y="274325"/>
                  </a:cubicBezTo>
                  <a:cubicBezTo>
                    <a:pt x="1094600" y="276890"/>
                    <a:pt x="1102642" y="269600"/>
                    <a:pt x="1093255" y="264025"/>
                  </a:cubicBezTo>
                  <a:cubicBezTo>
                    <a:pt x="1083856" y="258450"/>
                    <a:pt x="1090871" y="259974"/>
                    <a:pt x="1082284" y="241749"/>
                  </a:cubicBezTo>
                  <a:cubicBezTo>
                    <a:pt x="1073747" y="223487"/>
                    <a:pt x="1082284" y="241749"/>
                    <a:pt x="1067494" y="232123"/>
                  </a:cubicBezTo>
                  <a:cubicBezTo>
                    <a:pt x="1059059" y="227703"/>
                    <a:pt x="1052387" y="220502"/>
                    <a:pt x="1048632" y="211739"/>
                  </a:cubicBezTo>
                  <a:cubicBezTo>
                    <a:pt x="1044979" y="205300"/>
                    <a:pt x="1039461" y="209529"/>
                    <a:pt x="1030697" y="210749"/>
                  </a:cubicBezTo>
                  <a:cubicBezTo>
                    <a:pt x="1021970" y="211968"/>
                    <a:pt x="1025521" y="220286"/>
                    <a:pt x="1019548" y="219118"/>
                  </a:cubicBezTo>
                  <a:cubicBezTo>
                    <a:pt x="1013522" y="217950"/>
                    <a:pt x="996589" y="214927"/>
                    <a:pt x="983106" y="213898"/>
                  </a:cubicBezTo>
                  <a:cubicBezTo>
                    <a:pt x="969572" y="212908"/>
                    <a:pt x="982649" y="208501"/>
                    <a:pt x="980632" y="200716"/>
                  </a:cubicBezTo>
                  <a:cubicBezTo>
                    <a:pt x="978603" y="192969"/>
                    <a:pt x="974075" y="197744"/>
                    <a:pt x="966832" y="196614"/>
                  </a:cubicBezTo>
                  <a:cubicBezTo>
                    <a:pt x="959602" y="195496"/>
                    <a:pt x="962291" y="203103"/>
                    <a:pt x="956811" y="209580"/>
                  </a:cubicBezTo>
                  <a:cubicBezTo>
                    <a:pt x="951332" y="216045"/>
                    <a:pt x="950520" y="214927"/>
                    <a:pt x="945713" y="212717"/>
                  </a:cubicBezTo>
                  <a:cubicBezTo>
                    <a:pt x="940855" y="210558"/>
                    <a:pt x="931240" y="182707"/>
                    <a:pt x="929579" y="178427"/>
                  </a:cubicBezTo>
                  <a:cubicBezTo>
                    <a:pt x="922298" y="162997"/>
                    <a:pt x="914231" y="147947"/>
                    <a:pt x="905403" y="133348"/>
                  </a:cubicBezTo>
                  <a:cubicBezTo>
                    <a:pt x="897767" y="121515"/>
                    <a:pt x="851964" y="72245"/>
                    <a:pt x="850975" y="59376"/>
                  </a:cubicBezTo>
                  <a:cubicBezTo>
                    <a:pt x="849998" y="46549"/>
                    <a:pt x="857317" y="55058"/>
                    <a:pt x="856416" y="47184"/>
                  </a:cubicBezTo>
                  <a:cubicBezTo>
                    <a:pt x="855566" y="39266"/>
                    <a:pt x="851964" y="49704"/>
                    <a:pt x="840155" y="55374"/>
                  </a:cubicBezTo>
                  <a:cubicBezTo>
                    <a:pt x="828372" y="61044"/>
                    <a:pt x="833724" y="61493"/>
                    <a:pt x="819302" y="68063"/>
                  </a:cubicBezTo>
                  <a:cubicBezTo>
                    <a:pt x="804867" y="74633"/>
                    <a:pt x="816601" y="73327"/>
                    <a:pt x="804779" y="79042"/>
                  </a:cubicBezTo>
                  <a:cubicBezTo>
                    <a:pt x="792920" y="84757"/>
                    <a:pt x="795165" y="91550"/>
                    <a:pt x="786666" y="87366"/>
                  </a:cubicBezTo>
                  <a:cubicBezTo>
                    <a:pt x="778130" y="83181"/>
                    <a:pt x="765141" y="91550"/>
                    <a:pt x="764291" y="83683"/>
                  </a:cubicBezTo>
                  <a:cubicBezTo>
                    <a:pt x="763441" y="75763"/>
                    <a:pt x="771623" y="71173"/>
                    <a:pt x="763035" y="67935"/>
                  </a:cubicBezTo>
                  <a:cubicBezTo>
                    <a:pt x="754448" y="64741"/>
                    <a:pt x="763035" y="67935"/>
                    <a:pt x="752292" y="62580"/>
                  </a:cubicBezTo>
                  <a:cubicBezTo>
                    <a:pt x="741548" y="57182"/>
                    <a:pt x="745861" y="66898"/>
                    <a:pt x="737236" y="63840"/>
                  </a:cubicBezTo>
                  <a:cubicBezTo>
                    <a:pt x="728611" y="60825"/>
                    <a:pt x="736246" y="60421"/>
                    <a:pt x="725604" y="57587"/>
                  </a:cubicBezTo>
                  <a:cubicBezTo>
                    <a:pt x="714949" y="54752"/>
                    <a:pt x="716966" y="56147"/>
                    <a:pt x="704117" y="58349"/>
                  </a:cubicBezTo>
                  <a:cubicBezTo>
                    <a:pt x="691256" y="60551"/>
                    <a:pt x="699805" y="60419"/>
                    <a:pt x="697648" y="57223"/>
                  </a:cubicBezTo>
                  <a:cubicBezTo>
                    <a:pt x="695530" y="53984"/>
                    <a:pt x="697648" y="57223"/>
                    <a:pt x="698866" y="50880"/>
                  </a:cubicBezTo>
                  <a:cubicBezTo>
                    <a:pt x="699082" y="46738"/>
                    <a:pt x="699767" y="42634"/>
                    <a:pt x="700883" y="38641"/>
                  </a:cubicBezTo>
                  <a:cubicBezTo>
                    <a:pt x="703039" y="31846"/>
                    <a:pt x="700883" y="32566"/>
                    <a:pt x="694413" y="26986"/>
                  </a:cubicBezTo>
                  <a:cubicBezTo>
                    <a:pt x="687894" y="21451"/>
                    <a:pt x="689112" y="18617"/>
                    <a:pt x="687095" y="9932"/>
                  </a:cubicBezTo>
                  <a:cubicBezTo>
                    <a:pt x="685065" y="1296"/>
                    <a:pt x="685877" y="5741"/>
                    <a:pt x="673028" y="6783"/>
                  </a:cubicBezTo>
                  <a:cubicBezTo>
                    <a:pt x="660167" y="7864"/>
                    <a:pt x="673028" y="6783"/>
                    <a:pt x="661968" y="5748"/>
                  </a:cubicBezTo>
                  <a:cubicBezTo>
                    <a:pt x="650958" y="4668"/>
                    <a:pt x="656983" y="4668"/>
                    <a:pt x="647546" y="1653"/>
                  </a:cubicBezTo>
                  <a:cubicBezTo>
                    <a:pt x="638109" y="-1362"/>
                    <a:pt x="644083" y="349"/>
                    <a:pt x="629027" y="2058"/>
                  </a:cubicBezTo>
                  <a:cubicBezTo>
                    <a:pt x="613920" y="3723"/>
                    <a:pt x="624803" y="5741"/>
                    <a:pt x="615137" y="12992"/>
                  </a:cubicBezTo>
                  <a:cubicBezTo>
                    <a:pt x="605472" y="20282"/>
                    <a:pt x="613032" y="15377"/>
                    <a:pt x="604445" y="27166"/>
                  </a:cubicBezTo>
                  <a:cubicBezTo>
                    <a:pt x="595908" y="39000"/>
                    <a:pt x="604445" y="27166"/>
                    <a:pt x="587499" y="32970"/>
                  </a:cubicBezTo>
                  <a:cubicBezTo>
                    <a:pt x="570515" y="38730"/>
                    <a:pt x="580891" y="32566"/>
                    <a:pt x="555192" y="36840"/>
                  </a:cubicBezTo>
                  <a:cubicBezTo>
                    <a:pt x="529443" y="41115"/>
                    <a:pt x="555192" y="36840"/>
                    <a:pt x="539096" y="36840"/>
                  </a:cubicBezTo>
                  <a:cubicBezTo>
                    <a:pt x="523012" y="36840"/>
                    <a:pt x="539096" y="36840"/>
                    <a:pt x="528404" y="49667"/>
                  </a:cubicBezTo>
                  <a:cubicBezTo>
                    <a:pt x="517659" y="62494"/>
                    <a:pt x="527325" y="52951"/>
                    <a:pt x="517837" y="51064"/>
                  </a:cubicBezTo>
                  <a:cubicBezTo>
                    <a:pt x="508400" y="49220"/>
                    <a:pt x="515554" y="49714"/>
                    <a:pt x="500625" y="53858"/>
                  </a:cubicBezTo>
                  <a:cubicBezTo>
                    <a:pt x="493623" y="56506"/>
                    <a:pt x="486368" y="58435"/>
                    <a:pt x="478973" y="59617"/>
                  </a:cubicBezTo>
                  <a:cubicBezTo>
                    <a:pt x="460682" y="63126"/>
                    <a:pt x="466251" y="65826"/>
                    <a:pt x="461671" y="66907"/>
                  </a:cubicBezTo>
                  <a:cubicBezTo>
                    <a:pt x="450751" y="68473"/>
                    <a:pt x="439690" y="68865"/>
                    <a:pt x="428680" y="68077"/>
                  </a:cubicBezTo>
                  <a:cubicBezTo>
                    <a:pt x="415742" y="67132"/>
                    <a:pt x="418025" y="65826"/>
                    <a:pt x="414614" y="70101"/>
                  </a:cubicBezTo>
                  <a:cubicBezTo>
                    <a:pt x="411544" y="73341"/>
                    <a:pt x="409679" y="77532"/>
                    <a:pt x="409311" y="81981"/>
                  </a:cubicBezTo>
                  <a:cubicBezTo>
                    <a:pt x="408055" y="88505"/>
                    <a:pt x="419116" y="81891"/>
                    <a:pt x="420195" y="90260"/>
                  </a:cubicBezTo>
                  <a:cubicBezTo>
                    <a:pt x="421311" y="98674"/>
                    <a:pt x="413764" y="91564"/>
                    <a:pt x="415920" y="97324"/>
                  </a:cubicBezTo>
                  <a:cubicBezTo>
                    <a:pt x="418076" y="103129"/>
                    <a:pt x="438383" y="103354"/>
                    <a:pt x="435555" y="112082"/>
                  </a:cubicBezTo>
                  <a:cubicBezTo>
                    <a:pt x="432676" y="120767"/>
                    <a:pt x="429809" y="113027"/>
                    <a:pt x="417036" y="112173"/>
                  </a:cubicBezTo>
                  <a:cubicBezTo>
                    <a:pt x="404276" y="111318"/>
                    <a:pt x="413764" y="115142"/>
                    <a:pt x="403109" y="124456"/>
                  </a:cubicBezTo>
                  <a:cubicBezTo>
                    <a:pt x="392454" y="133727"/>
                    <a:pt x="400902" y="130171"/>
                    <a:pt x="401980" y="145469"/>
                  </a:cubicBezTo>
                  <a:cubicBezTo>
                    <a:pt x="403058" y="160774"/>
                    <a:pt x="395511" y="152710"/>
                    <a:pt x="389981" y="157040"/>
                  </a:cubicBezTo>
                  <a:cubicBezTo>
                    <a:pt x="384451" y="161358"/>
                    <a:pt x="388002" y="162349"/>
                    <a:pt x="389981" y="169182"/>
                  </a:cubicBezTo>
                  <a:cubicBezTo>
                    <a:pt x="391922" y="175976"/>
                    <a:pt x="394433" y="173093"/>
                    <a:pt x="398035" y="177284"/>
                  </a:cubicBezTo>
                  <a:cubicBezTo>
                    <a:pt x="401574" y="181513"/>
                    <a:pt x="403020" y="181691"/>
                    <a:pt x="419104" y="188892"/>
                  </a:cubicBezTo>
                  <a:cubicBezTo>
                    <a:pt x="435149" y="196131"/>
                    <a:pt x="430874" y="195598"/>
                    <a:pt x="425395" y="210761"/>
                  </a:cubicBezTo>
                  <a:cubicBezTo>
                    <a:pt x="419865" y="225925"/>
                    <a:pt x="413764" y="219220"/>
                    <a:pt x="401041" y="221379"/>
                  </a:cubicBezTo>
                  <a:cubicBezTo>
                    <a:pt x="388370" y="223588"/>
                    <a:pt x="392327" y="217061"/>
                    <a:pt x="384146" y="217149"/>
                  </a:cubicBezTo>
                  <a:cubicBezTo>
                    <a:pt x="375965" y="217238"/>
                    <a:pt x="381584" y="223499"/>
                    <a:pt x="372819" y="226776"/>
                  </a:cubicBezTo>
                  <a:cubicBezTo>
                    <a:pt x="364016" y="230015"/>
                    <a:pt x="366617" y="221379"/>
                    <a:pt x="346258" y="214851"/>
                  </a:cubicBezTo>
                  <a:cubicBezTo>
                    <a:pt x="325951" y="208374"/>
                    <a:pt x="339840" y="207434"/>
                    <a:pt x="330175" y="197757"/>
                  </a:cubicBezTo>
                  <a:cubicBezTo>
                    <a:pt x="320510" y="188130"/>
                    <a:pt x="330175" y="197757"/>
                    <a:pt x="318404" y="208425"/>
                  </a:cubicBezTo>
                  <a:cubicBezTo>
                    <a:pt x="306620" y="219042"/>
                    <a:pt x="313051" y="211714"/>
                    <a:pt x="305466" y="206266"/>
                  </a:cubicBezTo>
                  <a:cubicBezTo>
                    <a:pt x="297907" y="200817"/>
                    <a:pt x="301242" y="205275"/>
                    <a:pt x="279527" y="206266"/>
                  </a:cubicBezTo>
                  <a:cubicBezTo>
                    <a:pt x="257786" y="207256"/>
                    <a:pt x="275531" y="208513"/>
                    <a:pt x="266044" y="215841"/>
                  </a:cubicBezTo>
                  <a:cubicBezTo>
                    <a:pt x="256606" y="223182"/>
                    <a:pt x="261604" y="221379"/>
                    <a:pt x="252839" y="222242"/>
                  </a:cubicBezTo>
                  <a:cubicBezTo>
                    <a:pt x="244024" y="223131"/>
                    <a:pt x="244480" y="214952"/>
                    <a:pt x="230540" y="213873"/>
                  </a:cubicBezTo>
                  <a:cubicBezTo>
                    <a:pt x="216614" y="212793"/>
                    <a:pt x="230540" y="213873"/>
                    <a:pt x="227674" y="228046"/>
                  </a:cubicBezTo>
                  <a:cubicBezTo>
                    <a:pt x="224845" y="242270"/>
                    <a:pt x="224122" y="222420"/>
                    <a:pt x="218592" y="210761"/>
                  </a:cubicBezTo>
                  <a:cubicBezTo>
                    <a:pt x="213062" y="199115"/>
                    <a:pt x="208026" y="199916"/>
                    <a:pt x="201519" y="195775"/>
                  </a:cubicBezTo>
                  <a:cubicBezTo>
                    <a:pt x="195050" y="191635"/>
                    <a:pt x="197333" y="188130"/>
                    <a:pt x="188937" y="188168"/>
                  </a:cubicBezTo>
                  <a:cubicBezTo>
                    <a:pt x="180578" y="188219"/>
                    <a:pt x="182328" y="190238"/>
                    <a:pt x="174147" y="188892"/>
                  </a:cubicBezTo>
                  <a:cubicBezTo>
                    <a:pt x="166016" y="187584"/>
                    <a:pt x="171635" y="183812"/>
                    <a:pt x="161970" y="175265"/>
                  </a:cubicBezTo>
                  <a:cubicBezTo>
                    <a:pt x="152305" y="166667"/>
                    <a:pt x="158735" y="175214"/>
                    <a:pt x="150326" y="178503"/>
                  </a:cubicBezTo>
                  <a:cubicBezTo>
                    <a:pt x="141878" y="181742"/>
                    <a:pt x="145886" y="185971"/>
                    <a:pt x="133481" y="185018"/>
                  </a:cubicBezTo>
                  <a:cubicBezTo>
                    <a:pt x="121025" y="184079"/>
                    <a:pt x="133025" y="177373"/>
                    <a:pt x="123055" y="175265"/>
                  </a:cubicBezTo>
                  <a:cubicBezTo>
                    <a:pt x="113072" y="173144"/>
                    <a:pt x="120175" y="177373"/>
                    <a:pt x="111094" y="188397"/>
                  </a:cubicBezTo>
                  <a:cubicBezTo>
                    <a:pt x="102025" y="199382"/>
                    <a:pt x="99818" y="196677"/>
                    <a:pt x="84267" y="200728"/>
                  </a:cubicBezTo>
                  <a:cubicBezTo>
                    <a:pt x="68766" y="204780"/>
                    <a:pt x="80537" y="206354"/>
                    <a:pt x="71455" y="217149"/>
                  </a:cubicBezTo>
                  <a:cubicBezTo>
                    <a:pt x="62374" y="227944"/>
                    <a:pt x="66610" y="219220"/>
                    <a:pt x="61168" y="228033"/>
                  </a:cubicBezTo>
                  <a:cubicBezTo>
                    <a:pt x="55727" y="236911"/>
                    <a:pt x="62336" y="233164"/>
                    <a:pt x="56983" y="255707"/>
                  </a:cubicBezTo>
                  <a:cubicBezTo>
                    <a:pt x="51592" y="278211"/>
                    <a:pt x="56983" y="255707"/>
                    <a:pt x="45973" y="254627"/>
                  </a:cubicBezTo>
                  <a:cubicBezTo>
                    <a:pt x="34963" y="253548"/>
                    <a:pt x="39821" y="242803"/>
                    <a:pt x="32769" y="234472"/>
                  </a:cubicBezTo>
                  <a:cubicBezTo>
                    <a:pt x="25666" y="226154"/>
                    <a:pt x="29128" y="231005"/>
                    <a:pt x="21847" y="242308"/>
                  </a:cubicBezTo>
                  <a:cubicBezTo>
                    <a:pt x="12474" y="262603"/>
                    <a:pt x="6271" y="284231"/>
                    <a:pt x="3468" y="306418"/>
                  </a:cubicBezTo>
                  <a:cubicBezTo>
                    <a:pt x="2428" y="320680"/>
                    <a:pt x="-3051" y="318978"/>
                    <a:pt x="2251" y="322305"/>
                  </a:cubicBezTo>
                  <a:cubicBezTo>
                    <a:pt x="7159" y="325696"/>
                    <a:pt x="11548" y="329773"/>
                    <a:pt x="15277" y="334409"/>
                  </a:cubicBezTo>
                  <a:cubicBezTo>
                    <a:pt x="21797" y="341292"/>
                    <a:pt x="14110" y="342600"/>
                    <a:pt x="21619" y="350118"/>
                  </a:cubicBezTo>
                  <a:cubicBezTo>
                    <a:pt x="29128" y="357586"/>
                    <a:pt x="21619" y="350118"/>
                    <a:pt x="27099" y="346512"/>
                  </a:cubicBezTo>
                  <a:cubicBezTo>
                    <a:pt x="32591" y="342956"/>
                    <a:pt x="31234" y="345800"/>
                    <a:pt x="40760" y="346829"/>
                  </a:cubicBezTo>
                  <a:cubicBezTo>
                    <a:pt x="50298" y="347871"/>
                    <a:pt x="44083" y="351147"/>
                    <a:pt x="49930" y="356913"/>
                  </a:cubicBezTo>
                  <a:cubicBezTo>
                    <a:pt x="56348" y="363517"/>
                    <a:pt x="61168" y="371505"/>
                    <a:pt x="64048" y="380256"/>
                  </a:cubicBezTo>
                  <a:cubicBezTo>
                    <a:pt x="66839" y="388942"/>
                    <a:pt x="67688" y="388714"/>
                    <a:pt x="60446" y="390568"/>
                  </a:cubicBezTo>
                  <a:cubicBezTo>
                    <a:pt x="53165" y="392460"/>
                    <a:pt x="56983" y="392994"/>
                    <a:pt x="59456" y="398798"/>
                  </a:cubicBezTo>
                  <a:cubicBezTo>
                    <a:pt x="61118" y="402760"/>
                    <a:pt x="67460" y="405643"/>
                    <a:pt x="74068" y="408564"/>
                  </a:cubicBezTo>
                  <a:cubicBezTo>
                    <a:pt x="74157" y="408424"/>
                    <a:pt x="74284" y="408297"/>
                    <a:pt x="74386" y="408157"/>
                  </a:cubicBezTo>
                  <a:cubicBezTo>
                    <a:pt x="74563" y="408424"/>
                    <a:pt x="74741" y="408704"/>
                    <a:pt x="74918" y="408919"/>
                  </a:cubicBezTo>
                  <a:lnTo>
                    <a:pt x="74969" y="408970"/>
                  </a:lnTo>
                  <a:cubicBezTo>
                    <a:pt x="75502" y="409237"/>
                    <a:pt x="76085" y="409466"/>
                    <a:pt x="76669" y="409732"/>
                  </a:cubicBezTo>
                  <a:cubicBezTo>
                    <a:pt x="76313" y="407611"/>
                    <a:pt x="75147" y="403611"/>
                    <a:pt x="77975" y="405986"/>
                  </a:cubicBezTo>
                  <a:cubicBezTo>
                    <a:pt x="77708" y="405236"/>
                    <a:pt x="77531" y="404589"/>
                    <a:pt x="77392" y="404144"/>
                  </a:cubicBezTo>
                  <a:cubicBezTo>
                    <a:pt x="77620" y="403966"/>
                    <a:pt x="77798" y="403789"/>
                    <a:pt x="78026" y="403611"/>
                  </a:cubicBezTo>
                  <a:cubicBezTo>
                    <a:pt x="78343" y="403878"/>
                    <a:pt x="78749" y="404284"/>
                    <a:pt x="79244" y="404779"/>
                  </a:cubicBezTo>
                  <a:cubicBezTo>
                    <a:pt x="79447" y="404957"/>
                    <a:pt x="79637" y="405160"/>
                    <a:pt x="79827" y="405363"/>
                  </a:cubicBezTo>
                  <a:cubicBezTo>
                    <a:pt x="80055" y="405567"/>
                    <a:pt x="80283" y="405770"/>
                    <a:pt x="80499" y="405999"/>
                  </a:cubicBezTo>
                  <a:cubicBezTo>
                    <a:pt x="79941" y="404944"/>
                    <a:pt x="79472" y="403865"/>
                    <a:pt x="79053" y="402760"/>
                  </a:cubicBezTo>
                  <a:cubicBezTo>
                    <a:pt x="79421" y="402493"/>
                    <a:pt x="79814" y="402214"/>
                    <a:pt x="80182" y="401947"/>
                  </a:cubicBezTo>
                  <a:cubicBezTo>
                    <a:pt x="80410" y="402087"/>
                    <a:pt x="80626" y="402176"/>
                    <a:pt x="80728" y="402087"/>
                  </a:cubicBezTo>
                  <a:cubicBezTo>
                    <a:pt x="80816" y="401998"/>
                    <a:pt x="80804" y="401858"/>
                    <a:pt x="80677" y="401541"/>
                  </a:cubicBezTo>
                  <a:lnTo>
                    <a:pt x="80728" y="401503"/>
                  </a:lnTo>
                  <a:cubicBezTo>
                    <a:pt x="81362" y="401046"/>
                    <a:pt x="81894" y="400601"/>
                    <a:pt x="82516" y="400144"/>
                  </a:cubicBezTo>
                  <a:cubicBezTo>
                    <a:pt x="84634" y="401096"/>
                    <a:pt x="82782" y="398569"/>
                    <a:pt x="87869" y="400639"/>
                  </a:cubicBezTo>
                  <a:cubicBezTo>
                    <a:pt x="87146" y="394073"/>
                    <a:pt x="89975" y="403484"/>
                    <a:pt x="90342" y="398886"/>
                  </a:cubicBezTo>
                  <a:cubicBezTo>
                    <a:pt x="94782" y="402798"/>
                    <a:pt x="102646" y="388180"/>
                    <a:pt x="105031" y="392092"/>
                  </a:cubicBezTo>
                  <a:cubicBezTo>
                    <a:pt x="115178" y="380764"/>
                    <a:pt x="130488" y="375531"/>
                    <a:pt x="145430" y="378274"/>
                  </a:cubicBezTo>
                  <a:cubicBezTo>
                    <a:pt x="146191" y="387457"/>
                    <a:pt x="155273" y="382910"/>
                    <a:pt x="155184" y="385297"/>
                  </a:cubicBezTo>
                  <a:cubicBezTo>
                    <a:pt x="158152" y="389400"/>
                    <a:pt x="163187" y="390606"/>
                    <a:pt x="160942" y="385526"/>
                  </a:cubicBezTo>
                  <a:cubicBezTo>
                    <a:pt x="197384" y="370540"/>
                    <a:pt x="191816" y="412882"/>
                    <a:pt x="175947" y="439971"/>
                  </a:cubicBezTo>
                  <a:cubicBezTo>
                    <a:pt x="176265" y="440238"/>
                    <a:pt x="176620" y="440504"/>
                    <a:pt x="176988" y="440784"/>
                  </a:cubicBezTo>
                  <a:cubicBezTo>
                    <a:pt x="177254" y="441000"/>
                    <a:pt x="177572" y="441190"/>
                    <a:pt x="177838" y="441419"/>
                  </a:cubicBezTo>
                  <a:cubicBezTo>
                    <a:pt x="178865" y="442130"/>
                    <a:pt x="179994" y="442816"/>
                    <a:pt x="181073" y="443489"/>
                  </a:cubicBezTo>
                  <a:cubicBezTo>
                    <a:pt x="181922" y="444022"/>
                    <a:pt x="182823" y="444518"/>
                    <a:pt x="183634" y="445013"/>
                  </a:cubicBezTo>
                  <a:cubicBezTo>
                    <a:pt x="173246" y="444492"/>
                    <a:pt x="162832" y="444556"/>
                    <a:pt x="152444" y="445191"/>
                  </a:cubicBezTo>
                  <a:cubicBezTo>
                    <a:pt x="147269" y="445407"/>
                    <a:pt x="142335" y="447477"/>
                    <a:pt x="138554" y="451045"/>
                  </a:cubicBezTo>
                  <a:lnTo>
                    <a:pt x="138517" y="451083"/>
                  </a:lnTo>
                  <a:cubicBezTo>
                    <a:pt x="137121" y="451909"/>
                    <a:pt x="135802" y="452836"/>
                    <a:pt x="134559" y="453877"/>
                  </a:cubicBezTo>
                  <a:cubicBezTo>
                    <a:pt x="133976" y="454360"/>
                    <a:pt x="133430" y="454881"/>
                    <a:pt x="132935" y="455452"/>
                  </a:cubicBezTo>
                  <a:cubicBezTo>
                    <a:pt x="132441" y="455998"/>
                    <a:pt x="131997" y="456583"/>
                    <a:pt x="131592" y="457116"/>
                  </a:cubicBezTo>
                  <a:cubicBezTo>
                    <a:pt x="130767" y="458208"/>
                    <a:pt x="130132" y="459427"/>
                    <a:pt x="129701" y="460723"/>
                  </a:cubicBezTo>
                  <a:cubicBezTo>
                    <a:pt x="129524" y="461180"/>
                    <a:pt x="129397" y="461663"/>
                    <a:pt x="129346" y="462158"/>
                  </a:cubicBezTo>
                  <a:cubicBezTo>
                    <a:pt x="128763" y="464571"/>
                    <a:pt x="129003" y="467098"/>
                    <a:pt x="130018" y="469359"/>
                  </a:cubicBezTo>
                  <a:cubicBezTo>
                    <a:pt x="130209" y="469867"/>
                    <a:pt x="130437" y="470362"/>
                    <a:pt x="130690" y="470845"/>
                  </a:cubicBezTo>
                  <a:cubicBezTo>
                    <a:pt x="130982" y="471492"/>
                    <a:pt x="131338" y="472089"/>
                    <a:pt x="131769" y="472648"/>
                  </a:cubicBezTo>
                  <a:cubicBezTo>
                    <a:pt x="132137" y="473143"/>
                    <a:pt x="132492" y="473588"/>
                    <a:pt x="132847" y="474083"/>
                  </a:cubicBezTo>
                  <a:lnTo>
                    <a:pt x="132935" y="474223"/>
                  </a:lnTo>
                  <a:lnTo>
                    <a:pt x="134293" y="475709"/>
                  </a:lnTo>
                  <a:cubicBezTo>
                    <a:pt x="134826" y="476242"/>
                    <a:pt x="135371" y="476788"/>
                    <a:pt x="135993" y="477322"/>
                  </a:cubicBezTo>
                  <a:lnTo>
                    <a:pt x="117930" y="477322"/>
                  </a:lnTo>
                  <a:cubicBezTo>
                    <a:pt x="116307" y="477004"/>
                    <a:pt x="114734" y="476788"/>
                    <a:pt x="113301" y="476649"/>
                  </a:cubicBezTo>
                  <a:cubicBezTo>
                    <a:pt x="111436" y="476445"/>
                    <a:pt x="109559" y="476636"/>
                    <a:pt x="107770" y="477233"/>
                  </a:cubicBezTo>
                  <a:cubicBezTo>
                    <a:pt x="107072" y="477487"/>
                    <a:pt x="106452" y="477919"/>
                    <a:pt x="105982" y="478490"/>
                  </a:cubicBezTo>
                  <a:cubicBezTo>
                    <a:pt x="104980" y="479824"/>
                    <a:pt x="104624" y="481513"/>
                    <a:pt x="104992" y="483126"/>
                  </a:cubicBezTo>
                  <a:cubicBezTo>
                    <a:pt x="115508" y="494962"/>
                    <a:pt x="140128" y="510215"/>
                    <a:pt x="134293" y="534599"/>
                  </a:cubicBezTo>
                  <a:cubicBezTo>
                    <a:pt x="139278" y="534789"/>
                    <a:pt x="181618" y="551883"/>
                    <a:pt x="175364" y="556963"/>
                  </a:cubicBezTo>
                  <a:cubicBezTo>
                    <a:pt x="175631" y="547832"/>
                    <a:pt x="168134" y="565066"/>
                    <a:pt x="168718" y="582033"/>
                  </a:cubicBezTo>
                  <a:cubicBezTo>
                    <a:pt x="171394" y="580204"/>
                    <a:pt x="174274" y="578693"/>
                    <a:pt x="177292" y="577525"/>
                  </a:cubicBezTo>
                  <a:cubicBezTo>
                    <a:pt x="190915" y="572178"/>
                    <a:pt x="192577" y="565510"/>
                    <a:pt x="203004" y="567771"/>
                  </a:cubicBezTo>
                  <a:cubicBezTo>
                    <a:pt x="213379" y="570019"/>
                    <a:pt x="212795" y="567898"/>
                    <a:pt x="220622" y="572178"/>
                  </a:cubicBezTo>
                  <a:cubicBezTo>
                    <a:pt x="228853" y="575175"/>
                    <a:pt x="235766" y="580979"/>
                    <a:pt x="240168" y="588561"/>
                  </a:cubicBezTo>
                  <a:cubicBezTo>
                    <a:pt x="248755" y="601109"/>
                    <a:pt x="241335" y="602417"/>
                    <a:pt x="251495" y="605528"/>
                  </a:cubicBezTo>
                  <a:cubicBezTo>
                    <a:pt x="261604" y="608627"/>
                    <a:pt x="253017" y="605071"/>
                    <a:pt x="268035" y="606328"/>
                  </a:cubicBezTo>
                  <a:lnTo>
                    <a:pt x="267045" y="578566"/>
                  </a:lnTo>
                  <a:cubicBezTo>
                    <a:pt x="267045" y="578566"/>
                    <a:pt x="266868" y="548594"/>
                    <a:pt x="267045" y="501985"/>
                  </a:cubicBezTo>
                  <a:cubicBezTo>
                    <a:pt x="267261" y="455376"/>
                    <a:pt x="303931" y="446867"/>
                    <a:pt x="326458" y="441114"/>
                  </a:cubicBezTo>
                  <a:cubicBezTo>
                    <a:pt x="348973" y="435310"/>
                    <a:pt x="334449" y="440212"/>
                    <a:pt x="348072" y="444352"/>
                  </a:cubicBezTo>
                  <a:cubicBezTo>
                    <a:pt x="361682" y="448493"/>
                    <a:pt x="424203" y="504017"/>
                    <a:pt x="428744" y="512831"/>
                  </a:cubicBezTo>
                  <a:cubicBezTo>
                    <a:pt x="431141" y="519321"/>
                    <a:pt x="438016" y="522991"/>
                    <a:pt x="444739" y="521340"/>
                  </a:cubicBezTo>
                  <a:cubicBezTo>
                    <a:pt x="449901" y="520400"/>
                    <a:pt x="463346" y="518152"/>
                    <a:pt x="476918" y="516298"/>
                  </a:cubicBezTo>
                  <a:cubicBezTo>
                    <a:pt x="490490" y="514418"/>
                    <a:pt x="492875" y="518368"/>
                    <a:pt x="507652" y="514952"/>
                  </a:cubicBezTo>
                  <a:cubicBezTo>
                    <a:pt x="522442" y="511535"/>
                    <a:pt x="517039" y="514723"/>
                    <a:pt x="524915" y="516844"/>
                  </a:cubicBezTo>
                  <a:cubicBezTo>
                    <a:pt x="532817" y="519003"/>
                    <a:pt x="536775" y="529442"/>
                    <a:pt x="543701" y="536504"/>
                  </a:cubicBezTo>
                  <a:cubicBezTo>
                    <a:pt x="550613" y="543565"/>
                    <a:pt x="545096" y="541901"/>
                    <a:pt x="555155" y="541368"/>
                  </a:cubicBezTo>
                  <a:cubicBezTo>
                    <a:pt x="565175" y="540822"/>
                    <a:pt x="555155" y="541368"/>
                    <a:pt x="552960" y="552798"/>
                  </a:cubicBezTo>
                  <a:cubicBezTo>
                    <a:pt x="551716" y="560405"/>
                    <a:pt x="551716" y="568177"/>
                    <a:pt x="552960" y="575785"/>
                  </a:cubicBezTo>
                  <a:cubicBezTo>
                    <a:pt x="553264" y="587761"/>
                    <a:pt x="556372" y="579341"/>
                    <a:pt x="565809" y="579519"/>
                  </a:cubicBezTo>
                  <a:cubicBezTo>
                    <a:pt x="575195" y="579658"/>
                    <a:pt x="565809" y="579519"/>
                    <a:pt x="568549" y="589691"/>
                  </a:cubicBezTo>
                  <a:cubicBezTo>
                    <a:pt x="571340" y="599864"/>
                    <a:pt x="568460" y="594771"/>
                    <a:pt x="571428" y="607598"/>
                  </a:cubicBezTo>
                  <a:cubicBezTo>
                    <a:pt x="574384" y="620425"/>
                    <a:pt x="575373" y="611827"/>
                    <a:pt x="585850" y="614075"/>
                  </a:cubicBezTo>
                  <a:cubicBezTo>
                    <a:pt x="596276" y="616323"/>
                    <a:pt x="594704" y="610659"/>
                    <a:pt x="604318" y="611243"/>
                  </a:cubicBezTo>
                  <a:cubicBezTo>
                    <a:pt x="613933" y="611827"/>
                    <a:pt x="604458" y="621505"/>
                    <a:pt x="608592" y="628566"/>
                  </a:cubicBezTo>
                  <a:cubicBezTo>
                    <a:pt x="612677" y="635589"/>
                    <a:pt x="617269" y="630407"/>
                    <a:pt x="625805" y="632122"/>
                  </a:cubicBezTo>
                  <a:cubicBezTo>
                    <a:pt x="634342" y="633836"/>
                    <a:pt x="625805" y="632122"/>
                    <a:pt x="625171" y="620374"/>
                  </a:cubicBezTo>
                  <a:cubicBezTo>
                    <a:pt x="624537" y="608640"/>
                    <a:pt x="631183" y="615028"/>
                    <a:pt x="637880" y="608640"/>
                  </a:cubicBezTo>
                  <a:cubicBezTo>
                    <a:pt x="644628" y="602239"/>
                    <a:pt x="643144" y="600080"/>
                    <a:pt x="654598" y="595673"/>
                  </a:cubicBezTo>
                  <a:cubicBezTo>
                    <a:pt x="666065" y="591317"/>
                    <a:pt x="665482" y="586720"/>
                    <a:pt x="673384" y="577550"/>
                  </a:cubicBezTo>
                  <a:cubicBezTo>
                    <a:pt x="681298" y="568368"/>
                    <a:pt x="687184" y="571835"/>
                    <a:pt x="687184" y="571835"/>
                  </a:cubicBezTo>
                  <a:lnTo>
                    <a:pt x="696215" y="560316"/>
                  </a:lnTo>
                  <a:cubicBezTo>
                    <a:pt x="697077" y="554106"/>
                    <a:pt x="698460" y="551718"/>
                    <a:pt x="703407" y="551134"/>
                  </a:cubicBezTo>
                  <a:cubicBezTo>
                    <a:pt x="710155" y="550372"/>
                    <a:pt x="712577" y="551541"/>
                    <a:pt x="727089" y="550055"/>
                  </a:cubicBezTo>
                  <a:cubicBezTo>
                    <a:pt x="741611" y="548569"/>
                    <a:pt x="742144" y="560532"/>
                    <a:pt x="752799" y="558284"/>
                  </a:cubicBezTo>
                  <a:cubicBezTo>
                    <a:pt x="763454" y="555998"/>
                    <a:pt x="763314" y="560532"/>
                    <a:pt x="763454" y="555998"/>
                  </a:cubicBezTo>
                  <a:cubicBezTo>
                    <a:pt x="763580" y="551490"/>
                    <a:pt x="755184" y="556303"/>
                    <a:pt x="765255" y="546410"/>
                  </a:cubicBezTo>
                  <a:cubicBezTo>
                    <a:pt x="775314" y="536516"/>
                    <a:pt x="765521" y="530433"/>
                    <a:pt x="780299" y="533951"/>
                  </a:cubicBezTo>
                  <a:cubicBezTo>
                    <a:pt x="795050" y="537456"/>
                    <a:pt x="796522" y="533087"/>
                    <a:pt x="806047" y="537101"/>
                  </a:cubicBezTo>
                  <a:cubicBezTo>
                    <a:pt x="815535" y="541050"/>
                    <a:pt x="813556" y="552036"/>
                    <a:pt x="822727" y="547667"/>
                  </a:cubicBezTo>
                  <a:cubicBezTo>
                    <a:pt x="831885" y="543298"/>
                    <a:pt x="827395" y="542854"/>
                    <a:pt x="838455" y="543527"/>
                  </a:cubicBezTo>
                  <a:cubicBezTo>
                    <a:pt x="849504" y="544200"/>
                    <a:pt x="841372" y="541507"/>
                    <a:pt x="857469" y="543209"/>
                  </a:cubicBezTo>
                  <a:cubicBezTo>
                    <a:pt x="873553" y="544975"/>
                    <a:pt x="868695" y="542676"/>
                    <a:pt x="882635" y="544479"/>
                  </a:cubicBezTo>
                  <a:cubicBezTo>
                    <a:pt x="896511" y="546321"/>
                    <a:pt x="895927" y="542714"/>
                    <a:pt x="904781" y="545597"/>
                  </a:cubicBezTo>
                  <a:cubicBezTo>
                    <a:pt x="913635" y="548480"/>
                    <a:pt x="920332" y="541596"/>
                    <a:pt x="922754" y="545330"/>
                  </a:cubicBezTo>
                  <a:cubicBezTo>
                    <a:pt x="925190" y="549064"/>
                    <a:pt x="923795" y="545470"/>
                    <a:pt x="930492" y="553839"/>
                  </a:cubicBezTo>
                  <a:cubicBezTo>
                    <a:pt x="938001" y="560672"/>
                    <a:pt x="946664" y="566120"/>
                    <a:pt x="956064" y="569943"/>
                  </a:cubicBezTo>
                  <a:cubicBezTo>
                    <a:pt x="956431" y="565307"/>
                    <a:pt x="956253" y="560634"/>
                    <a:pt x="955518" y="556036"/>
                  </a:cubicBezTo>
                  <a:cubicBezTo>
                    <a:pt x="955162" y="546372"/>
                    <a:pt x="953767" y="547489"/>
                    <a:pt x="962481" y="546651"/>
                  </a:cubicBezTo>
                  <a:cubicBezTo>
                    <a:pt x="971208" y="545749"/>
                    <a:pt x="961226" y="541063"/>
                    <a:pt x="966845" y="537101"/>
                  </a:cubicBezTo>
                  <a:cubicBezTo>
                    <a:pt x="972464" y="533100"/>
                    <a:pt x="964460" y="518559"/>
                    <a:pt x="964549" y="506417"/>
                  </a:cubicBezTo>
                  <a:cubicBezTo>
                    <a:pt x="963585" y="495800"/>
                    <a:pt x="960985" y="485412"/>
                    <a:pt x="956825" y="475594"/>
                  </a:cubicBezTo>
                  <a:cubicBezTo>
                    <a:pt x="949975" y="475772"/>
                    <a:pt x="944280" y="470349"/>
                    <a:pt x="944102" y="463491"/>
                  </a:cubicBezTo>
                  <a:cubicBezTo>
                    <a:pt x="944102" y="463275"/>
                    <a:pt x="944102" y="463072"/>
                    <a:pt x="944102" y="462856"/>
                  </a:cubicBezTo>
                  <a:cubicBezTo>
                    <a:pt x="944153" y="450131"/>
                    <a:pt x="977322" y="455262"/>
                    <a:pt x="990755" y="453014"/>
                  </a:cubicBezTo>
                  <a:cubicBezTo>
                    <a:pt x="1004149" y="450753"/>
                    <a:pt x="996602" y="454182"/>
                    <a:pt x="1003071" y="455351"/>
                  </a:cubicBezTo>
                  <a:cubicBezTo>
                    <a:pt x="1009540" y="456519"/>
                    <a:pt x="1010529" y="456341"/>
                    <a:pt x="1023645" y="452430"/>
                  </a:cubicBezTo>
                  <a:cubicBezTo>
                    <a:pt x="1036735" y="448556"/>
                    <a:pt x="1022300" y="446664"/>
                    <a:pt x="1015831" y="439831"/>
                  </a:cubicBezTo>
                  <a:cubicBezTo>
                    <a:pt x="1009362" y="433037"/>
                    <a:pt x="1026612" y="386593"/>
                    <a:pt x="1027742" y="382275"/>
                  </a:cubicBezTo>
                  <a:cubicBezTo>
                    <a:pt x="1028871" y="377957"/>
                    <a:pt x="1031965" y="378008"/>
                    <a:pt x="1039512" y="376788"/>
                  </a:cubicBezTo>
                  <a:cubicBezTo>
                    <a:pt x="1047021" y="375531"/>
                    <a:pt x="1049089" y="382326"/>
                    <a:pt x="1061406" y="384929"/>
                  </a:cubicBezTo>
                  <a:cubicBezTo>
                    <a:pt x="1073709" y="387545"/>
                    <a:pt x="1079113" y="394111"/>
                    <a:pt x="1087243" y="387317"/>
                  </a:cubicBezTo>
                  <a:cubicBezTo>
                    <a:pt x="1095425" y="380573"/>
                    <a:pt x="1101614" y="380167"/>
                    <a:pt x="1108045" y="373499"/>
                  </a:cubicBezTo>
                  <a:cubicBezTo>
                    <a:pt x="1114514" y="366844"/>
                    <a:pt x="1109073" y="343718"/>
                    <a:pt x="1110201" y="334447"/>
                  </a:cubicBezTo>
                  <a:cubicBezTo>
                    <a:pt x="1111318" y="325227"/>
                    <a:pt x="1115503" y="325442"/>
                    <a:pt x="1121477" y="322166"/>
                  </a:cubicBezTo>
                  <a:cubicBezTo>
                    <a:pt x="1127401" y="319130"/>
                    <a:pt x="1132957" y="315447"/>
                    <a:pt x="1138056" y="311180"/>
                  </a:cubicBezTo>
                  <a:cubicBezTo>
                    <a:pt x="1143460" y="306596"/>
                    <a:pt x="1144449" y="298633"/>
                    <a:pt x="1147138" y="295026"/>
                  </a:cubicBezTo>
                  <a:cubicBezTo>
                    <a:pt x="1149472" y="291927"/>
                    <a:pt x="1152935" y="292867"/>
                    <a:pt x="1153885" y="291114"/>
                  </a:cubicBezTo>
                  <a:cubicBezTo>
                    <a:pt x="1154038" y="290759"/>
                    <a:pt x="1154114" y="290378"/>
                    <a:pt x="1154101" y="289997"/>
                  </a:cubicBezTo>
                  <a:cubicBezTo>
                    <a:pt x="1154050" y="286657"/>
                    <a:pt x="1148749" y="283558"/>
                    <a:pt x="1140035" y="276039"/>
                  </a:cubicBezTo>
                  <a:close/>
                  <a:moveTo>
                    <a:pt x="922425" y="402887"/>
                  </a:moveTo>
                  <a:cubicBezTo>
                    <a:pt x="901166" y="415879"/>
                    <a:pt x="887823" y="399966"/>
                    <a:pt x="862162" y="403154"/>
                  </a:cubicBezTo>
                  <a:cubicBezTo>
                    <a:pt x="846561" y="391279"/>
                    <a:pt x="822664" y="410126"/>
                    <a:pt x="822119" y="396219"/>
                  </a:cubicBezTo>
                  <a:cubicBezTo>
                    <a:pt x="827686" y="393972"/>
                    <a:pt x="816359" y="391457"/>
                    <a:pt x="819873" y="401617"/>
                  </a:cubicBezTo>
                  <a:cubicBezTo>
                    <a:pt x="819695" y="401846"/>
                    <a:pt x="817933" y="403738"/>
                    <a:pt x="817172" y="402481"/>
                  </a:cubicBezTo>
                  <a:cubicBezTo>
                    <a:pt x="815827" y="395546"/>
                    <a:pt x="815471" y="404767"/>
                    <a:pt x="813582" y="404589"/>
                  </a:cubicBezTo>
                  <a:cubicBezTo>
                    <a:pt x="811286" y="405262"/>
                    <a:pt x="808457" y="403865"/>
                    <a:pt x="811654" y="402074"/>
                  </a:cubicBezTo>
                  <a:cubicBezTo>
                    <a:pt x="802572" y="402925"/>
                    <a:pt x="802978" y="425379"/>
                    <a:pt x="790433" y="420426"/>
                  </a:cubicBezTo>
                  <a:cubicBezTo>
                    <a:pt x="782531" y="419791"/>
                    <a:pt x="787921" y="433926"/>
                    <a:pt x="788682" y="435056"/>
                  </a:cubicBezTo>
                  <a:cubicBezTo>
                    <a:pt x="786399" y="435589"/>
                    <a:pt x="784421" y="436999"/>
                    <a:pt x="783152" y="438968"/>
                  </a:cubicBezTo>
                  <a:cubicBezTo>
                    <a:pt x="782785" y="439615"/>
                    <a:pt x="782531" y="440314"/>
                    <a:pt x="782391" y="441038"/>
                  </a:cubicBezTo>
                  <a:cubicBezTo>
                    <a:pt x="782100" y="443502"/>
                    <a:pt x="782214" y="445991"/>
                    <a:pt x="782759" y="448416"/>
                  </a:cubicBezTo>
                  <a:cubicBezTo>
                    <a:pt x="784078" y="452506"/>
                    <a:pt x="783482" y="456964"/>
                    <a:pt x="781136" y="460570"/>
                  </a:cubicBezTo>
                  <a:cubicBezTo>
                    <a:pt x="781947" y="468851"/>
                    <a:pt x="773005" y="442206"/>
                    <a:pt x="762845" y="437850"/>
                  </a:cubicBezTo>
                  <a:cubicBezTo>
                    <a:pt x="768553" y="432351"/>
                    <a:pt x="759433" y="427627"/>
                    <a:pt x="767069" y="429608"/>
                  </a:cubicBezTo>
                  <a:cubicBezTo>
                    <a:pt x="768642" y="425518"/>
                    <a:pt x="769276" y="422280"/>
                    <a:pt x="771698" y="422458"/>
                  </a:cubicBezTo>
                  <a:cubicBezTo>
                    <a:pt x="763657" y="409859"/>
                    <a:pt x="775110" y="416743"/>
                    <a:pt x="780552" y="412463"/>
                  </a:cubicBezTo>
                  <a:cubicBezTo>
                    <a:pt x="770126" y="405948"/>
                    <a:pt x="796687" y="401706"/>
                    <a:pt x="795786" y="391178"/>
                  </a:cubicBezTo>
                  <a:cubicBezTo>
                    <a:pt x="806745" y="386542"/>
                    <a:pt x="819429" y="393705"/>
                    <a:pt x="834168" y="388612"/>
                  </a:cubicBezTo>
                  <a:cubicBezTo>
                    <a:pt x="854120" y="389704"/>
                    <a:pt x="840003" y="399242"/>
                    <a:pt x="856315" y="393832"/>
                  </a:cubicBezTo>
                  <a:cubicBezTo>
                    <a:pt x="857482" y="398378"/>
                    <a:pt x="864775" y="401211"/>
                    <a:pt x="859232" y="393832"/>
                  </a:cubicBezTo>
                  <a:cubicBezTo>
                    <a:pt x="871105" y="403281"/>
                    <a:pt x="884854" y="388434"/>
                    <a:pt x="898160" y="399331"/>
                  </a:cubicBezTo>
                  <a:cubicBezTo>
                    <a:pt x="903994" y="413225"/>
                    <a:pt x="901026" y="386047"/>
                    <a:pt x="903994" y="397121"/>
                  </a:cubicBezTo>
                  <a:cubicBezTo>
                    <a:pt x="903360" y="395051"/>
                    <a:pt x="917706" y="386504"/>
                    <a:pt x="915055" y="396397"/>
                  </a:cubicBezTo>
                  <a:cubicBezTo>
                    <a:pt x="917123" y="396448"/>
                    <a:pt x="921435" y="395724"/>
                    <a:pt x="916628" y="394149"/>
                  </a:cubicBezTo>
                  <a:cubicBezTo>
                    <a:pt x="908891" y="384027"/>
                    <a:pt x="922970" y="393299"/>
                    <a:pt x="921664" y="389603"/>
                  </a:cubicBezTo>
                  <a:cubicBezTo>
                    <a:pt x="922247" y="384878"/>
                    <a:pt x="928488" y="391902"/>
                    <a:pt x="928260" y="394734"/>
                  </a:cubicBezTo>
                  <a:cubicBezTo>
                    <a:pt x="926611" y="398378"/>
                    <a:pt x="921537" y="396359"/>
                    <a:pt x="922425" y="402887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3" name="Vrije vorm 282">
              <a:extLst>
                <a:ext uri="{FF2B5EF4-FFF2-40B4-BE49-F238E27FC236}">
                  <a16:creationId xmlns:a16="http://schemas.microsoft.com/office/drawing/2014/main" id="{E1C74879-97A7-3A47-B415-65498DDF836F}"/>
                </a:ext>
              </a:extLst>
            </p:cNvPr>
            <p:cNvSpPr/>
            <p:nvPr/>
          </p:nvSpPr>
          <p:spPr>
            <a:xfrm>
              <a:off x="6979089" y="3057016"/>
              <a:ext cx="399880" cy="280738"/>
            </a:xfrm>
            <a:custGeom>
              <a:avLst/>
              <a:gdLst>
                <a:gd name="connsiteX0" fmla="*/ 399478 w 399880"/>
                <a:gd name="connsiteY0" fmla="*/ 201017 h 280738"/>
                <a:gd name="connsiteX1" fmla="*/ 379082 w 399880"/>
                <a:gd name="connsiteY1" fmla="*/ 199531 h 280738"/>
                <a:gd name="connsiteX2" fmla="*/ 357773 w 399880"/>
                <a:gd name="connsiteY2" fmla="*/ 206109 h 280738"/>
                <a:gd name="connsiteX3" fmla="*/ 345507 w 399880"/>
                <a:gd name="connsiteY3" fmla="*/ 228918 h 280738"/>
                <a:gd name="connsiteX4" fmla="*/ 328117 w 399880"/>
                <a:gd name="connsiteY4" fmla="*/ 248400 h 280738"/>
                <a:gd name="connsiteX5" fmla="*/ 308202 w 399880"/>
                <a:gd name="connsiteY5" fmla="*/ 253391 h 280738"/>
                <a:gd name="connsiteX6" fmla="*/ 299121 w 399880"/>
                <a:gd name="connsiteY6" fmla="*/ 259195 h 280738"/>
                <a:gd name="connsiteX7" fmla="*/ 294491 w 399880"/>
                <a:gd name="connsiteY7" fmla="*/ 273368 h 280738"/>
                <a:gd name="connsiteX8" fmla="*/ 278230 w 399880"/>
                <a:gd name="connsiteY8" fmla="*/ 278232 h 280738"/>
                <a:gd name="connsiteX9" fmla="*/ 262717 w 399880"/>
                <a:gd name="connsiteY9" fmla="*/ 268784 h 280738"/>
                <a:gd name="connsiteX10" fmla="*/ 248333 w 399880"/>
                <a:gd name="connsiteY10" fmla="*/ 263831 h 280738"/>
                <a:gd name="connsiteX11" fmla="*/ 247128 w 399880"/>
                <a:gd name="connsiteY11" fmla="*/ 243676 h 280738"/>
                <a:gd name="connsiteX12" fmla="*/ 243894 w 399880"/>
                <a:gd name="connsiteY12" fmla="*/ 225629 h 280738"/>
                <a:gd name="connsiteX13" fmla="*/ 227760 w 399880"/>
                <a:gd name="connsiteY13" fmla="*/ 225223 h 280738"/>
                <a:gd name="connsiteX14" fmla="*/ 202188 w 399880"/>
                <a:gd name="connsiteY14" fmla="*/ 208802 h 280738"/>
                <a:gd name="connsiteX15" fmla="*/ 191622 w 399880"/>
                <a:gd name="connsiteY15" fmla="*/ 194895 h 280738"/>
                <a:gd name="connsiteX16" fmla="*/ 167180 w 399880"/>
                <a:gd name="connsiteY16" fmla="*/ 190806 h 280738"/>
                <a:gd name="connsiteX17" fmla="*/ 145655 w 399880"/>
                <a:gd name="connsiteY17" fmla="*/ 180544 h 280738"/>
                <a:gd name="connsiteX18" fmla="*/ 124979 w 399880"/>
                <a:gd name="connsiteY18" fmla="*/ 169648 h 280738"/>
                <a:gd name="connsiteX19" fmla="*/ 91671 w 399880"/>
                <a:gd name="connsiteY19" fmla="*/ 173292 h 280738"/>
                <a:gd name="connsiteX20" fmla="*/ 71719 w 399880"/>
                <a:gd name="connsiteY20" fmla="*/ 181395 h 280738"/>
                <a:gd name="connsiteX21" fmla="*/ 51906 w 399880"/>
                <a:gd name="connsiteY21" fmla="*/ 200661 h 280738"/>
                <a:gd name="connsiteX22" fmla="*/ 40313 w 399880"/>
                <a:gd name="connsiteY22" fmla="*/ 201017 h 280738"/>
                <a:gd name="connsiteX23" fmla="*/ 34237 w 399880"/>
                <a:gd name="connsiteY23" fmla="*/ 138380 h 280738"/>
                <a:gd name="connsiteX24" fmla="*/ 19726 w 399880"/>
                <a:gd name="connsiteY24" fmla="*/ 134964 h 280738"/>
                <a:gd name="connsiteX25" fmla="*/ 27501 w 399880"/>
                <a:gd name="connsiteY25" fmla="*/ 122048 h 280738"/>
                <a:gd name="connsiteX26" fmla="*/ 31637 w 399880"/>
                <a:gd name="connsiteY26" fmla="*/ 123039 h 280738"/>
                <a:gd name="connsiteX27" fmla="*/ 31903 w 399880"/>
                <a:gd name="connsiteY27" fmla="*/ 122988 h 280738"/>
                <a:gd name="connsiteX28" fmla="*/ 31903 w 399880"/>
                <a:gd name="connsiteY28" fmla="*/ 122950 h 280738"/>
                <a:gd name="connsiteX29" fmla="*/ 33070 w 399880"/>
                <a:gd name="connsiteY29" fmla="*/ 119622 h 280738"/>
                <a:gd name="connsiteX30" fmla="*/ 32486 w 399880"/>
                <a:gd name="connsiteY30" fmla="*/ 119127 h 280738"/>
                <a:gd name="connsiteX31" fmla="*/ 32081 w 399880"/>
                <a:gd name="connsiteY31" fmla="*/ 118848 h 280738"/>
                <a:gd name="connsiteX32" fmla="*/ 26106 w 399880"/>
                <a:gd name="connsiteY32" fmla="*/ 114123 h 280738"/>
                <a:gd name="connsiteX33" fmla="*/ 26017 w 399880"/>
                <a:gd name="connsiteY33" fmla="*/ 113488 h 280738"/>
                <a:gd name="connsiteX34" fmla="*/ 30064 w 399880"/>
                <a:gd name="connsiteY34" fmla="*/ 108319 h 280738"/>
                <a:gd name="connsiteX35" fmla="*/ 16352 w 399880"/>
                <a:gd name="connsiteY35" fmla="*/ 105932 h 280738"/>
                <a:gd name="connsiteX36" fmla="*/ 11900 w 399880"/>
                <a:gd name="connsiteY36" fmla="*/ 104446 h 280738"/>
                <a:gd name="connsiteX37" fmla="*/ 15008 w 399880"/>
                <a:gd name="connsiteY37" fmla="*/ 112777 h 280738"/>
                <a:gd name="connsiteX38" fmla="*/ 10923 w 399880"/>
                <a:gd name="connsiteY38" fmla="*/ 75388 h 280738"/>
                <a:gd name="connsiteX39" fmla="*/ 13486 w 399880"/>
                <a:gd name="connsiteY39" fmla="*/ 66968 h 280738"/>
                <a:gd name="connsiteX40" fmla="*/ 13702 w 399880"/>
                <a:gd name="connsiteY40" fmla="*/ 67197 h 280738"/>
                <a:gd name="connsiteX41" fmla="*/ 15858 w 399880"/>
                <a:gd name="connsiteY41" fmla="*/ 70702 h 280738"/>
                <a:gd name="connsiteX42" fmla="*/ 16619 w 399880"/>
                <a:gd name="connsiteY42" fmla="*/ 71781 h 280738"/>
                <a:gd name="connsiteX43" fmla="*/ 17570 w 399880"/>
                <a:gd name="connsiteY43" fmla="*/ 72861 h 280738"/>
                <a:gd name="connsiteX44" fmla="*/ 29836 w 399880"/>
                <a:gd name="connsiteY44" fmla="*/ 75198 h 280738"/>
                <a:gd name="connsiteX45" fmla="*/ 31002 w 399880"/>
                <a:gd name="connsiteY45" fmla="*/ 73940 h 280738"/>
                <a:gd name="connsiteX46" fmla="*/ 31409 w 399880"/>
                <a:gd name="connsiteY46" fmla="*/ 73496 h 280738"/>
                <a:gd name="connsiteX47" fmla="*/ 31763 w 399880"/>
                <a:gd name="connsiteY47" fmla="*/ 73128 h 280738"/>
                <a:gd name="connsiteX48" fmla="*/ 32309 w 399880"/>
                <a:gd name="connsiteY48" fmla="*/ 72683 h 280738"/>
                <a:gd name="connsiteX49" fmla="*/ 33108 w 399880"/>
                <a:gd name="connsiteY49" fmla="*/ 75109 h 280738"/>
                <a:gd name="connsiteX50" fmla="*/ 33209 w 399880"/>
                <a:gd name="connsiteY50" fmla="*/ 75477 h 280738"/>
                <a:gd name="connsiteX51" fmla="*/ 33336 w 399880"/>
                <a:gd name="connsiteY51" fmla="*/ 75922 h 280738"/>
                <a:gd name="connsiteX52" fmla="*/ 51906 w 399880"/>
                <a:gd name="connsiteY52" fmla="*/ 76645 h 280738"/>
                <a:gd name="connsiteX53" fmla="*/ 51043 w 399880"/>
                <a:gd name="connsiteY53" fmla="*/ 74436 h 280738"/>
                <a:gd name="connsiteX54" fmla="*/ 50917 w 399880"/>
                <a:gd name="connsiteY54" fmla="*/ 73128 h 280738"/>
                <a:gd name="connsiteX55" fmla="*/ 50954 w 399880"/>
                <a:gd name="connsiteY55" fmla="*/ 72327 h 280738"/>
                <a:gd name="connsiteX56" fmla="*/ 53251 w 399880"/>
                <a:gd name="connsiteY56" fmla="*/ 71286 h 280738"/>
                <a:gd name="connsiteX57" fmla="*/ 54012 w 399880"/>
                <a:gd name="connsiteY57" fmla="*/ 71604 h 280738"/>
                <a:gd name="connsiteX58" fmla="*/ 58679 w 399880"/>
                <a:gd name="connsiteY58" fmla="*/ 73534 h 280738"/>
                <a:gd name="connsiteX59" fmla="*/ 64298 w 399880"/>
                <a:gd name="connsiteY59" fmla="*/ 67692 h 280738"/>
                <a:gd name="connsiteX60" fmla="*/ 59847 w 399880"/>
                <a:gd name="connsiteY60" fmla="*/ 63641 h 280738"/>
                <a:gd name="connsiteX61" fmla="*/ 57779 w 399880"/>
                <a:gd name="connsiteY61" fmla="*/ 61215 h 280738"/>
                <a:gd name="connsiteX62" fmla="*/ 44296 w 399880"/>
                <a:gd name="connsiteY62" fmla="*/ 39663 h 280738"/>
                <a:gd name="connsiteX63" fmla="*/ 42596 w 399880"/>
                <a:gd name="connsiteY63" fmla="*/ 36653 h 280738"/>
                <a:gd name="connsiteX64" fmla="*/ 42545 w 399880"/>
                <a:gd name="connsiteY64" fmla="*/ 36602 h 280738"/>
                <a:gd name="connsiteX65" fmla="*/ 38638 w 399880"/>
                <a:gd name="connsiteY65" fmla="*/ 30164 h 280738"/>
                <a:gd name="connsiteX66" fmla="*/ 36660 w 399880"/>
                <a:gd name="connsiteY66" fmla="*/ 27293 h 280738"/>
                <a:gd name="connsiteX67" fmla="*/ 34998 w 399880"/>
                <a:gd name="connsiteY67" fmla="*/ 25223 h 280738"/>
                <a:gd name="connsiteX68" fmla="*/ 34186 w 399880"/>
                <a:gd name="connsiteY68" fmla="*/ 24321 h 280738"/>
                <a:gd name="connsiteX69" fmla="*/ 13929 w 399880"/>
                <a:gd name="connsiteY69" fmla="*/ 31827 h 280738"/>
                <a:gd name="connsiteX70" fmla="*/ 10467 w 399880"/>
                <a:gd name="connsiteY70" fmla="*/ 40158 h 280738"/>
                <a:gd name="connsiteX71" fmla="*/ 10378 w 399880"/>
                <a:gd name="connsiteY71" fmla="*/ 40514 h 280738"/>
                <a:gd name="connsiteX72" fmla="*/ 10150 w 399880"/>
                <a:gd name="connsiteY72" fmla="*/ 41962 h 280738"/>
                <a:gd name="connsiteX73" fmla="*/ 10150 w 399880"/>
                <a:gd name="connsiteY73" fmla="*/ 53074 h 280738"/>
                <a:gd name="connsiteX74" fmla="*/ 10682 w 399880"/>
                <a:gd name="connsiteY74" fmla="*/ 56897 h 280738"/>
                <a:gd name="connsiteX75" fmla="*/ 10822 w 399880"/>
                <a:gd name="connsiteY75" fmla="*/ 57748 h 280738"/>
                <a:gd name="connsiteX76" fmla="*/ 11228 w 399880"/>
                <a:gd name="connsiteY76" fmla="*/ 60948 h 280738"/>
                <a:gd name="connsiteX77" fmla="*/ 11088 w 399880"/>
                <a:gd name="connsiteY77" fmla="*/ 60859 h 280738"/>
                <a:gd name="connsiteX78" fmla="*/ 10962 w 399880"/>
                <a:gd name="connsiteY78" fmla="*/ 60631 h 280738"/>
                <a:gd name="connsiteX79" fmla="*/ 10150 w 399880"/>
                <a:gd name="connsiteY79" fmla="*/ 59107 h 280738"/>
                <a:gd name="connsiteX80" fmla="*/ 8983 w 399880"/>
                <a:gd name="connsiteY80" fmla="*/ 56630 h 280738"/>
                <a:gd name="connsiteX81" fmla="*/ 7219 w 399880"/>
                <a:gd name="connsiteY81" fmla="*/ 52985 h 280738"/>
                <a:gd name="connsiteX82" fmla="*/ -11 w 399880"/>
                <a:gd name="connsiteY82" fmla="*/ 32462 h 280738"/>
                <a:gd name="connsiteX83" fmla="*/ 8577 w 399880"/>
                <a:gd name="connsiteY83" fmla="*/ 27966 h 280738"/>
                <a:gd name="connsiteX84" fmla="*/ 34288 w 399880"/>
                <a:gd name="connsiteY84" fmla="*/ 18200 h 280738"/>
                <a:gd name="connsiteX85" fmla="*/ 51906 w 399880"/>
                <a:gd name="connsiteY85" fmla="*/ 22620 h 280738"/>
                <a:gd name="connsiteX86" fmla="*/ 71452 w 399880"/>
                <a:gd name="connsiteY86" fmla="*/ 39003 h 280738"/>
                <a:gd name="connsiteX87" fmla="*/ 82779 w 399880"/>
                <a:gd name="connsiteY87" fmla="*/ 55957 h 280738"/>
                <a:gd name="connsiteX88" fmla="*/ 99307 w 399880"/>
                <a:gd name="connsiteY88" fmla="*/ 56770 h 280738"/>
                <a:gd name="connsiteX89" fmla="*/ 122595 w 399880"/>
                <a:gd name="connsiteY89" fmla="*/ 59069 h 280738"/>
                <a:gd name="connsiteX90" fmla="*/ 126590 w 399880"/>
                <a:gd name="connsiteY90" fmla="*/ 36475 h 280738"/>
                <a:gd name="connsiteX91" fmla="*/ 139529 w 399880"/>
                <a:gd name="connsiteY91" fmla="*/ 24144 h 280738"/>
                <a:gd name="connsiteX92" fmla="*/ 155523 w 399880"/>
                <a:gd name="connsiteY92" fmla="*/ 18213 h 280738"/>
                <a:gd name="connsiteX93" fmla="*/ 162537 w 399880"/>
                <a:gd name="connsiteY93" fmla="*/ 14022 h 280738"/>
                <a:gd name="connsiteX94" fmla="*/ 167168 w 399880"/>
                <a:gd name="connsiteY94" fmla="*/ 8218 h 280738"/>
                <a:gd name="connsiteX95" fmla="*/ 175526 w 399880"/>
                <a:gd name="connsiteY95" fmla="*/ 2198 h 280738"/>
                <a:gd name="connsiteX96" fmla="*/ 186853 w 399880"/>
                <a:gd name="connsiteY96" fmla="*/ 11863 h 280738"/>
                <a:gd name="connsiteX97" fmla="*/ 205588 w 399880"/>
                <a:gd name="connsiteY97" fmla="*/ 19508 h 280738"/>
                <a:gd name="connsiteX98" fmla="*/ 210762 w 399880"/>
                <a:gd name="connsiteY98" fmla="*/ 26214 h 280738"/>
                <a:gd name="connsiteX99" fmla="*/ 215976 w 399880"/>
                <a:gd name="connsiteY99" fmla="*/ 36475 h 280738"/>
                <a:gd name="connsiteX100" fmla="*/ 212919 w 399880"/>
                <a:gd name="connsiteY100" fmla="*/ 51601 h 280738"/>
                <a:gd name="connsiteX101" fmla="*/ 228964 w 399880"/>
                <a:gd name="connsiteY101" fmla="*/ 59297 h 280738"/>
                <a:gd name="connsiteX102" fmla="*/ 247116 w 399880"/>
                <a:gd name="connsiteY102" fmla="*/ 60186 h 280738"/>
                <a:gd name="connsiteX103" fmla="*/ 264962 w 399880"/>
                <a:gd name="connsiteY103" fmla="*/ 68784 h 280738"/>
                <a:gd name="connsiteX104" fmla="*/ 295925 w 399880"/>
                <a:gd name="connsiteY104" fmla="*/ 111621 h 280738"/>
                <a:gd name="connsiteX105" fmla="*/ 319339 w 399880"/>
                <a:gd name="connsiteY105" fmla="*/ 136691 h 280738"/>
                <a:gd name="connsiteX106" fmla="*/ 339203 w 399880"/>
                <a:gd name="connsiteY106" fmla="*/ 145276 h 280738"/>
                <a:gd name="connsiteX107" fmla="*/ 359916 w 399880"/>
                <a:gd name="connsiteY107" fmla="*/ 160529 h 280738"/>
                <a:gd name="connsiteX108" fmla="*/ 391017 w 399880"/>
                <a:gd name="connsiteY108" fmla="*/ 175197 h 280738"/>
                <a:gd name="connsiteX109" fmla="*/ 399554 w 399880"/>
                <a:gd name="connsiteY109" fmla="*/ 189866 h 280738"/>
                <a:gd name="connsiteX110" fmla="*/ 399478 w 399880"/>
                <a:gd name="connsiteY110" fmla="*/ 201017 h 280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399880" h="280738">
                  <a:moveTo>
                    <a:pt x="399478" y="201017"/>
                  </a:moveTo>
                  <a:cubicBezTo>
                    <a:pt x="392743" y="199912"/>
                    <a:pt x="385906" y="199404"/>
                    <a:pt x="379082" y="199531"/>
                  </a:cubicBezTo>
                  <a:cubicBezTo>
                    <a:pt x="365903" y="200432"/>
                    <a:pt x="368059" y="193511"/>
                    <a:pt x="357773" y="206109"/>
                  </a:cubicBezTo>
                  <a:cubicBezTo>
                    <a:pt x="347485" y="218708"/>
                    <a:pt x="356656" y="214834"/>
                    <a:pt x="345507" y="228918"/>
                  </a:cubicBezTo>
                  <a:cubicBezTo>
                    <a:pt x="334357" y="243041"/>
                    <a:pt x="334409" y="248807"/>
                    <a:pt x="328117" y="248400"/>
                  </a:cubicBezTo>
                  <a:cubicBezTo>
                    <a:pt x="321826" y="248045"/>
                    <a:pt x="314367" y="253531"/>
                    <a:pt x="308202" y="253391"/>
                  </a:cubicBezTo>
                  <a:cubicBezTo>
                    <a:pt x="302000" y="253264"/>
                    <a:pt x="300338" y="249746"/>
                    <a:pt x="299121" y="259195"/>
                  </a:cubicBezTo>
                  <a:cubicBezTo>
                    <a:pt x="297903" y="268644"/>
                    <a:pt x="310803" y="268466"/>
                    <a:pt x="294491" y="273368"/>
                  </a:cubicBezTo>
                  <a:cubicBezTo>
                    <a:pt x="278230" y="278232"/>
                    <a:pt x="281058" y="284214"/>
                    <a:pt x="278230" y="278232"/>
                  </a:cubicBezTo>
                  <a:cubicBezTo>
                    <a:pt x="275389" y="272289"/>
                    <a:pt x="268920" y="270803"/>
                    <a:pt x="262717" y="268784"/>
                  </a:cubicBezTo>
                  <a:cubicBezTo>
                    <a:pt x="259482" y="267742"/>
                    <a:pt x="253420" y="265583"/>
                    <a:pt x="248333" y="263831"/>
                  </a:cubicBezTo>
                  <a:cubicBezTo>
                    <a:pt x="248320" y="257100"/>
                    <a:pt x="247915" y="250369"/>
                    <a:pt x="247128" y="243676"/>
                  </a:cubicBezTo>
                  <a:cubicBezTo>
                    <a:pt x="246989" y="237529"/>
                    <a:pt x="245898" y="231446"/>
                    <a:pt x="243894" y="225629"/>
                  </a:cubicBezTo>
                  <a:cubicBezTo>
                    <a:pt x="243894" y="225629"/>
                    <a:pt x="236524" y="225769"/>
                    <a:pt x="227760" y="225223"/>
                  </a:cubicBezTo>
                  <a:cubicBezTo>
                    <a:pt x="218995" y="224677"/>
                    <a:pt x="223079" y="226035"/>
                    <a:pt x="202188" y="208802"/>
                  </a:cubicBezTo>
                  <a:cubicBezTo>
                    <a:pt x="181247" y="191606"/>
                    <a:pt x="199449" y="206465"/>
                    <a:pt x="191622" y="194895"/>
                  </a:cubicBezTo>
                  <a:cubicBezTo>
                    <a:pt x="183809" y="183338"/>
                    <a:pt x="178190" y="189853"/>
                    <a:pt x="167180" y="190806"/>
                  </a:cubicBezTo>
                  <a:cubicBezTo>
                    <a:pt x="156208" y="191708"/>
                    <a:pt x="163451" y="188647"/>
                    <a:pt x="145655" y="180544"/>
                  </a:cubicBezTo>
                  <a:cubicBezTo>
                    <a:pt x="127859" y="172442"/>
                    <a:pt x="137474" y="175324"/>
                    <a:pt x="124979" y="169648"/>
                  </a:cubicBezTo>
                  <a:cubicBezTo>
                    <a:pt x="112486" y="163983"/>
                    <a:pt x="116532" y="169114"/>
                    <a:pt x="91671" y="173292"/>
                  </a:cubicBezTo>
                  <a:cubicBezTo>
                    <a:pt x="66823" y="177483"/>
                    <a:pt x="79951" y="176582"/>
                    <a:pt x="71719" y="181395"/>
                  </a:cubicBezTo>
                  <a:cubicBezTo>
                    <a:pt x="63449" y="186170"/>
                    <a:pt x="60709" y="197816"/>
                    <a:pt x="51906" y="200661"/>
                  </a:cubicBezTo>
                  <a:cubicBezTo>
                    <a:pt x="48101" y="201563"/>
                    <a:pt x="44156" y="201690"/>
                    <a:pt x="40313" y="201017"/>
                  </a:cubicBezTo>
                  <a:cubicBezTo>
                    <a:pt x="37167" y="174016"/>
                    <a:pt x="42786" y="131903"/>
                    <a:pt x="34237" y="138380"/>
                  </a:cubicBezTo>
                  <a:cubicBezTo>
                    <a:pt x="33159" y="131903"/>
                    <a:pt x="21388" y="120918"/>
                    <a:pt x="19726" y="134964"/>
                  </a:cubicBezTo>
                  <a:cubicBezTo>
                    <a:pt x="17799" y="122454"/>
                    <a:pt x="16935" y="117057"/>
                    <a:pt x="27501" y="122048"/>
                  </a:cubicBezTo>
                  <a:cubicBezTo>
                    <a:pt x="29925" y="125832"/>
                    <a:pt x="30470" y="123483"/>
                    <a:pt x="31637" y="123039"/>
                  </a:cubicBezTo>
                  <a:cubicBezTo>
                    <a:pt x="31725" y="123039"/>
                    <a:pt x="31814" y="122988"/>
                    <a:pt x="31903" y="122988"/>
                  </a:cubicBezTo>
                  <a:lnTo>
                    <a:pt x="31903" y="122950"/>
                  </a:lnTo>
                  <a:cubicBezTo>
                    <a:pt x="32385" y="121870"/>
                    <a:pt x="32766" y="120753"/>
                    <a:pt x="33070" y="119622"/>
                  </a:cubicBezTo>
                  <a:cubicBezTo>
                    <a:pt x="32905" y="119432"/>
                    <a:pt x="32702" y="119267"/>
                    <a:pt x="32486" y="119127"/>
                  </a:cubicBezTo>
                  <a:lnTo>
                    <a:pt x="32081" y="118848"/>
                  </a:lnTo>
                  <a:cubicBezTo>
                    <a:pt x="29975" y="117412"/>
                    <a:pt x="26690" y="116193"/>
                    <a:pt x="26106" y="114123"/>
                  </a:cubicBezTo>
                  <a:cubicBezTo>
                    <a:pt x="26056" y="113920"/>
                    <a:pt x="26017" y="113704"/>
                    <a:pt x="26017" y="113488"/>
                  </a:cubicBezTo>
                  <a:cubicBezTo>
                    <a:pt x="26017" y="112193"/>
                    <a:pt x="27096" y="110529"/>
                    <a:pt x="30064" y="108319"/>
                  </a:cubicBezTo>
                  <a:cubicBezTo>
                    <a:pt x="32131" y="102287"/>
                    <a:pt x="20944" y="106884"/>
                    <a:pt x="16352" y="105932"/>
                  </a:cubicBezTo>
                  <a:cubicBezTo>
                    <a:pt x="17925" y="105170"/>
                    <a:pt x="12496" y="104992"/>
                    <a:pt x="11900" y="104446"/>
                  </a:cubicBezTo>
                  <a:cubicBezTo>
                    <a:pt x="11330" y="106656"/>
                    <a:pt x="17837" y="115241"/>
                    <a:pt x="15008" y="112777"/>
                  </a:cubicBezTo>
                  <a:cubicBezTo>
                    <a:pt x="7004" y="109132"/>
                    <a:pt x="5520" y="86043"/>
                    <a:pt x="10923" y="75388"/>
                  </a:cubicBezTo>
                  <a:cubicBezTo>
                    <a:pt x="12357" y="68187"/>
                    <a:pt x="12763" y="66333"/>
                    <a:pt x="13486" y="66968"/>
                  </a:cubicBezTo>
                  <a:cubicBezTo>
                    <a:pt x="13575" y="67019"/>
                    <a:pt x="13651" y="67095"/>
                    <a:pt x="13702" y="67197"/>
                  </a:cubicBezTo>
                  <a:cubicBezTo>
                    <a:pt x="14158" y="67781"/>
                    <a:pt x="14779" y="69127"/>
                    <a:pt x="15858" y="70702"/>
                  </a:cubicBezTo>
                  <a:cubicBezTo>
                    <a:pt x="16086" y="71058"/>
                    <a:pt x="16352" y="71426"/>
                    <a:pt x="16619" y="71781"/>
                  </a:cubicBezTo>
                  <a:cubicBezTo>
                    <a:pt x="16911" y="72162"/>
                    <a:pt x="17227" y="72531"/>
                    <a:pt x="17570" y="72861"/>
                  </a:cubicBezTo>
                  <a:cubicBezTo>
                    <a:pt x="21705" y="73407"/>
                    <a:pt x="25789" y="74296"/>
                    <a:pt x="29836" y="75198"/>
                  </a:cubicBezTo>
                  <a:cubicBezTo>
                    <a:pt x="30279" y="74702"/>
                    <a:pt x="30648" y="74296"/>
                    <a:pt x="31002" y="73940"/>
                  </a:cubicBezTo>
                  <a:cubicBezTo>
                    <a:pt x="31142" y="73801"/>
                    <a:pt x="31269" y="73623"/>
                    <a:pt x="31409" y="73496"/>
                  </a:cubicBezTo>
                  <a:lnTo>
                    <a:pt x="31763" y="73128"/>
                  </a:lnTo>
                  <a:cubicBezTo>
                    <a:pt x="31928" y="72962"/>
                    <a:pt x="32106" y="72810"/>
                    <a:pt x="32309" y="72683"/>
                  </a:cubicBezTo>
                  <a:cubicBezTo>
                    <a:pt x="33108" y="72099"/>
                    <a:pt x="32715" y="73407"/>
                    <a:pt x="33108" y="75109"/>
                  </a:cubicBezTo>
                  <a:cubicBezTo>
                    <a:pt x="33134" y="75236"/>
                    <a:pt x="33159" y="75350"/>
                    <a:pt x="33209" y="75477"/>
                  </a:cubicBezTo>
                  <a:lnTo>
                    <a:pt x="33336" y="75922"/>
                  </a:lnTo>
                  <a:cubicBezTo>
                    <a:pt x="39400" y="77509"/>
                    <a:pt x="45729" y="77763"/>
                    <a:pt x="51906" y="76645"/>
                  </a:cubicBezTo>
                  <a:cubicBezTo>
                    <a:pt x="51487" y="75960"/>
                    <a:pt x="51196" y="75223"/>
                    <a:pt x="51043" y="74436"/>
                  </a:cubicBezTo>
                  <a:cubicBezTo>
                    <a:pt x="50954" y="74004"/>
                    <a:pt x="50904" y="73572"/>
                    <a:pt x="50917" y="73128"/>
                  </a:cubicBezTo>
                  <a:cubicBezTo>
                    <a:pt x="50917" y="72861"/>
                    <a:pt x="50954" y="72594"/>
                    <a:pt x="50954" y="72327"/>
                  </a:cubicBezTo>
                  <a:cubicBezTo>
                    <a:pt x="50917" y="70803"/>
                    <a:pt x="51856" y="70753"/>
                    <a:pt x="53251" y="71286"/>
                  </a:cubicBezTo>
                  <a:cubicBezTo>
                    <a:pt x="53479" y="71375"/>
                    <a:pt x="53745" y="71464"/>
                    <a:pt x="54012" y="71604"/>
                  </a:cubicBezTo>
                  <a:cubicBezTo>
                    <a:pt x="55521" y="72340"/>
                    <a:pt x="57081" y="72988"/>
                    <a:pt x="58679" y="73534"/>
                  </a:cubicBezTo>
                  <a:cubicBezTo>
                    <a:pt x="60861" y="71908"/>
                    <a:pt x="62764" y="69940"/>
                    <a:pt x="64298" y="67692"/>
                  </a:cubicBezTo>
                  <a:cubicBezTo>
                    <a:pt x="62700" y="66486"/>
                    <a:pt x="61216" y="65126"/>
                    <a:pt x="59847" y="63641"/>
                  </a:cubicBezTo>
                  <a:cubicBezTo>
                    <a:pt x="59174" y="62879"/>
                    <a:pt x="58451" y="62066"/>
                    <a:pt x="57779" y="61215"/>
                  </a:cubicBezTo>
                  <a:cubicBezTo>
                    <a:pt x="52743" y="54382"/>
                    <a:pt x="48240" y="47181"/>
                    <a:pt x="44296" y="39663"/>
                  </a:cubicBezTo>
                  <a:cubicBezTo>
                    <a:pt x="43712" y="38622"/>
                    <a:pt x="43179" y="37631"/>
                    <a:pt x="42596" y="36653"/>
                  </a:cubicBezTo>
                  <a:lnTo>
                    <a:pt x="42545" y="36602"/>
                  </a:lnTo>
                  <a:cubicBezTo>
                    <a:pt x="41252" y="34266"/>
                    <a:pt x="39945" y="32107"/>
                    <a:pt x="38638" y="30164"/>
                  </a:cubicBezTo>
                  <a:cubicBezTo>
                    <a:pt x="37966" y="29135"/>
                    <a:pt x="37332" y="28144"/>
                    <a:pt x="36660" y="27293"/>
                  </a:cubicBezTo>
                  <a:cubicBezTo>
                    <a:pt x="36127" y="26531"/>
                    <a:pt x="35544" y="25845"/>
                    <a:pt x="34998" y="25223"/>
                  </a:cubicBezTo>
                  <a:cubicBezTo>
                    <a:pt x="34731" y="24906"/>
                    <a:pt x="34465" y="24588"/>
                    <a:pt x="34186" y="24321"/>
                  </a:cubicBezTo>
                  <a:cubicBezTo>
                    <a:pt x="26575" y="23013"/>
                    <a:pt x="18851" y="25884"/>
                    <a:pt x="13929" y="31827"/>
                  </a:cubicBezTo>
                  <a:cubicBezTo>
                    <a:pt x="12890" y="33986"/>
                    <a:pt x="11773" y="36742"/>
                    <a:pt x="10467" y="40158"/>
                  </a:cubicBezTo>
                  <a:cubicBezTo>
                    <a:pt x="10404" y="40273"/>
                    <a:pt x="10378" y="40387"/>
                    <a:pt x="10378" y="40514"/>
                  </a:cubicBezTo>
                  <a:cubicBezTo>
                    <a:pt x="10277" y="40997"/>
                    <a:pt x="10201" y="41479"/>
                    <a:pt x="10150" y="41962"/>
                  </a:cubicBezTo>
                  <a:cubicBezTo>
                    <a:pt x="9655" y="45645"/>
                    <a:pt x="9655" y="49379"/>
                    <a:pt x="10150" y="53074"/>
                  </a:cubicBezTo>
                  <a:cubicBezTo>
                    <a:pt x="10327" y="54471"/>
                    <a:pt x="10505" y="55767"/>
                    <a:pt x="10682" y="56897"/>
                  </a:cubicBezTo>
                  <a:cubicBezTo>
                    <a:pt x="10733" y="57214"/>
                    <a:pt x="10771" y="57481"/>
                    <a:pt x="10822" y="57748"/>
                  </a:cubicBezTo>
                  <a:cubicBezTo>
                    <a:pt x="11114" y="58789"/>
                    <a:pt x="11241" y="59869"/>
                    <a:pt x="11228" y="60948"/>
                  </a:cubicBezTo>
                  <a:lnTo>
                    <a:pt x="11088" y="60859"/>
                  </a:lnTo>
                  <a:lnTo>
                    <a:pt x="10962" y="60631"/>
                  </a:lnTo>
                  <a:cubicBezTo>
                    <a:pt x="10771" y="60313"/>
                    <a:pt x="10505" y="59818"/>
                    <a:pt x="10150" y="59107"/>
                  </a:cubicBezTo>
                  <a:cubicBezTo>
                    <a:pt x="9883" y="58472"/>
                    <a:pt x="9478" y="57621"/>
                    <a:pt x="8983" y="56630"/>
                  </a:cubicBezTo>
                  <a:cubicBezTo>
                    <a:pt x="8488" y="55601"/>
                    <a:pt x="7905" y="54420"/>
                    <a:pt x="7219" y="52985"/>
                  </a:cubicBezTo>
                  <a:cubicBezTo>
                    <a:pt x="2323" y="47296"/>
                    <a:pt x="-251" y="39981"/>
                    <a:pt x="-11" y="32462"/>
                  </a:cubicBezTo>
                  <a:cubicBezTo>
                    <a:pt x="2679" y="30646"/>
                    <a:pt x="5558" y="29135"/>
                    <a:pt x="8577" y="27966"/>
                  </a:cubicBezTo>
                  <a:cubicBezTo>
                    <a:pt x="22200" y="22620"/>
                    <a:pt x="23861" y="15952"/>
                    <a:pt x="34288" y="18200"/>
                  </a:cubicBezTo>
                  <a:cubicBezTo>
                    <a:pt x="44663" y="20448"/>
                    <a:pt x="44080" y="18340"/>
                    <a:pt x="51906" y="22620"/>
                  </a:cubicBezTo>
                  <a:cubicBezTo>
                    <a:pt x="60125" y="25617"/>
                    <a:pt x="67051" y="31421"/>
                    <a:pt x="71452" y="39003"/>
                  </a:cubicBezTo>
                  <a:cubicBezTo>
                    <a:pt x="80040" y="51550"/>
                    <a:pt x="72619" y="52858"/>
                    <a:pt x="82779" y="55957"/>
                  </a:cubicBezTo>
                  <a:cubicBezTo>
                    <a:pt x="92889" y="59069"/>
                    <a:pt x="84302" y="55513"/>
                    <a:pt x="99307" y="56770"/>
                  </a:cubicBezTo>
                  <a:cubicBezTo>
                    <a:pt x="114325" y="57989"/>
                    <a:pt x="113741" y="68695"/>
                    <a:pt x="122595" y="59069"/>
                  </a:cubicBezTo>
                  <a:cubicBezTo>
                    <a:pt x="131448" y="49442"/>
                    <a:pt x="120705" y="48223"/>
                    <a:pt x="126590" y="36475"/>
                  </a:cubicBezTo>
                  <a:cubicBezTo>
                    <a:pt x="132527" y="24728"/>
                    <a:pt x="126147" y="26760"/>
                    <a:pt x="139529" y="24144"/>
                  </a:cubicBezTo>
                  <a:cubicBezTo>
                    <a:pt x="152872" y="21540"/>
                    <a:pt x="148471" y="22391"/>
                    <a:pt x="155523" y="18213"/>
                  </a:cubicBezTo>
                  <a:cubicBezTo>
                    <a:pt x="162537" y="14022"/>
                    <a:pt x="155028" y="16181"/>
                    <a:pt x="162537" y="14022"/>
                  </a:cubicBezTo>
                  <a:cubicBezTo>
                    <a:pt x="170047" y="11863"/>
                    <a:pt x="163260" y="14200"/>
                    <a:pt x="167168" y="8218"/>
                  </a:cubicBezTo>
                  <a:cubicBezTo>
                    <a:pt x="171124" y="2236"/>
                    <a:pt x="168156" y="-3161"/>
                    <a:pt x="175526" y="2198"/>
                  </a:cubicBezTo>
                  <a:cubicBezTo>
                    <a:pt x="182896" y="7596"/>
                    <a:pt x="173687" y="6465"/>
                    <a:pt x="186853" y="11863"/>
                  </a:cubicBezTo>
                  <a:cubicBezTo>
                    <a:pt x="193284" y="13933"/>
                    <a:pt x="199550" y="16485"/>
                    <a:pt x="205588" y="19508"/>
                  </a:cubicBezTo>
                  <a:cubicBezTo>
                    <a:pt x="210762" y="22620"/>
                    <a:pt x="208606" y="20194"/>
                    <a:pt x="210762" y="26214"/>
                  </a:cubicBezTo>
                  <a:cubicBezTo>
                    <a:pt x="212868" y="32246"/>
                    <a:pt x="219071" y="29998"/>
                    <a:pt x="215976" y="36475"/>
                  </a:cubicBezTo>
                  <a:cubicBezTo>
                    <a:pt x="212868" y="43003"/>
                    <a:pt x="206488" y="46292"/>
                    <a:pt x="212919" y="51601"/>
                  </a:cubicBezTo>
                  <a:cubicBezTo>
                    <a:pt x="217080" y="56122"/>
                    <a:pt x="222826" y="58878"/>
                    <a:pt x="228964" y="59297"/>
                  </a:cubicBezTo>
                  <a:cubicBezTo>
                    <a:pt x="238618" y="61228"/>
                    <a:pt x="237412" y="62396"/>
                    <a:pt x="247116" y="60186"/>
                  </a:cubicBezTo>
                  <a:cubicBezTo>
                    <a:pt x="256819" y="57989"/>
                    <a:pt x="256007" y="59157"/>
                    <a:pt x="264962" y="68784"/>
                  </a:cubicBezTo>
                  <a:cubicBezTo>
                    <a:pt x="273943" y="78373"/>
                    <a:pt x="280412" y="101995"/>
                    <a:pt x="295925" y="111621"/>
                  </a:cubicBezTo>
                  <a:cubicBezTo>
                    <a:pt x="311475" y="121299"/>
                    <a:pt x="304689" y="130608"/>
                    <a:pt x="319339" y="136691"/>
                  </a:cubicBezTo>
                  <a:cubicBezTo>
                    <a:pt x="333939" y="142762"/>
                    <a:pt x="328371" y="134926"/>
                    <a:pt x="339203" y="145276"/>
                  </a:cubicBezTo>
                  <a:cubicBezTo>
                    <a:pt x="350022" y="155627"/>
                    <a:pt x="344099" y="157875"/>
                    <a:pt x="359916" y="160529"/>
                  </a:cubicBezTo>
                  <a:cubicBezTo>
                    <a:pt x="371788" y="161177"/>
                    <a:pt x="382950" y="166434"/>
                    <a:pt x="391017" y="175197"/>
                  </a:cubicBezTo>
                  <a:cubicBezTo>
                    <a:pt x="398247" y="183529"/>
                    <a:pt x="398704" y="182309"/>
                    <a:pt x="399554" y="189866"/>
                  </a:cubicBezTo>
                  <a:cubicBezTo>
                    <a:pt x="399972" y="193574"/>
                    <a:pt x="399960" y="197321"/>
                    <a:pt x="399478" y="201017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4" name="Vrije vorm 283">
              <a:extLst>
                <a:ext uri="{FF2B5EF4-FFF2-40B4-BE49-F238E27FC236}">
                  <a16:creationId xmlns:a16="http://schemas.microsoft.com/office/drawing/2014/main" id="{76B0E9DD-91AB-BB42-AA15-1D6298EEE40E}"/>
                </a:ext>
              </a:extLst>
            </p:cNvPr>
            <p:cNvSpPr/>
            <p:nvPr/>
          </p:nvSpPr>
          <p:spPr>
            <a:xfrm>
              <a:off x="7424002" y="3325240"/>
              <a:ext cx="829343" cy="842073"/>
            </a:xfrm>
            <a:custGeom>
              <a:avLst/>
              <a:gdLst>
                <a:gd name="connsiteX0" fmla="*/ 827021 w 829343"/>
                <a:gd name="connsiteY0" fmla="*/ 240158 h 842073"/>
                <a:gd name="connsiteX1" fmla="*/ 816874 w 829343"/>
                <a:gd name="connsiteY1" fmla="*/ 236513 h 842073"/>
                <a:gd name="connsiteX2" fmla="*/ 802756 w 829343"/>
                <a:gd name="connsiteY2" fmla="*/ 222708 h 842073"/>
                <a:gd name="connsiteX3" fmla="*/ 791619 w 829343"/>
                <a:gd name="connsiteY3" fmla="*/ 203036 h 842073"/>
                <a:gd name="connsiteX4" fmla="*/ 781459 w 829343"/>
                <a:gd name="connsiteY4" fmla="*/ 207951 h 842073"/>
                <a:gd name="connsiteX5" fmla="*/ 756966 w 829343"/>
                <a:gd name="connsiteY5" fmla="*/ 209475 h 842073"/>
                <a:gd name="connsiteX6" fmla="*/ 744967 w 829343"/>
                <a:gd name="connsiteY6" fmla="*/ 214110 h 842073"/>
                <a:gd name="connsiteX7" fmla="*/ 720068 w 829343"/>
                <a:gd name="connsiteY7" fmla="*/ 225350 h 842073"/>
                <a:gd name="connsiteX8" fmla="*/ 705100 w 829343"/>
                <a:gd name="connsiteY8" fmla="*/ 236640 h 842073"/>
                <a:gd name="connsiteX9" fmla="*/ 695625 w 829343"/>
                <a:gd name="connsiteY9" fmla="*/ 247270 h 842073"/>
                <a:gd name="connsiteX10" fmla="*/ 674684 w 829343"/>
                <a:gd name="connsiteY10" fmla="*/ 255906 h 842073"/>
                <a:gd name="connsiteX11" fmla="*/ 664118 w 829343"/>
                <a:gd name="connsiteY11" fmla="*/ 254281 h 842073"/>
                <a:gd name="connsiteX12" fmla="*/ 665424 w 829343"/>
                <a:gd name="connsiteY12" fmla="*/ 262332 h 842073"/>
                <a:gd name="connsiteX13" fmla="*/ 677461 w 829343"/>
                <a:gd name="connsiteY13" fmla="*/ 271781 h 842073"/>
                <a:gd name="connsiteX14" fmla="*/ 675356 w 829343"/>
                <a:gd name="connsiteY14" fmla="*/ 283846 h 842073"/>
                <a:gd name="connsiteX15" fmla="*/ 666223 w 829343"/>
                <a:gd name="connsiteY15" fmla="*/ 285370 h 842073"/>
                <a:gd name="connsiteX16" fmla="*/ 650280 w 829343"/>
                <a:gd name="connsiteY16" fmla="*/ 285154 h 842073"/>
                <a:gd name="connsiteX17" fmla="*/ 632788 w 829343"/>
                <a:gd name="connsiteY17" fmla="*/ 285370 h 842073"/>
                <a:gd name="connsiteX18" fmla="*/ 609779 w 829343"/>
                <a:gd name="connsiteY18" fmla="*/ 287669 h 842073"/>
                <a:gd name="connsiteX19" fmla="*/ 590867 w 829343"/>
                <a:gd name="connsiteY19" fmla="*/ 281420 h 842073"/>
                <a:gd name="connsiteX20" fmla="*/ 580580 w 829343"/>
                <a:gd name="connsiteY20" fmla="*/ 268187 h 842073"/>
                <a:gd name="connsiteX21" fmla="*/ 585793 w 829343"/>
                <a:gd name="connsiteY21" fmla="*/ 247257 h 842073"/>
                <a:gd name="connsiteX22" fmla="*/ 565930 w 829343"/>
                <a:gd name="connsiteY22" fmla="*/ 251576 h 842073"/>
                <a:gd name="connsiteX23" fmla="*/ 558700 w 829343"/>
                <a:gd name="connsiteY23" fmla="*/ 254598 h 842073"/>
                <a:gd name="connsiteX24" fmla="*/ 564090 w 829343"/>
                <a:gd name="connsiteY24" fmla="*/ 281192 h 842073"/>
                <a:gd name="connsiteX25" fmla="*/ 561883 w 829343"/>
                <a:gd name="connsiteY25" fmla="*/ 299010 h 842073"/>
                <a:gd name="connsiteX26" fmla="*/ 547005 w 829343"/>
                <a:gd name="connsiteY26" fmla="*/ 297029 h 842073"/>
                <a:gd name="connsiteX27" fmla="*/ 528448 w 829343"/>
                <a:gd name="connsiteY27" fmla="*/ 296940 h 842073"/>
                <a:gd name="connsiteX28" fmla="*/ 511413 w 829343"/>
                <a:gd name="connsiteY28" fmla="*/ 292165 h 842073"/>
                <a:gd name="connsiteX29" fmla="*/ 500987 w 829343"/>
                <a:gd name="connsiteY29" fmla="*/ 292711 h 842073"/>
                <a:gd name="connsiteX30" fmla="*/ 489482 w 829343"/>
                <a:gd name="connsiteY30" fmla="*/ 285865 h 842073"/>
                <a:gd name="connsiteX31" fmla="*/ 472942 w 829343"/>
                <a:gd name="connsiteY31" fmla="*/ 284291 h 842073"/>
                <a:gd name="connsiteX32" fmla="*/ 462287 w 829343"/>
                <a:gd name="connsiteY32" fmla="*/ 271565 h 842073"/>
                <a:gd name="connsiteX33" fmla="*/ 454702 w 829343"/>
                <a:gd name="connsiteY33" fmla="*/ 265126 h 842073"/>
                <a:gd name="connsiteX34" fmla="*/ 431782 w 829343"/>
                <a:gd name="connsiteY34" fmla="*/ 263996 h 842073"/>
                <a:gd name="connsiteX35" fmla="*/ 407910 w 829343"/>
                <a:gd name="connsiteY35" fmla="*/ 262332 h 842073"/>
                <a:gd name="connsiteX36" fmla="*/ 395200 w 829343"/>
                <a:gd name="connsiteY36" fmla="*/ 255322 h 842073"/>
                <a:gd name="connsiteX37" fmla="*/ 380005 w 829343"/>
                <a:gd name="connsiteY37" fmla="*/ 250013 h 842073"/>
                <a:gd name="connsiteX38" fmla="*/ 368906 w 829343"/>
                <a:gd name="connsiteY38" fmla="*/ 239294 h 842073"/>
                <a:gd name="connsiteX39" fmla="*/ 350388 w 829343"/>
                <a:gd name="connsiteY39" fmla="*/ 225299 h 842073"/>
                <a:gd name="connsiteX40" fmla="*/ 335788 w 829343"/>
                <a:gd name="connsiteY40" fmla="*/ 214098 h 842073"/>
                <a:gd name="connsiteX41" fmla="*/ 343424 w 829343"/>
                <a:gd name="connsiteY41" fmla="*/ 204738 h 842073"/>
                <a:gd name="connsiteX42" fmla="*/ 345986 w 829343"/>
                <a:gd name="connsiteY42" fmla="*/ 193219 h 842073"/>
                <a:gd name="connsiteX43" fmla="*/ 360142 w 829343"/>
                <a:gd name="connsiteY43" fmla="*/ 179224 h 842073"/>
                <a:gd name="connsiteX44" fmla="*/ 356450 w 829343"/>
                <a:gd name="connsiteY44" fmla="*/ 176074 h 842073"/>
                <a:gd name="connsiteX45" fmla="*/ 341800 w 829343"/>
                <a:gd name="connsiteY45" fmla="*/ 163971 h 842073"/>
                <a:gd name="connsiteX46" fmla="*/ 323738 w 829343"/>
                <a:gd name="connsiteY46" fmla="*/ 151741 h 842073"/>
                <a:gd name="connsiteX47" fmla="*/ 312677 w 829343"/>
                <a:gd name="connsiteY47" fmla="*/ 139269 h 842073"/>
                <a:gd name="connsiteX48" fmla="*/ 302302 w 829343"/>
                <a:gd name="connsiteY48" fmla="*/ 140031 h 842073"/>
                <a:gd name="connsiteX49" fmla="*/ 299968 w 829343"/>
                <a:gd name="connsiteY49" fmla="*/ 127662 h 842073"/>
                <a:gd name="connsiteX50" fmla="*/ 292281 w 829343"/>
                <a:gd name="connsiteY50" fmla="*/ 114746 h 842073"/>
                <a:gd name="connsiteX51" fmla="*/ 289491 w 829343"/>
                <a:gd name="connsiteY51" fmla="*/ 101919 h 842073"/>
                <a:gd name="connsiteX52" fmla="*/ 304775 w 829343"/>
                <a:gd name="connsiteY52" fmla="*/ 109437 h 842073"/>
                <a:gd name="connsiteX53" fmla="*/ 315151 w 829343"/>
                <a:gd name="connsiteY53" fmla="*/ 100217 h 842073"/>
                <a:gd name="connsiteX54" fmla="*/ 315594 w 829343"/>
                <a:gd name="connsiteY54" fmla="*/ 79427 h 842073"/>
                <a:gd name="connsiteX55" fmla="*/ 304001 w 829343"/>
                <a:gd name="connsiteY55" fmla="*/ 64352 h 842073"/>
                <a:gd name="connsiteX56" fmla="*/ 298255 w 829343"/>
                <a:gd name="connsiteY56" fmla="*/ 40184 h 842073"/>
                <a:gd name="connsiteX57" fmla="*/ 281360 w 829343"/>
                <a:gd name="connsiteY57" fmla="*/ 11025 h 842073"/>
                <a:gd name="connsiteX58" fmla="*/ 275424 w 829343"/>
                <a:gd name="connsiteY58" fmla="*/ 1 h 842073"/>
                <a:gd name="connsiteX59" fmla="*/ 255650 w 829343"/>
                <a:gd name="connsiteY59" fmla="*/ 6084 h 842073"/>
                <a:gd name="connsiteX60" fmla="*/ 248597 w 829343"/>
                <a:gd name="connsiteY60" fmla="*/ 8878 h 842073"/>
                <a:gd name="connsiteX61" fmla="*/ 248140 w 829343"/>
                <a:gd name="connsiteY61" fmla="*/ 16841 h 842073"/>
                <a:gd name="connsiteX62" fmla="*/ 234936 w 829343"/>
                <a:gd name="connsiteY62" fmla="*/ 25795 h 842073"/>
                <a:gd name="connsiteX63" fmla="*/ 220235 w 829343"/>
                <a:gd name="connsiteY63" fmla="*/ 27090 h 842073"/>
                <a:gd name="connsiteX64" fmla="*/ 207830 w 829343"/>
                <a:gd name="connsiteY64" fmla="*/ 33440 h 842073"/>
                <a:gd name="connsiteX65" fmla="*/ 191163 w 829343"/>
                <a:gd name="connsiteY65" fmla="*/ 27052 h 842073"/>
                <a:gd name="connsiteX66" fmla="*/ 176106 w 829343"/>
                <a:gd name="connsiteY66" fmla="*/ 24804 h 842073"/>
                <a:gd name="connsiteX67" fmla="*/ 163207 w 829343"/>
                <a:gd name="connsiteY67" fmla="*/ 32183 h 842073"/>
                <a:gd name="connsiteX68" fmla="*/ 164552 w 829343"/>
                <a:gd name="connsiteY68" fmla="*/ 44375 h 842073"/>
                <a:gd name="connsiteX69" fmla="*/ 159833 w 829343"/>
                <a:gd name="connsiteY69" fmla="*/ 58688 h 842073"/>
                <a:gd name="connsiteX70" fmla="*/ 165591 w 829343"/>
                <a:gd name="connsiteY70" fmla="*/ 77585 h 842073"/>
                <a:gd name="connsiteX71" fmla="*/ 175168 w 829343"/>
                <a:gd name="connsiteY71" fmla="*/ 84431 h 842073"/>
                <a:gd name="connsiteX72" fmla="*/ 180419 w 829343"/>
                <a:gd name="connsiteY72" fmla="*/ 94819 h 842073"/>
                <a:gd name="connsiteX73" fmla="*/ 185810 w 829343"/>
                <a:gd name="connsiteY73" fmla="*/ 104090 h 842073"/>
                <a:gd name="connsiteX74" fmla="*/ 196553 w 829343"/>
                <a:gd name="connsiteY74" fmla="*/ 105170 h 842073"/>
                <a:gd name="connsiteX75" fmla="*/ 183704 w 829343"/>
                <a:gd name="connsiteY75" fmla="*/ 112688 h 842073"/>
                <a:gd name="connsiteX76" fmla="*/ 182626 w 829343"/>
                <a:gd name="connsiteY76" fmla="*/ 149036 h 842073"/>
                <a:gd name="connsiteX77" fmla="*/ 171971 w 829343"/>
                <a:gd name="connsiteY77" fmla="*/ 162815 h 842073"/>
                <a:gd name="connsiteX78" fmla="*/ 149406 w 829343"/>
                <a:gd name="connsiteY78" fmla="*/ 192686 h 842073"/>
                <a:gd name="connsiteX79" fmla="*/ 110758 w 829343"/>
                <a:gd name="connsiteY79" fmla="*/ 238177 h 842073"/>
                <a:gd name="connsiteX80" fmla="*/ 78667 w 829343"/>
                <a:gd name="connsiteY80" fmla="*/ 254509 h 842073"/>
                <a:gd name="connsiteX81" fmla="*/ 68012 w 829343"/>
                <a:gd name="connsiteY81" fmla="*/ 248934 h 842073"/>
                <a:gd name="connsiteX82" fmla="*/ 55112 w 829343"/>
                <a:gd name="connsiteY82" fmla="*/ 255322 h 842073"/>
                <a:gd name="connsiteX83" fmla="*/ 37773 w 829343"/>
                <a:gd name="connsiteY83" fmla="*/ 284303 h 842073"/>
                <a:gd name="connsiteX84" fmla="*/ 46538 w 829343"/>
                <a:gd name="connsiteY84" fmla="*/ 293612 h 842073"/>
                <a:gd name="connsiteX85" fmla="*/ 55112 w 829343"/>
                <a:gd name="connsiteY85" fmla="*/ 302706 h 842073"/>
                <a:gd name="connsiteX86" fmla="*/ 52829 w 829343"/>
                <a:gd name="connsiteY86" fmla="*/ 319673 h 842073"/>
                <a:gd name="connsiteX87" fmla="*/ 68012 w 829343"/>
                <a:gd name="connsiteY87" fmla="*/ 323673 h 842073"/>
                <a:gd name="connsiteX88" fmla="*/ 76548 w 829343"/>
                <a:gd name="connsiteY88" fmla="*/ 355576 h 842073"/>
                <a:gd name="connsiteX89" fmla="*/ 67974 w 829343"/>
                <a:gd name="connsiteY89" fmla="*/ 364758 h 842073"/>
                <a:gd name="connsiteX90" fmla="*/ 54034 w 829343"/>
                <a:gd name="connsiteY90" fmla="*/ 364936 h 842073"/>
                <a:gd name="connsiteX91" fmla="*/ 33904 w 829343"/>
                <a:gd name="connsiteY91" fmla="*/ 363717 h 842073"/>
                <a:gd name="connsiteX92" fmla="*/ 24239 w 829343"/>
                <a:gd name="connsiteY92" fmla="*/ 365837 h 842073"/>
                <a:gd name="connsiteX93" fmla="*/ 12151 w 829343"/>
                <a:gd name="connsiteY93" fmla="*/ 370511 h 842073"/>
                <a:gd name="connsiteX94" fmla="*/ -26 w 829343"/>
                <a:gd name="connsiteY94" fmla="*/ 378118 h 842073"/>
                <a:gd name="connsiteX95" fmla="*/ 291 w 829343"/>
                <a:gd name="connsiteY95" fmla="*/ 379109 h 842073"/>
                <a:gd name="connsiteX96" fmla="*/ 647 w 829343"/>
                <a:gd name="connsiteY96" fmla="*/ 380011 h 842073"/>
                <a:gd name="connsiteX97" fmla="*/ 1192 w 829343"/>
                <a:gd name="connsiteY97" fmla="*/ 380900 h 842073"/>
                <a:gd name="connsiteX98" fmla="*/ 1509 w 829343"/>
                <a:gd name="connsiteY98" fmla="*/ 381446 h 842073"/>
                <a:gd name="connsiteX99" fmla="*/ 291 w 829343"/>
                <a:gd name="connsiteY99" fmla="*/ 384240 h 842073"/>
                <a:gd name="connsiteX100" fmla="*/ 18632 w 829343"/>
                <a:gd name="connsiteY100" fmla="*/ 376632 h 842073"/>
                <a:gd name="connsiteX101" fmla="*/ 56697 w 829343"/>
                <a:gd name="connsiteY101" fmla="*/ 405207 h 842073"/>
                <a:gd name="connsiteX102" fmla="*/ 29731 w 829343"/>
                <a:gd name="connsiteY102" fmla="*/ 425870 h 842073"/>
                <a:gd name="connsiteX103" fmla="*/ 83119 w 829343"/>
                <a:gd name="connsiteY103" fmla="*/ 471717 h 842073"/>
                <a:gd name="connsiteX104" fmla="*/ 111747 w 829343"/>
                <a:gd name="connsiteY104" fmla="*/ 435446 h 842073"/>
                <a:gd name="connsiteX105" fmla="*/ 111113 w 829343"/>
                <a:gd name="connsiteY105" fmla="*/ 434951 h 842073"/>
                <a:gd name="connsiteX106" fmla="*/ 111696 w 829343"/>
                <a:gd name="connsiteY106" fmla="*/ 435078 h 842073"/>
                <a:gd name="connsiteX107" fmla="*/ 112102 w 829343"/>
                <a:gd name="connsiteY107" fmla="*/ 435040 h 842073"/>
                <a:gd name="connsiteX108" fmla="*/ 112280 w 829343"/>
                <a:gd name="connsiteY108" fmla="*/ 434989 h 842073"/>
                <a:gd name="connsiteX109" fmla="*/ 112407 w 829343"/>
                <a:gd name="connsiteY109" fmla="*/ 434722 h 842073"/>
                <a:gd name="connsiteX110" fmla="*/ 114930 w 829343"/>
                <a:gd name="connsiteY110" fmla="*/ 433960 h 842073"/>
                <a:gd name="connsiteX111" fmla="*/ 114487 w 829343"/>
                <a:gd name="connsiteY111" fmla="*/ 425324 h 842073"/>
                <a:gd name="connsiteX112" fmla="*/ 134477 w 829343"/>
                <a:gd name="connsiteY112" fmla="*/ 425642 h 842073"/>
                <a:gd name="connsiteX113" fmla="*/ 124190 w 829343"/>
                <a:gd name="connsiteY113" fmla="*/ 436932 h 842073"/>
                <a:gd name="connsiteX114" fmla="*/ 140908 w 829343"/>
                <a:gd name="connsiteY114" fmla="*/ 441567 h 842073"/>
                <a:gd name="connsiteX115" fmla="*/ 126207 w 829343"/>
                <a:gd name="connsiteY115" fmla="*/ 461367 h 842073"/>
                <a:gd name="connsiteX116" fmla="*/ 129442 w 829343"/>
                <a:gd name="connsiteY116" fmla="*/ 460059 h 842073"/>
                <a:gd name="connsiteX117" fmla="*/ 130203 w 829343"/>
                <a:gd name="connsiteY117" fmla="*/ 461240 h 842073"/>
                <a:gd name="connsiteX118" fmla="*/ 135416 w 829343"/>
                <a:gd name="connsiteY118" fmla="*/ 515774 h 842073"/>
                <a:gd name="connsiteX119" fmla="*/ 131826 w 829343"/>
                <a:gd name="connsiteY119" fmla="*/ 527699 h 842073"/>
                <a:gd name="connsiteX120" fmla="*/ 138739 w 829343"/>
                <a:gd name="connsiteY120" fmla="*/ 524181 h 842073"/>
                <a:gd name="connsiteX121" fmla="*/ 136633 w 829343"/>
                <a:gd name="connsiteY121" fmla="*/ 528499 h 842073"/>
                <a:gd name="connsiteX122" fmla="*/ 134655 w 829343"/>
                <a:gd name="connsiteY122" fmla="*/ 530620 h 842073"/>
                <a:gd name="connsiteX123" fmla="*/ 137572 w 829343"/>
                <a:gd name="connsiteY123" fmla="*/ 540424 h 842073"/>
                <a:gd name="connsiteX124" fmla="*/ 141973 w 829343"/>
                <a:gd name="connsiteY124" fmla="*/ 572504 h 842073"/>
                <a:gd name="connsiteX125" fmla="*/ 161520 w 829343"/>
                <a:gd name="connsiteY125" fmla="*/ 627495 h 842073"/>
                <a:gd name="connsiteX126" fmla="*/ 164171 w 829343"/>
                <a:gd name="connsiteY126" fmla="*/ 632029 h 842073"/>
                <a:gd name="connsiteX127" fmla="*/ 159325 w 829343"/>
                <a:gd name="connsiteY127" fmla="*/ 630772 h 842073"/>
                <a:gd name="connsiteX128" fmla="*/ 171946 w 829343"/>
                <a:gd name="connsiteY128" fmla="*/ 646749 h 842073"/>
                <a:gd name="connsiteX129" fmla="*/ 173126 w 829343"/>
                <a:gd name="connsiteY129" fmla="*/ 653810 h 842073"/>
                <a:gd name="connsiteX130" fmla="*/ 185023 w 829343"/>
                <a:gd name="connsiteY130" fmla="*/ 680988 h 842073"/>
                <a:gd name="connsiteX131" fmla="*/ 214324 w 829343"/>
                <a:gd name="connsiteY131" fmla="*/ 748031 h 842073"/>
                <a:gd name="connsiteX132" fmla="*/ 266583 w 829343"/>
                <a:gd name="connsiteY132" fmla="*/ 842075 h 842073"/>
                <a:gd name="connsiteX133" fmla="*/ 312373 w 829343"/>
                <a:gd name="connsiteY133" fmla="*/ 808648 h 842073"/>
                <a:gd name="connsiteX134" fmla="*/ 324689 w 829343"/>
                <a:gd name="connsiteY134" fmla="*/ 778410 h 842073"/>
                <a:gd name="connsiteX135" fmla="*/ 328824 w 829343"/>
                <a:gd name="connsiteY135" fmla="*/ 747726 h 842073"/>
                <a:gd name="connsiteX136" fmla="*/ 344553 w 829343"/>
                <a:gd name="connsiteY136" fmla="*/ 697815 h 842073"/>
                <a:gd name="connsiteX137" fmla="*/ 338312 w 829343"/>
                <a:gd name="connsiteY137" fmla="*/ 680772 h 842073"/>
                <a:gd name="connsiteX138" fmla="*/ 339517 w 829343"/>
                <a:gd name="connsiteY138" fmla="*/ 665202 h 842073"/>
                <a:gd name="connsiteX139" fmla="*/ 358568 w 829343"/>
                <a:gd name="connsiteY139" fmla="*/ 621730 h 842073"/>
                <a:gd name="connsiteX140" fmla="*/ 361042 w 829343"/>
                <a:gd name="connsiteY140" fmla="*/ 615697 h 842073"/>
                <a:gd name="connsiteX141" fmla="*/ 364556 w 829343"/>
                <a:gd name="connsiteY141" fmla="*/ 619799 h 842073"/>
                <a:gd name="connsiteX142" fmla="*/ 390938 w 829343"/>
                <a:gd name="connsiteY142" fmla="*/ 601930 h 842073"/>
                <a:gd name="connsiteX143" fmla="*/ 470075 w 829343"/>
                <a:gd name="connsiteY143" fmla="*/ 520269 h 842073"/>
                <a:gd name="connsiteX144" fmla="*/ 486248 w 829343"/>
                <a:gd name="connsiteY144" fmla="*/ 506858 h 842073"/>
                <a:gd name="connsiteX145" fmla="*/ 483102 w 829343"/>
                <a:gd name="connsiteY145" fmla="*/ 508077 h 842073"/>
                <a:gd name="connsiteX146" fmla="*/ 493668 w 829343"/>
                <a:gd name="connsiteY146" fmla="*/ 501499 h 842073"/>
                <a:gd name="connsiteX147" fmla="*/ 495190 w 829343"/>
                <a:gd name="connsiteY147" fmla="*/ 503162 h 842073"/>
                <a:gd name="connsiteX148" fmla="*/ 513125 w 829343"/>
                <a:gd name="connsiteY148" fmla="*/ 493358 h 842073"/>
                <a:gd name="connsiteX149" fmla="*/ 525531 w 829343"/>
                <a:gd name="connsiteY149" fmla="*/ 485840 h 842073"/>
                <a:gd name="connsiteX150" fmla="*/ 526063 w 829343"/>
                <a:gd name="connsiteY150" fmla="*/ 485624 h 842073"/>
                <a:gd name="connsiteX151" fmla="*/ 526596 w 829343"/>
                <a:gd name="connsiteY151" fmla="*/ 485166 h 842073"/>
                <a:gd name="connsiteX152" fmla="*/ 528118 w 829343"/>
                <a:gd name="connsiteY152" fmla="*/ 483096 h 842073"/>
                <a:gd name="connsiteX153" fmla="*/ 528169 w 829343"/>
                <a:gd name="connsiteY153" fmla="*/ 482970 h 842073"/>
                <a:gd name="connsiteX154" fmla="*/ 533471 w 829343"/>
                <a:gd name="connsiteY154" fmla="*/ 474105 h 842073"/>
                <a:gd name="connsiteX155" fmla="*/ 563989 w 829343"/>
                <a:gd name="connsiteY155" fmla="*/ 427255 h 842073"/>
                <a:gd name="connsiteX156" fmla="*/ 564750 w 829343"/>
                <a:gd name="connsiteY156" fmla="*/ 426899 h 842073"/>
                <a:gd name="connsiteX157" fmla="*/ 568479 w 829343"/>
                <a:gd name="connsiteY157" fmla="*/ 440666 h 842073"/>
                <a:gd name="connsiteX158" fmla="*/ 569963 w 829343"/>
                <a:gd name="connsiteY158" fmla="*/ 440348 h 842073"/>
                <a:gd name="connsiteX159" fmla="*/ 571663 w 829343"/>
                <a:gd name="connsiteY159" fmla="*/ 446203 h 842073"/>
                <a:gd name="connsiteX160" fmla="*/ 571942 w 829343"/>
                <a:gd name="connsiteY160" fmla="*/ 443104 h 842073"/>
                <a:gd name="connsiteX161" fmla="*/ 571980 w 829343"/>
                <a:gd name="connsiteY161" fmla="*/ 443142 h 842073"/>
                <a:gd name="connsiteX162" fmla="*/ 572069 w 829343"/>
                <a:gd name="connsiteY162" fmla="*/ 443231 h 842073"/>
                <a:gd name="connsiteX163" fmla="*/ 572348 w 829343"/>
                <a:gd name="connsiteY163" fmla="*/ 443688 h 842073"/>
                <a:gd name="connsiteX164" fmla="*/ 576610 w 829343"/>
                <a:gd name="connsiteY164" fmla="*/ 435675 h 842073"/>
                <a:gd name="connsiteX165" fmla="*/ 580973 w 829343"/>
                <a:gd name="connsiteY165" fmla="*/ 429058 h 842073"/>
                <a:gd name="connsiteX166" fmla="*/ 581011 w 829343"/>
                <a:gd name="connsiteY166" fmla="*/ 428740 h 842073"/>
                <a:gd name="connsiteX167" fmla="*/ 581062 w 829343"/>
                <a:gd name="connsiteY167" fmla="*/ 428525 h 842073"/>
                <a:gd name="connsiteX168" fmla="*/ 581100 w 829343"/>
                <a:gd name="connsiteY168" fmla="*/ 428385 h 842073"/>
                <a:gd name="connsiteX169" fmla="*/ 580833 w 829343"/>
                <a:gd name="connsiteY169" fmla="*/ 435357 h 842073"/>
                <a:gd name="connsiteX170" fmla="*/ 580973 w 829343"/>
                <a:gd name="connsiteY170" fmla="*/ 435941 h 842073"/>
                <a:gd name="connsiteX171" fmla="*/ 581646 w 829343"/>
                <a:gd name="connsiteY171" fmla="*/ 436170 h 842073"/>
                <a:gd name="connsiteX172" fmla="*/ 582318 w 829343"/>
                <a:gd name="connsiteY172" fmla="*/ 435128 h 842073"/>
                <a:gd name="connsiteX173" fmla="*/ 582901 w 829343"/>
                <a:gd name="connsiteY173" fmla="*/ 433871 h 842073"/>
                <a:gd name="connsiteX174" fmla="*/ 583269 w 829343"/>
                <a:gd name="connsiteY174" fmla="*/ 433071 h 842073"/>
                <a:gd name="connsiteX175" fmla="*/ 584157 w 829343"/>
                <a:gd name="connsiteY175" fmla="*/ 430226 h 842073"/>
                <a:gd name="connsiteX176" fmla="*/ 584791 w 829343"/>
                <a:gd name="connsiteY176" fmla="*/ 444679 h 842073"/>
                <a:gd name="connsiteX177" fmla="*/ 585743 w 829343"/>
                <a:gd name="connsiteY177" fmla="*/ 444184 h 842073"/>
                <a:gd name="connsiteX178" fmla="*/ 585603 w 829343"/>
                <a:gd name="connsiteY178" fmla="*/ 444361 h 842073"/>
                <a:gd name="connsiteX179" fmla="*/ 585375 w 829343"/>
                <a:gd name="connsiteY179" fmla="*/ 444717 h 842073"/>
                <a:gd name="connsiteX180" fmla="*/ 585286 w 829343"/>
                <a:gd name="connsiteY180" fmla="*/ 445174 h 842073"/>
                <a:gd name="connsiteX181" fmla="*/ 585375 w 829343"/>
                <a:gd name="connsiteY181" fmla="*/ 445708 h 842073"/>
                <a:gd name="connsiteX182" fmla="*/ 587087 w 829343"/>
                <a:gd name="connsiteY182" fmla="*/ 441301 h 842073"/>
                <a:gd name="connsiteX183" fmla="*/ 591171 w 829343"/>
                <a:gd name="connsiteY183" fmla="*/ 438875 h 842073"/>
                <a:gd name="connsiteX184" fmla="*/ 590499 w 829343"/>
                <a:gd name="connsiteY184" fmla="*/ 437351 h 842073"/>
                <a:gd name="connsiteX185" fmla="*/ 589687 w 829343"/>
                <a:gd name="connsiteY185" fmla="*/ 436081 h 842073"/>
                <a:gd name="connsiteX186" fmla="*/ 591856 w 829343"/>
                <a:gd name="connsiteY186" fmla="*/ 436487 h 842073"/>
                <a:gd name="connsiteX187" fmla="*/ 589598 w 829343"/>
                <a:gd name="connsiteY187" fmla="*/ 421641 h 842073"/>
                <a:gd name="connsiteX188" fmla="*/ 578639 w 829343"/>
                <a:gd name="connsiteY188" fmla="*/ 383884 h 842073"/>
                <a:gd name="connsiteX189" fmla="*/ 567173 w 829343"/>
                <a:gd name="connsiteY189" fmla="*/ 359183 h 842073"/>
                <a:gd name="connsiteX190" fmla="*/ 572792 w 829343"/>
                <a:gd name="connsiteY190" fmla="*/ 340742 h 842073"/>
                <a:gd name="connsiteX191" fmla="*/ 585654 w 829343"/>
                <a:gd name="connsiteY191" fmla="*/ 333046 h 842073"/>
                <a:gd name="connsiteX192" fmla="*/ 565334 w 829343"/>
                <a:gd name="connsiteY192" fmla="*/ 315457 h 842073"/>
                <a:gd name="connsiteX193" fmla="*/ 571498 w 829343"/>
                <a:gd name="connsiteY193" fmla="*/ 295924 h 842073"/>
                <a:gd name="connsiteX194" fmla="*/ 592034 w 829343"/>
                <a:gd name="connsiteY194" fmla="*/ 302757 h 842073"/>
                <a:gd name="connsiteX195" fmla="*/ 603450 w 829343"/>
                <a:gd name="connsiteY195" fmla="*/ 307798 h 842073"/>
                <a:gd name="connsiteX196" fmla="*/ 612480 w 829343"/>
                <a:gd name="connsiteY196" fmla="*/ 313971 h 842073"/>
                <a:gd name="connsiteX197" fmla="*/ 614143 w 829343"/>
                <a:gd name="connsiteY197" fmla="*/ 332957 h 842073"/>
                <a:gd name="connsiteX198" fmla="*/ 634411 w 829343"/>
                <a:gd name="connsiteY198" fmla="*/ 334532 h 842073"/>
                <a:gd name="connsiteX199" fmla="*/ 677779 w 829343"/>
                <a:gd name="connsiteY199" fmla="*/ 338482 h 842073"/>
                <a:gd name="connsiteX200" fmla="*/ 681952 w 829343"/>
                <a:gd name="connsiteY200" fmla="*/ 353290 h 842073"/>
                <a:gd name="connsiteX201" fmla="*/ 669547 w 829343"/>
                <a:gd name="connsiteY201" fmla="*/ 364948 h 842073"/>
                <a:gd name="connsiteX202" fmla="*/ 653869 w 829343"/>
                <a:gd name="connsiteY202" fmla="*/ 376239 h 842073"/>
                <a:gd name="connsiteX203" fmla="*/ 654985 w 829343"/>
                <a:gd name="connsiteY203" fmla="*/ 393739 h 842073"/>
                <a:gd name="connsiteX204" fmla="*/ 665818 w 829343"/>
                <a:gd name="connsiteY204" fmla="*/ 395898 h 842073"/>
                <a:gd name="connsiteX205" fmla="*/ 673644 w 829343"/>
                <a:gd name="connsiteY205" fmla="*/ 381814 h 842073"/>
                <a:gd name="connsiteX206" fmla="*/ 686227 w 829343"/>
                <a:gd name="connsiteY206" fmla="*/ 392431 h 842073"/>
                <a:gd name="connsiteX207" fmla="*/ 690310 w 829343"/>
                <a:gd name="connsiteY207" fmla="*/ 418441 h 842073"/>
                <a:gd name="connsiteX208" fmla="*/ 693228 w 829343"/>
                <a:gd name="connsiteY208" fmla="*/ 431674 h 842073"/>
                <a:gd name="connsiteX209" fmla="*/ 705633 w 829343"/>
                <a:gd name="connsiteY209" fmla="*/ 427940 h 842073"/>
                <a:gd name="connsiteX210" fmla="*/ 703249 w 829343"/>
                <a:gd name="connsiteY210" fmla="*/ 411875 h 842073"/>
                <a:gd name="connsiteX211" fmla="*/ 710352 w 829343"/>
                <a:gd name="connsiteY211" fmla="*/ 397206 h 842073"/>
                <a:gd name="connsiteX212" fmla="*/ 717810 w 829343"/>
                <a:gd name="connsiteY212" fmla="*/ 374169 h 842073"/>
                <a:gd name="connsiteX213" fmla="*/ 729416 w 829343"/>
                <a:gd name="connsiteY213" fmla="*/ 374575 h 842073"/>
                <a:gd name="connsiteX214" fmla="*/ 746261 w 829343"/>
                <a:gd name="connsiteY214" fmla="*/ 355589 h 842073"/>
                <a:gd name="connsiteX215" fmla="*/ 758843 w 829343"/>
                <a:gd name="connsiteY215" fmla="*/ 305957 h 842073"/>
                <a:gd name="connsiteX216" fmla="*/ 767380 w 829343"/>
                <a:gd name="connsiteY216" fmla="*/ 284316 h 842073"/>
                <a:gd name="connsiteX217" fmla="*/ 794346 w 829343"/>
                <a:gd name="connsiteY217" fmla="*/ 272213 h 842073"/>
                <a:gd name="connsiteX218" fmla="*/ 818890 w 829343"/>
                <a:gd name="connsiteY218" fmla="*/ 276214 h 842073"/>
                <a:gd name="connsiteX219" fmla="*/ 819969 w 829343"/>
                <a:gd name="connsiteY219" fmla="*/ 253087 h 842073"/>
                <a:gd name="connsiteX220" fmla="*/ 827021 w 829343"/>
                <a:gd name="connsiteY220" fmla="*/ 240158 h 842073"/>
                <a:gd name="connsiteX221" fmla="*/ 136710 w 829343"/>
                <a:gd name="connsiteY221" fmla="*/ 516345 h 842073"/>
                <a:gd name="connsiteX222" fmla="*/ 138003 w 829343"/>
                <a:gd name="connsiteY222" fmla="*/ 516891 h 842073"/>
                <a:gd name="connsiteX223" fmla="*/ 136710 w 829343"/>
                <a:gd name="connsiteY223" fmla="*/ 516345 h 842073"/>
                <a:gd name="connsiteX224" fmla="*/ 559955 w 829343"/>
                <a:gd name="connsiteY224" fmla="*/ 421451 h 842073"/>
                <a:gd name="connsiteX225" fmla="*/ 561211 w 829343"/>
                <a:gd name="connsiteY225" fmla="*/ 422898 h 842073"/>
                <a:gd name="connsiteX226" fmla="*/ 559955 w 829343"/>
                <a:gd name="connsiteY226" fmla="*/ 421451 h 842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</a:cxnLst>
              <a:rect l="l" t="t" r="r" b="b"/>
              <a:pathLst>
                <a:path w="829343" h="842073">
                  <a:moveTo>
                    <a:pt x="827021" y="240158"/>
                  </a:moveTo>
                  <a:cubicBezTo>
                    <a:pt x="834036" y="227255"/>
                    <a:pt x="823343" y="237148"/>
                    <a:pt x="816874" y="236513"/>
                  </a:cubicBezTo>
                  <a:cubicBezTo>
                    <a:pt x="810442" y="235929"/>
                    <a:pt x="806891" y="227560"/>
                    <a:pt x="802756" y="222708"/>
                  </a:cubicBezTo>
                  <a:cubicBezTo>
                    <a:pt x="798621" y="217895"/>
                    <a:pt x="802122" y="215190"/>
                    <a:pt x="791619" y="203036"/>
                  </a:cubicBezTo>
                  <a:cubicBezTo>
                    <a:pt x="781054" y="190844"/>
                    <a:pt x="791619" y="203036"/>
                    <a:pt x="781459" y="207951"/>
                  </a:cubicBezTo>
                  <a:cubicBezTo>
                    <a:pt x="774154" y="212815"/>
                    <a:pt x="764818" y="213399"/>
                    <a:pt x="756966" y="209475"/>
                  </a:cubicBezTo>
                  <a:cubicBezTo>
                    <a:pt x="744878" y="205690"/>
                    <a:pt x="750624" y="204662"/>
                    <a:pt x="744967" y="214110"/>
                  </a:cubicBezTo>
                  <a:cubicBezTo>
                    <a:pt x="739310" y="223547"/>
                    <a:pt x="732067" y="220308"/>
                    <a:pt x="720068" y="225350"/>
                  </a:cubicBezTo>
                  <a:cubicBezTo>
                    <a:pt x="708031" y="230341"/>
                    <a:pt x="715261" y="226569"/>
                    <a:pt x="705100" y="236640"/>
                  </a:cubicBezTo>
                  <a:cubicBezTo>
                    <a:pt x="694902" y="246724"/>
                    <a:pt x="705100" y="236640"/>
                    <a:pt x="695625" y="247270"/>
                  </a:cubicBezTo>
                  <a:cubicBezTo>
                    <a:pt x="686189" y="257938"/>
                    <a:pt x="685377" y="252490"/>
                    <a:pt x="674684" y="255906"/>
                  </a:cubicBezTo>
                  <a:cubicBezTo>
                    <a:pt x="668836" y="257798"/>
                    <a:pt x="665742" y="256173"/>
                    <a:pt x="664118" y="254281"/>
                  </a:cubicBezTo>
                  <a:cubicBezTo>
                    <a:pt x="665285" y="256795"/>
                    <a:pt x="665742" y="259589"/>
                    <a:pt x="665424" y="262332"/>
                  </a:cubicBezTo>
                  <a:cubicBezTo>
                    <a:pt x="665247" y="269851"/>
                    <a:pt x="665424" y="262332"/>
                    <a:pt x="677461" y="271781"/>
                  </a:cubicBezTo>
                  <a:cubicBezTo>
                    <a:pt x="689512" y="281281"/>
                    <a:pt x="677461" y="271781"/>
                    <a:pt x="675356" y="283846"/>
                  </a:cubicBezTo>
                  <a:cubicBezTo>
                    <a:pt x="673200" y="295860"/>
                    <a:pt x="675356" y="283846"/>
                    <a:pt x="666223" y="285370"/>
                  </a:cubicBezTo>
                  <a:cubicBezTo>
                    <a:pt x="657104" y="286894"/>
                    <a:pt x="662456" y="285370"/>
                    <a:pt x="650280" y="285154"/>
                  </a:cubicBezTo>
                  <a:cubicBezTo>
                    <a:pt x="638141" y="284926"/>
                    <a:pt x="645333" y="286005"/>
                    <a:pt x="632788" y="285370"/>
                  </a:cubicBezTo>
                  <a:cubicBezTo>
                    <a:pt x="625063" y="283999"/>
                    <a:pt x="617098" y="284799"/>
                    <a:pt x="609779" y="287669"/>
                  </a:cubicBezTo>
                  <a:cubicBezTo>
                    <a:pt x="592655" y="291631"/>
                    <a:pt x="609792" y="287669"/>
                    <a:pt x="590867" y="281420"/>
                  </a:cubicBezTo>
                  <a:cubicBezTo>
                    <a:pt x="582051" y="278499"/>
                    <a:pt x="580035" y="273762"/>
                    <a:pt x="580580" y="268187"/>
                  </a:cubicBezTo>
                  <a:cubicBezTo>
                    <a:pt x="581163" y="261799"/>
                    <a:pt x="585019" y="254281"/>
                    <a:pt x="585793" y="247257"/>
                  </a:cubicBezTo>
                  <a:cubicBezTo>
                    <a:pt x="587189" y="234126"/>
                    <a:pt x="571765" y="247854"/>
                    <a:pt x="565930" y="251576"/>
                  </a:cubicBezTo>
                  <a:cubicBezTo>
                    <a:pt x="561922" y="254153"/>
                    <a:pt x="562822" y="255360"/>
                    <a:pt x="558700" y="254598"/>
                  </a:cubicBezTo>
                  <a:cubicBezTo>
                    <a:pt x="559892" y="263577"/>
                    <a:pt x="561693" y="272454"/>
                    <a:pt x="564090" y="281192"/>
                  </a:cubicBezTo>
                  <a:cubicBezTo>
                    <a:pt x="565841" y="284202"/>
                    <a:pt x="564179" y="301397"/>
                    <a:pt x="561883" y="299010"/>
                  </a:cubicBezTo>
                  <a:cubicBezTo>
                    <a:pt x="559588" y="296572"/>
                    <a:pt x="555910" y="295949"/>
                    <a:pt x="547005" y="297029"/>
                  </a:cubicBezTo>
                  <a:cubicBezTo>
                    <a:pt x="540917" y="298565"/>
                    <a:pt x="534537" y="298527"/>
                    <a:pt x="528448" y="296940"/>
                  </a:cubicBezTo>
                  <a:cubicBezTo>
                    <a:pt x="521129" y="294959"/>
                    <a:pt x="521839" y="291631"/>
                    <a:pt x="511413" y="292165"/>
                  </a:cubicBezTo>
                  <a:cubicBezTo>
                    <a:pt x="500987" y="292711"/>
                    <a:pt x="507557" y="301804"/>
                    <a:pt x="500987" y="292711"/>
                  </a:cubicBezTo>
                  <a:cubicBezTo>
                    <a:pt x="494480" y="283579"/>
                    <a:pt x="500188" y="287809"/>
                    <a:pt x="489482" y="285865"/>
                  </a:cubicBezTo>
                  <a:cubicBezTo>
                    <a:pt x="478752" y="283935"/>
                    <a:pt x="478472" y="294146"/>
                    <a:pt x="472942" y="284291"/>
                  </a:cubicBezTo>
                  <a:cubicBezTo>
                    <a:pt x="467373" y="274486"/>
                    <a:pt x="474122" y="271692"/>
                    <a:pt x="462287" y="271565"/>
                  </a:cubicBezTo>
                  <a:cubicBezTo>
                    <a:pt x="450465" y="271425"/>
                    <a:pt x="470697" y="265215"/>
                    <a:pt x="454702" y="265126"/>
                  </a:cubicBezTo>
                  <a:cubicBezTo>
                    <a:pt x="438695" y="265037"/>
                    <a:pt x="447954" y="264542"/>
                    <a:pt x="431782" y="263996"/>
                  </a:cubicBezTo>
                  <a:cubicBezTo>
                    <a:pt x="415559" y="263501"/>
                    <a:pt x="410929" y="266917"/>
                    <a:pt x="407910" y="262332"/>
                  </a:cubicBezTo>
                  <a:cubicBezTo>
                    <a:pt x="404904" y="257798"/>
                    <a:pt x="401264" y="258738"/>
                    <a:pt x="395200" y="255322"/>
                  </a:cubicBezTo>
                  <a:cubicBezTo>
                    <a:pt x="389138" y="251944"/>
                    <a:pt x="385357" y="258243"/>
                    <a:pt x="380005" y="250013"/>
                  </a:cubicBezTo>
                  <a:cubicBezTo>
                    <a:pt x="374665" y="241733"/>
                    <a:pt x="377722" y="246762"/>
                    <a:pt x="368906" y="239294"/>
                  </a:cubicBezTo>
                  <a:cubicBezTo>
                    <a:pt x="360142" y="231878"/>
                    <a:pt x="354218" y="231738"/>
                    <a:pt x="350388" y="225299"/>
                  </a:cubicBezTo>
                  <a:cubicBezTo>
                    <a:pt x="346569" y="218873"/>
                    <a:pt x="329180" y="220130"/>
                    <a:pt x="335788" y="214098"/>
                  </a:cubicBezTo>
                  <a:cubicBezTo>
                    <a:pt x="342383" y="208065"/>
                    <a:pt x="340861" y="216308"/>
                    <a:pt x="343424" y="204738"/>
                  </a:cubicBezTo>
                  <a:cubicBezTo>
                    <a:pt x="345986" y="193219"/>
                    <a:pt x="339023" y="201766"/>
                    <a:pt x="345986" y="193219"/>
                  </a:cubicBezTo>
                  <a:cubicBezTo>
                    <a:pt x="350299" y="188164"/>
                    <a:pt x="355030" y="183478"/>
                    <a:pt x="360142" y="179224"/>
                  </a:cubicBezTo>
                  <a:cubicBezTo>
                    <a:pt x="359140" y="177941"/>
                    <a:pt x="357884" y="176861"/>
                    <a:pt x="356450" y="176074"/>
                  </a:cubicBezTo>
                  <a:cubicBezTo>
                    <a:pt x="346075" y="170181"/>
                    <a:pt x="350565" y="167527"/>
                    <a:pt x="341800" y="163971"/>
                  </a:cubicBezTo>
                  <a:cubicBezTo>
                    <a:pt x="333086" y="160415"/>
                    <a:pt x="338300" y="157138"/>
                    <a:pt x="323738" y="151741"/>
                  </a:cubicBezTo>
                  <a:cubicBezTo>
                    <a:pt x="309138" y="146343"/>
                    <a:pt x="318347" y="147423"/>
                    <a:pt x="312677" y="139269"/>
                  </a:cubicBezTo>
                  <a:cubicBezTo>
                    <a:pt x="307071" y="131129"/>
                    <a:pt x="306665" y="139142"/>
                    <a:pt x="302302" y="140031"/>
                  </a:cubicBezTo>
                  <a:cubicBezTo>
                    <a:pt x="297900" y="140895"/>
                    <a:pt x="299917" y="134774"/>
                    <a:pt x="299968" y="127662"/>
                  </a:cubicBezTo>
                  <a:cubicBezTo>
                    <a:pt x="300005" y="120600"/>
                    <a:pt x="299244" y="120461"/>
                    <a:pt x="292281" y="114746"/>
                  </a:cubicBezTo>
                  <a:cubicBezTo>
                    <a:pt x="285318" y="109031"/>
                    <a:pt x="286522" y="107278"/>
                    <a:pt x="289491" y="101919"/>
                  </a:cubicBezTo>
                  <a:cubicBezTo>
                    <a:pt x="292408" y="96521"/>
                    <a:pt x="292814" y="97918"/>
                    <a:pt x="304775" y="109437"/>
                  </a:cubicBezTo>
                  <a:cubicBezTo>
                    <a:pt x="316673" y="120956"/>
                    <a:pt x="304775" y="109437"/>
                    <a:pt x="315151" y="100217"/>
                  </a:cubicBezTo>
                  <a:cubicBezTo>
                    <a:pt x="325577" y="90946"/>
                    <a:pt x="320275" y="92381"/>
                    <a:pt x="315594" y="79427"/>
                  </a:cubicBezTo>
                  <a:cubicBezTo>
                    <a:pt x="310927" y="66511"/>
                    <a:pt x="304990" y="70029"/>
                    <a:pt x="304001" y="64352"/>
                  </a:cubicBezTo>
                  <a:cubicBezTo>
                    <a:pt x="303063" y="56097"/>
                    <a:pt x="301135" y="47982"/>
                    <a:pt x="298255" y="40184"/>
                  </a:cubicBezTo>
                  <a:cubicBezTo>
                    <a:pt x="293702" y="29872"/>
                    <a:pt x="288032" y="20105"/>
                    <a:pt x="281360" y="11025"/>
                  </a:cubicBezTo>
                  <a:cubicBezTo>
                    <a:pt x="275829" y="2211"/>
                    <a:pt x="275284" y="319"/>
                    <a:pt x="275424" y="1"/>
                  </a:cubicBezTo>
                  <a:cubicBezTo>
                    <a:pt x="268701" y="1576"/>
                    <a:pt x="262093" y="3595"/>
                    <a:pt x="255650" y="6084"/>
                  </a:cubicBezTo>
                  <a:cubicBezTo>
                    <a:pt x="252098" y="7380"/>
                    <a:pt x="249941" y="8243"/>
                    <a:pt x="248597" y="8878"/>
                  </a:cubicBezTo>
                  <a:cubicBezTo>
                    <a:pt x="250880" y="12472"/>
                    <a:pt x="252060" y="15990"/>
                    <a:pt x="248140" y="16841"/>
                  </a:cubicBezTo>
                  <a:cubicBezTo>
                    <a:pt x="241545" y="18276"/>
                    <a:pt x="244373" y="25795"/>
                    <a:pt x="234936" y="25795"/>
                  </a:cubicBezTo>
                  <a:cubicBezTo>
                    <a:pt x="225499" y="25744"/>
                    <a:pt x="223558" y="24080"/>
                    <a:pt x="220235" y="27090"/>
                  </a:cubicBezTo>
                  <a:cubicBezTo>
                    <a:pt x="216912" y="30062"/>
                    <a:pt x="215922" y="36768"/>
                    <a:pt x="207830" y="33440"/>
                  </a:cubicBezTo>
                  <a:cubicBezTo>
                    <a:pt x="199750" y="30075"/>
                    <a:pt x="197543" y="27281"/>
                    <a:pt x="191163" y="27052"/>
                  </a:cubicBezTo>
                  <a:cubicBezTo>
                    <a:pt x="184783" y="26836"/>
                    <a:pt x="185633" y="21705"/>
                    <a:pt x="176106" y="24804"/>
                  </a:cubicBezTo>
                  <a:cubicBezTo>
                    <a:pt x="166530" y="27916"/>
                    <a:pt x="163030" y="24626"/>
                    <a:pt x="163207" y="32183"/>
                  </a:cubicBezTo>
                  <a:cubicBezTo>
                    <a:pt x="163346" y="39701"/>
                    <a:pt x="165731" y="35104"/>
                    <a:pt x="164552" y="44375"/>
                  </a:cubicBezTo>
                  <a:cubicBezTo>
                    <a:pt x="163346" y="53646"/>
                    <a:pt x="157372" y="52922"/>
                    <a:pt x="159833" y="58688"/>
                  </a:cubicBezTo>
                  <a:cubicBezTo>
                    <a:pt x="162269" y="64403"/>
                    <a:pt x="163575" y="73623"/>
                    <a:pt x="165591" y="77585"/>
                  </a:cubicBezTo>
                  <a:cubicBezTo>
                    <a:pt x="167608" y="81548"/>
                    <a:pt x="166581" y="83034"/>
                    <a:pt x="175168" y="84431"/>
                  </a:cubicBezTo>
                  <a:cubicBezTo>
                    <a:pt x="183704" y="85866"/>
                    <a:pt x="175029" y="85548"/>
                    <a:pt x="180419" y="94819"/>
                  </a:cubicBezTo>
                  <a:cubicBezTo>
                    <a:pt x="185810" y="104090"/>
                    <a:pt x="175117" y="103011"/>
                    <a:pt x="185810" y="104090"/>
                  </a:cubicBezTo>
                  <a:cubicBezTo>
                    <a:pt x="196553" y="105170"/>
                    <a:pt x="209402" y="97651"/>
                    <a:pt x="196553" y="105170"/>
                  </a:cubicBezTo>
                  <a:cubicBezTo>
                    <a:pt x="183704" y="112688"/>
                    <a:pt x="184783" y="103011"/>
                    <a:pt x="183704" y="112688"/>
                  </a:cubicBezTo>
                  <a:cubicBezTo>
                    <a:pt x="182626" y="122315"/>
                    <a:pt x="185810" y="142521"/>
                    <a:pt x="182626" y="149036"/>
                  </a:cubicBezTo>
                  <a:cubicBezTo>
                    <a:pt x="179392" y="155564"/>
                    <a:pt x="178440" y="152871"/>
                    <a:pt x="171971" y="162815"/>
                  </a:cubicBezTo>
                  <a:cubicBezTo>
                    <a:pt x="165071" y="173229"/>
                    <a:pt x="157537" y="183199"/>
                    <a:pt x="149406" y="192686"/>
                  </a:cubicBezTo>
                  <a:cubicBezTo>
                    <a:pt x="144054" y="198489"/>
                    <a:pt x="127831" y="231738"/>
                    <a:pt x="110758" y="238177"/>
                  </a:cubicBezTo>
                  <a:cubicBezTo>
                    <a:pt x="93685" y="244616"/>
                    <a:pt x="86176" y="255855"/>
                    <a:pt x="78667" y="254509"/>
                  </a:cubicBezTo>
                  <a:cubicBezTo>
                    <a:pt x="71157" y="253201"/>
                    <a:pt x="78755" y="247892"/>
                    <a:pt x="68012" y="248934"/>
                  </a:cubicBezTo>
                  <a:cubicBezTo>
                    <a:pt x="57231" y="249963"/>
                    <a:pt x="58359" y="251042"/>
                    <a:pt x="55112" y="255322"/>
                  </a:cubicBezTo>
                  <a:cubicBezTo>
                    <a:pt x="51878" y="259640"/>
                    <a:pt x="31164" y="277915"/>
                    <a:pt x="37773" y="284303"/>
                  </a:cubicBezTo>
                  <a:cubicBezTo>
                    <a:pt x="44382" y="290730"/>
                    <a:pt x="37951" y="292215"/>
                    <a:pt x="46538" y="293612"/>
                  </a:cubicBezTo>
                  <a:cubicBezTo>
                    <a:pt x="55112" y="295047"/>
                    <a:pt x="62672" y="297524"/>
                    <a:pt x="55112" y="302706"/>
                  </a:cubicBezTo>
                  <a:cubicBezTo>
                    <a:pt x="47616" y="307925"/>
                    <a:pt x="47337" y="316422"/>
                    <a:pt x="52829" y="319673"/>
                  </a:cubicBezTo>
                  <a:cubicBezTo>
                    <a:pt x="58308" y="322911"/>
                    <a:pt x="66985" y="317958"/>
                    <a:pt x="68012" y="323673"/>
                  </a:cubicBezTo>
                  <a:cubicBezTo>
                    <a:pt x="69052" y="329338"/>
                    <a:pt x="85186" y="346394"/>
                    <a:pt x="76548" y="355576"/>
                  </a:cubicBezTo>
                  <a:cubicBezTo>
                    <a:pt x="67974" y="364758"/>
                    <a:pt x="75470" y="367996"/>
                    <a:pt x="67974" y="364758"/>
                  </a:cubicBezTo>
                  <a:cubicBezTo>
                    <a:pt x="60465" y="361557"/>
                    <a:pt x="60414" y="362954"/>
                    <a:pt x="54034" y="364936"/>
                  </a:cubicBezTo>
                  <a:cubicBezTo>
                    <a:pt x="47299" y="365583"/>
                    <a:pt x="40512" y="365164"/>
                    <a:pt x="33904" y="363717"/>
                  </a:cubicBezTo>
                  <a:cubicBezTo>
                    <a:pt x="30543" y="363450"/>
                    <a:pt x="27182" y="364186"/>
                    <a:pt x="24239" y="365837"/>
                  </a:cubicBezTo>
                  <a:cubicBezTo>
                    <a:pt x="18670" y="367996"/>
                    <a:pt x="13140" y="365558"/>
                    <a:pt x="12151" y="370511"/>
                  </a:cubicBezTo>
                  <a:cubicBezTo>
                    <a:pt x="11162" y="375502"/>
                    <a:pt x="1724" y="374918"/>
                    <a:pt x="-26" y="378118"/>
                  </a:cubicBezTo>
                  <a:cubicBezTo>
                    <a:pt x="50" y="378448"/>
                    <a:pt x="164" y="378779"/>
                    <a:pt x="291" y="379109"/>
                  </a:cubicBezTo>
                  <a:cubicBezTo>
                    <a:pt x="380" y="379414"/>
                    <a:pt x="506" y="379718"/>
                    <a:pt x="647" y="380011"/>
                  </a:cubicBezTo>
                  <a:cubicBezTo>
                    <a:pt x="836" y="380315"/>
                    <a:pt x="1014" y="380646"/>
                    <a:pt x="1192" y="380900"/>
                  </a:cubicBezTo>
                  <a:cubicBezTo>
                    <a:pt x="1331" y="381128"/>
                    <a:pt x="1420" y="381306"/>
                    <a:pt x="1509" y="381446"/>
                  </a:cubicBezTo>
                  <a:cubicBezTo>
                    <a:pt x="2447" y="382881"/>
                    <a:pt x="2853" y="383655"/>
                    <a:pt x="291" y="384240"/>
                  </a:cubicBezTo>
                  <a:cubicBezTo>
                    <a:pt x="2181" y="390272"/>
                    <a:pt x="12646" y="375693"/>
                    <a:pt x="18632" y="376632"/>
                  </a:cubicBezTo>
                  <a:cubicBezTo>
                    <a:pt x="-15209" y="391669"/>
                    <a:pt x="38813" y="419558"/>
                    <a:pt x="56697" y="405207"/>
                  </a:cubicBezTo>
                  <a:cubicBezTo>
                    <a:pt x="84235" y="398553"/>
                    <a:pt x="40601" y="426582"/>
                    <a:pt x="29731" y="425870"/>
                  </a:cubicBezTo>
                  <a:cubicBezTo>
                    <a:pt x="5060" y="405525"/>
                    <a:pt x="63116" y="485129"/>
                    <a:pt x="83119" y="471717"/>
                  </a:cubicBezTo>
                  <a:cubicBezTo>
                    <a:pt x="119967" y="459919"/>
                    <a:pt x="116643" y="445619"/>
                    <a:pt x="111747" y="435446"/>
                  </a:cubicBezTo>
                  <a:cubicBezTo>
                    <a:pt x="111506" y="435319"/>
                    <a:pt x="111290" y="435154"/>
                    <a:pt x="111113" y="434951"/>
                  </a:cubicBezTo>
                  <a:cubicBezTo>
                    <a:pt x="111151" y="434951"/>
                    <a:pt x="111417" y="435040"/>
                    <a:pt x="111696" y="435078"/>
                  </a:cubicBezTo>
                  <a:cubicBezTo>
                    <a:pt x="111823" y="435141"/>
                    <a:pt x="111975" y="435116"/>
                    <a:pt x="112102" y="435040"/>
                  </a:cubicBezTo>
                  <a:cubicBezTo>
                    <a:pt x="112191" y="435040"/>
                    <a:pt x="112229" y="435040"/>
                    <a:pt x="112280" y="434989"/>
                  </a:cubicBezTo>
                  <a:cubicBezTo>
                    <a:pt x="112369" y="434938"/>
                    <a:pt x="112432" y="434836"/>
                    <a:pt x="112407" y="434722"/>
                  </a:cubicBezTo>
                  <a:cubicBezTo>
                    <a:pt x="110479" y="432830"/>
                    <a:pt x="114842" y="435573"/>
                    <a:pt x="114930" y="433960"/>
                  </a:cubicBezTo>
                  <a:cubicBezTo>
                    <a:pt x="123328" y="429376"/>
                    <a:pt x="110935" y="426048"/>
                    <a:pt x="114487" y="425324"/>
                  </a:cubicBezTo>
                  <a:cubicBezTo>
                    <a:pt x="122617" y="427801"/>
                    <a:pt x="121983" y="425731"/>
                    <a:pt x="134477" y="425642"/>
                  </a:cubicBezTo>
                  <a:cubicBezTo>
                    <a:pt x="134655" y="429871"/>
                    <a:pt x="118077" y="425591"/>
                    <a:pt x="124190" y="436932"/>
                  </a:cubicBezTo>
                  <a:cubicBezTo>
                    <a:pt x="136405" y="429198"/>
                    <a:pt x="107422" y="452096"/>
                    <a:pt x="140908" y="441567"/>
                  </a:cubicBezTo>
                  <a:cubicBezTo>
                    <a:pt x="119510" y="451385"/>
                    <a:pt x="129936" y="450889"/>
                    <a:pt x="126207" y="461367"/>
                  </a:cubicBezTo>
                  <a:cubicBezTo>
                    <a:pt x="127920" y="463526"/>
                    <a:pt x="127653" y="458217"/>
                    <a:pt x="129442" y="460059"/>
                  </a:cubicBezTo>
                  <a:cubicBezTo>
                    <a:pt x="128046" y="463665"/>
                    <a:pt x="129226" y="461100"/>
                    <a:pt x="130203" y="461240"/>
                  </a:cubicBezTo>
                  <a:cubicBezTo>
                    <a:pt x="143368" y="469825"/>
                    <a:pt x="115870" y="505639"/>
                    <a:pt x="135416" y="515774"/>
                  </a:cubicBezTo>
                  <a:cubicBezTo>
                    <a:pt x="127831" y="515227"/>
                    <a:pt x="132727" y="521082"/>
                    <a:pt x="131826" y="527699"/>
                  </a:cubicBezTo>
                  <a:cubicBezTo>
                    <a:pt x="136316" y="519812"/>
                    <a:pt x="134338" y="521577"/>
                    <a:pt x="138739" y="524181"/>
                  </a:cubicBezTo>
                  <a:cubicBezTo>
                    <a:pt x="136684" y="525400"/>
                    <a:pt x="131598" y="528728"/>
                    <a:pt x="136633" y="528499"/>
                  </a:cubicBezTo>
                  <a:cubicBezTo>
                    <a:pt x="137445" y="535065"/>
                    <a:pt x="136684" y="529490"/>
                    <a:pt x="134655" y="530620"/>
                  </a:cubicBezTo>
                  <a:cubicBezTo>
                    <a:pt x="129492" y="531649"/>
                    <a:pt x="135999" y="538710"/>
                    <a:pt x="137572" y="540424"/>
                  </a:cubicBezTo>
                  <a:cubicBezTo>
                    <a:pt x="129074" y="534303"/>
                    <a:pt x="141035" y="556706"/>
                    <a:pt x="141973" y="572504"/>
                  </a:cubicBezTo>
                  <a:cubicBezTo>
                    <a:pt x="147948" y="595009"/>
                    <a:pt x="148353" y="619710"/>
                    <a:pt x="161520" y="627495"/>
                  </a:cubicBezTo>
                  <a:cubicBezTo>
                    <a:pt x="155685" y="630099"/>
                    <a:pt x="165084" y="629070"/>
                    <a:pt x="164171" y="632029"/>
                  </a:cubicBezTo>
                  <a:cubicBezTo>
                    <a:pt x="163410" y="630150"/>
                    <a:pt x="160987" y="631229"/>
                    <a:pt x="159325" y="630772"/>
                  </a:cubicBezTo>
                  <a:cubicBezTo>
                    <a:pt x="166467" y="635408"/>
                    <a:pt x="162915" y="647879"/>
                    <a:pt x="171946" y="646749"/>
                  </a:cubicBezTo>
                  <a:cubicBezTo>
                    <a:pt x="162560" y="648641"/>
                    <a:pt x="174470" y="649365"/>
                    <a:pt x="173126" y="653810"/>
                  </a:cubicBezTo>
                  <a:cubicBezTo>
                    <a:pt x="177439" y="653099"/>
                    <a:pt x="177312" y="670815"/>
                    <a:pt x="185023" y="680988"/>
                  </a:cubicBezTo>
                  <a:cubicBezTo>
                    <a:pt x="184719" y="707264"/>
                    <a:pt x="197797" y="724866"/>
                    <a:pt x="214324" y="748031"/>
                  </a:cubicBezTo>
                  <a:cubicBezTo>
                    <a:pt x="241659" y="803467"/>
                    <a:pt x="220438" y="819799"/>
                    <a:pt x="266583" y="842075"/>
                  </a:cubicBezTo>
                  <a:cubicBezTo>
                    <a:pt x="286142" y="834074"/>
                    <a:pt x="286357" y="802349"/>
                    <a:pt x="312373" y="808648"/>
                  </a:cubicBezTo>
                  <a:cubicBezTo>
                    <a:pt x="294311" y="798653"/>
                    <a:pt x="322989" y="773507"/>
                    <a:pt x="324689" y="778410"/>
                  </a:cubicBezTo>
                  <a:cubicBezTo>
                    <a:pt x="340418" y="782461"/>
                    <a:pt x="327074" y="745923"/>
                    <a:pt x="328824" y="747726"/>
                  </a:cubicBezTo>
                  <a:cubicBezTo>
                    <a:pt x="326579" y="732867"/>
                    <a:pt x="342130" y="718161"/>
                    <a:pt x="344553" y="697815"/>
                  </a:cubicBezTo>
                  <a:cubicBezTo>
                    <a:pt x="349677" y="684049"/>
                    <a:pt x="335749" y="690488"/>
                    <a:pt x="338312" y="680772"/>
                  </a:cubicBezTo>
                  <a:cubicBezTo>
                    <a:pt x="348967" y="691338"/>
                    <a:pt x="339517" y="677254"/>
                    <a:pt x="339517" y="665202"/>
                  </a:cubicBezTo>
                  <a:cubicBezTo>
                    <a:pt x="335838" y="660604"/>
                    <a:pt x="338883" y="600356"/>
                    <a:pt x="358568" y="621730"/>
                  </a:cubicBezTo>
                  <a:cubicBezTo>
                    <a:pt x="359621" y="619825"/>
                    <a:pt x="360459" y="617805"/>
                    <a:pt x="361042" y="615697"/>
                  </a:cubicBezTo>
                  <a:cubicBezTo>
                    <a:pt x="361676" y="617450"/>
                    <a:pt x="362919" y="618910"/>
                    <a:pt x="364556" y="619799"/>
                  </a:cubicBezTo>
                  <a:cubicBezTo>
                    <a:pt x="373320" y="596584"/>
                    <a:pt x="371659" y="605893"/>
                    <a:pt x="390938" y="601930"/>
                  </a:cubicBezTo>
                  <a:cubicBezTo>
                    <a:pt x="406667" y="573406"/>
                    <a:pt x="453396" y="552388"/>
                    <a:pt x="470075" y="520269"/>
                  </a:cubicBezTo>
                  <a:cubicBezTo>
                    <a:pt x="474299" y="516942"/>
                    <a:pt x="503105" y="498540"/>
                    <a:pt x="486248" y="506858"/>
                  </a:cubicBezTo>
                  <a:cubicBezTo>
                    <a:pt x="492818" y="501905"/>
                    <a:pt x="482074" y="506630"/>
                    <a:pt x="483102" y="508077"/>
                  </a:cubicBezTo>
                  <a:cubicBezTo>
                    <a:pt x="474933" y="515812"/>
                    <a:pt x="492678" y="487287"/>
                    <a:pt x="493668" y="501499"/>
                  </a:cubicBezTo>
                  <a:cubicBezTo>
                    <a:pt x="485893" y="505868"/>
                    <a:pt x="492907" y="503798"/>
                    <a:pt x="495190" y="503162"/>
                  </a:cubicBezTo>
                  <a:cubicBezTo>
                    <a:pt x="503371" y="498349"/>
                    <a:pt x="518237" y="500203"/>
                    <a:pt x="513125" y="493358"/>
                  </a:cubicBezTo>
                  <a:cubicBezTo>
                    <a:pt x="518199" y="495428"/>
                    <a:pt x="525213" y="485535"/>
                    <a:pt x="525531" y="485840"/>
                  </a:cubicBezTo>
                  <a:cubicBezTo>
                    <a:pt x="525721" y="485814"/>
                    <a:pt x="525898" y="485738"/>
                    <a:pt x="526063" y="485624"/>
                  </a:cubicBezTo>
                  <a:cubicBezTo>
                    <a:pt x="526266" y="485497"/>
                    <a:pt x="526444" y="485344"/>
                    <a:pt x="526596" y="485166"/>
                  </a:cubicBezTo>
                  <a:cubicBezTo>
                    <a:pt x="527205" y="484557"/>
                    <a:pt x="527725" y="483858"/>
                    <a:pt x="528118" y="483096"/>
                  </a:cubicBezTo>
                  <a:lnTo>
                    <a:pt x="528169" y="482970"/>
                  </a:lnTo>
                  <a:cubicBezTo>
                    <a:pt x="519175" y="482881"/>
                    <a:pt x="539813" y="472847"/>
                    <a:pt x="533471" y="474105"/>
                  </a:cubicBezTo>
                  <a:cubicBezTo>
                    <a:pt x="511591" y="448819"/>
                    <a:pt x="572259" y="446749"/>
                    <a:pt x="563989" y="427255"/>
                  </a:cubicBezTo>
                  <a:cubicBezTo>
                    <a:pt x="564255" y="427178"/>
                    <a:pt x="564509" y="427051"/>
                    <a:pt x="564750" y="426899"/>
                  </a:cubicBezTo>
                  <a:cubicBezTo>
                    <a:pt x="572564" y="430315"/>
                    <a:pt x="564027" y="435002"/>
                    <a:pt x="568479" y="440666"/>
                  </a:cubicBezTo>
                  <a:cubicBezTo>
                    <a:pt x="566589" y="449086"/>
                    <a:pt x="573236" y="449124"/>
                    <a:pt x="569963" y="440348"/>
                  </a:cubicBezTo>
                  <a:cubicBezTo>
                    <a:pt x="572348" y="440894"/>
                    <a:pt x="570141" y="445212"/>
                    <a:pt x="571663" y="446203"/>
                  </a:cubicBezTo>
                  <a:cubicBezTo>
                    <a:pt x="572830" y="445568"/>
                    <a:pt x="571942" y="443320"/>
                    <a:pt x="571942" y="443104"/>
                  </a:cubicBezTo>
                  <a:lnTo>
                    <a:pt x="571980" y="443142"/>
                  </a:lnTo>
                  <a:lnTo>
                    <a:pt x="572069" y="443231"/>
                  </a:lnTo>
                  <a:cubicBezTo>
                    <a:pt x="572145" y="443396"/>
                    <a:pt x="572246" y="443536"/>
                    <a:pt x="572348" y="443688"/>
                  </a:cubicBezTo>
                  <a:cubicBezTo>
                    <a:pt x="577155" y="451385"/>
                    <a:pt x="575088" y="439497"/>
                    <a:pt x="576610" y="435675"/>
                  </a:cubicBezTo>
                  <a:cubicBezTo>
                    <a:pt x="578411" y="459652"/>
                    <a:pt x="578183" y="442914"/>
                    <a:pt x="580973" y="429058"/>
                  </a:cubicBezTo>
                  <a:cubicBezTo>
                    <a:pt x="581011" y="428956"/>
                    <a:pt x="581024" y="428855"/>
                    <a:pt x="581011" y="428740"/>
                  </a:cubicBezTo>
                  <a:cubicBezTo>
                    <a:pt x="581049" y="428677"/>
                    <a:pt x="581062" y="428601"/>
                    <a:pt x="581062" y="428525"/>
                  </a:cubicBezTo>
                  <a:lnTo>
                    <a:pt x="581100" y="428385"/>
                  </a:lnTo>
                  <a:cubicBezTo>
                    <a:pt x="580871" y="430696"/>
                    <a:pt x="580783" y="433033"/>
                    <a:pt x="580833" y="435357"/>
                  </a:cubicBezTo>
                  <a:cubicBezTo>
                    <a:pt x="580871" y="435560"/>
                    <a:pt x="580909" y="435751"/>
                    <a:pt x="580973" y="435941"/>
                  </a:cubicBezTo>
                  <a:cubicBezTo>
                    <a:pt x="581100" y="436399"/>
                    <a:pt x="581328" y="436525"/>
                    <a:pt x="581646" y="436170"/>
                  </a:cubicBezTo>
                  <a:cubicBezTo>
                    <a:pt x="581924" y="435865"/>
                    <a:pt x="582153" y="435510"/>
                    <a:pt x="582318" y="435128"/>
                  </a:cubicBezTo>
                  <a:cubicBezTo>
                    <a:pt x="582534" y="434722"/>
                    <a:pt x="582736" y="434303"/>
                    <a:pt x="582901" y="433871"/>
                  </a:cubicBezTo>
                  <a:cubicBezTo>
                    <a:pt x="583041" y="433617"/>
                    <a:pt x="583154" y="433338"/>
                    <a:pt x="583269" y="433071"/>
                  </a:cubicBezTo>
                  <a:cubicBezTo>
                    <a:pt x="581505" y="432614"/>
                    <a:pt x="582457" y="430150"/>
                    <a:pt x="584157" y="430226"/>
                  </a:cubicBezTo>
                  <a:cubicBezTo>
                    <a:pt x="583358" y="433109"/>
                    <a:pt x="580833" y="453213"/>
                    <a:pt x="584791" y="444679"/>
                  </a:cubicBezTo>
                  <a:cubicBezTo>
                    <a:pt x="585095" y="444489"/>
                    <a:pt x="585413" y="444323"/>
                    <a:pt x="585743" y="444184"/>
                  </a:cubicBezTo>
                  <a:cubicBezTo>
                    <a:pt x="585679" y="444234"/>
                    <a:pt x="585641" y="444285"/>
                    <a:pt x="585603" y="444361"/>
                  </a:cubicBezTo>
                  <a:cubicBezTo>
                    <a:pt x="585501" y="444463"/>
                    <a:pt x="585425" y="444577"/>
                    <a:pt x="585375" y="444717"/>
                  </a:cubicBezTo>
                  <a:cubicBezTo>
                    <a:pt x="585324" y="444857"/>
                    <a:pt x="585298" y="445009"/>
                    <a:pt x="585286" y="445174"/>
                  </a:cubicBezTo>
                  <a:cubicBezTo>
                    <a:pt x="585273" y="445352"/>
                    <a:pt x="585311" y="445543"/>
                    <a:pt x="585375" y="445708"/>
                  </a:cubicBezTo>
                  <a:cubicBezTo>
                    <a:pt x="588342" y="446470"/>
                    <a:pt x="585336" y="442241"/>
                    <a:pt x="587087" y="441301"/>
                  </a:cubicBezTo>
                  <a:cubicBezTo>
                    <a:pt x="592034" y="450978"/>
                    <a:pt x="593518" y="444628"/>
                    <a:pt x="591171" y="438875"/>
                  </a:cubicBezTo>
                  <a:cubicBezTo>
                    <a:pt x="590994" y="438342"/>
                    <a:pt x="590778" y="437834"/>
                    <a:pt x="590499" y="437351"/>
                  </a:cubicBezTo>
                  <a:cubicBezTo>
                    <a:pt x="590233" y="436894"/>
                    <a:pt x="589967" y="436487"/>
                    <a:pt x="589687" y="436081"/>
                  </a:cubicBezTo>
                  <a:cubicBezTo>
                    <a:pt x="590778" y="437072"/>
                    <a:pt x="591451" y="437072"/>
                    <a:pt x="591856" y="436487"/>
                  </a:cubicBezTo>
                  <a:cubicBezTo>
                    <a:pt x="590639" y="431623"/>
                    <a:pt x="589877" y="426645"/>
                    <a:pt x="589598" y="421641"/>
                  </a:cubicBezTo>
                  <a:cubicBezTo>
                    <a:pt x="589560" y="407151"/>
                    <a:pt x="587176" y="405309"/>
                    <a:pt x="578639" y="383884"/>
                  </a:cubicBezTo>
                  <a:cubicBezTo>
                    <a:pt x="570103" y="362472"/>
                    <a:pt x="580440" y="365621"/>
                    <a:pt x="567173" y="359183"/>
                  </a:cubicBezTo>
                  <a:cubicBezTo>
                    <a:pt x="553880" y="352706"/>
                    <a:pt x="567363" y="345644"/>
                    <a:pt x="572792" y="340742"/>
                  </a:cubicBezTo>
                  <a:cubicBezTo>
                    <a:pt x="578183" y="335878"/>
                    <a:pt x="582051" y="336513"/>
                    <a:pt x="585654" y="333046"/>
                  </a:cubicBezTo>
                  <a:cubicBezTo>
                    <a:pt x="589294" y="329579"/>
                    <a:pt x="574948" y="323724"/>
                    <a:pt x="565334" y="315457"/>
                  </a:cubicBezTo>
                  <a:cubicBezTo>
                    <a:pt x="555668" y="307125"/>
                    <a:pt x="568036" y="306185"/>
                    <a:pt x="571498" y="295924"/>
                  </a:cubicBezTo>
                  <a:cubicBezTo>
                    <a:pt x="574910" y="285624"/>
                    <a:pt x="584614" y="301499"/>
                    <a:pt x="592034" y="302757"/>
                  </a:cubicBezTo>
                  <a:cubicBezTo>
                    <a:pt x="599403" y="304026"/>
                    <a:pt x="597831" y="307265"/>
                    <a:pt x="603450" y="307798"/>
                  </a:cubicBezTo>
                  <a:cubicBezTo>
                    <a:pt x="609107" y="308345"/>
                    <a:pt x="607940" y="299340"/>
                    <a:pt x="612480" y="313971"/>
                  </a:cubicBezTo>
                  <a:cubicBezTo>
                    <a:pt x="617022" y="328588"/>
                    <a:pt x="613965" y="324003"/>
                    <a:pt x="614143" y="332957"/>
                  </a:cubicBezTo>
                  <a:cubicBezTo>
                    <a:pt x="614320" y="341911"/>
                    <a:pt x="629198" y="335383"/>
                    <a:pt x="634411" y="334532"/>
                  </a:cubicBezTo>
                  <a:cubicBezTo>
                    <a:pt x="639625" y="333719"/>
                    <a:pt x="664612" y="337326"/>
                    <a:pt x="677779" y="338482"/>
                  </a:cubicBezTo>
                  <a:cubicBezTo>
                    <a:pt x="690894" y="339663"/>
                    <a:pt x="683119" y="344882"/>
                    <a:pt x="681952" y="353290"/>
                  </a:cubicBezTo>
                  <a:cubicBezTo>
                    <a:pt x="680747" y="361710"/>
                    <a:pt x="678857" y="358471"/>
                    <a:pt x="669547" y="364948"/>
                  </a:cubicBezTo>
                  <a:cubicBezTo>
                    <a:pt x="664093" y="368390"/>
                    <a:pt x="658866" y="372162"/>
                    <a:pt x="653869" y="376239"/>
                  </a:cubicBezTo>
                  <a:cubicBezTo>
                    <a:pt x="646005" y="382678"/>
                    <a:pt x="653146" y="384202"/>
                    <a:pt x="654985" y="393739"/>
                  </a:cubicBezTo>
                  <a:cubicBezTo>
                    <a:pt x="656875" y="403277"/>
                    <a:pt x="656787" y="398108"/>
                    <a:pt x="665818" y="395898"/>
                  </a:cubicBezTo>
                  <a:cubicBezTo>
                    <a:pt x="674862" y="393739"/>
                    <a:pt x="673644" y="381814"/>
                    <a:pt x="673644" y="381814"/>
                  </a:cubicBezTo>
                  <a:cubicBezTo>
                    <a:pt x="678756" y="384100"/>
                    <a:pt x="683119" y="387783"/>
                    <a:pt x="686227" y="392431"/>
                  </a:cubicBezTo>
                  <a:cubicBezTo>
                    <a:pt x="690628" y="399632"/>
                    <a:pt x="688205" y="404636"/>
                    <a:pt x="690310" y="418441"/>
                  </a:cubicBezTo>
                  <a:cubicBezTo>
                    <a:pt x="690958" y="422924"/>
                    <a:pt x="691935" y="427343"/>
                    <a:pt x="693228" y="431674"/>
                  </a:cubicBezTo>
                  <a:cubicBezTo>
                    <a:pt x="695613" y="430633"/>
                    <a:pt x="699570" y="430049"/>
                    <a:pt x="705633" y="427940"/>
                  </a:cubicBezTo>
                  <a:cubicBezTo>
                    <a:pt x="719383" y="423076"/>
                    <a:pt x="707574" y="418085"/>
                    <a:pt x="703249" y="411875"/>
                  </a:cubicBezTo>
                  <a:cubicBezTo>
                    <a:pt x="698936" y="405665"/>
                    <a:pt x="711341" y="403506"/>
                    <a:pt x="710352" y="397206"/>
                  </a:cubicBezTo>
                  <a:cubicBezTo>
                    <a:pt x="710631" y="388977"/>
                    <a:pt x="713218" y="380989"/>
                    <a:pt x="717810" y="374169"/>
                  </a:cubicBezTo>
                  <a:cubicBezTo>
                    <a:pt x="721184" y="369177"/>
                    <a:pt x="727158" y="374842"/>
                    <a:pt x="729416" y="374575"/>
                  </a:cubicBezTo>
                  <a:cubicBezTo>
                    <a:pt x="736519" y="369749"/>
                    <a:pt x="742316" y="363221"/>
                    <a:pt x="746261" y="355589"/>
                  </a:cubicBezTo>
                  <a:cubicBezTo>
                    <a:pt x="753085" y="339828"/>
                    <a:pt x="757334" y="323064"/>
                    <a:pt x="758843" y="305957"/>
                  </a:cubicBezTo>
                  <a:cubicBezTo>
                    <a:pt x="759211" y="295606"/>
                    <a:pt x="767380" y="289396"/>
                    <a:pt x="767380" y="284316"/>
                  </a:cubicBezTo>
                  <a:cubicBezTo>
                    <a:pt x="767380" y="279223"/>
                    <a:pt x="783210" y="279630"/>
                    <a:pt x="794346" y="272213"/>
                  </a:cubicBezTo>
                  <a:cubicBezTo>
                    <a:pt x="805445" y="264783"/>
                    <a:pt x="804241" y="269647"/>
                    <a:pt x="818890" y="276214"/>
                  </a:cubicBezTo>
                  <a:cubicBezTo>
                    <a:pt x="833490" y="282830"/>
                    <a:pt x="818078" y="270321"/>
                    <a:pt x="819969" y="253087"/>
                  </a:cubicBezTo>
                  <a:cubicBezTo>
                    <a:pt x="821948" y="235891"/>
                    <a:pt x="820019" y="253074"/>
                    <a:pt x="827021" y="240158"/>
                  </a:cubicBezTo>
                  <a:close/>
                  <a:moveTo>
                    <a:pt x="136710" y="516345"/>
                  </a:moveTo>
                  <a:cubicBezTo>
                    <a:pt x="137128" y="516561"/>
                    <a:pt x="137559" y="516739"/>
                    <a:pt x="138003" y="516891"/>
                  </a:cubicBezTo>
                  <a:cubicBezTo>
                    <a:pt x="138689" y="519901"/>
                    <a:pt x="137559" y="517793"/>
                    <a:pt x="136710" y="516345"/>
                  </a:cubicBezTo>
                  <a:close/>
                  <a:moveTo>
                    <a:pt x="559955" y="421451"/>
                  </a:moveTo>
                  <a:cubicBezTo>
                    <a:pt x="560577" y="421184"/>
                    <a:pt x="560894" y="421908"/>
                    <a:pt x="561211" y="422898"/>
                  </a:cubicBezTo>
                  <a:cubicBezTo>
                    <a:pt x="560818" y="422390"/>
                    <a:pt x="560399" y="421908"/>
                    <a:pt x="559955" y="421451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5" name="Vrije vorm 284">
              <a:extLst>
                <a:ext uri="{FF2B5EF4-FFF2-40B4-BE49-F238E27FC236}">
                  <a16:creationId xmlns:a16="http://schemas.microsoft.com/office/drawing/2014/main" id="{601BF8D6-55FA-A44F-B604-E0CA4FE2642B}"/>
                </a:ext>
              </a:extLst>
            </p:cNvPr>
            <p:cNvSpPr/>
            <p:nvPr/>
          </p:nvSpPr>
          <p:spPr>
            <a:xfrm>
              <a:off x="7212021" y="3270403"/>
              <a:ext cx="462721" cy="436369"/>
            </a:xfrm>
            <a:custGeom>
              <a:avLst/>
              <a:gdLst>
                <a:gd name="connsiteX0" fmla="*/ 460134 w 462721"/>
                <a:gd name="connsiteY0" fmla="*/ 71690 h 436369"/>
                <a:gd name="connsiteX1" fmla="*/ 446930 w 462721"/>
                <a:gd name="connsiteY1" fmla="*/ 80644 h 436369"/>
                <a:gd name="connsiteX2" fmla="*/ 432229 w 462721"/>
                <a:gd name="connsiteY2" fmla="*/ 81939 h 436369"/>
                <a:gd name="connsiteX3" fmla="*/ 419824 w 462721"/>
                <a:gd name="connsiteY3" fmla="*/ 88289 h 436369"/>
                <a:gd name="connsiteX4" fmla="*/ 403157 w 462721"/>
                <a:gd name="connsiteY4" fmla="*/ 81901 h 436369"/>
                <a:gd name="connsiteX5" fmla="*/ 388101 w 462721"/>
                <a:gd name="connsiteY5" fmla="*/ 79653 h 436369"/>
                <a:gd name="connsiteX6" fmla="*/ 375201 w 462721"/>
                <a:gd name="connsiteY6" fmla="*/ 87032 h 436369"/>
                <a:gd name="connsiteX7" fmla="*/ 376545 w 462721"/>
                <a:gd name="connsiteY7" fmla="*/ 99224 h 436369"/>
                <a:gd name="connsiteX8" fmla="*/ 371827 w 462721"/>
                <a:gd name="connsiteY8" fmla="*/ 113537 h 436369"/>
                <a:gd name="connsiteX9" fmla="*/ 377585 w 462721"/>
                <a:gd name="connsiteY9" fmla="*/ 132435 h 436369"/>
                <a:gd name="connsiteX10" fmla="*/ 387149 w 462721"/>
                <a:gd name="connsiteY10" fmla="*/ 139267 h 436369"/>
                <a:gd name="connsiteX11" fmla="*/ 392413 w 462721"/>
                <a:gd name="connsiteY11" fmla="*/ 149668 h 436369"/>
                <a:gd name="connsiteX12" fmla="*/ 397804 w 462721"/>
                <a:gd name="connsiteY12" fmla="*/ 158939 h 436369"/>
                <a:gd name="connsiteX13" fmla="*/ 408548 w 462721"/>
                <a:gd name="connsiteY13" fmla="*/ 160019 h 436369"/>
                <a:gd name="connsiteX14" fmla="*/ 395699 w 462721"/>
                <a:gd name="connsiteY14" fmla="*/ 167537 h 436369"/>
                <a:gd name="connsiteX15" fmla="*/ 394620 w 462721"/>
                <a:gd name="connsiteY15" fmla="*/ 203885 h 436369"/>
                <a:gd name="connsiteX16" fmla="*/ 383966 w 462721"/>
                <a:gd name="connsiteY16" fmla="*/ 217652 h 436369"/>
                <a:gd name="connsiteX17" fmla="*/ 361401 w 462721"/>
                <a:gd name="connsiteY17" fmla="*/ 247535 h 436369"/>
                <a:gd name="connsiteX18" fmla="*/ 322751 w 462721"/>
                <a:gd name="connsiteY18" fmla="*/ 293026 h 436369"/>
                <a:gd name="connsiteX19" fmla="*/ 290661 w 462721"/>
                <a:gd name="connsiteY19" fmla="*/ 309358 h 436369"/>
                <a:gd name="connsiteX20" fmla="*/ 280006 w 462721"/>
                <a:gd name="connsiteY20" fmla="*/ 303783 h 436369"/>
                <a:gd name="connsiteX21" fmla="*/ 267106 w 462721"/>
                <a:gd name="connsiteY21" fmla="*/ 310171 h 436369"/>
                <a:gd name="connsiteX22" fmla="*/ 249767 w 462721"/>
                <a:gd name="connsiteY22" fmla="*/ 339140 h 436369"/>
                <a:gd name="connsiteX23" fmla="*/ 258531 w 462721"/>
                <a:gd name="connsiteY23" fmla="*/ 348461 h 436369"/>
                <a:gd name="connsiteX24" fmla="*/ 267106 w 462721"/>
                <a:gd name="connsiteY24" fmla="*/ 357555 h 436369"/>
                <a:gd name="connsiteX25" fmla="*/ 264823 w 462721"/>
                <a:gd name="connsiteY25" fmla="*/ 374509 h 436369"/>
                <a:gd name="connsiteX26" fmla="*/ 280006 w 462721"/>
                <a:gd name="connsiteY26" fmla="*/ 378522 h 436369"/>
                <a:gd name="connsiteX27" fmla="*/ 288543 w 462721"/>
                <a:gd name="connsiteY27" fmla="*/ 410425 h 436369"/>
                <a:gd name="connsiteX28" fmla="*/ 279968 w 462721"/>
                <a:gd name="connsiteY28" fmla="*/ 419594 h 436369"/>
                <a:gd name="connsiteX29" fmla="*/ 266028 w 462721"/>
                <a:gd name="connsiteY29" fmla="*/ 419785 h 436369"/>
                <a:gd name="connsiteX30" fmla="*/ 245898 w 462721"/>
                <a:gd name="connsiteY30" fmla="*/ 418565 h 436369"/>
                <a:gd name="connsiteX31" fmla="*/ 236233 w 462721"/>
                <a:gd name="connsiteY31" fmla="*/ 420674 h 436369"/>
                <a:gd name="connsiteX32" fmla="*/ 224145 w 462721"/>
                <a:gd name="connsiteY32" fmla="*/ 425360 h 436369"/>
                <a:gd name="connsiteX33" fmla="*/ 211968 w 462721"/>
                <a:gd name="connsiteY33" fmla="*/ 432967 h 436369"/>
                <a:gd name="connsiteX34" fmla="*/ 211790 w 462721"/>
                <a:gd name="connsiteY34" fmla="*/ 431926 h 436369"/>
                <a:gd name="connsiteX35" fmla="*/ 211752 w 462721"/>
                <a:gd name="connsiteY35" fmla="*/ 433412 h 436369"/>
                <a:gd name="connsiteX36" fmla="*/ 211752 w 462721"/>
                <a:gd name="connsiteY36" fmla="*/ 433450 h 436369"/>
                <a:gd name="connsiteX37" fmla="*/ 210395 w 462721"/>
                <a:gd name="connsiteY37" fmla="*/ 436371 h 436369"/>
                <a:gd name="connsiteX38" fmla="*/ 210218 w 462721"/>
                <a:gd name="connsiteY38" fmla="*/ 436155 h 436369"/>
                <a:gd name="connsiteX39" fmla="*/ 209811 w 462721"/>
                <a:gd name="connsiteY39" fmla="*/ 435291 h 436369"/>
                <a:gd name="connsiteX40" fmla="*/ 209088 w 462721"/>
                <a:gd name="connsiteY40" fmla="*/ 432866 h 436369"/>
                <a:gd name="connsiteX41" fmla="*/ 208822 w 462721"/>
                <a:gd name="connsiteY41" fmla="*/ 431380 h 436369"/>
                <a:gd name="connsiteX42" fmla="*/ 208696 w 462721"/>
                <a:gd name="connsiteY42" fmla="*/ 430123 h 436369"/>
                <a:gd name="connsiteX43" fmla="*/ 207173 w 462721"/>
                <a:gd name="connsiteY43" fmla="*/ 433539 h 436369"/>
                <a:gd name="connsiteX44" fmla="*/ 203216 w 462721"/>
                <a:gd name="connsiteY44" fmla="*/ 430440 h 436369"/>
                <a:gd name="connsiteX45" fmla="*/ 186231 w 462721"/>
                <a:gd name="connsiteY45" fmla="*/ 404519 h 436369"/>
                <a:gd name="connsiteX46" fmla="*/ 180968 w 462721"/>
                <a:gd name="connsiteY46" fmla="*/ 404024 h 436369"/>
                <a:gd name="connsiteX47" fmla="*/ 179940 w 462721"/>
                <a:gd name="connsiteY47" fmla="*/ 403795 h 436369"/>
                <a:gd name="connsiteX48" fmla="*/ 155752 w 462721"/>
                <a:gd name="connsiteY48" fmla="*/ 383374 h 436369"/>
                <a:gd name="connsiteX49" fmla="*/ 157908 w 462721"/>
                <a:gd name="connsiteY49" fmla="*/ 379729 h 436369"/>
                <a:gd name="connsiteX50" fmla="*/ 157819 w 462721"/>
                <a:gd name="connsiteY50" fmla="*/ 379729 h 436369"/>
                <a:gd name="connsiteX51" fmla="*/ 155168 w 462721"/>
                <a:gd name="connsiteY51" fmla="*/ 379856 h 436369"/>
                <a:gd name="connsiteX52" fmla="*/ 95489 w 462721"/>
                <a:gd name="connsiteY52" fmla="*/ 382879 h 436369"/>
                <a:gd name="connsiteX53" fmla="*/ 93827 w 462721"/>
                <a:gd name="connsiteY53" fmla="*/ 383005 h 436369"/>
                <a:gd name="connsiteX54" fmla="*/ 63094 w 462721"/>
                <a:gd name="connsiteY54" fmla="*/ 386168 h 436369"/>
                <a:gd name="connsiteX55" fmla="*/ 26918 w 462721"/>
                <a:gd name="connsiteY55" fmla="*/ 387336 h 436369"/>
                <a:gd name="connsiteX56" fmla="*/ 27946 w 462721"/>
                <a:gd name="connsiteY56" fmla="*/ 380986 h 436369"/>
                <a:gd name="connsiteX57" fmla="*/ 40668 w 462721"/>
                <a:gd name="connsiteY57" fmla="*/ 353580 h 436369"/>
                <a:gd name="connsiteX58" fmla="*/ 69512 w 462721"/>
                <a:gd name="connsiteY58" fmla="*/ 345655 h 436369"/>
                <a:gd name="connsiteX59" fmla="*/ 74586 w 462721"/>
                <a:gd name="connsiteY59" fmla="*/ 330097 h 436369"/>
                <a:gd name="connsiteX60" fmla="*/ 62993 w 462721"/>
                <a:gd name="connsiteY60" fmla="*/ 319836 h 436369"/>
                <a:gd name="connsiteX61" fmla="*/ 54684 w 462721"/>
                <a:gd name="connsiteY61" fmla="*/ 299452 h 436369"/>
                <a:gd name="connsiteX62" fmla="*/ 34859 w 462721"/>
                <a:gd name="connsiteY62" fmla="*/ 291985 h 436369"/>
                <a:gd name="connsiteX63" fmla="*/ 2286 w 462721"/>
                <a:gd name="connsiteY63" fmla="*/ 252335 h 436369"/>
                <a:gd name="connsiteX64" fmla="*/ 4442 w 462721"/>
                <a:gd name="connsiteY64" fmla="*/ 239064 h 436369"/>
                <a:gd name="connsiteX65" fmla="*/ 34859 w 462721"/>
                <a:gd name="connsiteY65" fmla="*/ 251078 h 436369"/>
                <a:gd name="connsiteX66" fmla="*/ 71440 w 462721"/>
                <a:gd name="connsiteY66" fmla="*/ 254316 h 436369"/>
                <a:gd name="connsiteX67" fmla="*/ 102770 w 462721"/>
                <a:gd name="connsiteY67" fmla="*/ 255485 h 436369"/>
                <a:gd name="connsiteX68" fmla="*/ 134138 w 462721"/>
                <a:gd name="connsiteY68" fmla="*/ 251078 h 436369"/>
                <a:gd name="connsiteX69" fmla="*/ 155574 w 462721"/>
                <a:gd name="connsiteY69" fmla="*/ 236270 h 436369"/>
                <a:gd name="connsiteX70" fmla="*/ 173725 w 462721"/>
                <a:gd name="connsiteY70" fmla="*/ 202259 h 436369"/>
                <a:gd name="connsiteX71" fmla="*/ 197457 w 462721"/>
                <a:gd name="connsiteY71" fmla="*/ 191502 h 436369"/>
                <a:gd name="connsiteX72" fmla="*/ 215215 w 462721"/>
                <a:gd name="connsiteY72" fmla="*/ 179259 h 436369"/>
                <a:gd name="connsiteX73" fmla="*/ 230715 w 462721"/>
                <a:gd name="connsiteY73" fmla="*/ 179259 h 436369"/>
                <a:gd name="connsiteX74" fmla="*/ 242448 w 462721"/>
                <a:gd name="connsiteY74" fmla="*/ 158076 h 436369"/>
                <a:gd name="connsiteX75" fmla="*/ 257593 w 462721"/>
                <a:gd name="connsiteY75" fmla="*/ 134047 h 436369"/>
                <a:gd name="connsiteX76" fmla="*/ 271203 w 462721"/>
                <a:gd name="connsiteY76" fmla="*/ 127570 h 436369"/>
                <a:gd name="connsiteX77" fmla="*/ 263212 w 462721"/>
                <a:gd name="connsiteY77" fmla="*/ 102462 h 436369"/>
                <a:gd name="connsiteX78" fmla="*/ 290711 w 462721"/>
                <a:gd name="connsiteY78" fmla="*/ 103986 h 436369"/>
                <a:gd name="connsiteX79" fmla="*/ 293768 w 462721"/>
                <a:gd name="connsiteY79" fmla="*/ 85178 h 436369"/>
                <a:gd name="connsiteX80" fmla="*/ 309053 w 462721"/>
                <a:gd name="connsiteY80" fmla="*/ 66687 h 436369"/>
                <a:gd name="connsiteX81" fmla="*/ 306706 w 462721"/>
                <a:gd name="connsiteY81" fmla="*/ 42023 h 436369"/>
                <a:gd name="connsiteX82" fmla="*/ 305945 w 462721"/>
                <a:gd name="connsiteY82" fmla="*/ 23265 h 436369"/>
                <a:gd name="connsiteX83" fmla="*/ 340509 w 462721"/>
                <a:gd name="connsiteY83" fmla="*/ 5574 h 436369"/>
                <a:gd name="connsiteX84" fmla="*/ 369810 w 462721"/>
                <a:gd name="connsiteY84" fmla="*/ 7644 h 436369"/>
                <a:gd name="connsiteX85" fmla="*/ 400049 w 462721"/>
                <a:gd name="connsiteY85" fmla="*/ 2475 h 436369"/>
                <a:gd name="connsiteX86" fmla="*/ 405313 w 462721"/>
                <a:gd name="connsiteY86" fmla="*/ 3377 h 436369"/>
                <a:gd name="connsiteX87" fmla="*/ 425583 w 462721"/>
                <a:gd name="connsiteY87" fmla="*/ 11835 h 436369"/>
                <a:gd name="connsiteX88" fmla="*/ 433078 w 462721"/>
                <a:gd name="connsiteY88" fmla="*/ 33794 h 436369"/>
                <a:gd name="connsiteX89" fmla="*/ 440638 w 462721"/>
                <a:gd name="connsiteY89" fmla="*/ 42023 h 436369"/>
                <a:gd name="connsiteX90" fmla="*/ 447107 w 462721"/>
                <a:gd name="connsiteY90" fmla="*/ 39813 h 436369"/>
                <a:gd name="connsiteX91" fmla="*/ 447145 w 462721"/>
                <a:gd name="connsiteY91" fmla="*/ 39864 h 436369"/>
                <a:gd name="connsiteX92" fmla="*/ 455682 w 462721"/>
                <a:gd name="connsiteY92" fmla="*/ 57009 h 436369"/>
                <a:gd name="connsiteX93" fmla="*/ 460578 w 462721"/>
                <a:gd name="connsiteY93" fmla="*/ 63715 h 436369"/>
                <a:gd name="connsiteX94" fmla="*/ 460134 w 462721"/>
                <a:gd name="connsiteY94" fmla="*/ 71690 h 436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462721" h="436369">
                  <a:moveTo>
                    <a:pt x="460134" y="71690"/>
                  </a:moveTo>
                  <a:cubicBezTo>
                    <a:pt x="453538" y="73126"/>
                    <a:pt x="456367" y="80644"/>
                    <a:pt x="446930" y="80644"/>
                  </a:cubicBezTo>
                  <a:cubicBezTo>
                    <a:pt x="437493" y="80593"/>
                    <a:pt x="435552" y="78929"/>
                    <a:pt x="432229" y="81939"/>
                  </a:cubicBezTo>
                  <a:cubicBezTo>
                    <a:pt x="428905" y="84911"/>
                    <a:pt x="427916" y="91617"/>
                    <a:pt x="419824" y="88289"/>
                  </a:cubicBezTo>
                  <a:cubicBezTo>
                    <a:pt x="411731" y="84924"/>
                    <a:pt x="409537" y="82130"/>
                    <a:pt x="403157" y="81901"/>
                  </a:cubicBezTo>
                  <a:cubicBezTo>
                    <a:pt x="396776" y="81673"/>
                    <a:pt x="397626" y="76555"/>
                    <a:pt x="388101" y="79653"/>
                  </a:cubicBezTo>
                  <a:cubicBezTo>
                    <a:pt x="378524" y="82765"/>
                    <a:pt x="375023" y="79476"/>
                    <a:pt x="375201" y="87032"/>
                  </a:cubicBezTo>
                  <a:cubicBezTo>
                    <a:pt x="375341" y="94550"/>
                    <a:pt x="377725" y="89953"/>
                    <a:pt x="376545" y="99224"/>
                  </a:cubicBezTo>
                  <a:cubicBezTo>
                    <a:pt x="375341" y="108495"/>
                    <a:pt x="369353" y="107771"/>
                    <a:pt x="371827" y="113537"/>
                  </a:cubicBezTo>
                  <a:cubicBezTo>
                    <a:pt x="374262" y="119252"/>
                    <a:pt x="375556" y="128472"/>
                    <a:pt x="377585" y="132435"/>
                  </a:cubicBezTo>
                  <a:cubicBezTo>
                    <a:pt x="379603" y="136397"/>
                    <a:pt x="378574" y="137883"/>
                    <a:pt x="387149" y="139267"/>
                  </a:cubicBezTo>
                  <a:cubicBezTo>
                    <a:pt x="395699" y="140715"/>
                    <a:pt x="387022" y="140397"/>
                    <a:pt x="392413" y="149668"/>
                  </a:cubicBezTo>
                  <a:cubicBezTo>
                    <a:pt x="397804" y="158939"/>
                    <a:pt x="387111" y="157860"/>
                    <a:pt x="397804" y="158939"/>
                  </a:cubicBezTo>
                  <a:cubicBezTo>
                    <a:pt x="408548" y="160019"/>
                    <a:pt x="421397" y="152501"/>
                    <a:pt x="408548" y="160019"/>
                  </a:cubicBezTo>
                  <a:cubicBezTo>
                    <a:pt x="395699" y="167537"/>
                    <a:pt x="396776" y="157860"/>
                    <a:pt x="395699" y="167537"/>
                  </a:cubicBezTo>
                  <a:cubicBezTo>
                    <a:pt x="394620" y="177164"/>
                    <a:pt x="397804" y="197370"/>
                    <a:pt x="394620" y="203885"/>
                  </a:cubicBezTo>
                  <a:cubicBezTo>
                    <a:pt x="391373" y="210412"/>
                    <a:pt x="390434" y="207707"/>
                    <a:pt x="383966" y="217652"/>
                  </a:cubicBezTo>
                  <a:cubicBezTo>
                    <a:pt x="377066" y="228078"/>
                    <a:pt x="369531" y="238048"/>
                    <a:pt x="361401" y="247535"/>
                  </a:cubicBezTo>
                  <a:cubicBezTo>
                    <a:pt x="356047" y="253339"/>
                    <a:pt x="339824" y="286587"/>
                    <a:pt x="322751" y="293026"/>
                  </a:cubicBezTo>
                  <a:cubicBezTo>
                    <a:pt x="305679" y="299465"/>
                    <a:pt x="298169" y="310704"/>
                    <a:pt x="290661" y="309358"/>
                  </a:cubicBezTo>
                  <a:cubicBezTo>
                    <a:pt x="283152" y="308050"/>
                    <a:pt x="290750" y="302742"/>
                    <a:pt x="280006" y="303783"/>
                  </a:cubicBezTo>
                  <a:cubicBezTo>
                    <a:pt x="269224" y="304812"/>
                    <a:pt x="270341" y="305891"/>
                    <a:pt x="267106" y="310171"/>
                  </a:cubicBezTo>
                  <a:cubicBezTo>
                    <a:pt x="263872" y="314489"/>
                    <a:pt x="243158" y="332752"/>
                    <a:pt x="249767" y="339140"/>
                  </a:cubicBezTo>
                  <a:cubicBezTo>
                    <a:pt x="256375" y="345579"/>
                    <a:pt x="249944" y="347064"/>
                    <a:pt x="258531" y="348461"/>
                  </a:cubicBezTo>
                  <a:cubicBezTo>
                    <a:pt x="267106" y="349897"/>
                    <a:pt x="274666" y="352373"/>
                    <a:pt x="267106" y="357555"/>
                  </a:cubicBezTo>
                  <a:cubicBezTo>
                    <a:pt x="259610" y="362774"/>
                    <a:pt x="259330" y="371271"/>
                    <a:pt x="264823" y="374509"/>
                  </a:cubicBezTo>
                  <a:cubicBezTo>
                    <a:pt x="270303" y="377748"/>
                    <a:pt x="278978" y="372807"/>
                    <a:pt x="280006" y="378522"/>
                  </a:cubicBezTo>
                  <a:cubicBezTo>
                    <a:pt x="281046" y="384187"/>
                    <a:pt x="297168" y="401243"/>
                    <a:pt x="288543" y="410425"/>
                  </a:cubicBezTo>
                  <a:cubicBezTo>
                    <a:pt x="279968" y="419594"/>
                    <a:pt x="287464" y="422833"/>
                    <a:pt x="279968" y="419594"/>
                  </a:cubicBezTo>
                  <a:cubicBezTo>
                    <a:pt x="272459" y="416407"/>
                    <a:pt x="272408" y="417804"/>
                    <a:pt x="266028" y="419785"/>
                  </a:cubicBezTo>
                  <a:cubicBezTo>
                    <a:pt x="259292" y="420420"/>
                    <a:pt x="252507" y="420013"/>
                    <a:pt x="245898" y="418565"/>
                  </a:cubicBezTo>
                  <a:cubicBezTo>
                    <a:pt x="242537" y="418299"/>
                    <a:pt x="239175" y="419035"/>
                    <a:pt x="236233" y="420674"/>
                  </a:cubicBezTo>
                  <a:cubicBezTo>
                    <a:pt x="230665" y="422833"/>
                    <a:pt x="225134" y="420407"/>
                    <a:pt x="224145" y="425360"/>
                  </a:cubicBezTo>
                  <a:cubicBezTo>
                    <a:pt x="223155" y="430351"/>
                    <a:pt x="213719" y="429767"/>
                    <a:pt x="211968" y="432967"/>
                  </a:cubicBezTo>
                  <a:cubicBezTo>
                    <a:pt x="211879" y="432624"/>
                    <a:pt x="211828" y="432282"/>
                    <a:pt x="211790" y="431926"/>
                  </a:cubicBezTo>
                  <a:cubicBezTo>
                    <a:pt x="211803" y="432421"/>
                    <a:pt x="211790" y="432917"/>
                    <a:pt x="211752" y="433412"/>
                  </a:cubicBezTo>
                  <a:lnTo>
                    <a:pt x="211752" y="433450"/>
                  </a:lnTo>
                  <a:cubicBezTo>
                    <a:pt x="211385" y="434098"/>
                    <a:pt x="210941" y="435126"/>
                    <a:pt x="210395" y="436371"/>
                  </a:cubicBezTo>
                  <a:cubicBezTo>
                    <a:pt x="210319" y="436320"/>
                    <a:pt x="210256" y="436244"/>
                    <a:pt x="210218" y="436155"/>
                  </a:cubicBezTo>
                  <a:cubicBezTo>
                    <a:pt x="210053" y="435876"/>
                    <a:pt x="209926" y="435596"/>
                    <a:pt x="209811" y="435291"/>
                  </a:cubicBezTo>
                  <a:cubicBezTo>
                    <a:pt x="209507" y="434504"/>
                    <a:pt x="209266" y="433691"/>
                    <a:pt x="209088" y="432866"/>
                  </a:cubicBezTo>
                  <a:cubicBezTo>
                    <a:pt x="208975" y="432383"/>
                    <a:pt x="208885" y="431888"/>
                    <a:pt x="208822" y="431380"/>
                  </a:cubicBezTo>
                  <a:cubicBezTo>
                    <a:pt x="208784" y="430973"/>
                    <a:pt x="208734" y="430567"/>
                    <a:pt x="208696" y="430123"/>
                  </a:cubicBezTo>
                  <a:cubicBezTo>
                    <a:pt x="206628" y="427468"/>
                    <a:pt x="210306" y="438352"/>
                    <a:pt x="207173" y="433539"/>
                  </a:cubicBezTo>
                  <a:cubicBezTo>
                    <a:pt x="205283" y="433907"/>
                    <a:pt x="203393" y="431520"/>
                    <a:pt x="203216" y="430440"/>
                  </a:cubicBezTo>
                  <a:cubicBezTo>
                    <a:pt x="199487" y="442226"/>
                    <a:pt x="179940" y="417842"/>
                    <a:pt x="186231" y="404519"/>
                  </a:cubicBezTo>
                  <a:cubicBezTo>
                    <a:pt x="184469" y="404494"/>
                    <a:pt x="182706" y="404329"/>
                    <a:pt x="180968" y="404024"/>
                  </a:cubicBezTo>
                  <a:cubicBezTo>
                    <a:pt x="180626" y="403973"/>
                    <a:pt x="180270" y="403897"/>
                    <a:pt x="179940" y="403795"/>
                  </a:cubicBezTo>
                  <a:cubicBezTo>
                    <a:pt x="165772" y="401001"/>
                    <a:pt x="154725" y="390257"/>
                    <a:pt x="155752" y="383374"/>
                  </a:cubicBezTo>
                  <a:cubicBezTo>
                    <a:pt x="155929" y="381901"/>
                    <a:pt x="156716" y="380580"/>
                    <a:pt x="157908" y="379729"/>
                  </a:cubicBezTo>
                  <a:lnTo>
                    <a:pt x="157819" y="379729"/>
                  </a:lnTo>
                  <a:cubicBezTo>
                    <a:pt x="156919" y="379767"/>
                    <a:pt x="156031" y="379818"/>
                    <a:pt x="155168" y="379856"/>
                  </a:cubicBezTo>
                  <a:cubicBezTo>
                    <a:pt x="134721" y="380948"/>
                    <a:pt x="114946" y="381482"/>
                    <a:pt x="95489" y="382879"/>
                  </a:cubicBezTo>
                  <a:cubicBezTo>
                    <a:pt x="94956" y="382917"/>
                    <a:pt x="94411" y="382967"/>
                    <a:pt x="93827" y="383005"/>
                  </a:cubicBezTo>
                  <a:cubicBezTo>
                    <a:pt x="83490" y="383767"/>
                    <a:pt x="73292" y="384771"/>
                    <a:pt x="63094" y="386168"/>
                  </a:cubicBezTo>
                  <a:cubicBezTo>
                    <a:pt x="51094" y="387755"/>
                    <a:pt x="38981" y="388149"/>
                    <a:pt x="26918" y="387336"/>
                  </a:cubicBezTo>
                  <a:cubicBezTo>
                    <a:pt x="27071" y="385190"/>
                    <a:pt x="27413" y="383069"/>
                    <a:pt x="27946" y="380986"/>
                  </a:cubicBezTo>
                  <a:cubicBezTo>
                    <a:pt x="29417" y="370801"/>
                    <a:pt x="33832" y="361263"/>
                    <a:pt x="40668" y="353580"/>
                  </a:cubicBezTo>
                  <a:cubicBezTo>
                    <a:pt x="48621" y="346557"/>
                    <a:pt x="47543" y="348449"/>
                    <a:pt x="69512" y="345655"/>
                  </a:cubicBezTo>
                  <a:cubicBezTo>
                    <a:pt x="91532" y="342861"/>
                    <a:pt x="71541" y="337971"/>
                    <a:pt x="74586" y="330097"/>
                  </a:cubicBezTo>
                  <a:cubicBezTo>
                    <a:pt x="77642" y="322211"/>
                    <a:pt x="70273" y="325589"/>
                    <a:pt x="62993" y="319836"/>
                  </a:cubicBezTo>
                  <a:cubicBezTo>
                    <a:pt x="55763" y="314070"/>
                    <a:pt x="58997" y="302691"/>
                    <a:pt x="54684" y="299452"/>
                  </a:cubicBezTo>
                  <a:cubicBezTo>
                    <a:pt x="50321" y="296252"/>
                    <a:pt x="42101" y="297293"/>
                    <a:pt x="34859" y="291985"/>
                  </a:cubicBezTo>
                  <a:cubicBezTo>
                    <a:pt x="27629" y="286625"/>
                    <a:pt x="8894" y="258685"/>
                    <a:pt x="2286" y="252335"/>
                  </a:cubicBezTo>
                  <a:cubicBezTo>
                    <a:pt x="-1938" y="248246"/>
                    <a:pt x="129" y="245134"/>
                    <a:pt x="4442" y="239064"/>
                  </a:cubicBezTo>
                  <a:cubicBezTo>
                    <a:pt x="8260" y="240727"/>
                    <a:pt x="21515" y="246354"/>
                    <a:pt x="34859" y="251078"/>
                  </a:cubicBezTo>
                  <a:cubicBezTo>
                    <a:pt x="46693" y="254748"/>
                    <a:pt x="59162" y="255853"/>
                    <a:pt x="71440" y="254316"/>
                  </a:cubicBezTo>
                  <a:cubicBezTo>
                    <a:pt x="85824" y="254494"/>
                    <a:pt x="84783" y="259003"/>
                    <a:pt x="102770" y="255485"/>
                  </a:cubicBezTo>
                  <a:cubicBezTo>
                    <a:pt x="120756" y="251980"/>
                    <a:pt x="119855" y="256298"/>
                    <a:pt x="134138" y="251078"/>
                  </a:cubicBezTo>
                  <a:cubicBezTo>
                    <a:pt x="148433" y="245820"/>
                    <a:pt x="151578" y="253237"/>
                    <a:pt x="155574" y="236270"/>
                  </a:cubicBezTo>
                  <a:cubicBezTo>
                    <a:pt x="156970" y="222998"/>
                    <a:pt x="163489" y="210793"/>
                    <a:pt x="173725" y="202259"/>
                  </a:cubicBezTo>
                  <a:cubicBezTo>
                    <a:pt x="182858" y="196582"/>
                    <a:pt x="189961" y="199338"/>
                    <a:pt x="197457" y="191502"/>
                  </a:cubicBezTo>
                  <a:cubicBezTo>
                    <a:pt x="201884" y="185597"/>
                    <a:pt x="208124" y="181291"/>
                    <a:pt x="215215" y="179259"/>
                  </a:cubicBezTo>
                  <a:cubicBezTo>
                    <a:pt x="222318" y="177329"/>
                    <a:pt x="220061" y="183133"/>
                    <a:pt x="230715" y="179259"/>
                  </a:cubicBezTo>
                  <a:cubicBezTo>
                    <a:pt x="241319" y="175437"/>
                    <a:pt x="235611" y="177329"/>
                    <a:pt x="242448" y="158076"/>
                  </a:cubicBezTo>
                  <a:cubicBezTo>
                    <a:pt x="249323" y="138810"/>
                    <a:pt x="248156" y="136562"/>
                    <a:pt x="257593" y="134047"/>
                  </a:cubicBezTo>
                  <a:cubicBezTo>
                    <a:pt x="267068" y="131520"/>
                    <a:pt x="275300" y="141833"/>
                    <a:pt x="271203" y="127570"/>
                  </a:cubicBezTo>
                  <a:cubicBezTo>
                    <a:pt x="267119" y="113308"/>
                    <a:pt x="259254" y="107136"/>
                    <a:pt x="263212" y="102462"/>
                  </a:cubicBezTo>
                  <a:cubicBezTo>
                    <a:pt x="267119" y="97776"/>
                    <a:pt x="277901" y="108038"/>
                    <a:pt x="290711" y="103986"/>
                  </a:cubicBezTo>
                  <a:cubicBezTo>
                    <a:pt x="303522" y="99923"/>
                    <a:pt x="291117" y="88048"/>
                    <a:pt x="293768" y="85178"/>
                  </a:cubicBezTo>
                  <a:cubicBezTo>
                    <a:pt x="296419" y="82257"/>
                    <a:pt x="308773" y="76351"/>
                    <a:pt x="309053" y="66687"/>
                  </a:cubicBezTo>
                  <a:cubicBezTo>
                    <a:pt x="309357" y="57009"/>
                    <a:pt x="312287" y="52374"/>
                    <a:pt x="306706" y="42023"/>
                  </a:cubicBezTo>
                  <a:cubicBezTo>
                    <a:pt x="301176" y="31724"/>
                    <a:pt x="295658" y="28117"/>
                    <a:pt x="305945" y="23265"/>
                  </a:cubicBezTo>
                  <a:cubicBezTo>
                    <a:pt x="316244" y="18350"/>
                    <a:pt x="319250" y="7327"/>
                    <a:pt x="340509" y="5574"/>
                  </a:cubicBezTo>
                  <a:cubicBezTo>
                    <a:pt x="361806" y="3822"/>
                    <a:pt x="361045" y="9003"/>
                    <a:pt x="369810" y="7644"/>
                  </a:cubicBezTo>
                  <a:cubicBezTo>
                    <a:pt x="378524" y="6336"/>
                    <a:pt x="397081" y="13321"/>
                    <a:pt x="400049" y="2475"/>
                  </a:cubicBezTo>
                  <a:cubicBezTo>
                    <a:pt x="405313" y="3377"/>
                    <a:pt x="390346" y="-4141"/>
                    <a:pt x="405313" y="3377"/>
                  </a:cubicBezTo>
                  <a:cubicBezTo>
                    <a:pt x="420318" y="10883"/>
                    <a:pt x="419063" y="2069"/>
                    <a:pt x="425583" y="11835"/>
                  </a:cubicBezTo>
                  <a:cubicBezTo>
                    <a:pt x="432090" y="21589"/>
                    <a:pt x="428728" y="26682"/>
                    <a:pt x="433078" y="33794"/>
                  </a:cubicBezTo>
                  <a:cubicBezTo>
                    <a:pt x="437493" y="40906"/>
                    <a:pt x="434119" y="44271"/>
                    <a:pt x="440638" y="42023"/>
                  </a:cubicBezTo>
                  <a:cubicBezTo>
                    <a:pt x="447107" y="39813"/>
                    <a:pt x="438520" y="22668"/>
                    <a:pt x="447107" y="39813"/>
                  </a:cubicBezTo>
                  <a:lnTo>
                    <a:pt x="447145" y="39864"/>
                  </a:lnTo>
                  <a:cubicBezTo>
                    <a:pt x="455682" y="57009"/>
                    <a:pt x="452448" y="52729"/>
                    <a:pt x="455682" y="57009"/>
                  </a:cubicBezTo>
                  <a:cubicBezTo>
                    <a:pt x="456988" y="58724"/>
                    <a:pt x="459018" y="61238"/>
                    <a:pt x="460578" y="63715"/>
                  </a:cubicBezTo>
                  <a:cubicBezTo>
                    <a:pt x="462874" y="67322"/>
                    <a:pt x="464053" y="70827"/>
                    <a:pt x="460134" y="71690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6" name="Vrije vorm 285">
              <a:extLst>
                <a:ext uri="{FF2B5EF4-FFF2-40B4-BE49-F238E27FC236}">
                  <a16:creationId xmlns:a16="http://schemas.microsoft.com/office/drawing/2014/main" id="{1F0E2E58-9C69-BB46-880A-58FA0F5F8C7F}"/>
                </a:ext>
              </a:extLst>
            </p:cNvPr>
            <p:cNvSpPr/>
            <p:nvPr/>
          </p:nvSpPr>
          <p:spPr>
            <a:xfrm>
              <a:off x="6739473" y="3171163"/>
              <a:ext cx="552580" cy="486575"/>
            </a:xfrm>
            <a:custGeom>
              <a:avLst/>
              <a:gdLst>
                <a:gd name="connsiteX0" fmla="*/ 542073 w 552580"/>
                <a:gd name="connsiteY0" fmla="*/ 444908 h 486575"/>
                <a:gd name="connsiteX1" fmla="*/ 513217 w 552580"/>
                <a:gd name="connsiteY1" fmla="*/ 452820 h 486575"/>
                <a:gd name="connsiteX2" fmla="*/ 500495 w 552580"/>
                <a:gd name="connsiteY2" fmla="*/ 480226 h 486575"/>
                <a:gd name="connsiteX3" fmla="*/ 499466 w 552580"/>
                <a:gd name="connsiteY3" fmla="*/ 486576 h 486575"/>
                <a:gd name="connsiteX4" fmla="*/ 400010 w 552580"/>
                <a:gd name="connsiteY4" fmla="*/ 473127 h 486575"/>
                <a:gd name="connsiteX5" fmla="*/ 373145 w 552580"/>
                <a:gd name="connsiteY5" fmla="*/ 446533 h 486575"/>
                <a:gd name="connsiteX6" fmla="*/ 338352 w 552580"/>
                <a:gd name="connsiteY6" fmla="*/ 429071 h 486575"/>
                <a:gd name="connsiteX7" fmla="*/ 335980 w 552580"/>
                <a:gd name="connsiteY7" fmla="*/ 430150 h 486575"/>
                <a:gd name="connsiteX8" fmla="*/ 324514 w 552580"/>
                <a:gd name="connsiteY8" fmla="*/ 436411 h 486575"/>
                <a:gd name="connsiteX9" fmla="*/ 313999 w 552580"/>
                <a:gd name="connsiteY9" fmla="*/ 440640 h 486575"/>
                <a:gd name="connsiteX10" fmla="*/ 313821 w 552580"/>
                <a:gd name="connsiteY10" fmla="*/ 440679 h 486575"/>
                <a:gd name="connsiteX11" fmla="*/ 287983 w 552580"/>
                <a:gd name="connsiteY11" fmla="*/ 439370 h 486575"/>
                <a:gd name="connsiteX12" fmla="*/ 246404 w 552580"/>
                <a:gd name="connsiteY12" fmla="*/ 415482 h 486575"/>
                <a:gd name="connsiteX13" fmla="*/ 233784 w 552580"/>
                <a:gd name="connsiteY13" fmla="*/ 406795 h 486575"/>
                <a:gd name="connsiteX14" fmla="*/ 199220 w 552580"/>
                <a:gd name="connsiteY14" fmla="*/ 372378 h 486575"/>
                <a:gd name="connsiteX15" fmla="*/ 171986 w 552580"/>
                <a:gd name="connsiteY15" fmla="*/ 332068 h 486575"/>
                <a:gd name="connsiteX16" fmla="*/ 171137 w 552580"/>
                <a:gd name="connsiteY16" fmla="*/ 331166 h 486575"/>
                <a:gd name="connsiteX17" fmla="*/ 167712 w 552580"/>
                <a:gd name="connsiteY17" fmla="*/ 329998 h 486575"/>
                <a:gd name="connsiteX18" fmla="*/ 148076 w 552580"/>
                <a:gd name="connsiteY18" fmla="*/ 323381 h 486575"/>
                <a:gd name="connsiteX19" fmla="*/ 142864 w 552580"/>
                <a:gd name="connsiteY19" fmla="*/ 321578 h 486575"/>
                <a:gd name="connsiteX20" fmla="*/ 142153 w 552580"/>
                <a:gd name="connsiteY20" fmla="*/ 323470 h 486575"/>
                <a:gd name="connsiteX21" fmla="*/ 141024 w 552580"/>
                <a:gd name="connsiteY21" fmla="*/ 325451 h 486575"/>
                <a:gd name="connsiteX22" fmla="*/ 137029 w 552580"/>
                <a:gd name="connsiteY22" fmla="*/ 329642 h 486575"/>
                <a:gd name="connsiteX23" fmla="*/ 122467 w 552580"/>
                <a:gd name="connsiteY23" fmla="*/ 333694 h 486575"/>
                <a:gd name="connsiteX24" fmla="*/ 118954 w 552580"/>
                <a:gd name="connsiteY24" fmla="*/ 326226 h 486575"/>
                <a:gd name="connsiteX25" fmla="*/ 110456 w 552580"/>
                <a:gd name="connsiteY25" fmla="*/ 316904 h 486575"/>
                <a:gd name="connsiteX26" fmla="*/ 107310 w 552580"/>
                <a:gd name="connsiteY26" fmla="*/ 296838 h 486575"/>
                <a:gd name="connsiteX27" fmla="*/ 101970 w 552580"/>
                <a:gd name="connsiteY27" fmla="*/ 279160 h 486575"/>
                <a:gd name="connsiteX28" fmla="*/ 91404 w 552580"/>
                <a:gd name="connsiteY28" fmla="*/ 254458 h 486575"/>
                <a:gd name="connsiteX29" fmla="*/ 82018 w 552580"/>
                <a:gd name="connsiteY29" fmla="*/ 252299 h 486575"/>
                <a:gd name="connsiteX30" fmla="*/ 66251 w 552580"/>
                <a:gd name="connsiteY30" fmla="*/ 242444 h 486575"/>
                <a:gd name="connsiteX31" fmla="*/ 59376 w 552580"/>
                <a:gd name="connsiteY31" fmla="*/ 235104 h 486575"/>
                <a:gd name="connsiteX32" fmla="*/ 57664 w 552580"/>
                <a:gd name="connsiteY32" fmla="*/ 222594 h 486575"/>
                <a:gd name="connsiteX33" fmla="*/ 48405 w 552580"/>
                <a:gd name="connsiteY33" fmla="*/ 217463 h 486575"/>
                <a:gd name="connsiteX34" fmla="*/ 40769 w 552580"/>
                <a:gd name="connsiteY34" fmla="*/ 208294 h 486575"/>
                <a:gd name="connsiteX35" fmla="*/ 41669 w 552580"/>
                <a:gd name="connsiteY35" fmla="*/ 197220 h 486575"/>
                <a:gd name="connsiteX36" fmla="*/ 41174 w 552580"/>
                <a:gd name="connsiteY36" fmla="*/ 186742 h 486575"/>
                <a:gd name="connsiteX37" fmla="*/ 45487 w 552580"/>
                <a:gd name="connsiteY37" fmla="*/ 180976 h 486575"/>
                <a:gd name="connsiteX38" fmla="*/ 50650 w 552580"/>
                <a:gd name="connsiteY38" fmla="*/ 178233 h 486575"/>
                <a:gd name="connsiteX39" fmla="*/ 52895 w 552580"/>
                <a:gd name="connsiteY39" fmla="*/ 168606 h 486575"/>
                <a:gd name="connsiteX40" fmla="*/ 60353 w 552580"/>
                <a:gd name="connsiteY40" fmla="*/ 163742 h 486575"/>
                <a:gd name="connsiteX41" fmla="*/ 57169 w 552580"/>
                <a:gd name="connsiteY41" fmla="*/ 158700 h 486575"/>
                <a:gd name="connsiteX42" fmla="*/ 56992 w 552580"/>
                <a:gd name="connsiteY42" fmla="*/ 145023 h 486575"/>
                <a:gd name="connsiteX43" fmla="*/ 64717 w 552580"/>
                <a:gd name="connsiteY43" fmla="*/ 142229 h 486575"/>
                <a:gd name="connsiteX44" fmla="*/ 56091 w 552580"/>
                <a:gd name="connsiteY44" fmla="*/ 139892 h 486575"/>
                <a:gd name="connsiteX45" fmla="*/ 48811 w 552580"/>
                <a:gd name="connsiteY45" fmla="*/ 140844 h 486575"/>
                <a:gd name="connsiteX46" fmla="*/ 37750 w 552580"/>
                <a:gd name="connsiteY46" fmla="*/ 135028 h 486575"/>
                <a:gd name="connsiteX47" fmla="*/ 37217 w 552580"/>
                <a:gd name="connsiteY47" fmla="*/ 126747 h 486575"/>
                <a:gd name="connsiteX48" fmla="*/ 31915 w 552580"/>
                <a:gd name="connsiteY48" fmla="*/ 120143 h 486575"/>
                <a:gd name="connsiteX49" fmla="*/ 26524 w 552580"/>
                <a:gd name="connsiteY49" fmla="*/ 111139 h 486575"/>
                <a:gd name="connsiteX50" fmla="*/ 23467 w 552580"/>
                <a:gd name="connsiteY50" fmla="*/ 102185 h 486575"/>
                <a:gd name="connsiteX51" fmla="*/ 20943 w 552580"/>
                <a:gd name="connsiteY51" fmla="*/ 94045 h 486575"/>
                <a:gd name="connsiteX52" fmla="*/ 21895 w 552580"/>
                <a:gd name="connsiteY52" fmla="*/ 92203 h 486575"/>
                <a:gd name="connsiteX53" fmla="*/ 19015 w 552580"/>
                <a:gd name="connsiteY53" fmla="*/ 85586 h 486575"/>
                <a:gd name="connsiteX54" fmla="*/ 14829 w 552580"/>
                <a:gd name="connsiteY54" fmla="*/ 83339 h 486575"/>
                <a:gd name="connsiteX55" fmla="*/ 13574 w 552580"/>
                <a:gd name="connsiteY55" fmla="*/ 71324 h 486575"/>
                <a:gd name="connsiteX56" fmla="*/ 5887 w 552580"/>
                <a:gd name="connsiteY56" fmla="*/ 63450 h 486575"/>
                <a:gd name="connsiteX57" fmla="*/ 8995 w 552580"/>
                <a:gd name="connsiteY57" fmla="*/ 53011 h 486575"/>
                <a:gd name="connsiteX58" fmla="*/ 7333 w 552580"/>
                <a:gd name="connsiteY58" fmla="*/ 45226 h 486575"/>
                <a:gd name="connsiteX59" fmla="*/ 141 w 552580"/>
                <a:gd name="connsiteY59" fmla="*/ 25554 h 486575"/>
                <a:gd name="connsiteX60" fmla="*/ 1397 w 552580"/>
                <a:gd name="connsiteY60" fmla="*/ 12689 h 486575"/>
                <a:gd name="connsiteX61" fmla="*/ 10162 w 552580"/>
                <a:gd name="connsiteY61" fmla="*/ 7926 h 486575"/>
                <a:gd name="connsiteX62" fmla="*/ 12191 w 552580"/>
                <a:gd name="connsiteY62" fmla="*/ 1309 h 486575"/>
                <a:gd name="connsiteX63" fmla="*/ 16466 w 552580"/>
                <a:gd name="connsiteY63" fmla="*/ 1 h 486575"/>
                <a:gd name="connsiteX64" fmla="*/ 23467 w 552580"/>
                <a:gd name="connsiteY64" fmla="*/ 9501 h 486575"/>
                <a:gd name="connsiteX65" fmla="*/ 32638 w 552580"/>
                <a:gd name="connsiteY65" fmla="*/ 19254 h 486575"/>
                <a:gd name="connsiteX66" fmla="*/ 45487 w 552580"/>
                <a:gd name="connsiteY66" fmla="*/ 29287 h 486575"/>
                <a:gd name="connsiteX67" fmla="*/ 63156 w 552580"/>
                <a:gd name="connsiteY67" fmla="*/ 31586 h 486575"/>
                <a:gd name="connsiteX68" fmla="*/ 73177 w 552580"/>
                <a:gd name="connsiteY68" fmla="*/ 27941 h 486575"/>
                <a:gd name="connsiteX69" fmla="*/ 84592 w 552580"/>
                <a:gd name="connsiteY69" fmla="*/ 19572 h 486575"/>
                <a:gd name="connsiteX70" fmla="*/ 100410 w 552580"/>
                <a:gd name="connsiteY70" fmla="*/ 9488 h 486575"/>
                <a:gd name="connsiteX71" fmla="*/ 110468 w 552580"/>
                <a:gd name="connsiteY71" fmla="*/ 2262 h 486575"/>
                <a:gd name="connsiteX72" fmla="*/ 118294 w 552580"/>
                <a:gd name="connsiteY72" fmla="*/ 7926 h 486575"/>
                <a:gd name="connsiteX73" fmla="*/ 118966 w 552580"/>
                <a:gd name="connsiteY73" fmla="*/ 12193 h 486575"/>
                <a:gd name="connsiteX74" fmla="*/ 113931 w 552580"/>
                <a:gd name="connsiteY74" fmla="*/ 15762 h 486575"/>
                <a:gd name="connsiteX75" fmla="*/ 121351 w 552580"/>
                <a:gd name="connsiteY75" fmla="*/ 26151 h 486575"/>
                <a:gd name="connsiteX76" fmla="*/ 111331 w 552580"/>
                <a:gd name="connsiteY76" fmla="*/ 32272 h 486575"/>
                <a:gd name="connsiteX77" fmla="*/ 122341 w 552580"/>
                <a:gd name="connsiteY77" fmla="*/ 41810 h 486575"/>
                <a:gd name="connsiteX78" fmla="*/ 131372 w 552580"/>
                <a:gd name="connsiteY78" fmla="*/ 49315 h 486575"/>
                <a:gd name="connsiteX79" fmla="*/ 140492 w 552580"/>
                <a:gd name="connsiteY79" fmla="*/ 50001 h 486575"/>
                <a:gd name="connsiteX80" fmla="*/ 143232 w 552580"/>
                <a:gd name="connsiteY80" fmla="*/ 67680 h 486575"/>
                <a:gd name="connsiteX81" fmla="*/ 144132 w 552580"/>
                <a:gd name="connsiteY81" fmla="*/ 70474 h 486575"/>
                <a:gd name="connsiteX82" fmla="*/ 144272 w 552580"/>
                <a:gd name="connsiteY82" fmla="*/ 70651 h 486575"/>
                <a:gd name="connsiteX83" fmla="*/ 146466 w 552580"/>
                <a:gd name="connsiteY83" fmla="*/ 73445 h 486575"/>
                <a:gd name="connsiteX84" fmla="*/ 149028 w 552580"/>
                <a:gd name="connsiteY84" fmla="*/ 76328 h 486575"/>
                <a:gd name="connsiteX85" fmla="*/ 166152 w 552580"/>
                <a:gd name="connsiteY85" fmla="*/ 81548 h 486575"/>
                <a:gd name="connsiteX86" fmla="*/ 182324 w 552580"/>
                <a:gd name="connsiteY86" fmla="*/ 92851 h 486575"/>
                <a:gd name="connsiteX87" fmla="*/ 193829 w 552580"/>
                <a:gd name="connsiteY87" fmla="*/ 101220 h 486575"/>
                <a:gd name="connsiteX88" fmla="*/ 198953 w 552580"/>
                <a:gd name="connsiteY88" fmla="*/ 102744 h 486575"/>
                <a:gd name="connsiteX89" fmla="*/ 199359 w 552580"/>
                <a:gd name="connsiteY89" fmla="*/ 102833 h 486575"/>
                <a:gd name="connsiteX90" fmla="*/ 208530 w 552580"/>
                <a:gd name="connsiteY90" fmla="*/ 105081 h 486575"/>
                <a:gd name="connsiteX91" fmla="*/ 210407 w 552580"/>
                <a:gd name="connsiteY91" fmla="*/ 105487 h 486575"/>
                <a:gd name="connsiteX92" fmla="*/ 213287 w 552580"/>
                <a:gd name="connsiteY92" fmla="*/ 106072 h 486575"/>
                <a:gd name="connsiteX93" fmla="*/ 218093 w 552580"/>
                <a:gd name="connsiteY93" fmla="*/ 106935 h 486575"/>
                <a:gd name="connsiteX94" fmla="*/ 221417 w 552580"/>
                <a:gd name="connsiteY94" fmla="*/ 107469 h 486575"/>
                <a:gd name="connsiteX95" fmla="*/ 226859 w 552580"/>
                <a:gd name="connsiteY95" fmla="*/ 108192 h 486575"/>
                <a:gd name="connsiteX96" fmla="*/ 227531 w 552580"/>
                <a:gd name="connsiteY96" fmla="*/ 108281 h 486575"/>
                <a:gd name="connsiteX97" fmla="*/ 236651 w 552580"/>
                <a:gd name="connsiteY97" fmla="*/ 109183 h 486575"/>
                <a:gd name="connsiteX98" fmla="*/ 237412 w 552580"/>
                <a:gd name="connsiteY98" fmla="*/ 109221 h 486575"/>
                <a:gd name="connsiteX99" fmla="*/ 239935 w 552580"/>
                <a:gd name="connsiteY99" fmla="*/ 108688 h 486575"/>
                <a:gd name="connsiteX100" fmla="*/ 282580 w 552580"/>
                <a:gd name="connsiteY100" fmla="*/ 100636 h 486575"/>
                <a:gd name="connsiteX101" fmla="*/ 282631 w 552580"/>
                <a:gd name="connsiteY101" fmla="*/ 100636 h 486575"/>
                <a:gd name="connsiteX102" fmla="*/ 282631 w 552580"/>
                <a:gd name="connsiteY102" fmla="*/ 100534 h 486575"/>
                <a:gd name="connsiteX103" fmla="*/ 282631 w 552580"/>
                <a:gd name="connsiteY103" fmla="*/ 100230 h 486575"/>
                <a:gd name="connsiteX104" fmla="*/ 282669 w 552580"/>
                <a:gd name="connsiteY104" fmla="*/ 99772 h 486575"/>
                <a:gd name="connsiteX105" fmla="*/ 279929 w 552580"/>
                <a:gd name="connsiteY105" fmla="*/ 86869 h 486575"/>
                <a:gd name="connsiteX106" fmla="*/ 291522 w 552580"/>
                <a:gd name="connsiteY106" fmla="*/ 86501 h 486575"/>
                <a:gd name="connsiteX107" fmla="*/ 311347 w 552580"/>
                <a:gd name="connsiteY107" fmla="*/ 67248 h 486575"/>
                <a:gd name="connsiteX108" fmla="*/ 331300 w 552580"/>
                <a:gd name="connsiteY108" fmla="*/ 59145 h 486575"/>
                <a:gd name="connsiteX109" fmla="*/ 364596 w 552580"/>
                <a:gd name="connsiteY109" fmla="*/ 55500 h 486575"/>
                <a:gd name="connsiteX110" fmla="*/ 385271 w 552580"/>
                <a:gd name="connsiteY110" fmla="*/ 66384 h 486575"/>
                <a:gd name="connsiteX111" fmla="*/ 406796 w 552580"/>
                <a:gd name="connsiteY111" fmla="*/ 76646 h 486575"/>
                <a:gd name="connsiteX112" fmla="*/ 431251 w 552580"/>
                <a:gd name="connsiteY112" fmla="*/ 80748 h 486575"/>
                <a:gd name="connsiteX113" fmla="*/ 441805 w 552580"/>
                <a:gd name="connsiteY113" fmla="*/ 94642 h 486575"/>
                <a:gd name="connsiteX114" fmla="*/ 467376 w 552580"/>
                <a:gd name="connsiteY114" fmla="*/ 111063 h 486575"/>
                <a:gd name="connsiteX115" fmla="*/ 483510 w 552580"/>
                <a:gd name="connsiteY115" fmla="*/ 111482 h 486575"/>
                <a:gd name="connsiteX116" fmla="*/ 486744 w 552580"/>
                <a:gd name="connsiteY116" fmla="*/ 129516 h 486575"/>
                <a:gd name="connsiteX117" fmla="*/ 487962 w 552580"/>
                <a:gd name="connsiteY117" fmla="*/ 149683 h 486575"/>
                <a:gd name="connsiteX118" fmla="*/ 485540 w 552580"/>
                <a:gd name="connsiteY118" fmla="*/ 163539 h 486575"/>
                <a:gd name="connsiteX119" fmla="*/ 471968 w 552580"/>
                <a:gd name="connsiteY119" fmla="*/ 187974 h 486575"/>
                <a:gd name="connsiteX120" fmla="*/ 464370 w 552580"/>
                <a:gd name="connsiteY120" fmla="*/ 212764 h 486575"/>
                <a:gd name="connsiteX121" fmla="*/ 473084 w 552580"/>
                <a:gd name="connsiteY121" fmla="*/ 232424 h 486575"/>
                <a:gd name="connsiteX122" fmla="*/ 474834 w 552580"/>
                <a:gd name="connsiteY122" fmla="*/ 265634 h 486575"/>
                <a:gd name="connsiteX123" fmla="*/ 492224 w 552580"/>
                <a:gd name="connsiteY123" fmla="*/ 293346 h 486575"/>
                <a:gd name="connsiteX124" fmla="*/ 501852 w 552580"/>
                <a:gd name="connsiteY124" fmla="*/ 307608 h 486575"/>
                <a:gd name="connsiteX125" fmla="*/ 485540 w 552580"/>
                <a:gd name="connsiteY125" fmla="*/ 324664 h 486575"/>
                <a:gd name="connsiteX126" fmla="*/ 476990 w 552580"/>
                <a:gd name="connsiteY126" fmla="*/ 338304 h 486575"/>
                <a:gd name="connsiteX127" fmla="*/ 474834 w 552580"/>
                <a:gd name="connsiteY127" fmla="*/ 351575 h 486575"/>
                <a:gd name="connsiteX128" fmla="*/ 507420 w 552580"/>
                <a:gd name="connsiteY128" fmla="*/ 391212 h 486575"/>
                <a:gd name="connsiteX129" fmla="*/ 527245 w 552580"/>
                <a:gd name="connsiteY129" fmla="*/ 398680 h 486575"/>
                <a:gd name="connsiteX130" fmla="*/ 535553 w 552580"/>
                <a:gd name="connsiteY130" fmla="*/ 419063 h 486575"/>
                <a:gd name="connsiteX131" fmla="*/ 547147 w 552580"/>
                <a:gd name="connsiteY131" fmla="*/ 429325 h 486575"/>
                <a:gd name="connsiteX132" fmla="*/ 542073 w 552580"/>
                <a:gd name="connsiteY132" fmla="*/ 444908 h 486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</a:cxnLst>
              <a:rect l="l" t="t" r="r" b="b"/>
              <a:pathLst>
                <a:path w="552580" h="486575">
                  <a:moveTo>
                    <a:pt x="542073" y="444908"/>
                  </a:moveTo>
                  <a:cubicBezTo>
                    <a:pt x="520091" y="447702"/>
                    <a:pt x="521169" y="445809"/>
                    <a:pt x="513217" y="452820"/>
                  </a:cubicBezTo>
                  <a:cubicBezTo>
                    <a:pt x="506380" y="460516"/>
                    <a:pt x="501966" y="470041"/>
                    <a:pt x="500495" y="480226"/>
                  </a:cubicBezTo>
                  <a:cubicBezTo>
                    <a:pt x="499974" y="482309"/>
                    <a:pt x="499619" y="484430"/>
                    <a:pt x="499466" y="486576"/>
                  </a:cubicBezTo>
                  <a:cubicBezTo>
                    <a:pt x="465981" y="484684"/>
                    <a:pt x="433357" y="475692"/>
                    <a:pt x="400010" y="473127"/>
                  </a:cubicBezTo>
                  <a:cubicBezTo>
                    <a:pt x="385563" y="472492"/>
                    <a:pt x="373944" y="460999"/>
                    <a:pt x="373145" y="446533"/>
                  </a:cubicBezTo>
                  <a:cubicBezTo>
                    <a:pt x="368909" y="423305"/>
                    <a:pt x="359611" y="419533"/>
                    <a:pt x="338352" y="429071"/>
                  </a:cubicBezTo>
                  <a:cubicBezTo>
                    <a:pt x="337591" y="429426"/>
                    <a:pt x="336741" y="429706"/>
                    <a:pt x="335980" y="430150"/>
                  </a:cubicBezTo>
                  <a:cubicBezTo>
                    <a:pt x="332112" y="432360"/>
                    <a:pt x="328332" y="434519"/>
                    <a:pt x="324514" y="436411"/>
                  </a:cubicBezTo>
                  <a:cubicBezTo>
                    <a:pt x="321140" y="438139"/>
                    <a:pt x="317626" y="439548"/>
                    <a:pt x="313999" y="440640"/>
                  </a:cubicBezTo>
                  <a:cubicBezTo>
                    <a:pt x="313910" y="440640"/>
                    <a:pt x="313859" y="440640"/>
                    <a:pt x="313821" y="440679"/>
                  </a:cubicBezTo>
                  <a:cubicBezTo>
                    <a:pt x="305310" y="443180"/>
                    <a:pt x="296203" y="442723"/>
                    <a:pt x="287983" y="439370"/>
                  </a:cubicBezTo>
                  <a:cubicBezTo>
                    <a:pt x="272496" y="434659"/>
                    <a:pt x="258290" y="426480"/>
                    <a:pt x="246404" y="415482"/>
                  </a:cubicBezTo>
                  <a:cubicBezTo>
                    <a:pt x="243183" y="411367"/>
                    <a:pt x="238781" y="408332"/>
                    <a:pt x="233784" y="406795"/>
                  </a:cubicBezTo>
                  <a:cubicBezTo>
                    <a:pt x="212665" y="404458"/>
                    <a:pt x="206728" y="388393"/>
                    <a:pt x="199220" y="372378"/>
                  </a:cubicBezTo>
                  <a:cubicBezTo>
                    <a:pt x="192484" y="357493"/>
                    <a:pt x="183275" y="343866"/>
                    <a:pt x="171986" y="332068"/>
                  </a:cubicBezTo>
                  <a:cubicBezTo>
                    <a:pt x="171720" y="331751"/>
                    <a:pt x="171454" y="331484"/>
                    <a:pt x="171137" y="331166"/>
                  </a:cubicBezTo>
                  <a:cubicBezTo>
                    <a:pt x="170007" y="330760"/>
                    <a:pt x="168841" y="330404"/>
                    <a:pt x="167712" y="329998"/>
                  </a:cubicBezTo>
                  <a:cubicBezTo>
                    <a:pt x="161522" y="327928"/>
                    <a:pt x="155180" y="325769"/>
                    <a:pt x="148076" y="323381"/>
                  </a:cubicBezTo>
                  <a:cubicBezTo>
                    <a:pt x="146377" y="322797"/>
                    <a:pt x="144665" y="322213"/>
                    <a:pt x="142864" y="321578"/>
                  </a:cubicBezTo>
                  <a:cubicBezTo>
                    <a:pt x="142661" y="322226"/>
                    <a:pt x="142432" y="322861"/>
                    <a:pt x="142153" y="323470"/>
                  </a:cubicBezTo>
                  <a:cubicBezTo>
                    <a:pt x="141836" y="324169"/>
                    <a:pt x="141456" y="324829"/>
                    <a:pt x="141024" y="325451"/>
                  </a:cubicBezTo>
                  <a:cubicBezTo>
                    <a:pt x="139972" y="327090"/>
                    <a:pt x="138614" y="328512"/>
                    <a:pt x="137029" y="329642"/>
                  </a:cubicBezTo>
                  <a:cubicBezTo>
                    <a:pt x="132793" y="332640"/>
                    <a:pt x="127643" y="334075"/>
                    <a:pt x="122467" y="333694"/>
                  </a:cubicBezTo>
                  <a:cubicBezTo>
                    <a:pt x="122302" y="330836"/>
                    <a:pt x="121047" y="328169"/>
                    <a:pt x="118954" y="326226"/>
                  </a:cubicBezTo>
                  <a:cubicBezTo>
                    <a:pt x="114108" y="321184"/>
                    <a:pt x="112574" y="317311"/>
                    <a:pt x="110456" y="316904"/>
                  </a:cubicBezTo>
                  <a:cubicBezTo>
                    <a:pt x="108337" y="316498"/>
                    <a:pt x="108578" y="304661"/>
                    <a:pt x="107310" y="296838"/>
                  </a:cubicBezTo>
                  <a:cubicBezTo>
                    <a:pt x="105851" y="290857"/>
                    <a:pt x="104063" y="284951"/>
                    <a:pt x="101970" y="279160"/>
                  </a:cubicBezTo>
                  <a:cubicBezTo>
                    <a:pt x="99497" y="270511"/>
                    <a:pt x="95945" y="262218"/>
                    <a:pt x="91404" y="254458"/>
                  </a:cubicBezTo>
                  <a:cubicBezTo>
                    <a:pt x="87903" y="250140"/>
                    <a:pt x="85962" y="254141"/>
                    <a:pt x="82018" y="252299"/>
                  </a:cubicBezTo>
                  <a:cubicBezTo>
                    <a:pt x="78073" y="250458"/>
                    <a:pt x="72048" y="242533"/>
                    <a:pt x="66251" y="242444"/>
                  </a:cubicBezTo>
                  <a:cubicBezTo>
                    <a:pt x="60404" y="242305"/>
                    <a:pt x="59376" y="235104"/>
                    <a:pt x="59376" y="235104"/>
                  </a:cubicBezTo>
                  <a:cubicBezTo>
                    <a:pt x="59123" y="230900"/>
                    <a:pt x="58552" y="226722"/>
                    <a:pt x="57664" y="222594"/>
                  </a:cubicBezTo>
                  <a:cubicBezTo>
                    <a:pt x="56497" y="219000"/>
                    <a:pt x="53072" y="221070"/>
                    <a:pt x="48405" y="217463"/>
                  </a:cubicBezTo>
                  <a:cubicBezTo>
                    <a:pt x="43724" y="213818"/>
                    <a:pt x="45576" y="212345"/>
                    <a:pt x="40769" y="208294"/>
                  </a:cubicBezTo>
                  <a:cubicBezTo>
                    <a:pt x="35911" y="204281"/>
                    <a:pt x="39729" y="202261"/>
                    <a:pt x="41669" y="197220"/>
                  </a:cubicBezTo>
                  <a:cubicBezTo>
                    <a:pt x="43547" y="192178"/>
                    <a:pt x="39640" y="189079"/>
                    <a:pt x="41174" y="186742"/>
                  </a:cubicBezTo>
                  <a:cubicBezTo>
                    <a:pt x="42646" y="184392"/>
                    <a:pt x="47276" y="184443"/>
                    <a:pt x="45487" y="180976"/>
                  </a:cubicBezTo>
                  <a:cubicBezTo>
                    <a:pt x="43635" y="177509"/>
                    <a:pt x="46692" y="177065"/>
                    <a:pt x="50650" y="178233"/>
                  </a:cubicBezTo>
                  <a:cubicBezTo>
                    <a:pt x="54607" y="179452"/>
                    <a:pt x="51233" y="172747"/>
                    <a:pt x="52895" y="168606"/>
                  </a:cubicBezTo>
                  <a:cubicBezTo>
                    <a:pt x="54607" y="164466"/>
                    <a:pt x="54962" y="166536"/>
                    <a:pt x="60353" y="163742"/>
                  </a:cubicBezTo>
                  <a:cubicBezTo>
                    <a:pt x="65706" y="160910"/>
                    <a:pt x="54468" y="162167"/>
                    <a:pt x="57169" y="158700"/>
                  </a:cubicBezTo>
                  <a:cubicBezTo>
                    <a:pt x="59820" y="155284"/>
                    <a:pt x="55901" y="149163"/>
                    <a:pt x="56992" y="145023"/>
                  </a:cubicBezTo>
                  <a:cubicBezTo>
                    <a:pt x="58070" y="140844"/>
                    <a:pt x="60987" y="144172"/>
                    <a:pt x="64717" y="142229"/>
                  </a:cubicBezTo>
                  <a:cubicBezTo>
                    <a:pt x="68445" y="140298"/>
                    <a:pt x="60581" y="141289"/>
                    <a:pt x="56091" y="139892"/>
                  </a:cubicBezTo>
                  <a:cubicBezTo>
                    <a:pt x="51601" y="138495"/>
                    <a:pt x="53352" y="140120"/>
                    <a:pt x="48811" y="140844"/>
                  </a:cubicBezTo>
                  <a:cubicBezTo>
                    <a:pt x="44270" y="141555"/>
                    <a:pt x="45614" y="136691"/>
                    <a:pt x="37750" y="135028"/>
                  </a:cubicBezTo>
                  <a:cubicBezTo>
                    <a:pt x="29886" y="133415"/>
                    <a:pt x="36545" y="131700"/>
                    <a:pt x="37217" y="126747"/>
                  </a:cubicBezTo>
                  <a:cubicBezTo>
                    <a:pt x="37851" y="121794"/>
                    <a:pt x="35593" y="124233"/>
                    <a:pt x="31915" y="120143"/>
                  </a:cubicBezTo>
                  <a:cubicBezTo>
                    <a:pt x="28275" y="116041"/>
                    <a:pt x="28769" y="118073"/>
                    <a:pt x="26524" y="111139"/>
                  </a:cubicBezTo>
                  <a:cubicBezTo>
                    <a:pt x="24267" y="104167"/>
                    <a:pt x="23417" y="109615"/>
                    <a:pt x="23467" y="102185"/>
                  </a:cubicBezTo>
                  <a:cubicBezTo>
                    <a:pt x="23556" y="94756"/>
                    <a:pt x="18064" y="98858"/>
                    <a:pt x="20943" y="94045"/>
                  </a:cubicBezTo>
                  <a:cubicBezTo>
                    <a:pt x="21324" y="93461"/>
                    <a:pt x="21641" y="92838"/>
                    <a:pt x="21895" y="92203"/>
                  </a:cubicBezTo>
                  <a:cubicBezTo>
                    <a:pt x="23100" y="89320"/>
                    <a:pt x="21083" y="89358"/>
                    <a:pt x="19015" y="85586"/>
                  </a:cubicBezTo>
                  <a:cubicBezTo>
                    <a:pt x="16593" y="81078"/>
                    <a:pt x="19015" y="85586"/>
                    <a:pt x="14829" y="83339"/>
                  </a:cubicBezTo>
                  <a:cubicBezTo>
                    <a:pt x="10695" y="81040"/>
                    <a:pt x="15426" y="78652"/>
                    <a:pt x="13574" y="71324"/>
                  </a:cubicBezTo>
                  <a:cubicBezTo>
                    <a:pt x="11735" y="64035"/>
                    <a:pt x="8272" y="67857"/>
                    <a:pt x="5887" y="63450"/>
                  </a:cubicBezTo>
                  <a:cubicBezTo>
                    <a:pt x="3515" y="59082"/>
                    <a:pt x="5215" y="58091"/>
                    <a:pt x="8995" y="53011"/>
                  </a:cubicBezTo>
                  <a:cubicBezTo>
                    <a:pt x="12762" y="47918"/>
                    <a:pt x="9527" y="50306"/>
                    <a:pt x="7333" y="45226"/>
                  </a:cubicBezTo>
                  <a:cubicBezTo>
                    <a:pt x="5177" y="40146"/>
                    <a:pt x="902" y="27001"/>
                    <a:pt x="141" y="25554"/>
                  </a:cubicBezTo>
                  <a:cubicBezTo>
                    <a:pt x="-670" y="24118"/>
                    <a:pt x="1752" y="16105"/>
                    <a:pt x="1397" y="12689"/>
                  </a:cubicBezTo>
                  <a:cubicBezTo>
                    <a:pt x="1042" y="9221"/>
                    <a:pt x="5215" y="12511"/>
                    <a:pt x="10162" y="7926"/>
                  </a:cubicBezTo>
                  <a:cubicBezTo>
                    <a:pt x="15109" y="3379"/>
                    <a:pt x="12090" y="2973"/>
                    <a:pt x="12191" y="1309"/>
                  </a:cubicBezTo>
                  <a:cubicBezTo>
                    <a:pt x="12229" y="446"/>
                    <a:pt x="14119" y="52"/>
                    <a:pt x="16466" y="1"/>
                  </a:cubicBezTo>
                  <a:cubicBezTo>
                    <a:pt x="19700" y="6161"/>
                    <a:pt x="19599" y="7151"/>
                    <a:pt x="23467" y="9501"/>
                  </a:cubicBezTo>
                  <a:cubicBezTo>
                    <a:pt x="27564" y="11965"/>
                    <a:pt x="26968" y="14314"/>
                    <a:pt x="32638" y="19254"/>
                  </a:cubicBezTo>
                  <a:cubicBezTo>
                    <a:pt x="38346" y="24258"/>
                    <a:pt x="37534" y="27890"/>
                    <a:pt x="45487" y="29287"/>
                  </a:cubicBezTo>
                  <a:cubicBezTo>
                    <a:pt x="53440" y="30684"/>
                    <a:pt x="59605" y="33123"/>
                    <a:pt x="63156" y="31586"/>
                  </a:cubicBezTo>
                  <a:cubicBezTo>
                    <a:pt x="66657" y="30011"/>
                    <a:pt x="64907" y="34825"/>
                    <a:pt x="73177" y="27941"/>
                  </a:cubicBezTo>
                  <a:cubicBezTo>
                    <a:pt x="81434" y="21020"/>
                    <a:pt x="77439" y="25642"/>
                    <a:pt x="84592" y="19572"/>
                  </a:cubicBezTo>
                  <a:cubicBezTo>
                    <a:pt x="91772" y="13451"/>
                    <a:pt x="95552" y="14721"/>
                    <a:pt x="100410" y="9488"/>
                  </a:cubicBezTo>
                  <a:cubicBezTo>
                    <a:pt x="105255" y="4230"/>
                    <a:pt x="106917" y="763"/>
                    <a:pt x="110468" y="2262"/>
                  </a:cubicBezTo>
                  <a:cubicBezTo>
                    <a:pt x="114071" y="3773"/>
                    <a:pt x="117838" y="865"/>
                    <a:pt x="118294" y="7926"/>
                  </a:cubicBezTo>
                  <a:cubicBezTo>
                    <a:pt x="118320" y="9374"/>
                    <a:pt x="118548" y="10809"/>
                    <a:pt x="118966" y="12193"/>
                  </a:cubicBezTo>
                  <a:cubicBezTo>
                    <a:pt x="116265" y="11660"/>
                    <a:pt x="110874" y="11025"/>
                    <a:pt x="113931" y="15762"/>
                  </a:cubicBezTo>
                  <a:cubicBezTo>
                    <a:pt x="117939" y="21871"/>
                    <a:pt x="124002" y="24931"/>
                    <a:pt x="121351" y="26151"/>
                  </a:cubicBezTo>
                  <a:cubicBezTo>
                    <a:pt x="118700" y="27370"/>
                    <a:pt x="108312" y="30468"/>
                    <a:pt x="111331" y="32272"/>
                  </a:cubicBezTo>
                  <a:cubicBezTo>
                    <a:pt x="114388" y="34063"/>
                    <a:pt x="118294" y="38838"/>
                    <a:pt x="122341" y="41810"/>
                  </a:cubicBezTo>
                  <a:cubicBezTo>
                    <a:pt x="126387" y="44820"/>
                    <a:pt x="127326" y="48020"/>
                    <a:pt x="131372" y="49315"/>
                  </a:cubicBezTo>
                  <a:cubicBezTo>
                    <a:pt x="134365" y="49938"/>
                    <a:pt x="137435" y="50166"/>
                    <a:pt x="140492" y="50001"/>
                  </a:cubicBezTo>
                  <a:cubicBezTo>
                    <a:pt x="141126" y="55983"/>
                    <a:pt x="142204" y="61964"/>
                    <a:pt x="143232" y="67680"/>
                  </a:cubicBezTo>
                  <a:cubicBezTo>
                    <a:pt x="143422" y="68645"/>
                    <a:pt x="143726" y="69584"/>
                    <a:pt x="144132" y="70474"/>
                  </a:cubicBezTo>
                  <a:lnTo>
                    <a:pt x="144272" y="70651"/>
                  </a:lnTo>
                  <a:cubicBezTo>
                    <a:pt x="144994" y="71604"/>
                    <a:pt x="145705" y="72544"/>
                    <a:pt x="146466" y="73445"/>
                  </a:cubicBezTo>
                  <a:cubicBezTo>
                    <a:pt x="147278" y="74436"/>
                    <a:pt x="148128" y="75388"/>
                    <a:pt x="149028" y="76328"/>
                  </a:cubicBezTo>
                  <a:cubicBezTo>
                    <a:pt x="154482" y="78817"/>
                    <a:pt x="160241" y="80583"/>
                    <a:pt x="166152" y="81548"/>
                  </a:cubicBezTo>
                  <a:cubicBezTo>
                    <a:pt x="172278" y="84139"/>
                    <a:pt x="177783" y="87999"/>
                    <a:pt x="182324" y="92851"/>
                  </a:cubicBezTo>
                  <a:cubicBezTo>
                    <a:pt x="185939" y="95924"/>
                    <a:pt x="189782" y="98731"/>
                    <a:pt x="193829" y="101220"/>
                  </a:cubicBezTo>
                  <a:cubicBezTo>
                    <a:pt x="195541" y="101804"/>
                    <a:pt x="197241" y="102300"/>
                    <a:pt x="198953" y="102744"/>
                  </a:cubicBezTo>
                  <a:cubicBezTo>
                    <a:pt x="199080" y="102795"/>
                    <a:pt x="199220" y="102833"/>
                    <a:pt x="199359" y="102833"/>
                  </a:cubicBezTo>
                  <a:cubicBezTo>
                    <a:pt x="202365" y="103697"/>
                    <a:pt x="205422" y="104408"/>
                    <a:pt x="208530" y="105081"/>
                  </a:cubicBezTo>
                  <a:lnTo>
                    <a:pt x="210407" y="105487"/>
                  </a:lnTo>
                  <a:cubicBezTo>
                    <a:pt x="211358" y="105716"/>
                    <a:pt x="212347" y="105894"/>
                    <a:pt x="213287" y="106072"/>
                  </a:cubicBezTo>
                  <a:cubicBezTo>
                    <a:pt x="214910" y="106389"/>
                    <a:pt x="216482" y="106707"/>
                    <a:pt x="218093" y="106935"/>
                  </a:cubicBezTo>
                  <a:cubicBezTo>
                    <a:pt x="219222" y="107113"/>
                    <a:pt x="220339" y="107291"/>
                    <a:pt x="221417" y="107469"/>
                  </a:cubicBezTo>
                  <a:cubicBezTo>
                    <a:pt x="223269" y="107735"/>
                    <a:pt x="225057" y="107964"/>
                    <a:pt x="226859" y="108192"/>
                  </a:cubicBezTo>
                  <a:cubicBezTo>
                    <a:pt x="227086" y="108243"/>
                    <a:pt x="227302" y="108269"/>
                    <a:pt x="227531" y="108281"/>
                  </a:cubicBezTo>
                  <a:cubicBezTo>
                    <a:pt x="230638" y="108637"/>
                    <a:pt x="233695" y="108955"/>
                    <a:pt x="236651" y="109183"/>
                  </a:cubicBezTo>
                  <a:cubicBezTo>
                    <a:pt x="236904" y="109221"/>
                    <a:pt x="237158" y="109234"/>
                    <a:pt x="237412" y="109221"/>
                  </a:cubicBezTo>
                  <a:cubicBezTo>
                    <a:pt x="238274" y="109043"/>
                    <a:pt x="239086" y="108904"/>
                    <a:pt x="239935" y="108688"/>
                  </a:cubicBezTo>
                  <a:cubicBezTo>
                    <a:pt x="254535" y="105043"/>
                    <a:pt x="269503" y="103011"/>
                    <a:pt x="282580" y="100636"/>
                  </a:cubicBezTo>
                  <a:lnTo>
                    <a:pt x="282631" y="100636"/>
                  </a:lnTo>
                  <a:lnTo>
                    <a:pt x="282631" y="100534"/>
                  </a:lnTo>
                  <a:cubicBezTo>
                    <a:pt x="282669" y="100446"/>
                    <a:pt x="282669" y="100331"/>
                    <a:pt x="282631" y="100230"/>
                  </a:cubicBezTo>
                  <a:cubicBezTo>
                    <a:pt x="282669" y="100077"/>
                    <a:pt x="282681" y="99925"/>
                    <a:pt x="282669" y="99772"/>
                  </a:cubicBezTo>
                  <a:cubicBezTo>
                    <a:pt x="281248" y="95594"/>
                    <a:pt x="280322" y="91263"/>
                    <a:pt x="279929" y="86869"/>
                  </a:cubicBezTo>
                  <a:cubicBezTo>
                    <a:pt x="283785" y="87530"/>
                    <a:pt x="287729" y="87403"/>
                    <a:pt x="291522" y="86501"/>
                  </a:cubicBezTo>
                  <a:cubicBezTo>
                    <a:pt x="300338" y="83669"/>
                    <a:pt x="303078" y="72010"/>
                    <a:pt x="311347" y="67248"/>
                  </a:cubicBezTo>
                  <a:cubicBezTo>
                    <a:pt x="319567" y="62434"/>
                    <a:pt x="306452" y="63323"/>
                    <a:pt x="331300" y="59145"/>
                  </a:cubicBezTo>
                  <a:cubicBezTo>
                    <a:pt x="356149" y="54954"/>
                    <a:pt x="352102" y="49836"/>
                    <a:pt x="364596" y="55500"/>
                  </a:cubicBezTo>
                  <a:cubicBezTo>
                    <a:pt x="377102" y="61164"/>
                    <a:pt x="367476" y="58294"/>
                    <a:pt x="385271" y="66384"/>
                  </a:cubicBezTo>
                  <a:cubicBezTo>
                    <a:pt x="403067" y="74487"/>
                    <a:pt x="395837" y="77547"/>
                    <a:pt x="406796" y="76646"/>
                  </a:cubicBezTo>
                  <a:cubicBezTo>
                    <a:pt x="417806" y="75706"/>
                    <a:pt x="423425" y="69178"/>
                    <a:pt x="431251" y="80748"/>
                  </a:cubicBezTo>
                  <a:cubicBezTo>
                    <a:pt x="439065" y="92305"/>
                    <a:pt x="420863" y="77458"/>
                    <a:pt x="441805" y="94642"/>
                  </a:cubicBezTo>
                  <a:cubicBezTo>
                    <a:pt x="462708" y="111876"/>
                    <a:pt x="458611" y="110529"/>
                    <a:pt x="467376" y="111063"/>
                  </a:cubicBezTo>
                  <a:cubicBezTo>
                    <a:pt x="476140" y="111609"/>
                    <a:pt x="483510" y="111482"/>
                    <a:pt x="483510" y="111482"/>
                  </a:cubicBezTo>
                  <a:cubicBezTo>
                    <a:pt x="485514" y="117286"/>
                    <a:pt x="486605" y="123369"/>
                    <a:pt x="486744" y="129516"/>
                  </a:cubicBezTo>
                  <a:cubicBezTo>
                    <a:pt x="487543" y="136209"/>
                    <a:pt x="487937" y="142940"/>
                    <a:pt x="487962" y="149683"/>
                  </a:cubicBezTo>
                  <a:cubicBezTo>
                    <a:pt x="487772" y="154382"/>
                    <a:pt x="486960" y="159043"/>
                    <a:pt x="485540" y="163539"/>
                  </a:cubicBezTo>
                  <a:cubicBezTo>
                    <a:pt x="481582" y="176671"/>
                    <a:pt x="476686" y="171007"/>
                    <a:pt x="471968" y="187974"/>
                  </a:cubicBezTo>
                  <a:cubicBezTo>
                    <a:pt x="467287" y="204928"/>
                    <a:pt x="454527" y="199264"/>
                    <a:pt x="464370" y="212764"/>
                  </a:cubicBezTo>
                  <a:cubicBezTo>
                    <a:pt x="474213" y="226214"/>
                    <a:pt x="474618" y="219597"/>
                    <a:pt x="473084" y="232424"/>
                  </a:cubicBezTo>
                  <a:cubicBezTo>
                    <a:pt x="471600" y="245251"/>
                    <a:pt x="467376" y="246864"/>
                    <a:pt x="474834" y="265634"/>
                  </a:cubicBezTo>
                  <a:cubicBezTo>
                    <a:pt x="482343" y="284392"/>
                    <a:pt x="483244" y="291365"/>
                    <a:pt x="492224" y="293346"/>
                  </a:cubicBezTo>
                  <a:cubicBezTo>
                    <a:pt x="501217" y="295378"/>
                    <a:pt x="504680" y="301042"/>
                    <a:pt x="501852" y="307608"/>
                  </a:cubicBezTo>
                  <a:cubicBezTo>
                    <a:pt x="498972" y="314186"/>
                    <a:pt x="494114" y="308103"/>
                    <a:pt x="485540" y="324664"/>
                  </a:cubicBezTo>
                  <a:cubicBezTo>
                    <a:pt x="483028" y="329414"/>
                    <a:pt x="480174" y="333973"/>
                    <a:pt x="476990" y="338304"/>
                  </a:cubicBezTo>
                  <a:cubicBezTo>
                    <a:pt x="472677" y="344374"/>
                    <a:pt x="470610" y="347473"/>
                    <a:pt x="474834" y="351575"/>
                  </a:cubicBezTo>
                  <a:cubicBezTo>
                    <a:pt x="481443" y="357925"/>
                    <a:pt x="500190" y="385865"/>
                    <a:pt x="507420" y="391212"/>
                  </a:cubicBezTo>
                  <a:cubicBezTo>
                    <a:pt x="514650" y="396521"/>
                    <a:pt x="522882" y="395492"/>
                    <a:pt x="527245" y="398680"/>
                  </a:cubicBezTo>
                  <a:cubicBezTo>
                    <a:pt x="531558" y="401918"/>
                    <a:pt x="528323" y="413310"/>
                    <a:pt x="535553" y="419063"/>
                  </a:cubicBezTo>
                  <a:cubicBezTo>
                    <a:pt x="542834" y="424829"/>
                    <a:pt x="550203" y="421451"/>
                    <a:pt x="547147" y="429325"/>
                  </a:cubicBezTo>
                  <a:cubicBezTo>
                    <a:pt x="544090" y="437199"/>
                    <a:pt x="564093" y="442114"/>
                    <a:pt x="542073" y="444908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87" name="Graphic 5">
              <a:extLst>
                <a:ext uri="{FF2B5EF4-FFF2-40B4-BE49-F238E27FC236}">
                  <a16:creationId xmlns:a16="http://schemas.microsoft.com/office/drawing/2014/main" id="{2F609C26-E847-5940-B6E3-A1A3B8337E98}"/>
                </a:ext>
              </a:extLst>
            </p:cNvPr>
            <p:cNvGrpSpPr/>
            <p:nvPr/>
          </p:nvGrpSpPr>
          <p:grpSpPr>
            <a:xfrm>
              <a:off x="6224050" y="3083279"/>
              <a:ext cx="537705" cy="227901"/>
              <a:chOff x="6224050" y="3083279"/>
              <a:chExt cx="537705" cy="227901"/>
            </a:xfrm>
            <a:solidFill>
              <a:schemeClr val="bg2"/>
            </a:solidFill>
          </p:grpSpPr>
          <p:sp>
            <p:nvSpPr>
              <p:cNvPr id="572" name="Vrije vorm 571">
                <a:extLst>
                  <a:ext uri="{FF2B5EF4-FFF2-40B4-BE49-F238E27FC236}">
                    <a16:creationId xmlns:a16="http://schemas.microsoft.com/office/drawing/2014/main" id="{2CA453A2-35E0-A648-9B6D-133D0887ABC8}"/>
                  </a:ext>
                </a:extLst>
              </p:cNvPr>
              <p:cNvSpPr/>
              <p:nvPr/>
            </p:nvSpPr>
            <p:spPr>
              <a:xfrm>
                <a:off x="6224050" y="3185812"/>
                <a:ext cx="21515" cy="13389"/>
              </a:xfrm>
              <a:custGeom>
                <a:avLst/>
                <a:gdLst>
                  <a:gd name="connsiteX0" fmla="*/ 21489 w 21515"/>
                  <a:gd name="connsiteY0" fmla="*/ 10854 h 13389"/>
                  <a:gd name="connsiteX1" fmla="*/ 17443 w 21515"/>
                  <a:gd name="connsiteY1" fmla="*/ 9140 h 13389"/>
                  <a:gd name="connsiteX2" fmla="*/ 19650 w 21515"/>
                  <a:gd name="connsiteY2" fmla="*/ 13051 h 13389"/>
                  <a:gd name="connsiteX3" fmla="*/ 12141 w 21515"/>
                  <a:gd name="connsiteY3" fmla="*/ 6346 h 13389"/>
                  <a:gd name="connsiteX4" fmla="*/ 21489 w 21515"/>
                  <a:gd name="connsiteY4" fmla="*/ 10854 h 133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515" h="13389">
                    <a:moveTo>
                      <a:pt x="21489" y="10854"/>
                    </a:moveTo>
                    <a:cubicBezTo>
                      <a:pt x="20373" y="13013"/>
                      <a:pt x="18077" y="9991"/>
                      <a:pt x="17443" y="9140"/>
                    </a:cubicBezTo>
                    <a:cubicBezTo>
                      <a:pt x="17671" y="9546"/>
                      <a:pt x="18394" y="10664"/>
                      <a:pt x="19650" y="13051"/>
                    </a:cubicBezTo>
                    <a:cubicBezTo>
                      <a:pt x="12902" y="14576"/>
                      <a:pt x="1804" y="10715"/>
                      <a:pt x="12141" y="6346"/>
                    </a:cubicBezTo>
                    <a:cubicBezTo>
                      <a:pt x="-17565" y="14499"/>
                      <a:pt x="15743" y="-14977"/>
                      <a:pt x="21489" y="10854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3" name="Vrije vorm 572">
                <a:extLst>
                  <a:ext uri="{FF2B5EF4-FFF2-40B4-BE49-F238E27FC236}">
                    <a16:creationId xmlns:a16="http://schemas.microsoft.com/office/drawing/2014/main" id="{8359766E-F003-654C-83AA-8A5D1B7D758C}"/>
                  </a:ext>
                </a:extLst>
              </p:cNvPr>
              <p:cNvSpPr/>
              <p:nvPr/>
            </p:nvSpPr>
            <p:spPr>
              <a:xfrm>
                <a:off x="6276949" y="3290251"/>
                <a:ext cx="14774" cy="18084"/>
              </a:xfrm>
              <a:custGeom>
                <a:avLst/>
                <a:gdLst>
                  <a:gd name="connsiteX0" fmla="*/ 14748 w 14774"/>
                  <a:gd name="connsiteY0" fmla="*/ 1 h 18084"/>
                  <a:gd name="connsiteX1" fmla="*/ 365 w 14774"/>
                  <a:gd name="connsiteY1" fmla="*/ 18086 h 18084"/>
                  <a:gd name="connsiteX2" fmla="*/ 11337 w 14774"/>
                  <a:gd name="connsiteY2" fmla="*/ 382 h 18084"/>
                  <a:gd name="connsiteX3" fmla="*/ 14748 w 14774"/>
                  <a:gd name="connsiteY3" fmla="*/ 1 h 180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774" h="18084">
                    <a:moveTo>
                      <a:pt x="14748" y="1"/>
                    </a:moveTo>
                    <a:cubicBezTo>
                      <a:pt x="12047" y="8421"/>
                      <a:pt x="8774" y="16384"/>
                      <a:pt x="365" y="18086"/>
                    </a:cubicBezTo>
                    <a:cubicBezTo>
                      <a:pt x="-1487" y="10174"/>
                      <a:pt x="3422" y="2236"/>
                      <a:pt x="11337" y="382"/>
                    </a:cubicBezTo>
                    <a:cubicBezTo>
                      <a:pt x="12453" y="128"/>
                      <a:pt x="13594" y="1"/>
                      <a:pt x="14748" y="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4" name="Vrije vorm 573">
                <a:extLst>
                  <a:ext uri="{FF2B5EF4-FFF2-40B4-BE49-F238E27FC236}">
                    <a16:creationId xmlns:a16="http://schemas.microsoft.com/office/drawing/2014/main" id="{D46FB7DD-07A9-654E-88E6-5FC601C6DB00}"/>
                  </a:ext>
                </a:extLst>
              </p:cNvPr>
              <p:cNvSpPr/>
              <p:nvPr/>
            </p:nvSpPr>
            <p:spPr>
              <a:xfrm>
                <a:off x="6230286" y="3083279"/>
                <a:ext cx="531469" cy="227901"/>
              </a:xfrm>
              <a:custGeom>
                <a:avLst/>
                <a:gdLst>
                  <a:gd name="connsiteX0" fmla="*/ 531081 w 531469"/>
                  <a:gd name="connsiteY0" fmla="*/ 180062 h 227901"/>
                  <a:gd name="connsiteX1" fmla="*/ 522177 w 531469"/>
                  <a:gd name="connsiteY1" fmla="*/ 182538 h 227901"/>
                  <a:gd name="connsiteX2" fmla="*/ 513818 w 531469"/>
                  <a:gd name="connsiteY2" fmla="*/ 188025 h 227901"/>
                  <a:gd name="connsiteX3" fmla="*/ 511802 w 531469"/>
                  <a:gd name="connsiteY3" fmla="*/ 178677 h 227901"/>
                  <a:gd name="connsiteX4" fmla="*/ 502415 w 531469"/>
                  <a:gd name="connsiteY4" fmla="*/ 177687 h 227901"/>
                  <a:gd name="connsiteX5" fmla="*/ 495046 w 531469"/>
                  <a:gd name="connsiteY5" fmla="*/ 177954 h 227901"/>
                  <a:gd name="connsiteX6" fmla="*/ 487943 w 531469"/>
                  <a:gd name="connsiteY6" fmla="*/ 176011 h 227901"/>
                  <a:gd name="connsiteX7" fmla="*/ 480345 w 531469"/>
                  <a:gd name="connsiteY7" fmla="*/ 173445 h 227901"/>
                  <a:gd name="connsiteX8" fmla="*/ 470413 w 531469"/>
                  <a:gd name="connsiteY8" fmla="*/ 173763 h 227901"/>
                  <a:gd name="connsiteX9" fmla="*/ 467267 w 531469"/>
                  <a:gd name="connsiteY9" fmla="*/ 176645 h 227901"/>
                  <a:gd name="connsiteX10" fmla="*/ 461826 w 531469"/>
                  <a:gd name="connsiteY10" fmla="*/ 183034 h 227901"/>
                  <a:gd name="connsiteX11" fmla="*/ 460659 w 531469"/>
                  <a:gd name="connsiteY11" fmla="*/ 184520 h 227901"/>
                  <a:gd name="connsiteX12" fmla="*/ 459809 w 531469"/>
                  <a:gd name="connsiteY12" fmla="*/ 176785 h 227901"/>
                  <a:gd name="connsiteX13" fmla="*/ 454456 w 531469"/>
                  <a:gd name="connsiteY13" fmla="*/ 180608 h 227901"/>
                  <a:gd name="connsiteX14" fmla="*/ 436977 w 531469"/>
                  <a:gd name="connsiteY14" fmla="*/ 184659 h 227901"/>
                  <a:gd name="connsiteX15" fmla="*/ 420399 w 531469"/>
                  <a:gd name="connsiteY15" fmla="*/ 184659 h 227901"/>
                  <a:gd name="connsiteX16" fmla="*/ 404671 w 531469"/>
                  <a:gd name="connsiteY16" fmla="*/ 188253 h 227901"/>
                  <a:gd name="connsiteX17" fmla="*/ 382689 w 531469"/>
                  <a:gd name="connsiteY17" fmla="*/ 197473 h 227901"/>
                  <a:gd name="connsiteX18" fmla="*/ 367493 w 531469"/>
                  <a:gd name="connsiteY18" fmla="*/ 197473 h 227901"/>
                  <a:gd name="connsiteX19" fmla="*/ 352488 w 531469"/>
                  <a:gd name="connsiteY19" fmla="*/ 192978 h 227901"/>
                  <a:gd name="connsiteX20" fmla="*/ 335593 w 531469"/>
                  <a:gd name="connsiteY20" fmla="*/ 193917 h 227901"/>
                  <a:gd name="connsiteX21" fmla="*/ 316719 w 531469"/>
                  <a:gd name="connsiteY21" fmla="*/ 198998 h 227901"/>
                  <a:gd name="connsiteX22" fmla="*/ 311366 w 531469"/>
                  <a:gd name="connsiteY22" fmla="*/ 197473 h 227901"/>
                  <a:gd name="connsiteX23" fmla="*/ 301574 w 531469"/>
                  <a:gd name="connsiteY23" fmla="*/ 194057 h 227901"/>
                  <a:gd name="connsiteX24" fmla="*/ 298656 w 531469"/>
                  <a:gd name="connsiteY24" fmla="*/ 201398 h 227901"/>
                  <a:gd name="connsiteX25" fmla="*/ 295650 w 531469"/>
                  <a:gd name="connsiteY25" fmla="*/ 214136 h 227901"/>
                  <a:gd name="connsiteX26" fmla="*/ 292099 w 531469"/>
                  <a:gd name="connsiteY26" fmla="*/ 214136 h 227901"/>
                  <a:gd name="connsiteX27" fmla="*/ 288002 w 531469"/>
                  <a:gd name="connsiteY27" fmla="*/ 223483 h 227901"/>
                  <a:gd name="connsiteX28" fmla="*/ 281038 w 531469"/>
                  <a:gd name="connsiteY28" fmla="*/ 227445 h 227901"/>
                  <a:gd name="connsiteX29" fmla="*/ 280226 w 531469"/>
                  <a:gd name="connsiteY29" fmla="*/ 227903 h 227901"/>
                  <a:gd name="connsiteX30" fmla="*/ 284679 w 531469"/>
                  <a:gd name="connsiteY30" fmla="*/ 203011 h 227901"/>
                  <a:gd name="connsiteX31" fmla="*/ 287685 w 531469"/>
                  <a:gd name="connsiteY31" fmla="*/ 196216 h 227901"/>
                  <a:gd name="connsiteX32" fmla="*/ 286924 w 531469"/>
                  <a:gd name="connsiteY32" fmla="*/ 193066 h 227901"/>
                  <a:gd name="connsiteX33" fmla="*/ 278070 w 531469"/>
                  <a:gd name="connsiteY33" fmla="*/ 192393 h 227901"/>
                  <a:gd name="connsiteX34" fmla="*/ 276776 w 531469"/>
                  <a:gd name="connsiteY34" fmla="*/ 192889 h 227901"/>
                  <a:gd name="connsiteX35" fmla="*/ 273935 w 531469"/>
                  <a:gd name="connsiteY35" fmla="*/ 194235 h 227901"/>
                  <a:gd name="connsiteX36" fmla="*/ 273085 w 531469"/>
                  <a:gd name="connsiteY36" fmla="*/ 194730 h 227901"/>
                  <a:gd name="connsiteX37" fmla="*/ 271740 w 531469"/>
                  <a:gd name="connsiteY37" fmla="*/ 195683 h 227901"/>
                  <a:gd name="connsiteX38" fmla="*/ 270662 w 531469"/>
                  <a:gd name="connsiteY38" fmla="*/ 197664 h 227901"/>
                  <a:gd name="connsiteX39" fmla="*/ 270434 w 531469"/>
                  <a:gd name="connsiteY39" fmla="*/ 199416 h 227901"/>
                  <a:gd name="connsiteX40" fmla="*/ 224467 w 531469"/>
                  <a:gd name="connsiteY40" fmla="*/ 212244 h 227901"/>
                  <a:gd name="connsiteX41" fmla="*/ 122232 w 531469"/>
                  <a:gd name="connsiteY41" fmla="*/ 212510 h 227901"/>
                  <a:gd name="connsiteX42" fmla="*/ 92120 w 531469"/>
                  <a:gd name="connsiteY42" fmla="*/ 213463 h 227901"/>
                  <a:gd name="connsiteX43" fmla="*/ 85283 w 531469"/>
                  <a:gd name="connsiteY43" fmla="*/ 199683 h 227901"/>
                  <a:gd name="connsiteX44" fmla="*/ 79258 w 531469"/>
                  <a:gd name="connsiteY44" fmla="*/ 200864 h 227901"/>
                  <a:gd name="connsiteX45" fmla="*/ 67310 w 531469"/>
                  <a:gd name="connsiteY45" fmla="*/ 191098 h 227901"/>
                  <a:gd name="connsiteX46" fmla="*/ 66675 w 531469"/>
                  <a:gd name="connsiteY46" fmla="*/ 192978 h 227901"/>
                  <a:gd name="connsiteX47" fmla="*/ 61817 w 531469"/>
                  <a:gd name="connsiteY47" fmla="*/ 194426 h 227901"/>
                  <a:gd name="connsiteX48" fmla="*/ 55983 w 531469"/>
                  <a:gd name="connsiteY48" fmla="*/ 202160 h 227901"/>
                  <a:gd name="connsiteX49" fmla="*/ 55704 w 531469"/>
                  <a:gd name="connsiteY49" fmla="*/ 197893 h 227901"/>
                  <a:gd name="connsiteX50" fmla="*/ 57061 w 531469"/>
                  <a:gd name="connsiteY50" fmla="*/ 197169 h 227901"/>
                  <a:gd name="connsiteX51" fmla="*/ 36335 w 531469"/>
                  <a:gd name="connsiteY51" fmla="*/ 197308 h 227901"/>
                  <a:gd name="connsiteX52" fmla="*/ 55222 w 531469"/>
                  <a:gd name="connsiteY52" fmla="*/ 190057 h 227901"/>
                  <a:gd name="connsiteX53" fmla="*/ 34229 w 531469"/>
                  <a:gd name="connsiteY53" fmla="*/ 188126 h 227901"/>
                  <a:gd name="connsiteX54" fmla="*/ 41243 w 531469"/>
                  <a:gd name="connsiteY54" fmla="*/ 180113 h 227901"/>
                  <a:gd name="connsiteX55" fmla="*/ 43121 w 531469"/>
                  <a:gd name="connsiteY55" fmla="*/ 176874 h 227901"/>
                  <a:gd name="connsiteX56" fmla="*/ 40698 w 531469"/>
                  <a:gd name="connsiteY56" fmla="*/ 177420 h 227901"/>
                  <a:gd name="connsiteX57" fmla="*/ 39671 w 531469"/>
                  <a:gd name="connsiteY57" fmla="*/ 174766 h 227901"/>
                  <a:gd name="connsiteX58" fmla="*/ 36068 w 531469"/>
                  <a:gd name="connsiteY58" fmla="*/ 173775 h 227901"/>
                  <a:gd name="connsiteX59" fmla="*/ 28115 w 531469"/>
                  <a:gd name="connsiteY59" fmla="*/ 149836 h 227901"/>
                  <a:gd name="connsiteX60" fmla="*/ 14010 w 531469"/>
                  <a:gd name="connsiteY60" fmla="*/ 146102 h 227901"/>
                  <a:gd name="connsiteX61" fmla="*/ 13554 w 531469"/>
                  <a:gd name="connsiteY61" fmla="*/ 146102 h 227901"/>
                  <a:gd name="connsiteX62" fmla="*/ 13237 w 531469"/>
                  <a:gd name="connsiteY62" fmla="*/ 146013 h 227901"/>
                  <a:gd name="connsiteX63" fmla="*/ 12121 w 531469"/>
                  <a:gd name="connsiteY63" fmla="*/ 145467 h 227901"/>
                  <a:gd name="connsiteX64" fmla="*/ 11258 w 531469"/>
                  <a:gd name="connsiteY64" fmla="*/ 144934 h 227901"/>
                  <a:gd name="connsiteX65" fmla="*/ 10142 w 531469"/>
                  <a:gd name="connsiteY65" fmla="*/ 144070 h 227901"/>
                  <a:gd name="connsiteX66" fmla="*/ 9698 w 531469"/>
                  <a:gd name="connsiteY66" fmla="*/ 143626 h 227901"/>
                  <a:gd name="connsiteX67" fmla="*/ 8747 w 531469"/>
                  <a:gd name="connsiteY67" fmla="*/ 142178 h 227901"/>
                  <a:gd name="connsiteX68" fmla="*/ 8341 w 531469"/>
                  <a:gd name="connsiteY68" fmla="*/ 142902 h 227901"/>
                  <a:gd name="connsiteX69" fmla="*/ 7529 w 531469"/>
                  <a:gd name="connsiteY69" fmla="*/ 142902 h 227901"/>
                  <a:gd name="connsiteX70" fmla="*/ 5867 w 531469"/>
                  <a:gd name="connsiteY70" fmla="*/ 142140 h 227901"/>
                  <a:gd name="connsiteX71" fmla="*/ 4967 w 531469"/>
                  <a:gd name="connsiteY71" fmla="*/ 141467 h 227901"/>
                  <a:gd name="connsiteX72" fmla="*/ 5423 w 531469"/>
                  <a:gd name="connsiteY72" fmla="*/ 140971 h 227901"/>
                  <a:gd name="connsiteX73" fmla="*/ 6096 w 531469"/>
                  <a:gd name="connsiteY73" fmla="*/ 139041 h 227901"/>
                  <a:gd name="connsiteX74" fmla="*/ 7986 w 531469"/>
                  <a:gd name="connsiteY74" fmla="*/ 127433 h 227901"/>
                  <a:gd name="connsiteX75" fmla="*/ 27976 w 531469"/>
                  <a:gd name="connsiteY75" fmla="*/ 136475 h 227901"/>
                  <a:gd name="connsiteX76" fmla="*/ 24297 w 531469"/>
                  <a:gd name="connsiteY76" fmla="*/ 124055 h 227901"/>
                  <a:gd name="connsiteX77" fmla="*/ 25198 w 531469"/>
                  <a:gd name="connsiteY77" fmla="*/ 117349 h 227901"/>
                  <a:gd name="connsiteX78" fmla="*/ 15444 w 531469"/>
                  <a:gd name="connsiteY78" fmla="*/ 104840 h 227901"/>
                  <a:gd name="connsiteX79" fmla="*/ 22052 w 531469"/>
                  <a:gd name="connsiteY79" fmla="*/ 98312 h 227901"/>
                  <a:gd name="connsiteX80" fmla="*/ -18 w 531469"/>
                  <a:gd name="connsiteY80" fmla="*/ 97816 h 227901"/>
                  <a:gd name="connsiteX81" fmla="*/ 28965 w 531469"/>
                  <a:gd name="connsiteY81" fmla="*/ 61736 h 227901"/>
                  <a:gd name="connsiteX82" fmla="*/ 47522 w 531469"/>
                  <a:gd name="connsiteY82" fmla="*/ 61558 h 227901"/>
                  <a:gd name="connsiteX83" fmla="*/ 76518 w 531469"/>
                  <a:gd name="connsiteY83" fmla="*/ 63628 h 227901"/>
                  <a:gd name="connsiteX84" fmla="*/ 76556 w 531469"/>
                  <a:gd name="connsiteY84" fmla="*/ 59120 h 227901"/>
                  <a:gd name="connsiteX85" fmla="*/ 109320 w 531469"/>
                  <a:gd name="connsiteY85" fmla="*/ 50344 h 227901"/>
                  <a:gd name="connsiteX86" fmla="*/ 131162 w 531469"/>
                  <a:gd name="connsiteY86" fmla="*/ 36755 h 227901"/>
                  <a:gd name="connsiteX87" fmla="*/ 186211 w 531469"/>
                  <a:gd name="connsiteY87" fmla="*/ 9488 h 227901"/>
                  <a:gd name="connsiteX88" fmla="*/ 253843 w 531469"/>
                  <a:gd name="connsiteY88" fmla="*/ 1 h 227901"/>
                  <a:gd name="connsiteX89" fmla="*/ 259285 w 531469"/>
                  <a:gd name="connsiteY89" fmla="*/ 2655 h 227901"/>
                  <a:gd name="connsiteX90" fmla="*/ 260312 w 531469"/>
                  <a:gd name="connsiteY90" fmla="*/ 13006 h 227901"/>
                  <a:gd name="connsiteX91" fmla="*/ 282598 w 531469"/>
                  <a:gd name="connsiteY91" fmla="*/ 15381 h 227901"/>
                  <a:gd name="connsiteX92" fmla="*/ 378009 w 531469"/>
                  <a:gd name="connsiteY92" fmla="*/ 37657 h 227901"/>
                  <a:gd name="connsiteX93" fmla="*/ 439844 w 531469"/>
                  <a:gd name="connsiteY93" fmla="*/ 22404 h 227901"/>
                  <a:gd name="connsiteX94" fmla="*/ 443484 w 531469"/>
                  <a:gd name="connsiteY94" fmla="*/ 23128 h 227901"/>
                  <a:gd name="connsiteX95" fmla="*/ 483795 w 531469"/>
                  <a:gd name="connsiteY95" fmla="*/ 32310 h 227901"/>
                  <a:gd name="connsiteX96" fmla="*/ 488564 w 531469"/>
                  <a:gd name="connsiteY96" fmla="*/ 37161 h 227901"/>
                  <a:gd name="connsiteX97" fmla="*/ 496022 w 531469"/>
                  <a:gd name="connsiteY97" fmla="*/ 37708 h 227901"/>
                  <a:gd name="connsiteX98" fmla="*/ 497544 w 531469"/>
                  <a:gd name="connsiteY98" fmla="*/ 44858 h 227901"/>
                  <a:gd name="connsiteX99" fmla="*/ 497227 w 531469"/>
                  <a:gd name="connsiteY99" fmla="*/ 62320 h 227901"/>
                  <a:gd name="connsiteX100" fmla="*/ 501730 w 531469"/>
                  <a:gd name="connsiteY100" fmla="*/ 75147 h 227901"/>
                  <a:gd name="connsiteX101" fmla="*/ 516596 w 531469"/>
                  <a:gd name="connsiteY101" fmla="*/ 76900 h 227901"/>
                  <a:gd name="connsiteX102" fmla="*/ 525133 w 531469"/>
                  <a:gd name="connsiteY102" fmla="*/ 86933 h 227901"/>
                  <a:gd name="connsiteX103" fmla="*/ 525627 w 531469"/>
                  <a:gd name="connsiteY103" fmla="*/ 87885 h 227901"/>
                  <a:gd name="connsiteX104" fmla="*/ 521365 w 531469"/>
                  <a:gd name="connsiteY104" fmla="*/ 89181 h 227901"/>
                  <a:gd name="connsiteX105" fmla="*/ 519336 w 531469"/>
                  <a:gd name="connsiteY105" fmla="*/ 95797 h 227901"/>
                  <a:gd name="connsiteX106" fmla="*/ 510571 w 531469"/>
                  <a:gd name="connsiteY106" fmla="*/ 100573 h 227901"/>
                  <a:gd name="connsiteX107" fmla="*/ 509315 w 531469"/>
                  <a:gd name="connsiteY107" fmla="*/ 113438 h 227901"/>
                  <a:gd name="connsiteX108" fmla="*/ 516507 w 531469"/>
                  <a:gd name="connsiteY108" fmla="*/ 133097 h 227901"/>
                  <a:gd name="connsiteX109" fmla="*/ 518169 w 531469"/>
                  <a:gd name="connsiteY109" fmla="*/ 140882 h 227901"/>
                  <a:gd name="connsiteX110" fmla="*/ 515061 w 531469"/>
                  <a:gd name="connsiteY110" fmla="*/ 151322 h 227901"/>
                  <a:gd name="connsiteX111" fmla="*/ 522748 w 531469"/>
                  <a:gd name="connsiteY111" fmla="*/ 159196 h 227901"/>
                  <a:gd name="connsiteX112" fmla="*/ 524003 w 531469"/>
                  <a:gd name="connsiteY112" fmla="*/ 171210 h 227901"/>
                  <a:gd name="connsiteX113" fmla="*/ 528190 w 531469"/>
                  <a:gd name="connsiteY113" fmla="*/ 173458 h 227901"/>
                  <a:gd name="connsiteX114" fmla="*/ 531081 w 531469"/>
                  <a:gd name="connsiteY114" fmla="*/ 180062 h 2279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</a:cxnLst>
                <a:rect l="l" t="t" r="r" b="b"/>
                <a:pathLst>
                  <a:path w="531469" h="227901">
                    <a:moveTo>
                      <a:pt x="531081" y="180062"/>
                    </a:moveTo>
                    <a:cubicBezTo>
                      <a:pt x="529052" y="180341"/>
                      <a:pt x="526718" y="178170"/>
                      <a:pt x="522177" y="182538"/>
                    </a:cubicBezTo>
                    <a:cubicBezTo>
                      <a:pt x="516469" y="188025"/>
                      <a:pt x="513780" y="192127"/>
                      <a:pt x="513818" y="188025"/>
                    </a:cubicBezTo>
                    <a:cubicBezTo>
                      <a:pt x="514440" y="184761"/>
                      <a:pt x="513717" y="181383"/>
                      <a:pt x="511802" y="178677"/>
                    </a:cubicBezTo>
                    <a:cubicBezTo>
                      <a:pt x="509417" y="175655"/>
                      <a:pt x="507210" y="176468"/>
                      <a:pt x="502415" y="177687"/>
                    </a:cubicBezTo>
                    <a:cubicBezTo>
                      <a:pt x="497557" y="178893"/>
                      <a:pt x="500893" y="180379"/>
                      <a:pt x="495046" y="177954"/>
                    </a:cubicBezTo>
                    <a:cubicBezTo>
                      <a:pt x="489249" y="175515"/>
                      <a:pt x="492572" y="178271"/>
                      <a:pt x="487943" y="176011"/>
                    </a:cubicBezTo>
                    <a:cubicBezTo>
                      <a:pt x="483300" y="173763"/>
                      <a:pt x="486864" y="173267"/>
                      <a:pt x="480345" y="173445"/>
                    </a:cubicBezTo>
                    <a:cubicBezTo>
                      <a:pt x="473825" y="173636"/>
                      <a:pt x="469829" y="171388"/>
                      <a:pt x="470413" y="173763"/>
                    </a:cubicBezTo>
                    <a:cubicBezTo>
                      <a:pt x="470996" y="176099"/>
                      <a:pt x="467039" y="172366"/>
                      <a:pt x="467267" y="176645"/>
                    </a:cubicBezTo>
                    <a:cubicBezTo>
                      <a:pt x="467496" y="180925"/>
                      <a:pt x="462460" y="180925"/>
                      <a:pt x="461826" y="183034"/>
                    </a:cubicBezTo>
                    <a:cubicBezTo>
                      <a:pt x="461635" y="183656"/>
                      <a:pt x="461217" y="184189"/>
                      <a:pt x="460659" y="184520"/>
                    </a:cubicBezTo>
                    <a:cubicBezTo>
                      <a:pt x="460684" y="181916"/>
                      <a:pt x="460405" y="179312"/>
                      <a:pt x="459809" y="176785"/>
                    </a:cubicBezTo>
                    <a:cubicBezTo>
                      <a:pt x="459809" y="176785"/>
                      <a:pt x="455623" y="177636"/>
                      <a:pt x="454456" y="180608"/>
                    </a:cubicBezTo>
                    <a:cubicBezTo>
                      <a:pt x="453239" y="183580"/>
                      <a:pt x="446326" y="182310"/>
                      <a:pt x="436977" y="184659"/>
                    </a:cubicBezTo>
                    <a:cubicBezTo>
                      <a:pt x="427667" y="186945"/>
                      <a:pt x="429025" y="184659"/>
                      <a:pt x="420399" y="184659"/>
                    </a:cubicBezTo>
                    <a:cubicBezTo>
                      <a:pt x="414894" y="184075"/>
                      <a:pt x="409364" y="185345"/>
                      <a:pt x="404671" y="188253"/>
                    </a:cubicBezTo>
                    <a:cubicBezTo>
                      <a:pt x="396033" y="191860"/>
                      <a:pt x="391860" y="194235"/>
                      <a:pt x="382689" y="197473"/>
                    </a:cubicBezTo>
                    <a:cubicBezTo>
                      <a:pt x="373519" y="200763"/>
                      <a:pt x="376220" y="198693"/>
                      <a:pt x="367493" y="197473"/>
                    </a:cubicBezTo>
                    <a:cubicBezTo>
                      <a:pt x="358830" y="196267"/>
                      <a:pt x="357486" y="196673"/>
                      <a:pt x="352488" y="192978"/>
                    </a:cubicBezTo>
                    <a:cubicBezTo>
                      <a:pt x="347503" y="189333"/>
                      <a:pt x="342594" y="191136"/>
                      <a:pt x="335593" y="193917"/>
                    </a:cubicBezTo>
                    <a:cubicBezTo>
                      <a:pt x="329606" y="196610"/>
                      <a:pt x="323238" y="198324"/>
                      <a:pt x="316719" y="198998"/>
                    </a:cubicBezTo>
                    <a:cubicBezTo>
                      <a:pt x="306559" y="200483"/>
                      <a:pt x="316719" y="199010"/>
                      <a:pt x="311366" y="197473"/>
                    </a:cubicBezTo>
                    <a:cubicBezTo>
                      <a:pt x="306026" y="196000"/>
                      <a:pt x="307015" y="195048"/>
                      <a:pt x="301574" y="194057"/>
                    </a:cubicBezTo>
                    <a:cubicBezTo>
                      <a:pt x="296132" y="193117"/>
                      <a:pt x="301168" y="196407"/>
                      <a:pt x="298656" y="201398"/>
                    </a:cubicBezTo>
                    <a:cubicBezTo>
                      <a:pt x="296145" y="206389"/>
                      <a:pt x="298390" y="207151"/>
                      <a:pt x="295650" y="214136"/>
                    </a:cubicBezTo>
                    <a:cubicBezTo>
                      <a:pt x="292898" y="221108"/>
                      <a:pt x="295650" y="214136"/>
                      <a:pt x="292099" y="214136"/>
                    </a:cubicBezTo>
                    <a:cubicBezTo>
                      <a:pt x="288547" y="214174"/>
                      <a:pt x="291731" y="217857"/>
                      <a:pt x="288002" y="223483"/>
                    </a:cubicBezTo>
                    <a:cubicBezTo>
                      <a:pt x="284272" y="229071"/>
                      <a:pt x="288002" y="223483"/>
                      <a:pt x="281038" y="227445"/>
                    </a:cubicBezTo>
                    <a:cubicBezTo>
                      <a:pt x="280721" y="227623"/>
                      <a:pt x="280455" y="227763"/>
                      <a:pt x="280226" y="227903"/>
                    </a:cubicBezTo>
                    <a:cubicBezTo>
                      <a:pt x="280302" y="219406"/>
                      <a:pt x="281812" y="210999"/>
                      <a:pt x="284679" y="203011"/>
                    </a:cubicBezTo>
                    <a:cubicBezTo>
                      <a:pt x="285554" y="200699"/>
                      <a:pt x="286556" y="198426"/>
                      <a:pt x="287685" y="196216"/>
                    </a:cubicBezTo>
                    <a:cubicBezTo>
                      <a:pt x="287824" y="195111"/>
                      <a:pt x="287558" y="193994"/>
                      <a:pt x="286924" y="193066"/>
                    </a:cubicBezTo>
                    <a:cubicBezTo>
                      <a:pt x="285313" y="190908"/>
                      <a:pt x="281583" y="191225"/>
                      <a:pt x="278070" y="192393"/>
                    </a:cubicBezTo>
                    <a:cubicBezTo>
                      <a:pt x="277626" y="192533"/>
                      <a:pt x="277195" y="192698"/>
                      <a:pt x="276776" y="192889"/>
                    </a:cubicBezTo>
                    <a:cubicBezTo>
                      <a:pt x="275799" y="193270"/>
                      <a:pt x="274848" y="193714"/>
                      <a:pt x="273935" y="194235"/>
                    </a:cubicBezTo>
                    <a:cubicBezTo>
                      <a:pt x="273643" y="194375"/>
                      <a:pt x="273352" y="194540"/>
                      <a:pt x="273085" y="194730"/>
                    </a:cubicBezTo>
                    <a:cubicBezTo>
                      <a:pt x="272616" y="195022"/>
                      <a:pt x="272159" y="195327"/>
                      <a:pt x="271740" y="195683"/>
                    </a:cubicBezTo>
                    <a:cubicBezTo>
                      <a:pt x="270662" y="196534"/>
                      <a:pt x="270168" y="197258"/>
                      <a:pt x="270662" y="197664"/>
                    </a:cubicBezTo>
                    <a:cubicBezTo>
                      <a:pt x="273136" y="195594"/>
                      <a:pt x="272692" y="196711"/>
                      <a:pt x="270434" y="199416"/>
                    </a:cubicBezTo>
                    <a:cubicBezTo>
                      <a:pt x="260058" y="205170"/>
                      <a:pt x="235654" y="182907"/>
                      <a:pt x="224467" y="212244"/>
                    </a:cubicBezTo>
                    <a:cubicBezTo>
                      <a:pt x="185006" y="245772"/>
                      <a:pt x="138404" y="153519"/>
                      <a:pt x="122232" y="212510"/>
                    </a:cubicBezTo>
                    <a:cubicBezTo>
                      <a:pt x="106186" y="213234"/>
                      <a:pt x="104880" y="218721"/>
                      <a:pt x="92120" y="213463"/>
                    </a:cubicBezTo>
                    <a:cubicBezTo>
                      <a:pt x="88251" y="208243"/>
                      <a:pt x="81338" y="203823"/>
                      <a:pt x="85283" y="199683"/>
                    </a:cubicBezTo>
                    <a:cubicBezTo>
                      <a:pt x="86945" y="197613"/>
                      <a:pt x="76607" y="193575"/>
                      <a:pt x="79258" y="200864"/>
                    </a:cubicBezTo>
                    <a:cubicBezTo>
                      <a:pt x="75808" y="196318"/>
                      <a:pt x="67944" y="195911"/>
                      <a:pt x="67310" y="191098"/>
                    </a:cubicBezTo>
                    <a:cubicBezTo>
                      <a:pt x="66904" y="192673"/>
                      <a:pt x="63669" y="191631"/>
                      <a:pt x="66675" y="192978"/>
                    </a:cubicBezTo>
                    <a:cubicBezTo>
                      <a:pt x="64113" y="197524"/>
                      <a:pt x="60739" y="188164"/>
                      <a:pt x="61817" y="194426"/>
                    </a:cubicBezTo>
                    <a:cubicBezTo>
                      <a:pt x="63847" y="197486"/>
                      <a:pt x="57961" y="198832"/>
                      <a:pt x="55983" y="202160"/>
                    </a:cubicBezTo>
                    <a:cubicBezTo>
                      <a:pt x="49019" y="202388"/>
                      <a:pt x="60245" y="200369"/>
                      <a:pt x="55704" y="197893"/>
                    </a:cubicBezTo>
                    <a:cubicBezTo>
                      <a:pt x="52520" y="200318"/>
                      <a:pt x="55615" y="195365"/>
                      <a:pt x="57061" y="197169"/>
                    </a:cubicBezTo>
                    <a:cubicBezTo>
                      <a:pt x="62490" y="188571"/>
                      <a:pt x="39620" y="203239"/>
                      <a:pt x="36335" y="197308"/>
                    </a:cubicBezTo>
                    <a:cubicBezTo>
                      <a:pt x="42538" y="192127"/>
                      <a:pt x="58760" y="197308"/>
                      <a:pt x="55222" y="190057"/>
                    </a:cubicBezTo>
                    <a:cubicBezTo>
                      <a:pt x="78053" y="182322"/>
                      <a:pt x="36208" y="186958"/>
                      <a:pt x="34229" y="188126"/>
                    </a:cubicBezTo>
                    <a:cubicBezTo>
                      <a:pt x="29105" y="176341"/>
                      <a:pt x="43666" y="188164"/>
                      <a:pt x="41243" y="180113"/>
                    </a:cubicBezTo>
                    <a:cubicBezTo>
                      <a:pt x="43400" y="180481"/>
                      <a:pt x="44034" y="179211"/>
                      <a:pt x="43121" y="176874"/>
                    </a:cubicBezTo>
                    <a:cubicBezTo>
                      <a:pt x="41332" y="177280"/>
                      <a:pt x="41015" y="180290"/>
                      <a:pt x="40698" y="177420"/>
                    </a:cubicBezTo>
                    <a:cubicBezTo>
                      <a:pt x="37109" y="179084"/>
                      <a:pt x="41776" y="175617"/>
                      <a:pt x="39671" y="174766"/>
                    </a:cubicBezTo>
                    <a:cubicBezTo>
                      <a:pt x="36208" y="180113"/>
                      <a:pt x="39582" y="167971"/>
                      <a:pt x="36068" y="173775"/>
                    </a:cubicBezTo>
                    <a:cubicBezTo>
                      <a:pt x="23131" y="172061"/>
                      <a:pt x="40343" y="155589"/>
                      <a:pt x="28115" y="149836"/>
                    </a:cubicBezTo>
                    <a:cubicBezTo>
                      <a:pt x="17461" y="150280"/>
                      <a:pt x="22775" y="138279"/>
                      <a:pt x="14010" y="146102"/>
                    </a:cubicBezTo>
                    <a:cubicBezTo>
                      <a:pt x="13858" y="146140"/>
                      <a:pt x="13706" y="146140"/>
                      <a:pt x="13554" y="146102"/>
                    </a:cubicBezTo>
                    <a:cubicBezTo>
                      <a:pt x="13453" y="146089"/>
                      <a:pt x="13338" y="146064"/>
                      <a:pt x="13237" y="146013"/>
                    </a:cubicBezTo>
                    <a:cubicBezTo>
                      <a:pt x="12844" y="145886"/>
                      <a:pt x="12463" y="145708"/>
                      <a:pt x="12121" y="145467"/>
                    </a:cubicBezTo>
                    <a:cubicBezTo>
                      <a:pt x="11829" y="145302"/>
                      <a:pt x="11537" y="145124"/>
                      <a:pt x="11258" y="144934"/>
                    </a:cubicBezTo>
                    <a:cubicBezTo>
                      <a:pt x="10878" y="144667"/>
                      <a:pt x="10497" y="144375"/>
                      <a:pt x="10142" y="144070"/>
                    </a:cubicBezTo>
                    <a:lnTo>
                      <a:pt x="9698" y="143626"/>
                    </a:lnTo>
                    <a:cubicBezTo>
                      <a:pt x="9229" y="143257"/>
                      <a:pt x="8899" y="142749"/>
                      <a:pt x="8747" y="142178"/>
                    </a:cubicBezTo>
                    <a:cubicBezTo>
                      <a:pt x="8747" y="142584"/>
                      <a:pt x="8620" y="142813"/>
                      <a:pt x="8341" y="142902"/>
                    </a:cubicBezTo>
                    <a:cubicBezTo>
                      <a:pt x="8074" y="142978"/>
                      <a:pt x="7795" y="142978"/>
                      <a:pt x="7529" y="142902"/>
                    </a:cubicBezTo>
                    <a:cubicBezTo>
                      <a:pt x="6946" y="142724"/>
                      <a:pt x="6388" y="142470"/>
                      <a:pt x="5867" y="142140"/>
                    </a:cubicBezTo>
                    <a:cubicBezTo>
                      <a:pt x="5550" y="141949"/>
                      <a:pt x="5246" y="141720"/>
                      <a:pt x="4967" y="141467"/>
                    </a:cubicBezTo>
                    <a:cubicBezTo>
                      <a:pt x="4472" y="140971"/>
                      <a:pt x="4383" y="140654"/>
                      <a:pt x="5423" y="140971"/>
                    </a:cubicBezTo>
                    <a:cubicBezTo>
                      <a:pt x="5601" y="140031"/>
                      <a:pt x="7263" y="139625"/>
                      <a:pt x="6096" y="139041"/>
                    </a:cubicBezTo>
                    <a:cubicBezTo>
                      <a:pt x="16979" y="139574"/>
                      <a:pt x="7719" y="137326"/>
                      <a:pt x="7986" y="127433"/>
                    </a:cubicBezTo>
                    <a:cubicBezTo>
                      <a:pt x="22902" y="132195"/>
                      <a:pt x="8708" y="141822"/>
                      <a:pt x="27976" y="136475"/>
                    </a:cubicBezTo>
                    <a:cubicBezTo>
                      <a:pt x="34990" y="137415"/>
                      <a:pt x="7186" y="126125"/>
                      <a:pt x="24297" y="124055"/>
                    </a:cubicBezTo>
                    <a:cubicBezTo>
                      <a:pt x="20886" y="120270"/>
                      <a:pt x="33912" y="119559"/>
                      <a:pt x="25198" y="117349"/>
                    </a:cubicBezTo>
                    <a:cubicBezTo>
                      <a:pt x="16789" y="120448"/>
                      <a:pt x="25464" y="106237"/>
                      <a:pt x="15444" y="104840"/>
                    </a:cubicBezTo>
                    <a:cubicBezTo>
                      <a:pt x="15089" y="104205"/>
                      <a:pt x="21685" y="101284"/>
                      <a:pt x="22052" y="98312"/>
                    </a:cubicBezTo>
                    <a:cubicBezTo>
                      <a:pt x="31718" y="88406"/>
                      <a:pt x="3584" y="100204"/>
                      <a:pt x="-18" y="97816"/>
                    </a:cubicBezTo>
                    <a:cubicBezTo>
                      <a:pt x="-386" y="80341"/>
                      <a:pt x="11842" y="65127"/>
                      <a:pt x="28965" y="61736"/>
                    </a:cubicBezTo>
                    <a:cubicBezTo>
                      <a:pt x="33367" y="61964"/>
                      <a:pt x="56071" y="73877"/>
                      <a:pt x="47522" y="61558"/>
                    </a:cubicBezTo>
                    <a:cubicBezTo>
                      <a:pt x="45772" y="53684"/>
                      <a:pt x="63834" y="69521"/>
                      <a:pt x="76518" y="63628"/>
                    </a:cubicBezTo>
                    <a:cubicBezTo>
                      <a:pt x="89101" y="67045"/>
                      <a:pt x="88112" y="60479"/>
                      <a:pt x="76556" y="59120"/>
                    </a:cubicBezTo>
                    <a:cubicBezTo>
                      <a:pt x="85055" y="49633"/>
                      <a:pt x="101950" y="55030"/>
                      <a:pt x="109320" y="50344"/>
                    </a:cubicBezTo>
                    <a:cubicBezTo>
                      <a:pt x="49856" y="40362"/>
                      <a:pt x="109091" y="27268"/>
                      <a:pt x="131162" y="36755"/>
                    </a:cubicBezTo>
                    <a:cubicBezTo>
                      <a:pt x="150442" y="44362"/>
                      <a:pt x="167020" y="14124"/>
                      <a:pt x="186211" y="9488"/>
                    </a:cubicBezTo>
                    <a:cubicBezTo>
                      <a:pt x="206836" y="-2158"/>
                      <a:pt x="237075" y="11965"/>
                      <a:pt x="253843" y="1"/>
                    </a:cubicBezTo>
                    <a:cubicBezTo>
                      <a:pt x="254477" y="4091"/>
                      <a:pt x="257483" y="1119"/>
                      <a:pt x="259285" y="2655"/>
                    </a:cubicBezTo>
                    <a:cubicBezTo>
                      <a:pt x="252182" y="2566"/>
                      <a:pt x="258105" y="11025"/>
                      <a:pt x="260312" y="13006"/>
                    </a:cubicBezTo>
                    <a:cubicBezTo>
                      <a:pt x="270244" y="23217"/>
                      <a:pt x="280937" y="10123"/>
                      <a:pt x="282598" y="15381"/>
                    </a:cubicBezTo>
                    <a:cubicBezTo>
                      <a:pt x="299367" y="39282"/>
                      <a:pt x="343495" y="47639"/>
                      <a:pt x="378009" y="37657"/>
                    </a:cubicBezTo>
                    <a:cubicBezTo>
                      <a:pt x="414958" y="40044"/>
                      <a:pt x="433604" y="33656"/>
                      <a:pt x="439844" y="22404"/>
                    </a:cubicBezTo>
                    <a:cubicBezTo>
                      <a:pt x="442901" y="23255"/>
                      <a:pt x="443129" y="23394"/>
                      <a:pt x="443484" y="23128"/>
                    </a:cubicBezTo>
                    <a:lnTo>
                      <a:pt x="483795" y="32310"/>
                    </a:lnTo>
                    <a:cubicBezTo>
                      <a:pt x="484290" y="34723"/>
                      <a:pt x="486154" y="36628"/>
                      <a:pt x="488564" y="37161"/>
                    </a:cubicBezTo>
                    <a:cubicBezTo>
                      <a:pt x="490885" y="38317"/>
                      <a:pt x="493562" y="38520"/>
                      <a:pt x="496022" y="37708"/>
                    </a:cubicBezTo>
                    <a:cubicBezTo>
                      <a:pt x="497341" y="39841"/>
                      <a:pt x="497874" y="42368"/>
                      <a:pt x="497544" y="44858"/>
                    </a:cubicBezTo>
                    <a:cubicBezTo>
                      <a:pt x="496935" y="50661"/>
                      <a:pt x="496834" y="56504"/>
                      <a:pt x="497227" y="62320"/>
                    </a:cubicBezTo>
                    <a:cubicBezTo>
                      <a:pt x="497405" y="66549"/>
                      <a:pt x="494132" y="72086"/>
                      <a:pt x="501730" y="75147"/>
                    </a:cubicBezTo>
                    <a:cubicBezTo>
                      <a:pt x="509315" y="78208"/>
                      <a:pt x="509366" y="71998"/>
                      <a:pt x="516596" y="76900"/>
                    </a:cubicBezTo>
                    <a:cubicBezTo>
                      <a:pt x="523788" y="81802"/>
                      <a:pt x="521403" y="79910"/>
                      <a:pt x="525133" y="86933"/>
                    </a:cubicBezTo>
                    <a:cubicBezTo>
                      <a:pt x="525323" y="87237"/>
                      <a:pt x="525488" y="87555"/>
                      <a:pt x="525627" y="87885"/>
                    </a:cubicBezTo>
                    <a:cubicBezTo>
                      <a:pt x="523293" y="87923"/>
                      <a:pt x="521403" y="88330"/>
                      <a:pt x="521365" y="89181"/>
                    </a:cubicBezTo>
                    <a:cubicBezTo>
                      <a:pt x="521276" y="90844"/>
                      <a:pt x="524283" y="91251"/>
                      <a:pt x="519336" y="95797"/>
                    </a:cubicBezTo>
                    <a:cubicBezTo>
                      <a:pt x="514389" y="100382"/>
                      <a:pt x="510216" y="97105"/>
                      <a:pt x="510571" y="100573"/>
                    </a:cubicBezTo>
                    <a:cubicBezTo>
                      <a:pt x="510926" y="103989"/>
                      <a:pt x="508504" y="112002"/>
                      <a:pt x="509315" y="113438"/>
                    </a:cubicBezTo>
                    <a:cubicBezTo>
                      <a:pt x="510076" y="114873"/>
                      <a:pt x="514351" y="128017"/>
                      <a:pt x="516507" y="133097"/>
                    </a:cubicBezTo>
                    <a:cubicBezTo>
                      <a:pt x="518702" y="138177"/>
                      <a:pt x="521936" y="135802"/>
                      <a:pt x="518169" y="140882"/>
                    </a:cubicBezTo>
                    <a:cubicBezTo>
                      <a:pt x="514389" y="145975"/>
                      <a:pt x="512689" y="146953"/>
                      <a:pt x="515061" y="151322"/>
                    </a:cubicBezTo>
                    <a:cubicBezTo>
                      <a:pt x="517446" y="155729"/>
                      <a:pt x="520909" y="151906"/>
                      <a:pt x="522748" y="159196"/>
                    </a:cubicBezTo>
                    <a:cubicBezTo>
                      <a:pt x="524587" y="166536"/>
                      <a:pt x="519869" y="168911"/>
                      <a:pt x="524003" y="171210"/>
                    </a:cubicBezTo>
                    <a:cubicBezTo>
                      <a:pt x="528190" y="173458"/>
                      <a:pt x="525767" y="168962"/>
                      <a:pt x="528190" y="173458"/>
                    </a:cubicBezTo>
                    <a:cubicBezTo>
                      <a:pt x="530270" y="177230"/>
                      <a:pt x="532286" y="177191"/>
                      <a:pt x="531081" y="180062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88" name="Vrije vorm 287">
              <a:extLst>
                <a:ext uri="{FF2B5EF4-FFF2-40B4-BE49-F238E27FC236}">
                  <a16:creationId xmlns:a16="http://schemas.microsoft.com/office/drawing/2014/main" id="{E1DF44BC-1D32-6F41-AE00-BB80AD3CFC70}"/>
                </a:ext>
              </a:extLst>
            </p:cNvPr>
            <p:cNvSpPr/>
            <p:nvPr/>
          </p:nvSpPr>
          <p:spPr>
            <a:xfrm>
              <a:off x="6812396" y="3504067"/>
              <a:ext cx="50736" cy="52427"/>
            </a:xfrm>
            <a:custGeom>
              <a:avLst/>
              <a:gdLst>
                <a:gd name="connsiteX0" fmla="*/ 50711 w 50736"/>
                <a:gd name="connsiteY0" fmla="*/ 52428 h 52427"/>
                <a:gd name="connsiteX1" fmla="*/ 30302 w 50736"/>
                <a:gd name="connsiteY1" fmla="*/ 51209 h 52427"/>
                <a:gd name="connsiteX2" fmla="*/ 20953 w 50736"/>
                <a:gd name="connsiteY2" fmla="*/ 36324 h 52427"/>
                <a:gd name="connsiteX3" fmla="*/ -26 w 50736"/>
                <a:gd name="connsiteY3" fmla="*/ 31283 h 52427"/>
                <a:gd name="connsiteX4" fmla="*/ 469 w 50736"/>
                <a:gd name="connsiteY4" fmla="*/ 31054 h 52427"/>
                <a:gd name="connsiteX5" fmla="*/ 10895 w 50736"/>
                <a:gd name="connsiteY5" fmla="*/ 12652 h 52427"/>
                <a:gd name="connsiteX6" fmla="*/ 18848 w 50736"/>
                <a:gd name="connsiteY6" fmla="*/ 2174 h 52427"/>
                <a:gd name="connsiteX7" fmla="*/ 30479 w 50736"/>
                <a:gd name="connsiteY7" fmla="*/ 498 h 52427"/>
                <a:gd name="connsiteX8" fmla="*/ 39790 w 50736"/>
                <a:gd name="connsiteY8" fmla="*/ 3254 h 52427"/>
                <a:gd name="connsiteX9" fmla="*/ 38889 w 50736"/>
                <a:gd name="connsiteY9" fmla="*/ 6441 h 52427"/>
                <a:gd name="connsiteX10" fmla="*/ 38255 w 50736"/>
                <a:gd name="connsiteY10" fmla="*/ 8334 h 52427"/>
                <a:gd name="connsiteX11" fmla="*/ 41718 w 50736"/>
                <a:gd name="connsiteY11" fmla="*/ 17960 h 52427"/>
                <a:gd name="connsiteX12" fmla="*/ 46474 w 50736"/>
                <a:gd name="connsiteY12" fmla="*/ 36185 h 52427"/>
                <a:gd name="connsiteX13" fmla="*/ 46525 w 50736"/>
                <a:gd name="connsiteY13" fmla="*/ 36274 h 52427"/>
                <a:gd name="connsiteX14" fmla="*/ 50711 w 50736"/>
                <a:gd name="connsiteY14" fmla="*/ 52428 h 52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0736" h="52427">
                  <a:moveTo>
                    <a:pt x="50711" y="52428"/>
                  </a:moveTo>
                  <a:cubicBezTo>
                    <a:pt x="40639" y="51844"/>
                    <a:pt x="30302" y="51209"/>
                    <a:pt x="30302" y="51209"/>
                  </a:cubicBezTo>
                  <a:cubicBezTo>
                    <a:pt x="30302" y="51209"/>
                    <a:pt x="24328" y="37137"/>
                    <a:pt x="20953" y="36324"/>
                  </a:cubicBezTo>
                  <a:cubicBezTo>
                    <a:pt x="18582" y="35740"/>
                    <a:pt x="6849" y="32896"/>
                    <a:pt x="-26" y="31283"/>
                  </a:cubicBezTo>
                  <a:cubicBezTo>
                    <a:pt x="152" y="31194"/>
                    <a:pt x="291" y="31143"/>
                    <a:pt x="469" y="31054"/>
                  </a:cubicBezTo>
                  <a:cubicBezTo>
                    <a:pt x="7749" y="27955"/>
                    <a:pt x="8967" y="16754"/>
                    <a:pt x="10895" y="12652"/>
                  </a:cubicBezTo>
                  <a:cubicBezTo>
                    <a:pt x="12785" y="8639"/>
                    <a:pt x="15499" y="5070"/>
                    <a:pt x="18848" y="2174"/>
                  </a:cubicBezTo>
                  <a:cubicBezTo>
                    <a:pt x="22437" y="-1166"/>
                    <a:pt x="23884" y="282"/>
                    <a:pt x="30479" y="498"/>
                  </a:cubicBezTo>
                  <a:cubicBezTo>
                    <a:pt x="33714" y="879"/>
                    <a:pt x="36859" y="1819"/>
                    <a:pt x="39790" y="3254"/>
                  </a:cubicBezTo>
                  <a:cubicBezTo>
                    <a:pt x="39561" y="4333"/>
                    <a:pt x="39257" y="5400"/>
                    <a:pt x="38889" y="6441"/>
                  </a:cubicBezTo>
                  <a:cubicBezTo>
                    <a:pt x="38749" y="6937"/>
                    <a:pt x="38534" y="7572"/>
                    <a:pt x="38255" y="8334"/>
                  </a:cubicBezTo>
                  <a:cubicBezTo>
                    <a:pt x="39663" y="11445"/>
                    <a:pt x="40817" y="14671"/>
                    <a:pt x="41718" y="17960"/>
                  </a:cubicBezTo>
                  <a:cubicBezTo>
                    <a:pt x="43240" y="23231"/>
                    <a:pt x="44901" y="29797"/>
                    <a:pt x="46474" y="36185"/>
                  </a:cubicBezTo>
                  <a:lnTo>
                    <a:pt x="46525" y="36274"/>
                  </a:lnTo>
                  <a:cubicBezTo>
                    <a:pt x="47971" y="42078"/>
                    <a:pt x="49404" y="47793"/>
                    <a:pt x="50711" y="52428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9" name="Vrije vorm 288">
              <a:extLst>
                <a:ext uri="{FF2B5EF4-FFF2-40B4-BE49-F238E27FC236}">
                  <a16:creationId xmlns:a16="http://schemas.microsoft.com/office/drawing/2014/main" id="{CE1608F1-52D3-994D-97B5-A413B4A5422E}"/>
                </a:ext>
              </a:extLst>
            </p:cNvPr>
            <p:cNvSpPr/>
            <p:nvPr/>
          </p:nvSpPr>
          <p:spPr>
            <a:xfrm>
              <a:off x="6587645" y="3255938"/>
              <a:ext cx="274320" cy="282089"/>
            </a:xfrm>
            <a:custGeom>
              <a:avLst/>
              <a:gdLst>
                <a:gd name="connsiteX0" fmla="*/ 274295 w 274320"/>
                <a:gd name="connsiteY0" fmla="*/ 248894 h 282089"/>
                <a:gd name="connsiteX1" fmla="*/ 265936 w 274320"/>
                <a:gd name="connsiteY1" fmla="*/ 247141 h 282089"/>
                <a:gd name="connsiteX2" fmla="*/ 265035 w 274320"/>
                <a:gd name="connsiteY2" fmla="*/ 249758 h 282089"/>
                <a:gd name="connsiteX3" fmla="*/ 264541 w 274320"/>
                <a:gd name="connsiteY3" fmla="*/ 251370 h 282089"/>
                <a:gd name="connsiteX4" fmla="*/ 255230 w 274320"/>
                <a:gd name="connsiteY4" fmla="*/ 248627 h 282089"/>
                <a:gd name="connsiteX5" fmla="*/ 243599 w 274320"/>
                <a:gd name="connsiteY5" fmla="*/ 250291 h 282089"/>
                <a:gd name="connsiteX6" fmla="*/ 235646 w 274320"/>
                <a:gd name="connsiteY6" fmla="*/ 260781 h 282089"/>
                <a:gd name="connsiteX7" fmla="*/ 225220 w 274320"/>
                <a:gd name="connsiteY7" fmla="*/ 279184 h 282089"/>
                <a:gd name="connsiteX8" fmla="*/ 224725 w 274320"/>
                <a:gd name="connsiteY8" fmla="*/ 279412 h 282089"/>
                <a:gd name="connsiteX9" fmla="*/ 211153 w 274320"/>
                <a:gd name="connsiteY9" fmla="*/ 281698 h 282089"/>
                <a:gd name="connsiteX10" fmla="*/ 187687 w 274320"/>
                <a:gd name="connsiteY10" fmla="*/ 279666 h 282089"/>
                <a:gd name="connsiteX11" fmla="*/ 148823 w 274320"/>
                <a:gd name="connsiteY11" fmla="*/ 260730 h 282089"/>
                <a:gd name="connsiteX12" fmla="*/ 111747 w 274320"/>
                <a:gd name="connsiteY12" fmla="*/ 230631 h 282089"/>
                <a:gd name="connsiteX13" fmla="*/ 80734 w 274320"/>
                <a:gd name="connsiteY13" fmla="*/ 207048 h 282089"/>
                <a:gd name="connsiteX14" fmla="*/ 37189 w 274320"/>
                <a:gd name="connsiteY14" fmla="*/ 184010 h 282089"/>
                <a:gd name="connsiteX15" fmla="*/ 16971 w 274320"/>
                <a:gd name="connsiteY15" fmla="*/ 182397 h 282089"/>
                <a:gd name="connsiteX16" fmla="*/ 15930 w 274320"/>
                <a:gd name="connsiteY16" fmla="*/ 174116 h 282089"/>
                <a:gd name="connsiteX17" fmla="*/ 8206 w 274320"/>
                <a:gd name="connsiteY17" fmla="*/ 171373 h 282089"/>
                <a:gd name="connsiteX18" fmla="*/ -26 w 274320"/>
                <a:gd name="connsiteY18" fmla="*/ 142303 h 282089"/>
                <a:gd name="connsiteX19" fmla="*/ 39485 w 274320"/>
                <a:gd name="connsiteY19" fmla="*/ 118910 h 282089"/>
                <a:gd name="connsiteX20" fmla="*/ 73009 w 274320"/>
                <a:gd name="connsiteY20" fmla="*/ 82778 h 282089"/>
                <a:gd name="connsiteX21" fmla="*/ 76104 w 274320"/>
                <a:gd name="connsiteY21" fmla="*/ 60235 h 282089"/>
                <a:gd name="connsiteX22" fmla="*/ 73504 w 274320"/>
                <a:gd name="connsiteY22" fmla="*/ 38722 h 282089"/>
                <a:gd name="connsiteX23" fmla="*/ 86987 w 274320"/>
                <a:gd name="connsiteY23" fmla="*/ 27203 h 282089"/>
                <a:gd name="connsiteX24" fmla="*/ 101092 w 274320"/>
                <a:gd name="connsiteY24" fmla="*/ 18021 h 282089"/>
                <a:gd name="connsiteX25" fmla="*/ 103299 w 274320"/>
                <a:gd name="connsiteY25" fmla="*/ 11861 h 282089"/>
                <a:gd name="connsiteX26" fmla="*/ 104466 w 274320"/>
                <a:gd name="connsiteY26" fmla="*/ 10375 h 282089"/>
                <a:gd name="connsiteX27" fmla="*/ 109895 w 274320"/>
                <a:gd name="connsiteY27" fmla="*/ 3987 h 282089"/>
                <a:gd name="connsiteX28" fmla="*/ 113041 w 274320"/>
                <a:gd name="connsiteY28" fmla="*/ 1104 h 282089"/>
                <a:gd name="connsiteX29" fmla="*/ 122972 w 274320"/>
                <a:gd name="connsiteY29" fmla="*/ 787 h 282089"/>
                <a:gd name="connsiteX30" fmla="*/ 130570 w 274320"/>
                <a:gd name="connsiteY30" fmla="*/ 3352 h 282089"/>
                <a:gd name="connsiteX31" fmla="*/ 137673 w 274320"/>
                <a:gd name="connsiteY31" fmla="*/ 5295 h 282089"/>
                <a:gd name="connsiteX32" fmla="*/ 145043 w 274320"/>
                <a:gd name="connsiteY32" fmla="*/ 5016 h 282089"/>
                <a:gd name="connsiteX33" fmla="*/ 154429 w 274320"/>
                <a:gd name="connsiteY33" fmla="*/ 6007 h 282089"/>
                <a:gd name="connsiteX34" fmla="*/ 156459 w 274320"/>
                <a:gd name="connsiteY34" fmla="*/ 15366 h 282089"/>
                <a:gd name="connsiteX35" fmla="*/ 164818 w 274320"/>
                <a:gd name="connsiteY35" fmla="*/ 9880 h 282089"/>
                <a:gd name="connsiteX36" fmla="*/ 173709 w 274320"/>
                <a:gd name="connsiteY36" fmla="*/ 7404 h 282089"/>
                <a:gd name="connsiteX37" fmla="*/ 172770 w 274320"/>
                <a:gd name="connsiteY37" fmla="*/ 9245 h 282089"/>
                <a:gd name="connsiteX38" fmla="*/ 175282 w 274320"/>
                <a:gd name="connsiteY38" fmla="*/ 17398 h 282089"/>
                <a:gd name="connsiteX39" fmla="*/ 178339 w 274320"/>
                <a:gd name="connsiteY39" fmla="*/ 26352 h 282089"/>
                <a:gd name="connsiteX40" fmla="*/ 183730 w 274320"/>
                <a:gd name="connsiteY40" fmla="*/ 35344 h 282089"/>
                <a:gd name="connsiteX41" fmla="*/ 189032 w 274320"/>
                <a:gd name="connsiteY41" fmla="*/ 41960 h 282089"/>
                <a:gd name="connsiteX42" fmla="*/ 189577 w 274320"/>
                <a:gd name="connsiteY42" fmla="*/ 50241 h 282089"/>
                <a:gd name="connsiteX43" fmla="*/ 200625 w 274320"/>
                <a:gd name="connsiteY43" fmla="*/ 56044 h 282089"/>
                <a:gd name="connsiteX44" fmla="*/ 207906 w 274320"/>
                <a:gd name="connsiteY44" fmla="*/ 55105 h 282089"/>
                <a:gd name="connsiteX45" fmla="*/ 216531 w 274320"/>
                <a:gd name="connsiteY45" fmla="*/ 57441 h 282089"/>
                <a:gd name="connsiteX46" fmla="*/ 208806 w 274320"/>
                <a:gd name="connsiteY46" fmla="*/ 60235 h 282089"/>
                <a:gd name="connsiteX47" fmla="*/ 208984 w 274320"/>
                <a:gd name="connsiteY47" fmla="*/ 73913 h 282089"/>
                <a:gd name="connsiteX48" fmla="*/ 212180 w 274320"/>
                <a:gd name="connsiteY48" fmla="*/ 78955 h 282089"/>
                <a:gd name="connsiteX49" fmla="*/ 204722 w 274320"/>
                <a:gd name="connsiteY49" fmla="*/ 83807 h 282089"/>
                <a:gd name="connsiteX50" fmla="*/ 202477 w 274320"/>
                <a:gd name="connsiteY50" fmla="*/ 93446 h 282089"/>
                <a:gd name="connsiteX51" fmla="*/ 197302 w 274320"/>
                <a:gd name="connsiteY51" fmla="*/ 96189 h 282089"/>
                <a:gd name="connsiteX52" fmla="*/ 192989 w 274320"/>
                <a:gd name="connsiteY52" fmla="*/ 101942 h 282089"/>
                <a:gd name="connsiteX53" fmla="*/ 193484 w 274320"/>
                <a:gd name="connsiteY53" fmla="*/ 112432 h 282089"/>
                <a:gd name="connsiteX54" fmla="*/ 192583 w 274320"/>
                <a:gd name="connsiteY54" fmla="*/ 123494 h 282089"/>
                <a:gd name="connsiteX55" fmla="*/ 200219 w 274320"/>
                <a:gd name="connsiteY55" fmla="*/ 132676 h 282089"/>
                <a:gd name="connsiteX56" fmla="*/ 209479 w 274320"/>
                <a:gd name="connsiteY56" fmla="*/ 137807 h 282089"/>
                <a:gd name="connsiteX57" fmla="*/ 211191 w 274320"/>
                <a:gd name="connsiteY57" fmla="*/ 150317 h 282089"/>
                <a:gd name="connsiteX58" fmla="*/ 218066 w 274320"/>
                <a:gd name="connsiteY58" fmla="*/ 157644 h 282089"/>
                <a:gd name="connsiteX59" fmla="*/ 233845 w 274320"/>
                <a:gd name="connsiteY59" fmla="*/ 167500 h 282089"/>
                <a:gd name="connsiteX60" fmla="*/ 243231 w 274320"/>
                <a:gd name="connsiteY60" fmla="*/ 169659 h 282089"/>
                <a:gd name="connsiteX61" fmla="*/ 253785 w 274320"/>
                <a:gd name="connsiteY61" fmla="*/ 194360 h 282089"/>
                <a:gd name="connsiteX62" fmla="*/ 259137 w 274320"/>
                <a:gd name="connsiteY62" fmla="*/ 212051 h 282089"/>
                <a:gd name="connsiteX63" fmla="*/ 262283 w 274320"/>
                <a:gd name="connsiteY63" fmla="*/ 232117 h 282089"/>
                <a:gd name="connsiteX64" fmla="*/ 270781 w 274320"/>
                <a:gd name="connsiteY64" fmla="*/ 241426 h 282089"/>
                <a:gd name="connsiteX65" fmla="*/ 274295 w 274320"/>
                <a:gd name="connsiteY65" fmla="*/ 248907 h 282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274320" h="282089">
                  <a:moveTo>
                    <a:pt x="274295" y="248894"/>
                  </a:moveTo>
                  <a:cubicBezTo>
                    <a:pt x="271428" y="248742"/>
                    <a:pt x="268612" y="248145"/>
                    <a:pt x="265936" y="247141"/>
                  </a:cubicBezTo>
                  <a:cubicBezTo>
                    <a:pt x="265530" y="248272"/>
                    <a:pt x="265264" y="249123"/>
                    <a:pt x="265035" y="249758"/>
                  </a:cubicBezTo>
                  <a:cubicBezTo>
                    <a:pt x="264769" y="250570"/>
                    <a:pt x="264629" y="251015"/>
                    <a:pt x="264541" y="251370"/>
                  </a:cubicBezTo>
                  <a:cubicBezTo>
                    <a:pt x="261610" y="249935"/>
                    <a:pt x="258465" y="249008"/>
                    <a:pt x="255230" y="248627"/>
                  </a:cubicBezTo>
                  <a:cubicBezTo>
                    <a:pt x="248635" y="248411"/>
                    <a:pt x="247188" y="246964"/>
                    <a:pt x="243599" y="250291"/>
                  </a:cubicBezTo>
                  <a:cubicBezTo>
                    <a:pt x="240250" y="253199"/>
                    <a:pt x="237536" y="256768"/>
                    <a:pt x="235646" y="260781"/>
                  </a:cubicBezTo>
                  <a:cubicBezTo>
                    <a:pt x="233705" y="264871"/>
                    <a:pt x="232500" y="276072"/>
                    <a:pt x="225220" y="279184"/>
                  </a:cubicBezTo>
                  <a:cubicBezTo>
                    <a:pt x="225042" y="279272"/>
                    <a:pt x="224903" y="279323"/>
                    <a:pt x="224725" y="279412"/>
                  </a:cubicBezTo>
                  <a:cubicBezTo>
                    <a:pt x="220476" y="281355"/>
                    <a:pt x="215795" y="282143"/>
                    <a:pt x="211153" y="281698"/>
                  </a:cubicBezTo>
                  <a:cubicBezTo>
                    <a:pt x="203276" y="282613"/>
                    <a:pt x="195297" y="281927"/>
                    <a:pt x="187687" y="279666"/>
                  </a:cubicBezTo>
                  <a:cubicBezTo>
                    <a:pt x="173772" y="275564"/>
                    <a:pt x="160632" y="269163"/>
                    <a:pt x="148823" y="260730"/>
                  </a:cubicBezTo>
                  <a:cubicBezTo>
                    <a:pt x="135022" y="250291"/>
                    <a:pt x="123467" y="240525"/>
                    <a:pt x="111747" y="230631"/>
                  </a:cubicBezTo>
                  <a:cubicBezTo>
                    <a:pt x="100065" y="220725"/>
                    <a:pt x="89359" y="213715"/>
                    <a:pt x="80734" y="207048"/>
                  </a:cubicBezTo>
                  <a:cubicBezTo>
                    <a:pt x="72058" y="200393"/>
                    <a:pt x="48148" y="184010"/>
                    <a:pt x="37189" y="184010"/>
                  </a:cubicBezTo>
                  <a:cubicBezTo>
                    <a:pt x="30416" y="183908"/>
                    <a:pt x="23668" y="183375"/>
                    <a:pt x="16971" y="182397"/>
                  </a:cubicBezTo>
                  <a:cubicBezTo>
                    <a:pt x="18049" y="179869"/>
                    <a:pt x="16425" y="176682"/>
                    <a:pt x="15930" y="174116"/>
                  </a:cubicBezTo>
                  <a:cubicBezTo>
                    <a:pt x="15081" y="169887"/>
                    <a:pt x="10540" y="175602"/>
                    <a:pt x="8206" y="171373"/>
                  </a:cubicBezTo>
                  <a:cubicBezTo>
                    <a:pt x="4883" y="161848"/>
                    <a:pt x="2130" y="152145"/>
                    <a:pt x="-26" y="142303"/>
                  </a:cubicBezTo>
                  <a:cubicBezTo>
                    <a:pt x="15068" y="133388"/>
                    <a:pt x="32610" y="123139"/>
                    <a:pt x="39485" y="118910"/>
                  </a:cubicBezTo>
                  <a:cubicBezTo>
                    <a:pt x="53019" y="109296"/>
                    <a:pt x="64422" y="96989"/>
                    <a:pt x="73009" y="82778"/>
                  </a:cubicBezTo>
                  <a:cubicBezTo>
                    <a:pt x="76459" y="75793"/>
                    <a:pt x="77550" y="67881"/>
                    <a:pt x="76104" y="60235"/>
                  </a:cubicBezTo>
                  <a:cubicBezTo>
                    <a:pt x="74848" y="53111"/>
                    <a:pt x="73973" y="45935"/>
                    <a:pt x="73504" y="38722"/>
                  </a:cubicBezTo>
                  <a:cubicBezTo>
                    <a:pt x="74392" y="31838"/>
                    <a:pt x="79567" y="31749"/>
                    <a:pt x="86987" y="27203"/>
                  </a:cubicBezTo>
                  <a:cubicBezTo>
                    <a:pt x="94344" y="22656"/>
                    <a:pt x="97008" y="21043"/>
                    <a:pt x="101092" y="18021"/>
                  </a:cubicBezTo>
                  <a:cubicBezTo>
                    <a:pt x="102703" y="16395"/>
                    <a:pt x="103502" y="14135"/>
                    <a:pt x="103299" y="11861"/>
                  </a:cubicBezTo>
                  <a:cubicBezTo>
                    <a:pt x="103857" y="11531"/>
                    <a:pt x="104263" y="10998"/>
                    <a:pt x="104466" y="10375"/>
                  </a:cubicBezTo>
                  <a:cubicBezTo>
                    <a:pt x="105100" y="8254"/>
                    <a:pt x="110123" y="8254"/>
                    <a:pt x="109895" y="3987"/>
                  </a:cubicBezTo>
                  <a:cubicBezTo>
                    <a:pt x="109679" y="-293"/>
                    <a:pt x="113624" y="3441"/>
                    <a:pt x="113041" y="1104"/>
                  </a:cubicBezTo>
                  <a:cubicBezTo>
                    <a:pt x="112457" y="-1283"/>
                    <a:pt x="116465" y="977"/>
                    <a:pt x="122972" y="787"/>
                  </a:cubicBezTo>
                  <a:cubicBezTo>
                    <a:pt x="129492" y="609"/>
                    <a:pt x="125940" y="1104"/>
                    <a:pt x="130570" y="3352"/>
                  </a:cubicBezTo>
                  <a:cubicBezTo>
                    <a:pt x="135200" y="5600"/>
                    <a:pt x="131877" y="2857"/>
                    <a:pt x="137673" y="5295"/>
                  </a:cubicBezTo>
                  <a:cubicBezTo>
                    <a:pt x="143521" y="7721"/>
                    <a:pt x="140197" y="6235"/>
                    <a:pt x="145043" y="5016"/>
                  </a:cubicBezTo>
                  <a:cubicBezTo>
                    <a:pt x="149850" y="3809"/>
                    <a:pt x="152057" y="2997"/>
                    <a:pt x="154429" y="6007"/>
                  </a:cubicBezTo>
                  <a:cubicBezTo>
                    <a:pt x="156345" y="8724"/>
                    <a:pt x="157080" y="12103"/>
                    <a:pt x="156459" y="15366"/>
                  </a:cubicBezTo>
                  <a:cubicBezTo>
                    <a:pt x="156408" y="19469"/>
                    <a:pt x="159110" y="15366"/>
                    <a:pt x="164818" y="9880"/>
                  </a:cubicBezTo>
                  <a:cubicBezTo>
                    <a:pt x="169346" y="5511"/>
                    <a:pt x="171692" y="7670"/>
                    <a:pt x="173709" y="7404"/>
                  </a:cubicBezTo>
                  <a:cubicBezTo>
                    <a:pt x="173455" y="8051"/>
                    <a:pt x="173138" y="8673"/>
                    <a:pt x="172770" y="9245"/>
                  </a:cubicBezTo>
                  <a:cubicBezTo>
                    <a:pt x="169891" y="14058"/>
                    <a:pt x="175371" y="9969"/>
                    <a:pt x="175282" y="17398"/>
                  </a:cubicBezTo>
                  <a:cubicBezTo>
                    <a:pt x="175244" y="24815"/>
                    <a:pt x="176094" y="19367"/>
                    <a:pt x="178339" y="26352"/>
                  </a:cubicBezTo>
                  <a:cubicBezTo>
                    <a:pt x="180584" y="33273"/>
                    <a:pt x="180089" y="31254"/>
                    <a:pt x="183730" y="35344"/>
                  </a:cubicBezTo>
                  <a:cubicBezTo>
                    <a:pt x="187421" y="39446"/>
                    <a:pt x="189666" y="37007"/>
                    <a:pt x="189032" y="41960"/>
                  </a:cubicBezTo>
                  <a:cubicBezTo>
                    <a:pt x="188359" y="46913"/>
                    <a:pt x="181713" y="48628"/>
                    <a:pt x="189577" y="50241"/>
                  </a:cubicBezTo>
                  <a:cubicBezTo>
                    <a:pt x="197441" y="51904"/>
                    <a:pt x="196097" y="56768"/>
                    <a:pt x="200625" y="56044"/>
                  </a:cubicBezTo>
                  <a:cubicBezTo>
                    <a:pt x="205166" y="55321"/>
                    <a:pt x="203416" y="53708"/>
                    <a:pt x="207906" y="55105"/>
                  </a:cubicBezTo>
                  <a:cubicBezTo>
                    <a:pt x="212396" y="56489"/>
                    <a:pt x="220273" y="55498"/>
                    <a:pt x="216531" y="57441"/>
                  </a:cubicBezTo>
                  <a:cubicBezTo>
                    <a:pt x="212802" y="59372"/>
                    <a:pt x="209884" y="56044"/>
                    <a:pt x="208806" y="60235"/>
                  </a:cubicBezTo>
                  <a:cubicBezTo>
                    <a:pt x="207728" y="64376"/>
                    <a:pt x="211635" y="70497"/>
                    <a:pt x="208984" y="73913"/>
                  </a:cubicBezTo>
                  <a:cubicBezTo>
                    <a:pt x="206295" y="77381"/>
                    <a:pt x="217520" y="76123"/>
                    <a:pt x="212180" y="78955"/>
                  </a:cubicBezTo>
                  <a:cubicBezTo>
                    <a:pt x="206789" y="81749"/>
                    <a:pt x="206422" y="79666"/>
                    <a:pt x="204722" y="83807"/>
                  </a:cubicBezTo>
                  <a:cubicBezTo>
                    <a:pt x="203060" y="87947"/>
                    <a:pt x="206422" y="94653"/>
                    <a:pt x="202477" y="93446"/>
                  </a:cubicBezTo>
                  <a:cubicBezTo>
                    <a:pt x="198519" y="92278"/>
                    <a:pt x="195462" y="92722"/>
                    <a:pt x="197302" y="96189"/>
                  </a:cubicBezTo>
                  <a:cubicBezTo>
                    <a:pt x="199103" y="99644"/>
                    <a:pt x="194473" y="99606"/>
                    <a:pt x="192989" y="101942"/>
                  </a:cubicBezTo>
                  <a:cubicBezTo>
                    <a:pt x="191467" y="104292"/>
                    <a:pt x="195374" y="107391"/>
                    <a:pt x="193484" y="112432"/>
                  </a:cubicBezTo>
                  <a:cubicBezTo>
                    <a:pt x="191556" y="117462"/>
                    <a:pt x="187725" y="119494"/>
                    <a:pt x="192583" y="123494"/>
                  </a:cubicBezTo>
                  <a:cubicBezTo>
                    <a:pt x="197390" y="127545"/>
                    <a:pt x="195551" y="129031"/>
                    <a:pt x="200219" y="132676"/>
                  </a:cubicBezTo>
                  <a:cubicBezTo>
                    <a:pt x="204900" y="136270"/>
                    <a:pt x="208311" y="134200"/>
                    <a:pt x="209479" y="137807"/>
                  </a:cubicBezTo>
                  <a:cubicBezTo>
                    <a:pt x="210379" y="141922"/>
                    <a:pt x="210950" y="146113"/>
                    <a:pt x="211191" y="150317"/>
                  </a:cubicBezTo>
                  <a:cubicBezTo>
                    <a:pt x="211191" y="150317"/>
                    <a:pt x="212218" y="157517"/>
                    <a:pt x="218066" y="157644"/>
                  </a:cubicBezTo>
                  <a:cubicBezTo>
                    <a:pt x="223862" y="157746"/>
                    <a:pt x="229887" y="165658"/>
                    <a:pt x="233845" y="167500"/>
                  </a:cubicBezTo>
                  <a:cubicBezTo>
                    <a:pt x="237790" y="169354"/>
                    <a:pt x="239730" y="165341"/>
                    <a:pt x="243231" y="169659"/>
                  </a:cubicBezTo>
                  <a:cubicBezTo>
                    <a:pt x="247759" y="177418"/>
                    <a:pt x="251311" y="185724"/>
                    <a:pt x="253785" y="194360"/>
                  </a:cubicBezTo>
                  <a:cubicBezTo>
                    <a:pt x="255890" y="200164"/>
                    <a:pt x="257666" y="206057"/>
                    <a:pt x="259137" y="212051"/>
                  </a:cubicBezTo>
                  <a:cubicBezTo>
                    <a:pt x="260393" y="219875"/>
                    <a:pt x="260165" y="231711"/>
                    <a:pt x="262283" y="232117"/>
                  </a:cubicBezTo>
                  <a:cubicBezTo>
                    <a:pt x="264388" y="232524"/>
                    <a:pt x="265923" y="236385"/>
                    <a:pt x="270781" y="241426"/>
                  </a:cubicBezTo>
                  <a:cubicBezTo>
                    <a:pt x="272874" y="243369"/>
                    <a:pt x="274130" y="246049"/>
                    <a:pt x="274295" y="248907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0" name="Vrije vorm 289">
              <a:extLst>
                <a:ext uri="{FF2B5EF4-FFF2-40B4-BE49-F238E27FC236}">
                  <a16:creationId xmlns:a16="http://schemas.microsoft.com/office/drawing/2014/main" id="{D61921DB-5EA5-FD4D-A39C-173EFE6DDC28}"/>
                </a:ext>
              </a:extLst>
            </p:cNvPr>
            <p:cNvSpPr/>
            <p:nvPr/>
          </p:nvSpPr>
          <p:spPr>
            <a:xfrm>
              <a:off x="6478311" y="3424655"/>
              <a:ext cx="21660" cy="38950"/>
            </a:xfrm>
            <a:custGeom>
              <a:avLst/>
              <a:gdLst>
                <a:gd name="connsiteX0" fmla="*/ 21368 w 21660"/>
                <a:gd name="connsiteY0" fmla="*/ 9222 h 38950"/>
                <a:gd name="connsiteX1" fmla="*/ 18806 w 21660"/>
                <a:gd name="connsiteY1" fmla="*/ 28793 h 38950"/>
                <a:gd name="connsiteX2" fmla="*/ 17449 w 21660"/>
                <a:gd name="connsiteY2" fmla="*/ 36171 h 38950"/>
                <a:gd name="connsiteX3" fmla="*/ 9775 w 21660"/>
                <a:gd name="connsiteY3" fmla="*/ 38330 h 38950"/>
                <a:gd name="connsiteX4" fmla="*/ 1721 w 21660"/>
                <a:gd name="connsiteY4" fmla="*/ 36171 h 38950"/>
                <a:gd name="connsiteX5" fmla="*/ 4638 w 21660"/>
                <a:gd name="connsiteY5" fmla="*/ 29745 h 38950"/>
                <a:gd name="connsiteX6" fmla="*/ 8735 w 21660"/>
                <a:gd name="connsiteY6" fmla="*/ 23357 h 38950"/>
                <a:gd name="connsiteX7" fmla="*/ 6401 w 21660"/>
                <a:gd name="connsiteY7" fmla="*/ 11203 h 38950"/>
                <a:gd name="connsiteX8" fmla="*/ 9763 w 21660"/>
                <a:gd name="connsiteY8" fmla="*/ 1437 h 38950"/>
                <a:gd name="connsiteX9" fmla="*/ 14570 w 21660"/>
                <a:gd name="connsiteY9" fmla="*/ 2 h 38950"/>
                <a:gd name="connsiteX10" fmla="*/ 21635 w 21660"/>
                <a:gd name="connsiteY10" fmla="*/ 5399 h 38950"/>
                <a:gd name="connsiteX11" fmla="*/ 21368 w 21660"/>
                <a:gd name="connsiteY11" fmla="*/ 9222 h 38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660" h="38950">
                  <a:moveTo>
                    <a:pt x="21368" y="9222"/>
                  </a:moveTo>
                  <a:cubicBezTo>
                    <a:pt x="20785" y="13045"/>
                    <a:pt x="18629" y="27091"/>
                    <a:pt x="18806" y="28793"/>
                  </a:cubicBezTo>
                  <a:cubicBezTo>
                    <a:pt x="18844" y="29110"/>
                    <a:pt x="18311" y="31904"/>
                    <a:pt x="17449" y="36171"/>
                  </a:cubicBezTo>
                  <a:cubicBezTo>
                    <a:pt x="14798" y="36514"/>
                    <a:pt x="12211" y="37238"/>
                    <a:pt x="9775" y="38330"/>
                  </a:cubicBezTo>
                  <a:cubicBezTo>
                    <a:pt x="7073" y="39867"/>
                    <a:pt x="6262" y="38330"/>
                    <a:pt x="1721" y="36171"/>
                  </a:cubicBezTo>
                  <a:cubicBezTo>
                    <a:pt x="-2808" y="34063"/>
                    <a:pt x="2672" y="33022"/>
                    <a:pt x="4638" y="29745"/>
                  </a:cubicBezTo>
                  <a:cubicBezTo>
                    <a:pt x="6617" y="26507"/>
                    <a:pt x="10447" y="25694"/>
                    <a:pt x="8735" y="23357"/>
                  </a:cubicBezTo>
                  <a:cubicBezTo>
                    <a:pt x="5602" y="20131"/>
                    <a:pt x="4689" y="15356"/>
                    <a:pt x="6401" y="11203"/>
                  </a:cubicBezTo>
                  <a:cubicBezTo>
                    <a:pt x="8558" y="4142"/>
                    <a:pt x="6528" y="3240"/>
                    <a:pt x="9763" y="1437"/>
                  </a:cubicBezTo>
                  <a:cubicBezTo>
                    <a:pt x="13047" y="-354"/>
                    <a:pt x="12781" y="91"/>
                    <a:pt x="14570" y="2"/>
                  </a:cubicBezTo>
                  <a:cubicBezTo>
                    <a:pt x="16143" y="-49"/>
                    <a:pt x="19973" y="3189"/>
                    <a:pt x="21635" y="5399"/>
                  </a:cubicBezTo>
                  <a:cubicBezTo>
                    <a:pt x="21622" y="6682"/>
                    <a:pt x="21533" y="7952"/>
                    <a:pt x="21368" y="9222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1" name="Vrije vorm 290">
              <a:extLst>
                <a:ext uri="{FF2B5EF4-FFF2-40B4-BE49-F238E27FC236}">
                  <a16:creationId xmlns:a16="http://schemas.microsoft.com/office/drawing/2014/main" id="{10937DA4-7E83-594C-879C-C9566DD5B6DF}"/>
                </a:ext>
              </a:extLst>
            </p:cNvPr>
            <p:cNvSpPr/>
            <p:nvPr/>
          </p:nvSpPr>
          <p:spPr>
            <a:xfrm>
              <a:off x="6481809" y="3398239"/>
              <a:ext cx="123195" cy="135851"/>
            </a:xfrm>
            <a:custGeom>
              <a:avLst/>
              <a:gdLst>
                <a:gd name="connsiteX0" fmla="*/ 122807 w 123195"/>
                <a:gd name="connsiteY0" fmla="*/ 40095 h 135851"/>
                <a:gd name="connsiteX1" fmla="*/ 116605 w 123195"/>
                <a:gd name="connsiteY1" fmla="*/ 43778 h 135851"/>
                <a:gd name="connsiteX2" fmla="*/ 87710 w 123195"/>
                <a:gd name="connsiteY2" fmla="*/ 52782 h 135851"/>
                <a:gd name="connsiteX3" fmla="*/ 68113 w 123195"/>
                <a:gd name="connsiteY3" fmla="*/ 60428 h 135851"/>
                <a:gd name="connsiteX4" fmla="*/ 72248 w 123195"/>
                <a:gd name="connsiteY4" fmla="*/ 75414 h 135851"/>
                <a:gd name="connsiteX5" fmla="*/ 76206 w 123195"/>
                <a:gd name="connsiteY5" fmla="*/ 99137 h 135851"/>
                <a:gd name="connsiteX6" fmla="*/ 59830 w 123195"/>
                <a:gd name="connsiteY6" fmla="*/ 116092 h 135851"/>
                <a:gd name="connsiteX7" fmla="*/ 34665 w 123195"/>
                <a:gd name="connsiteY7" fmla="*/ 135853 h 135851"/>
                <a:gd name="connsiteX8" fmla="*/ 23122 w 123195"/>
                <a:gd name="connsiteY8" fmla="*/ 134596 h 135851"/>
                <a:gd name="connsiteX9" fmla="*/ 963 w 123195"/>
                <a:gd name="connsiteY9" fmla="*/ 135624 h 135851"/>
                <a:gd name="connsiteX10" fmla="*/ 2003 w 123195"/>
                <a:gd name="connsiteY10" fmla="*/ 128424 h 135851"/>
                <a:gd name="connsiteX11" fmla="*/ -26 w 123195"/>
                <a:gd name="connsiteY11" fmla="*/ 127890 h 135851"/>
                <a:gd name="connsiteX12" fmla="*/ -26 w 123195"/>
                <a:gd name="connsiteY12" fmla="*/ 127839 h 135851"/>
                <a:gd name="connsiteX13" fmla="*/ 13952 w 123195"/>
                <a:gd name="connsiteY13" fmla="*/ 62599 h 135851"/>
                <a:gd name="connsiteX14" fmla="*/ 15296 w 123195"/>
                <a:gd name="connsiteY14" fmla="*/ 55221 h 135851"/>
                <a:gd name="connsiteX15" fmla="*/ 17859 w 123195"/>
                <a:gd name="connsiteY15" fmla="*/ 35637 h 135851"/>
                <a:gd name="connsiteX16" fmla="*/ 18137 w 123195"/>
                <a:gd name="connsiteY16" fmla="*/ 31815 h 135851"/>
                <a:gd name="connsiteX17" fmla="*/ 19660 w 123195"/>
                <a:gd name="connsiteY17" fmla="*/ 20880 h 135851"/>
                <a:gd name="connsiteX18" fmla="*/ 23769 w 123195"/>
                <a:gd name="connsiteY18" fmla="*/ 19343 h 135851"/>
                <a:gd name="connsiteX19" fmla="*/ 23883 w 123195"/>
                <a:gd name="connsiteY19" fmla="*/ 19394 h 135851"/>
                <a:gd name="connsiteX20" fmla="*/ 28196 w 123195"/>
                <a:gd name="connsiteY20" fmla="*/ 23991 h 135851"/>
                <a:gd name="connsiteX21" fmla="*/ 39523 w 123195"/>
                <a:gd name="connsiteY21" fmla="*/ 29440 h 135851"/>
                <a:gd name="connsiteX22" fmla="*/ 52867 w 123195"/>
                <a:gd name="connsiteY22" fmla="*/ 33110 h 135851"/>
                <a:gd name="connsiteX23" fmla="*/ 82041 w 123195"/>
                <a:gd name="connsiteY23" fmla="*/ 14301 h 135851"/>
                <a:gd name="connsiteX24" fmla="*/ 105811 w 123195"/>
                <a:gd name="connsiteY24" fmla="*/ 1 h 135851"/>
                <a:gd name="connsiteX25" fmla="*/ 114030 w 123195"/>
                <a:gd name="connsiteY25" fmla="*/ 29071 h 135851"/>
                <a:gd name="connsiteX26" fmla="*/ 121767 w 123195"/>
                <a:gd name="connsiteY26" fmla="*/ 31815 h 135851"/>
                <a:gd name="connsiteX27" fmla="*/ 122807 w 123195"/>
                <a:gd name="connsiteY27" fmla="*/ 40095 h 135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23195" h="135851">
                  <a:moveTo>
                    <a:pt x="122807" y="40095"/>
                  </a:moveTo>
                  <a:cubicBezTo>
                    <a:pt x="122173" y="41721"/>
                    <a:pt x="120423" y="43067"/>
                    <a:pt x="116605" y="43778"/>
                  </a:cubicBezTo>
                  <a:cubicBezTo>
                    <a:pt x="106660" y="45670"/>
                    <a:pt x="96957" y="48693"/>
                    <a:pt x="87710" y="52782"/>
                  </a:cubicBezTo>
                  <a:cubicBezTo>
                    <a:pt x="83385" y="55208"/>
                    <a:pt x="68341" y="58142"/>
                    <a:pt x="68113" y="60428"/>
                  </a:cubicBezTo>
                  <a:cubicBezTo>
                    <a:pt x="67885" y="62726"/>
                    <a:pt x="58892" y="62904"/>
                    <a:pt x="72248" y="75414"/>
                  </a:cubicBezTo>
                  <a:cubicBezTo>
                    <a:pt x="85554" y="87923"/>
                    <a:pt x="80429" y="93511"/>
                    <a:pt x="76206" y="99137"/>
                  </a:cubicBezTo>
                  <a:cubicBezTo>
                    <a:pt x="71094" y="105106"/>
                    <a:pt x="65627" y="110771"/>
                    <a:pt x="59830" y="116092"/>
                  </a:cubicBezTo>
                  <a:lnTo>
                    <a:pt x="34665" y="135853"/>
                  </a:lnTo>
                  <a:cubicBezTo>
                    <a:pt x="34665" y="135853"/>
                    <a:pt x="26940" y="135269"/>
                    <a:pt x="23122" y="134596"/>
                  </a:cubicBezTo>
                  <a:cubicBezTo>
                    <a:pt x="15715" y="134481"/>
                    <a:pt x="8320" y="134824"/>
                    <a:pt x="963" y="135624"/>
                  </a:cubicBezTo>
                  <a:cubicBezTo>
                    <a:pt x="1280" y="133237"/>
                    <a:pt x="1635" y="130849"/>
                    <a:pt x="2003" y="128424"/>
                  </a:cubicBezTo>
                  <a:cubicBezTo>
                    <a:pt x="1318" y="128246"/>
                    <a:pt x="646" y="128017"/>
                    <a:pt x="-26" y="127890"/>
                  </a:cubicBezTo>
                  <a:lnTo>
                    <a:pt x="-26" y="127839"/>
                  </a:lnTo>
                  <a:cubicBezTo>
                    <a:pt x="430" y="125858"/>
                    <a:pt x="10273" y="80684"/>
                    <a:pt x="13952" y="62599"/>
                  </a:cubicBezTo>
                  <a:cubicBezTo>
                    <a:pt x="14801" y="58319"/>
                    <a:pt x="15347" y="55525"/>
                    <a:pt x="15296" y="55221"/>
                  </a:cubicBezTo>
                  <a:cubicBezTo>
                    <a:pt x="15119" y="53506"/>
                    <a:pt x="17275" y="39473"/>
                    <a:pt x="17859" y="35637"/>
                  </a:cubicBezTo>
                  <a:cubicBezTo>
                    <a:pt x="18036" y="34380"/>
                    <a:pt x="18125" y="33097"/>
                    <a:pt x="18137" y="31815"/>
                  </a:cubicBezTo>
                  <a:cubicBezTo>
                    <a:pt x="18023" y="28119"/>
                    <a:pt x="18543" y="24423"/>
                    <a:pt x="19660" y="20880"/>
                  </a:cubicBezTo>
                  <a:cubicBezTo>
                    <a:pt x="20370" y="19318"/>
                    <a:pt x="22209" y="18632"/>
                    <a:pt x="23769" y="19343"/>
                  </a:cubicBezTo>
                  <a:cubicBezTo>
                    <a:pt x="23807" y="19356"/>
                    <a:pt x="23845" y="19381"/>
                    <a:pt x="23883" y="19394"/>
                  </a:cubicBezTo>
                  <a:cubicBezTo>
                    <a:pt x="26065" y="20004"/>
                    <a:pt x="27727" y="21782"/>
                    <a:pt x="28196" y="23991"/>
                  </a:cubicBezTo>
                  <a:cubicBezTo>
                    <a:pt x="28463" y="27548"/>
                    <a:pt x="34399" y="26379"/>
                    <a:pt x="39523" y="29440"/>
                  </a:cubicBezTo>
                  <a:cubicBezTo>
                    <a:pt x="43595" y="31751"/>
                    <a:pt x="48186" y="33008"/>
                    <a:pt x="52867" y="33110"/>
                  </a:cubicBezTo>
                  <a:cubicBezTo>
                    <a:pt x="63179" y="27827"/>
                    <a:pt x="72959" y="21515"/>
                    <a:pt x="82041" y="14301"/>
                  </a:cubicBezTo>
                  <a:cubicBezTo>
                    <a:pt x="85681" y="11926"/>
                    <a:pt x="95156" y="6300"/>
                    <a:pt x="105811" y="1"/>
                  </a:cubicBezTo>
                  <a:cubicBezTo>
                    <a:pt x="107967" y="9844"/>
                    <a:pt x="110707" y="19546"/>
                    <a:pt x="114030" y="29071"/>
                  </a:cubicBezTo>
                  <a:cubicBezTo>
                    <a:pt x="116364" y="33300"/>
                    <a:pt x="120905" y="27585"/>
                    <a:pt x="121767" y="31815"/>
                  </a:cubicBezTo>
                  <a:cubicBezTo>
                    <a:pt x="122262" y="34380"/>
                    <a:pt x="123885" y="37580"/>
                    <a:pt x="122807" y="40095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2" name="Vrije vorm 291">
              <a:extLst>
                <a:ext uri="{FF2B5EF4-FFF2-40B4-BE49-F238E27FC236}">
                  <a16:creationId xmlns:a16="http://schemas.microsoft.com/office/drawing/2014/main" id="{67B7CE15-EAB4-184E-840C-88947E7FD54A}"/>
                </a:ext>
              </a:extLst>
            </p:cNvPr>
            <p:cNvSpPr/>
            <p:nvPr/>
          </p:nvSpPr>
          <p:spPr>
            <a:xfrm>
              <a:off x="6489647" y="3349506"/>
              <a:ext cx="38480" cy="58175"/>
            </a:xfrm>
            <a:custGeom>
              <a:avLst/>
              <a:gdLst>
                <a:gd name="connsiteX0" fmla="*/ 35515 w 38480"/>
                <a:gd name="connsiteY0" fmla="*/ 23094 h 58175"/>
                <a:gd name="connsiteX1" fmla="*/ 30885 w 38480"/>
                <a:gd name="connsiteY1" fmla="*/ 28897 h 58175"/>
                <a:gd name="connsiteX2" fmla="*/ 29769 w 38480"/>
                <a:gd name="connsiteY2" fmla="*/ 32365 h 58175"/>
                <a:gd name="connsiteX3" fmla="*/ 28640 w 38480"/>
                <a:gd name="connsiteY3" fmla="*/ 33000 h 58175"/>
                <a:gd name="connsiteX4" fmla="*/ 20421 w 38480"/>
                <a:gd name="connsiteY4" fmla="*/ 35247 h 58175"/>
                <a:gd name="connsiteX5" fmla="*/ 18480 w 38480"/>
                <a:gd name="connsiteY5" fmla="*/ 44252 h 58175"/>
                <a:gd name="connsiteX6" fmla="*/ 15791 w 38480"/>
                <a:gd name="connsiteY6" fmla="*/ 48201 h 58175"/>
                <a:gd name="connsiteX7" fmla="*/ 15791 w 38480"/>
                <a:gd name="connsiteY7" fmla="*/ 48252 h 58175"/>
                <a:gd name="connsiteX8" fmla="*/ 10933 w 38480"/>
                <a:gd name="connsiteY8" fmla="*/ 50729 h 58175"/>
                <a:gd name="connsiteX9" fmla="*/ 6481 w 38480"/>
                <a:gd name="connsiteY9" fmla="*/ 56253 h 58175"/>
                <a:gd name="connsiteX10" fmla="*/ -26 w 38480"/>
                <a:gd name="connsiteY10" fmla="*/ 55631 h 58175"/>
                <a:gd name="connsiteX11" fmla="*/ 15119 w 38480"/>
                <a:gd name="connsiteY11" fmla="*/ 18776 h 58175"/>
                <a:gd name="connsiteX12" fmla="*/ 20598 w 38480"/>
                <a:gd name="connsiteY12" fmla="*/ 2583 h 58175"/>
                <a:gd name="connsiteX13" fmla="*/ 23871 w 38480"/>
                <a:gd name="connsiteY13" fmla="*/ 3434 h 58175"/>
                <a:gd name="connsiteX14" fmla="*/ 27879 w 38480"/>
                <a:gd name="connsiteY14" fmla="*/ 958 h 58175"/>
                <a:gd name="connsiteX15" fmla="*/ 34615 w 38480"/>
                <a:gd name="connsiteY15" fmla="*/ 3396 h 58175"/>
                <a:gd name="connsiteX16" fmla="*/ 33765 w 38480"/>
                <a:gd name="connsiteY16" fmla="*/ 10140 h 58175"/>
                <a:gd name="connsiteX17" fmla="*/ 38115 w 38480"/>
                <a:gd name="connsiteY17" fmla="*/ 14369 h 58175"/>
                <a:gd name="connsiteX18" fmla="*/ 35515 w 38480"/>
                <a:gd name="connsiteY18" fmla="*/ 23094 h 5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8480" h="58175">
                  <a:moveTo>
                    <a:pt x="35515" y="23094"/>
                  </a:moveTo>
                  <a:cubicBezTo>
                    <a:pt x="33536" y="25748"/>
                    <a:pt x="33854" y="23094"/>
                    <a:pt x="30885" y="28897"/>
                  </a:cubicBezTo>
                  <a:cubicBezTo>
                    <a:pt x="29630" y="31374"/>
                    <a:pt x="29630" y="32136"/>
                    <a:pt x="29769" y="32365"/>
                  </a:cubicBezTo>
                  <a:cubicBezTo>
                    <a:pt x="29363" y="32542"/>
                    <a:pt x="28995" y="32746"/>
                    <a:pt x="28640" y="33000"/>
                  </a:cubicBezTo>
                  <a:cubicBezTo>
                    <a:pt x="25533" y="35019"/>
                    <a:pt x="22527" y="32593"/>
                    <a:pt x="20421" y="35247"/>
                  </a:cubicBezTo>
                  <a:cubicBezTo>
                    <a:pt x="18353" y="37902"/>
                    <a:pt x="20915" y="40734"/>
                    <a:pt x="18480" y="44252"/>
                  </a:cubicBezTo>
                  <a:cubicBezTo>
                    <a:pt x="17225" y="45954"/>
                    <a:pt x="16679" y="47211"/>
                    <a:pt x="15791" y="48201"/>
                  </a:cubicBezTo>
                  <a:lnTo>
                    <a:pt x="15791" y="48252"/>
                  </a:lnTo>
                  <a:cubicBezTo>
                    <a:pt x="14447" y="49522"/>
                    <a:pt x="12759" y="50386"/>
                    <a:pt x="10933" y="50729"/>
                  </a:cubicBezTo>
                  <a:cubicBezTo>
                    <a:pt x="5580" y="52164"/>
                    <a:pt x="10933" y="50729"/>
                    <a:pt x="6481" y="56253"/>
                  </a:cubicBezTo>
                  <a:cubicBezTo>
                    <a:pt x="3830" y="59593"/>
                    <a:pt x="2257" y="58057"/>
                    <a:pt x="-26" y="55631"/>
                  </a:cubicBezTo>
                  <a:cubicBezTo>
                    <a:pt x="4096" y="42995"/>
                    <a:pt x="9157" y="30675"/>
                    <a:pt x="15119" y="18776"/>
                  </a:cubicBezTo>
                  <a:cubicBezTo>
                    <a:pt x="17757" y="13696"/>
                    <a:pt x="19609" y="8235"/>
                    <a:pt x="20598" y="2583"/>
                  </a:cubicBezTo>
                  <a:cubicBezTo>
                    <a:pt x="21626" y="2850"/>
                    <a:pt x="22704" y="3117"/>
                    <a:pt x="23871" y="3434"/>
                  </a:cubicBezTo>
                  <a:cubicBezTo>
                    <a:pt x="31101" y="5326"/>
                    <a:pt x="26573" y="3485"/>
                    <a:pt x="27879" y="958"/>
                  </a:cubicBezTo>
                  <a:cubicBezTo>
                    <a:pt x="29135" y="-1519"/>
                    <a:pt x="30885" y="1364"/>
                    <a:pt x="34615" y="3396"/>
                  </a:cubicBezTo>
                  <a:cubicBezTo>
                    <a:pt x="38343" y="5364"/>
                    <a:pt x="33270" y="7803"/>
                    <a:pt x="33765" y="10140"/>
                  </a:cubicBezTo>
                  <a:cubicBezTo>
                    <a:pt x="34209" y="12476"/>
                    <a:pt x="37050" y="12794"/>
                    <a:pt x="38115" y="14369"/>
                  </a:cubicBezTo>
                  <a:cubicBezTo>
                    <a:pt x="39193" y="15943"/>
                    <a:pt x="37532" y="20439"/>
                    <a:pt x="35515" y="23094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3" name="Vrije vorm 292">
              <a:extLst>
                <a:ext uri="{FF2B5EF4-FFF2-40B4-BE49-F238E27FC236}">
                  <a16:creationId xmlns:a16="http://schemas.microsoft.com/office/drawing/2014/main" id="{E246BEDF-383D-904A-941E-CD4EFE1A0E75}"/>
                </a:ext>
              </a:extLst>
            </p:cNvPr>
            <p:cNvSpPr/>
            <p:nvPr/>
          </p:nvSpPr>
          <p:spPr>
            <a:xfrm>
              <a:off x="6460791" y="3397744"/>
              <a:ext cx="46746" cy="128333"/>
            </a:xfrm>
            <a:custGeom>
              <a:avLst/>
              <a:gdLst>
                <a:gd name="connsiteX0" fmla="*/ 45624 w 46746"/>
                <a:gd name="connsiteY0" fmla="*/ 17235 h 128333"/>
                <a:gd name="connsiteX1" fmla="*/ 44914 w 46746"/>
                <a:gd name="connsiteY1" fmla="*/ 19889 h 128333"/>
                <a:gd name="connsiteX2" fmla="*/ 40741 w 46746"/>
                <a:gd name="connsiteY2" fmla="*/ 21261 h 128333"/>
                <a:gd name="connsiteX3" fmla="*/ 40690 w 46746"/>
                <a:gd name="connsiteY3" fmla="*/ 21375 h 128333"/>
                <a:gd name="connsiteX4" fmla="*/ 39155 w 46746"/>
                <a:gd name="connsiteY4" fmla="*/ 32310 h 128333"/>
                <a:gd name="connsiteX5" fmla="*/ 32103 w 46746"/>
                <a:gd name="connsiteY5" fmla="*/ 26912 h 128333"/>
                <a:gd name="connsiteX6" fmla="*/ 27295 w 46746"/>
                <a:gd name="connsiteY6" fmla="*/ 28347 h 128333"/>
                <a:gd name="connsiteX7" fmla="*/ 23922 w 46746"/>
                <a:gd name="connsiteY7" fmla="*/ 38114 h 128333"/>
                <a:gd name="connsiteX8" fmla="*/ 26255 w 46746"/>
                <a:gd name="connsiteY8" fmla="*/ 50268 h 128333"/>
                <a:gd name="connsiteX9" fmla="*/ 22171 w 46746"/>
                <a:gd name="connsiteY9" fmla="*/ 56656 h 128333"/>
                <a:gd name="connsiteX10" fmla="*/ 19254 w 46746"/>
                <a:gd name="connsiteY10" fmla="*/ 63082 h 128333"/>
                <a:gd name="connsiteX11" fmla="*/ 27295 w 46746"/>
                <a:gd name="connsiteY11" fmla="*/ 65241 h 128333"/>
                <a:gd name="connsiteX12" fmla="*/ 34982 w 46746"/>
                <a:gd name="connsiteY12" fmla="*/ 63082 h 128333"/>
                <a:gd name="connsiteX13" fmla="*/ 21004 w 46746"/>
                <a:gd name="connsiteY13" fmla="*/ 128335 h 128333"/>
                <a:gd name="connsiteX14" fmla="*/ 20104 w 46746"/>
                <a:gd name="connsiteY14" fmla="*/ 128106 h 128333"/>
                <a:gd name="connsiteX15" fmla="*/ -26 w 46746"/>
                <a:gd name="connsiteY15" fmla="*/ 70956 h 128333"/>
                <a:gd name="connsiteX16" fmla="*/ 6405 w 46746"/>
                <a:gd name="connsiteY16" fmla="*/ 68530 h 128333"/>
                <a:gd name="connsiteX17" fmla="*/ 7914 w 46746"/>
                <a:gd name="connsiteY17" fmla="*/ 57951 h 128333"/>
                <a:gd name="connsiteX18" fmla="*/ 7825 w 46746"/>
                <a:gd name="connsiteY18" fmla="*/ 57227 h 128333"/>
                <a:gd name="connsiteX19" fmla="*/ 20992 w 46746"/>
                <a:gd name="connsiteY19" fmla="*/ 31459 h 128333"/>
                <a:gd name="connsiteX20" fmla="*/ 28818 w 46746"/>
                <a:gd name="connsiteY20" fmla="*/ 7380 h 128333"/>
                <a:gd name="connsiteX21" fmla="*/ 35337 w 46746"/>
                <a:gd name="connsiteY21" fmla="*/ 8015 h 128333"/>
                <a:gd name="connsiteX22" fmla="*/ 39777 w 46746"/>
                <a:gd name="connsiteY22" fmla="*/ 2478 h 128333"/>
                <a:gd name="connsiteX23" fmla="*/ 44635 w 46746"/>
                <a:gd name="connsiteY23" fmla="*/ 1 h 128333"/>
                <a:gd name="connsiteX24" fmla="*/ 45941 w 46746"/>
                <a:gd name="connsiteY24" fmla="*/ 4853 h 128333"/>
                <a:gd name="connsiteX25" fmla="*/ 46614 w 46746"/>
                <a:gd name="connsiteY25" fmla="*/ 12282 h 128333"/>
                <a:gd name="connsiteX26" fmla="*/ 45624 w 46746"/>
                <a:gd name="connsiteY26" fmla="*/ 17235 h 128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6746" h="128333">
                  <a:moveTo>
                    <a:pt x="45624" y="17235"/>
                  </a:moveTo>
                  <a:cubicBezTo>
                    <a:pt x="45244" y="18073"/>
                    <a:pt x="45003" y="18975"/>
                    <a:pt x="44914" y="19889"/>
                  </a:cubicBezTo>
                  <a:cubicBezTo>
                    <a:pt x="43379" y="19115"/>
                    <a:pt x="41514" y="19724"/>
                    <a:pt x="40741" y="21261"/>
                  </a:cubicBezTo>
                  <a:cubicBezTo>
                    <a:pt x="40716" y="21299"/>
                    <a:pt x="40703" y="21337"/>
                    <a:pt x="40690" y="21375"/>
                  </a:cubicBezTo>
                  <a:cubicBezTo>
                    <a:pt x="39561" y="24906"/>
                    <a:pt x="39054" y="28602"/>
                    <a:pt x="39155" y="32310"/>
                  </a:cubicBezTo>
                  <a:cubicBezTo>
                    <a:pt x="37494" y="30100"/>
                    <a:pt x="33676" y="26862"/>
                    <a:pt x="32103" y="26912"/>
                  </a:cubicBezTo>
                  <a:cubicBezTo>
                    <a:pt x="30302" y="27001"/>
                    <a:pt x="30581" y="26557"/>
                    <a:pt x="27295" y="28347"/>
                  </a:cubicBezTo>
                  <a:cubicBezTo>
                    <a:pt x="24049" y="30151"/>
                    <a:pt x="26078" y="31053"/>
                    <a:pt x="23922" y="38114"/>
                  </a:cubicBezTo>
                  <a:cubicBezTo>
                    <a:pt x="22209" y="42267"/>
                    <a:pt x="23123" y="47042"/>
                    <a:pt x="26255" y="50268"/>
                  </a:cubicBezTo>
                  <a:cubicBezTo>
                    <a:pt x="27968" y="52605"/>
                    <a:pt x="24150" y="53417"/>
                    <a:pt x="22171" y="56656"/>
                  </a:cubicBezTo>
                  <a:cubicBezTo>
                    <a:pt x="20192" y="59932"/>
                    <a:pt x="14713" y="60974"/>
                    <a:pt x="19254" y="63082"/>
                  </a:cubicBezTo>
                  <a:cubicBezTo>
                    <a:pt x="23795" y="65241"/>
                    <a:pt x="24594" y="66778"/>
                    <a:pt x="27295" y="65241"/>
                  </a:cubicBezTo>
                  <a:cubicBezTo>
                    <a:pt x="29731" y="64149"/>
                    <a:pt x="32331" y="63425"/>
                    <a:pt x="34982" y="63082"/>
                  </a:cubicBezTo>
                  <a:cubicBezTo>
                    <a:pt x="31291" y="81180"/>
                    <a:pt x="21448" y="126354"/>
                    <a:pt x="21004" y="128335"/>
                  </a:cubicBezTo>
                  <a:cubicBezTo>
                    <a:pt x="20713" y="128233"/>
                    <a:pt x="20408" y="128157"/>
                    <a:pt x="20104" y="128106"/>
                  </a:cubicBezTo>
                  <a:lnTo>
                    <a:pt x="-26" y="70956"/>
                  </a:lnTo>
                  <a:cubicBezTo>
                    <a:pt x="1864" y="69584"/>
                    <a:pt x="4084" y="68746"/>
                    <a:pt x="6405" y="68530"/>
                  </a:cubicBezTo>
                  <a:cubicBezTo>
                    <a:pt x="10172" y="68708"/>
                    <a:pt x="7914" y="61291"/>
                    <a:pt x="7914" y="57951"/>
                  </a:cubicBezTo>
                  <a:cubicBezTo>
                    <a:pt x="7927" y="57710"/>
                    <a:pt x="7901" y="57469"/>
                    <a:pt x="7825" y="57227"/>
                  </a:cubicBezTo>
                  <a:cubicBezTo>
                    <a:pt x="13368" y="49277"/>
                    <a:pt x="17808" y="40603"/>
                    <a:pt x="20992" y="31459"/>
                  </a:cubicBezTo>
                  <a:cubicBezTo>
                    <a:pt x="23554" y="23445"/>
                    <a:pt x="26065" y="15394"/>
                    <a:pt x="28818" y="7380"/>
                  </a:cubicBezTo>
                  <a:cubicBezTo>
                    <a:pt x="31114" y="9806"/>
                    <a:pt x="32686" y="11342"/>
                    <a:pt x="35337" y="8015"/>
                  </a:cubicBezTo>
                  <a:cubicBezTo>
                    <a:pt x="39777" y="2478"/>
                    <a:pt x="34437" y="3913"/>
                    <a:pt x="39777" y="2478"/>
                  </a:cubicBezTo>
                  <a:cubicBezTo>
                    <a:pt x="41604" y="2135"/>
                    <a:pt x="43290" y="1271"/>
                    <a:pt x="44635" y="1"/>
                  </a:cubicBezTo>
                  <a:cubicBezTo>
                    <a:pt x="45269" y="1563"/>
                    <a:pt x="45713" y="3189"/>
                    <a:pt x="45941" y="4853"/>
                  </a:cubicBezTo>
                  <a:cubicBezTo>
                    <a:pt x="46487" y="7291"/>
                    <a:pt x="46715" y="9793"/>
                    <a:pt x="46614" y="12282"/>
                  </a:cubicBezTo>
                  <a:cubicBezTo>
                    <a:pt x="46918" y="13997"/>
                    <a:pt x="46563" y="15762"/>
                    <a:pt x="45624" y="17235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4" name="Vrije vorm 293">
              <a:extLst>
                <a:ext uri="{FF2B5EF4-FFF2-40B4-BE49-F238E27FC236}">
                  <a16:creationId xmlns:a16="http://schemas.microsoft.com/office/drawing/2014/main" id="{35FD9415-C129-3246-9658-CAAB8E709047}"/>
                </a:ext>
              </a:extLst>
            </p:cNvPr>
            <p:cNvSpPr/>
            <p:nvPr/>
          </p:nvSpPr>
          <p:spPr>
            <a:xfrm>
              <a:off x="6193724" y="3445712"/>
              <a:ext cx="344174" cy="316191"/>
            </a:xfrm>
            <a:custGeom>
              <a:avLst/>
              <a:gdLst>
                <a:gd name="connsiteX0" fmla="*/ 190416 w 344174"/>
                <a:gd name="connsiteY0" fmla="*/ 314034 h 316191"/>
                <a:gd name="connsiteX1" fmla="*/ 190416 w 344174"/>
                <a:gd name="connsiteY1" fmla="*/ 308624 h 316191"/>
                <a:gd name="connsiteX2" fmla="*/ 190416 w 344174"/>
                <a:gd name="connsiteY2" fmla="*/ 307595 h 316191"/>
                <a:gd name="connsiteX3" fmla="*/ 190416 w 344174"/>
                <a:gd name="connsiteY3" fmla="*/ 308624 h 316191"/>
                <a:gd name="connsiteX4" fmla="*/ 178632 w 344174"/>
                <a:gd name="connsiteY4" fmla="*/ 312942 h 316191"/>
                <a:gd name="connsiteX5" fmla="*/ 5264 w 344174"/>
                <a:gd name="connsiteY5" fmla="*/ 316193 h 316191"/>
                <a:gd name="connsiteX6" fmla="*/ 6152 w 344174"/>
                <a:gd name="connsiteY6" fmla="*/ 301156 h 316191"/>
                <a:gd name="connsiteX7" fmla="*/ 5074 w 344174"/>
                <a:gd name="connsiteY7" fmla="*/ 217463 h 316191"/>
                <a:gd name="connsiteX8" fmla="*/ 761 w 344174"/>
                <a:gd name="connsiteY8" fmla="*/ 93054 h 316191"/>
                <a:gd name="connsiteX9" fmla="*/ 8410 w 344174"/>
                <a:gd name="connsiteY9" fmla="*/ 1 h 316191"/>
                <a:gd name="connsiteX10" fmla="*/ 13712 w 344174"/>
                <a:gd name="connsiteY10" fmla="*/ 7291 h 316191"/>
                <a:gd name="connsiteX11" fmla="*/ 13890 w 344174"/>
                <a:gd name="connsiteY11" fmla="*/ 7735 h 316191"/>
                <a:gd name="connsiteX12" fmla="*/ 20993 w 344174"/>
                <a:gd name="connsiteY12" fmla="*/ 9805 h 316191"/>
                <a:gd name="connsiteX13" fmla="*/ 28134 w 344174"/>
                <a:gd name="connsiteY13" fmla="*/ 8777 h 316191"/>
                <a:gd name="connsiteX14" fmla="*/ 111634 w 344174"/>
                <a:gd name="connsiteY14" fmla="*/ 28843 h 316191"/>
                <a:gd name="connsiteX15" fmla="*/ 138423 w 344174"/>
                <a:gd name="connsiteY15" fmla="*/ 27001 h 316191"/>
                <a:gd name="connsiteX16" fmla="*/ 140896 w 344174"/>
                <a:gd name="connsiteY16" fmla="*/ 25820 h 316191"/>
                <a:gd name="connsiteX17" fmla="*/ 151361 w 344174"/>
                <a:gd name="connsiteY17" fmla="*/ 20867 h 316191"/>
                <a:gd name="connsiteX18" fmla="*/ 155813 w 344174"/>
                <a:gd name="connsiteY18" fmla="*/ 19077 h 316191"/>
                <a:gd name="connsiteX19" fmla="*/ 164489 w 344174"/>
                <a:gd name="connsiteY19" fmla="*/ 15838 h 316191"/>
                <a:gd name="connsiteX20" fmla="*/ 178645 w 344174"/>
                <a:gd name="connsiteY20" fmla="*/ 11876 h 316191"/>
                <a:gd name="connsiteX21" fmla="*/ 178683 w 344174"/>
                <a:gd name="connsiteY21" fmla="*/ 11876 h 316191"/>
                <a:gd name="connsiteX22" fmla="*/ 200030 w 344174"/>
                <a:gd name="connsiteY22" fmla="*/ 15838 h 316191"/>
                <a:gd name="connsiteX23" fmla="*/ 200398 w 344174"/>
                <a:gd name="connsiteY23" fmla="*/ 16016 h 316191"/>
                <a:gd name="connsiteX24" fmla="*/ 212664 w 344174"/>
                <a:gd name="connsiteY24" fmla="*/ 22442 h 316191"/>
                <a:gd name="connsiteX25" fmla="*/ 220439 w 344174"/>
                <a:gd name="connsiteY25" fmla="*/ 25553 h 316191"/>
                <a:gd name="connsiteX26" fmla="*/ 224434 w 344174"/>
                <a:gd name="connsiteY26" fmla="*/ 26862 h 316191"/>
                <a:gd name="connsiteX27" fmla="*/ 225069 w 344174"/>
                <a:gd name="connsiteY27" fmla="*/ 27077 h 316191"/>
                <a:gd name="connsiteX28" fmla="*/ 226591 w 344174"/>
                <a:gd name="connsiteY28" fmla="*/ 27446 h 316191"/>
                <a:gd name="connsiteX29" fmla="*/ 265785 w 344174"/>
                <a:gd name="connsiteY29" fmla="*/ 19432 h 316191"/>
                <a:gd name="connsiteX30" fmla="*/ 267041 w 344174"/>
                <a:gd name="connsiteY30" fmla="*/ 22988 h 316191"/>
                <a:gd name="connsiteX31" fmla="*/ 287170 w 344174"/>
                <a:gd name="connsiteY31" fmla="*/ 80138 h 316191"/>
                <a:gd name="connsiteX32" fmla="*/ 285915 w 344174"/>
                <a:gd name="connsiteY32" fmla="*/ 79783 h 316191"/>
                <a:gd name="connsiteX33" fmla="*/ 277682 w 344174"/>
                <a:gd name="connsiteY33" fmla="*/ 105690 h 316191"/>
                <a:gd name="connsiteX34" fmla="*/ 270364 w 344174"/>
                <a:gd name="connsiteY34" fmla="*/ 128728 h 316191"/>
                <a:gd name="connsiteX35" fmla="*/ 221923 w 344174"/>
                <a:gd name="connsiteY35" fmla="*/ 66143 h 316191"/>
                <a:gd name="connsiteX36" fmla="*/ 220350 w 344174"/>
                <a:gd name="connsiteY36" fmla="*/ 64619 h 316191"/>
                <a:gd name="connsiteX37" fmla="*/ 218004 w 344174"/>
                <a:gd name="connsiteY37" fmla="*/ 62510 h 316191"/>
                <a:gd name="connsiteX38" fmla="*/ 218587 w 344174"/>
                <a:gd name="connsiteY38" fmla="*/ 67501 h 316191"/>
                <a:gd name="connsiteX39" fmla="*/ 232070 w 344174"/>
                <a:gd name="connsiteY39" fmla="*/ 107545 h 316191"/>
                <a:gd name="connsiteX40" fmla="*/ 241292 w 344174"/>
                <a:gd name="connsiteY40" fmla="*/ 122353 h 316191"/>
                <a:gd name="connsiteX41" fmla="*/ 250361 w 344174"/>
                <a:gd name="connsiteY41" fmla="*/ 137961 h 316191"/>
                <a:gd name="connsiteX42" fmla="*/ 256741 w 344174"/>
                <a:gd name="connsiteY42" fmla="*/ 149937 h 316191"/>
                <a:gd name="connsiteX43" fmla="*/ 302366 w 344174"/>
                <a:gd name="connsiteY43" fmla="*/ 243574 h 316191"/>
                <a:gd name="connsiteX44" fmla="*/ 303710 w 344174"/>
                <a:gd name="connsiteY44" fmla="*/ 246406 h 316191"/>
                <a:gd name="connsiteX45" fmla="*/ 305322 w 344174"/>
                <a:gd name="connsiteY45" fmla="*/ 253150 h 316191"/>
                <a:gd name="connsiteX46" fmla="*/ 305005 w 344174"/>
                <a:gd name="connsiteY46" fmla="*/ 258103 h 316191"/>
                <a:gd name="connsiteX47" fmla="*/ 329142 w 344174"/>
                <a:gd name="connsiteY47" fmla="*/ 298603 h 316191"/>
                <a:gd name="connsiteX48" fmla="*/ 344148 w 344174"/>
                <a:gd name="connsiteY48" fmla="*/ 316104 h 316191"/>
                <a:gd name="connsiteX49" fmla="*/ 190416 w 344174"/>
                <a:gd name="connsiteY49" fmla="*/ 314034 h 316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344174" h="316191">
                  <a:moveTo>
                    <a:pt x="190416" y="314034"/>
                  </a:moveTo>
                  <a:lnTo>
                    <a:pt x="190416" y="308624"/>
                  </a:lnTo>
                  <a:cubicBezTo>
                    <a:pt x="190581" y="308306"/>
                    <a:pt x="190581" y="307913"/>
                    <a:pt x="190416" y="307595"/>
                  </a:cubicBezTo>
                  <a:lnTo>
                    <a:pt x="190416" y="308624"/>
                  </a:lnTo>
                  <a:cubicBezTo>
                    <a:pt x="189921" y="309703"/>
                    <a:pt x="187625" y="311545"/>
                    <a:pt x="178632" y="312942"/>
                  </a:cubicBezTo>
                  <a:cubicBezTo>
                    <a:pt x="164705" y="315101"/>
                    <a:pt x="5264" y="316193"/>
                    <a:pt x="5264" y="316193"/>
                  </a:cubicBezTo>
                  <a:cubicBezTo>
                    <a:pt x="5290" y="311164"/>
                    <a:pt x="5581" y="306147"/>
                    <a:pt x="6152" y="301156"/>
                  </a:cubicBezTo>
                  <a:cubicBezTo>
                    <a:pt x="8271" y="286132"/>
                    <a:pt x="5074" y="244286"/>
                    <a:pt x="5074" y="217463"/>
                  </a:cubicBezTo>
                  <a:cubicBezTo>
                    <a:pt x="5074" y="190641"/>
                    <a:pt x="-2422" y="128424"/>
                    <a:pt x="761" y="93054"/>
                  </a:cubicBezTo>
                  <a:cubicBezTo>
                    <a:pt x="4009" y="57646"/>
                    <a:pt x="8410" y="1"/>
                    <a:pt x="8410" y="1"/>
                  </a:cubicBezTo>
                  <a:cubicBezTo>
                    <a:pt x="10718" y="1982"/>
                    <a:pt x="12545" y="4471"/>
                    <a:pt x="13712" y="7291"/>
                  </a:cubicBezTo>
                  <a:cubicBezTo>
                    <a:pt x="13775" y="7431"/>
                    <a:pt x="13839" y="7583"/>
                    <a:pt x="13890" y="7735"/>
                  </a:cubicBezTo>
                  <a:cubicBezTo>
                    <a:pt x="14524" y="9221"/>
                    <a:pt x="18786" y="10263"/>
                    <a:pt x="20993" y="9805"/>
                  </a:cubicBezTo>
                  <a:cubicBezTo>
                    <a:pt x="23352" y="9323"/>
                    <a:pt x="25737" y="8967"/>
                    <a:pt x="28134" y="8777"/>
                  </a:cubicBezTo>
                  <a:cubicBezTo>
                    <a:pt x="57929" y="5894"/>
                    <a:pt x="83551" y="23394"/>
                    <a:pt x="111634" y="28843"/>
                  </a:cubicBezTo>
                  <a:cubicBezTo>
                    <a:pt x="120513" y="31243"/>
                    <a:pt x="129950" y="30595"/>
                    <a:pt x="138423" y="27001"/>
                  </a:cubicBezTo>
                  <a:cubicBezTo>
                    <a:pt x="139222" y="26633"/>
                    <a:pt x="140034" y="26277"/>
                    <a:pt x="140896" y="25820"/>
                  </a:cubicBezTo>
                  <a:cubicBezTo>
                    <a:pt x="144308" y="24067"/>
                    <a:pt x="147809" y="22404"/>
                    <a:pt x="151361" y="20867"/>
                  </a:cubicBezTo>
                  <a:cubicBezTo>
                    <a:pt x="152845" y="20232"/>
                    <a:pt x="154329" y="19610"/>
                    <a:pt x="155813" y="19077"/>
                  </a:cubicBezTo>
                  <a:cubicBezTo>
                    <a:pt x="158692" y="17908"/>
                    <a:pt x="161559" y="16829"/>
                    <a:pt x="164489" y="15838"/>
                  </a:cubicBezTo>
                  <a:cubicBezTo>
                    <a:pt x="169157" y="14301"/>
                    <a:pt x="173875" y="12955"/>
                    <a:pt x="178645" y="11876"/>
                  </a:cubicBezTo>
                  <a:lnTo>
                    <a:pt x="178683" y="11876"/>
                  </a:lnTo>
                  <a:cubicBezTo>
                    <a:pt x="186040" y="10745"/>
                    <a:pt x="193561" y="12142"/>
                    <a:pt x="200030" y="15838"/>
                  </a:cubicBezTo>
                  <a:cubicBezTo>
                    <a:pt x="200170" y="15876"/>
                    <a:pt x="200259" y="15965"/>
                    <a:pt x="200398" y="16016"/>
                  </a:cubicBezTo>
                  <a:cubicBezTo>
                    <a:pt x="204356" y="18378"/>
                    <a:pt x="208452" y="20537"/>
                    <a:pt x="212664" y="22442"/>
                  </a:cubicBezTo>
                  <a:cubicBezTo>
                    <a:pt x="215200" y="23623"/>
                    <a:pt x="217788" y="24652"/>
                    <a:pt x="220439" y="25553"/>
                  </a:cubicBezTo>
                  <a:cubicBezTo>
                    <a:pt x="221784" y="26049"/>
                    <a:pt x="223128" y="26493"/>
                    <a:pt x="224434" y="26862"/>
                  </a:cubicBezTo>
                  <a:cubicBezTo>
                    <a:pt x="224663" y="26950"/>
                    <a:pt x="224840" y="26989"/>
                    <a:pt x="225069" y="27077"/>
                  </a:cubicBezTo>
                  <a:cubicBezTo>
                    <a:pt x="225563" y="27166"/>
                    <a:pt x="226096" y="27306"/>
                    <a:pt x="226591" y="27446"/>
                  </a:cubicBezTo>
                  <a:cubicBezTo>
                    <a:pt x="240163" y="31726"/>
                    <a:pt x="254978" y="28703"/>
                    <a:pt x="265785" y="19432"/>
                  </a:cubicBezTo>
                  <a:lnTo>
                    <a:pt x="267041" y="22988"/>
                  </a:lnTo>
                  <a:lnTo>
                    <a:pt x="287170" y="80138"/>
                  </a:lnTo>
                  <a:cubicBezTo>
                    <a:pt x="286764" y="79998"/>
                    <a:pt x="286320" y="79871"/>
                    <a:pt x="285915" y="79783"/>
                  </a:cubicBezTo>
                  <a:cubicBezTo>
                    <a:pt x="283213" y="88329"/>
                    <a:pt x="280473" y="96839"/>
                    <a:pt x="277682" y="105690"/>
                  </a:cubicBezTo>
                  <a:cubicBezTo>
                    <a:pt x="275349" y="113120"/>
                    <a:pt x="272926" y="120727"/>
                    <a:pt x="270364" y="128728"/>
                  </a:cubicBezTo>
                  <a:cubicBezTo>
                    <a:pt x="241013" y="118606"/>
                    <a:pt x="241152" y="86120"/>
                    <a:pt x="221923" y="66143"/>
                  </a:cubicBezTo>
                  <a:cubicBezTo>
                    <a:pt x="221428" y="65609"/>
                    <a:pt x="220883" y="65114"/>
                    <a:pt x="220350" y="64619"/>
                  </a:cubicBezTo>
                  <a:cubicBezTo>
                    <a:pt x="219589" y="63895"/>
                    <a:pt x="218828" y="63184"/>
                    <a:pt x="218004" y="62510"/>
                  </a:cubicBezTo>
                  <a:cubicBezTo>
                    <a:pt x="218181" y="64212"/>
                    <a:pt x="218371" y="65876"/>
                    <a:pt x="218587" y="67501"/>
                  </a:cubicBezTo>
                  <a:cubicBezTo>
                    <a:pt x="219919" y="81713"/>
                    <a:pt x="224536" y="95429"/>
                    <a:pt x="232070" y="107545"/>
                  </a:cubicBezTo>
                  <a:cubicBezTo>
                    <a:pt x="235178" y="112447"/>
                    <a:pt x="238273" y="117362"/>
                    <a:pt x="241292" y="122353"/>
                  </a:cubicBezTo>
                  <a:cubicBezTo>
                    <a:pt x="244437" y="127484"/>
                    <a:pt x="247444" y="132703"/>
                    <a:pt x="250361" y="137961"/>
                  </a:cubicBezTo>
                  <a:cubicBezTo>
                    <a:pt x="252568" y="141923"/>
                    <a:pt x="254724" y="145886"/>
                    <a:pt x="256741" y="149937"/>
                  </a:cubicBezTo>
                  <a:cubicBezTo>
                    <a:pt x="272431" y="180887"/>
                    <a:pt x="287259" y="212294"/>
                    <a:pt x="302366" y="243574"/>
                  </a:cubicBezTo>
                  <a:cubicBezTo>
                    <a:pt x="302810" y="244463"/>
                    <a:pt x="303254" y="245416"/>
                    <a:pt x="303710" y="246406"/>
                  </a:cubicBezTo>
                  <a:cubicBezTo>
                    <a:pt x="304840" y="248464"/>
                    <a:pt x="305397" y="250801"/>
                    <a:pt x="305322" y="253150"/>
                  </a:cubicBezTo>
                  <a:cubicBezTo>
                    <a:pt x="305131" y="254801"/>
                    <a:pt x="305030" y="256452"/>
                    <a:pt x="305005" y="258103"/>
                  </a:cubicBezTo>
                  <a:cubicBezTo>
                    <a:pt x="305030" y="275020"/>
                    <a:pt x="314289" y="290564"/>
                    <a:pt x="329142" y="298603"/>
                  </a:cubicBezTo>
                  <a:cubicBezTo>
                    <a:pt x="335573" y="303036"/>
                    <a:pt x="340748" y="309068"/>
                    <a:pt x="344148" y="316104"/>
                  </a:cubicBezTo>
                  <a:cubicBezTo>
                    <a:pt x="313186" y="315698"/>
                    <a:pt x="190416" y="314034"/>
                    <a:pt x="190416" y="314034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5" name="Vrije vorm 294">
              <a:extLst>
                <a:ext uri="{FF2B5EF4-FFF2-40B4-BE49-F238E27FC236}">
                  <a16:creationId xmlns:a16="http://schemas.microsoft.com/office/drawing/2014/main" id="{D13C4EAB-987C-D747-A1E4-F249A9EE07DA}"/>
                </a:ext>
              </a:extLst>
            </p:cNvPr>
            <p:cNvSpPr/>
            <p:nvPr/>
          </p:nvSpPr>
          <p:spPr>
            <a:xfrm>
              <a:off x="6479297" y="3438333"/>
              <a:ext cx="612265" cy="473910"/>
            </a:xfrm>
            <a:custGeom>
              <a:avLst/>
              <a:gdLst>
                <a:gd name="connsiteX0" fmla="*/ 611250 w 612265"/>
                <a:gd name="connsiteY0" fmla="*/ 188406 h 473910"/>
                <a:gd name="connsiteX1" fmla="*/ 607876 w 612265"/>
                <a:gd name="connsiteY1" fmla="*/ 227636 h 473910"/>
                <a:gd name="connsiteX2" fmla="*/ 608865 w 612265"/>
                <a:gd name="connsiteY2" fmla="*/ 233084 h 473910"/>
                <a:gd name="connsiteX3" fmla="*/ 601940 w 612265"/>
                <a:gd name="connsiteY3" fmla="*/ 237136 h 473910"/>
                <a:gd name="connsiteX4" fmla="*/ 597906 w 612265"/>
                <a:gd name="connsiteY4" fmla="*/ 229439 h 473910"/>
                <a:gd name="connsiteX5" fmla="*/ 590626 w 612265"/>
                <a:gd name="connsiteY5" fmla="*/ 246635 h 473910"/>
                <a:gd name="connsiteX6" fmla="*/ 598794 w 612265"/>
                <a:gd name="connsiteY6" fmla="*/ 257024 h 473910"/>
                <a:gd name="connsiteX7" fmla="*/ 583205 w 612265"/>
                <a:gd name="connsiteY7" fmla="*/ 263145 h 473910"/>
                <a:gd name="connsiteX8" fmla="*/ 576647 w 612265"/>
                <a:gd name="connsiteY8" fmla="*/ 299632 h 473910"/>
                <a:gd name="connsiteX9" fmla="*/ 583205 w 612265"/>
                <a:gd name="connsiteY9" fmla="*/ 324524 h 473910"/>
                <a:gd name="connsiteX10" fmla="*/ 576647 w 612265"/>
                <a:gd name="connsiteY10" fmla="*/ 363843 h 473910"/>
                <a:gd name="connsiteX11" fmla="*/ 524199 w 612265"/>
                <a:gd name="connsiteY11" fmla="*/ 403264 h 473910"/>
                <a:gd name="connsiteX12" fmla="*/ 485689 w 612265"/>
                <a:gd name="connsiteY12" fmla="*/ 411672 h 473910"/>
                <a:gd name="connsiteX13" fmla="*/ 484561 w 612265"/>
                <a:gd name="connsiteY13" fmla="*/ 411761 h 473910"/>
                <a:gd name="connsiteX14" fmla="*/ 399982 w 612265"/>
                <a:gd name="connsiteY14" fmla="*/ 428093 h 473910"/>
                <a:gd name="connsiteX15" fmla="*/ 362145 w 612265"/>
                <a:gd name="connsiteY15" fmla="*/ 454420 h 473910"/>
                <a:gd name="connsiteX16" fmla="*/ 348129 w 612265"/>
                <a:gd name="connsiteY16" fmla="*/ 472606 h 473910"/>
                <a:gd name="connsiteX17" fmla="*/ 325247 w 612265"/>
                <a:gd name="connsiteY17" fmla="*/ 464326 h 473910"/>
                <a:gd name="connsiteX18" fmla="*/ 292801 w 612265"/>
                <a:gd name="connsiteY18" fmla="*/ 460770 h 473910"/>
                <a:gd name="connsiteX19" fmla="*/ 270832 w 612265"/>
                <a:gd name="connsiteY19" fmla="*/ 458560 h 473910"/>
                <a:gd name="connsiteX20" fmla="*/ 252807 w 612265"/>
                <a:gd name="connsiteY20" fmla="*/ 460719 h 473910"/>
                <a:gd name="connsiteX21" fmla="*/ 214565 w 612265"/>
                <a:gd name="connsiteY21" fmla="*/ 460313 h 473910"/>
                <a:gd name="connsiteX22" fmla="*/ 206700 w 612265"/>
                <a:gd name="connsiteY22" fmla="*/ 448565 h 473910"/>
                <a:gd name="connsiteX23" fmla="*/ 182207 w 612265"/>
                <a:gd name="connsiteY23" fmla="*/ 409513 h 473910"/>
                <a:gd name="connsiteX24" fmla="*/ 153401 w 612265"/>
                <a:gd name="connsiteY24" fmla="*/ 373521 h 473910"/>
                <a:gd name="connsiteX25" fmla="*/ 121400 w 612265"/>
                <a:gd name="connsiteY25" fmla="*/ 315520 h 473910"/>
                <a:gd name="connsiteX26" fmla="*/ 120816 w 612265"/>
                <a:gd name="connsiteY26" fmla="*/ 308357 h 473910"/>
                <a:gd name="connsiteX27" fmla="*/ 86175 w 612265"/>
                <a:gd name="connsiteY27" fmla="*/ 249912 h 473910"/>
                <a:gd name="connsiteX28" fmla="*/ 73631 w 612265"/>
                <a:gd name="connsiteY28" fmla="*/ 237847 h 473910"/>
                <a:gd name="connsiteX29" fmla="*/ 23845 w 612265"/>
                <a:gd name="connsiteY29" fmla="*/ 149925 h 473910"/>
                <a:gd name="connsiteX30" fmla="*/ -26 w 612265"/>
                <a:gd name="connsiteY30" fmla="*/ 119686 h 473910"/>
                <a:gd name="connsiteX31" fmla="*/ 3487 w 612265"/>
                <a:gd name="connsiteY31" fmla="*/ 95531 h 473910"/>
                <a:gd name="connsiteX32" fmla="*/ 25634 w 612265"/>
                <a:gd name="connsiteY32" fmla="*/ 94489 h 473910"/>
                <a:gd name="connsiteX33" fmla="*/ 37189 w 612265"/>
                <a:gd name="connsiteY33" fmla="*/ 95746 h 473910"/>
                <a:gd name="connsiteX34" fmla="*/ 62355 w 612265"/>
                <a:gd name="connsiteY34" fmla="*/ 75998 h 473910"/>
                <a:gd name="connsiteX35" fmla="*/ 78717 w 612265"/>
                <a:gd name="connsiteY35" fmla="*/ 59031 h 473910"/>
                <a:gd name="connsiteX36" fmla="*/ 74760 w 612265"/>
                <a:gd name="connsiteY36" fmla="*/ 35320 h 473910"/>
                <a:gd name="connsiteX37" fmla="*/ 70624 w 612265"/>
                <a:gd name="connsiteY37" fmla="*/ 20334 h 473910"/>
                <a:gd name="connsiteX38" fmla="*/ 90222 w 612265"/>
                <a:gd name="connsiteY38" fmla="*/ 12689 h 473910"/>
                <a:gd name="connsiteX39" fmla="*/ 119116 w 612265"/>
                <a:gd name="connsiteY39" fmla="*/ 3684 h 473910"/>
                <a:gd name="connsiteX40" fmla="*/ 125319 w 612265"/>
                <a:gd name="connsiteY40" fmla="*/ 1 h 473910"/>
                <a:gd name="connsiteX41" fmla="*/ 145537 w 612265"/>
                <a:gd name="connsiteY41" fmla="*/ 1614 h 473910"/>
                <a:gd name="connsiteX42" fmla="*/ 189095 w 612265"/>
                <a:gd name="connsiteY42" fmla="*/ 24652 h 473910"/>
                <a:gd name="connsiteX43" fmla="*/ 220095 w 612265"/>
                <a:gd name="connsiteY43" fmla="*/ 48236 h 473910"/>
                <a:gd name="connsiteX44" fmla="*/ 257171 w 612265"/>
                <a:gd name="connsiteY44" fmla="*/ 78335 h 473910"/>
                <a:gd name="connsiteX45" fmla="*/ 296048 w 612265"/>
                <a:gd name="connsiteY45" fmla="*/ 97270 h 473910"/>
                <a:gd name="connsiteX46" fmla="*/ 319501 w 612265"/>
                <a:gd name="connsiteY46" fmla="*/ 99302 h 473910"/>
                <a:gd name="connsiteX47" fmla="*/ 333073 w 612265"/>
                <a:gd name="connsiteY47" fmla="*/ 97017 h 473910"/>
                <a:gd name="connsiteX48" fmla="*/ 354065 w 612265"/>
                <a:gd name="connsiteY48" fmla="*/ 102046 h 473910"/>
                <a:gd name="connsiteX49" fmla="*/ 363414 w 612265"/>
                <a:gd name="connsiteY49" fmla="*/ 116943 h 473910"/>
                <a:gd name="connsiteX50" fmla="*/ 383810 w 612265"/>
                <a:gd name="connsiteY50" fmla="*/ 118162 h 473910"/>
                <a:gd name="connsiteX51" fmla="*/ 386283 w 612265"/>
                <a:gd name="connsiteY51" fmla="*/ 125757 h 473910"/>
                <a:gd name="connsiteX52" fmla="*/ 395327 w 612265"/>
                <a:gd name="connsiteY52" fmla="*/ 142051 h 473910"/>
                <a:gd name="connsiteX53" fmla="*/ 399678 w 612265"/>
                <a:gd name="connsiteY53" fmla="*/ 147042 h 473910"/>
                <a:gd name="connsiteX54" fmla="*/ 408671 w 612265"/>
                <a:gd name="connsiteY54" fmla="*/ 155005 h 473910"/>
                <a:gd name="connsiteX55" fmla="*/ 423359 w 612265"/>
                <a:gd name="connsiteY55" fmla="*/ 165800 h 473910"/>
                <a:gd name="connsiteX56" fmla="*/ 429879 w 612265"/>
                <a:gd name="connsiteY56" fmla="*/ 172645 h 473910"/>
                <a:gd name="connsiteX57" fmla="*/ 432086 w 612265"/>
                <a:gd name="connsiteY57" fmla="*/ 176201 h 473910"/>
                <a:gd name="connsiteX58" fmla="*/ 433519 w 612265"/>
                <a:gd name="connsiteY58" fmla="*/ 182818 h 473910"/>
                <a:gd name="connsiteX59" fmla="*/ 433164 w 612265"/>
                <a:gd name="connsiteY59" fmla="*/ 184431 h 473910"/>
                <a:gd name="connsiteX60" fmla="*/ 432885 w 612265"/>
                <a:gd name="connsiteY60" fmla="*/ 194514 h 473910"/>
                <a:gd name="connsiteX61" fmla="*/ 435447 w 612265"/>
                <a:gd name="connsiteY61" fmla="*/ 204954 h 473910"/>
                <a:gd name="connsiteX62" fmla="*/ 451366 w 612265"/>
                <a:gd name="connsiteY62" fmla="*/ 240361 h 473910"/>
                <a:gd name="connsiteX63" fmla="*/ 462147 w 612265"/>
                <a:gd name="connsiteY63" fmla="*/ 196089 h 473910"/>
                <a:gd name="connsiteX64" fmla="*/ 464075 w 612265"/>
                <a:gd name="connsiteY64" fmla="*/ 189295 h 473910"/>
                <a:gd name="connsiteX65" fmla="*/ 469517 w 612265"/>
                <a:gd name="connsiteY65" fmla="*/ 196902 h 473910"/>
                <a:gd name="connsiteX66" fmla="*/ 462731 w 612265"/>
                <a:gd name="connsiteY66" fmla="*/ 241441 h 473910"/>
                <a:gd name="connsiteX67" fmla="*/ 467538 w 612265"/>
                <a:gd name="connsiteY67" fmla="*/ 246305 h 473910"/>
                <a:gd name="connsiteX68" fmla="*/ 473512 w 612265"/>
                <a:gd name="connsiteY68" fmla="*/ 251169 h 473910"/>
                <a:gd name="connsiteX69" fmla="*/ 480565 w 612265"/>
                <a:gd name="connsiteY69" fmla="*/ 255309 h 473910"/>
                <a:gd name="connsiteX70" fmla="*/ 504969 w 612265"/>
                <a:gd name="connsiteY70" fmla="*/ 255665 h 473910"/>
                <a:gd name="connsiteX71" fmla="*/ 533369 w 612265"/>
                <a:gd name="connsiteY71" fmla="*/ 254992 h 473910"/>
                <a:gd name="connsiteX72" fmla="*/ 548286 w 612265"/>
                <a:gd name="connsiteY72" fmla="*/ 252604 h 473910"/>
                <a:gd name="connsiteX73" fmla="*/ 548425 w 612265"/>
                <a:gd name="connsiteY73" fmla="*/ 252515 h 473910"/>
                <a:gd name="connsiteX74" fmla="*/ 564560 w 612265"/>
                <a:gd name="connsiteY74" fmla="*/ 240044 h 473910"/>
                <a:gd name="connsiteX75" fmla="*/ 581099 w 612265"/>
                <a:gd name="connsiteY75" fmla="*/ 219622 h 473910"/>
                <a:gd name="connsiteX76" fmla="*/ 581417 w 612265"/>
                <a:gd name="connsiteY76" fmla="*/ 219216 h 473910"/>
                <a:gd name="connsiteX77" fmla="*/ 612239 w 612265"/>
                <a:gd name="connsiteY77" fmla="*/ 183440 h 473910"/>
                <a:gd name="connsiteX78" fmla="*/ 611250 w 612265"/>
                <a:gd name="connsiteY78" fmla="*/ 188406 h 473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612265" h="473910">
                  <a:moveTo>
                    <a:pt x="611250" y="188406"/>
                  </a:moveTo>
                  <a:cubicBezTo>
                    <a:pt x="607648" y="200458"/>
                    <a:pt x="596245" y="224804"/>
                    <a:pt x="607876" y="227636"/>
                  </a:cubicBezTo>
                  <a:cubicBezTo>
                    <a:pt x="608041" y="229477"/>
                    <a:pt x="608371" y="231306"/>
                    <a:pt x="608865" y="233084"/>
                  </a:cubicBezTo>
                  <a:cubicBezTo>
                    <a:pt x="605986" y="237186"/>
                    <a:pt x="603525" y="239841"/>
                    <a:pt x="601940" y="237136"/>
                  </a:cubicBezTo>
                  <a:cubicBezTo>
                    <a:pt x="599112" y="232271"/>
                    <a:pt x="602625" y="219724"/>
                    <a:pt x="597906" y="229439"/>
                  </a:cubicBezTo>
                  <a:cubicBezTo>
                    <a:pt x="593187" y="239155"/>
                    <a:pt x="585907" y="240018"/>
                    <a:pt x="590626" y="246635"/>
                  </a:cubicBezTo>
                  <a:cubicBezTo>
                    <a:pt x="595382" y="253239"/>
                    <a:pt x="607926" y="255093"/>
                    <a:pt x="598794" y="257024"/>
                  </a:cubicBezTo>
                  <a:cubicBezTo>
                    <a:pt x="589725" y="259005"/>
                    <a:pt x="583611" y="253519"/>
                    <a:pt x="583205" y="263145"/>
                  </a:cubicBezTo>
                  <a:cubicBezTo>
                    <a:pt x="582762" y="272734"/>
                    <a:pt x="573235" y="293562"/>
                    <a:pt x="576647" y="299632"/>
                  </a:cubicBezTo>
                  <a:cubicBezTo>
                    <a:pt x="579730" y="307659"/>
                    <a:pt x="581937" y="316003"/>
                    <a:pt x="583205" y="324524"/>
                  </a:cubicBezTo>
                  <a:cubicBezTo>
                    <a:pt x="587620" y="337910"/>
                    <a:pt x="585158" y="352617"/>
                    <a:pt x="576647" y="363843"/>
                  </a:cubicBezTo>
                  <a:cubicBezTo>
                    <a:pt x="567921" y="373648"/>
                    <a:pt x="537593" y="401639"/>
                    <a:pt x="524199" y="403264"/>
                  </a:cubicBezTo>
                  <a:cubicBezTo>
                    <a:pt x="510804" y="404877"/>
                    <a:pt x="500428" y="410376"/>
                    <a:pt x="485689" y="411672"/>
                  </a:cubicBezTo>
                  <a:cubicBezTo>
                    <a:pt x="485334" y="411723"/>
                    <a:pt x="484966" y="411723"/>
                    <a:pt x="484561" y="411761"/>
                  </a:cubicBezTo>
                  <a:cubicBezTo>
                    <a:pt x="468299" y="413335"/>
                    <a:pt x="415000" y="420536"/>
                    <a:pt x="399982" y="428093"/>
                  </a:cubicBezTo>
                  <a:cubicBezTo>
                    <a:pt x="385991" y="434684"/>
                    <a:pt x="373193" y="443587"/>
                    <a:pt x="362145" y="454420"/>
                  </a:cubicBezTo>
                  <a:cubicBezTo>
                    <a:pt x="354547" y="463018"/>
                    <a:pt x="356526" y="478499"/>
                    <a:pt x="348129" y="472606"/>
                  </a:cubicBezTo>
                  <a:cubicBezTo>
                    <a:pt x="341787" y="467095"/>
                    <a:pt x="333644" y="464135"/>
                    <a:pt x="325247" y="464326"/>
                  </a:cubicBezTo>
                  <a:cubicBezTo>
                    <a:pt x="312169" y="463056"/>
                    <a:pt x="311091" y="462523"/>
                    <a:pt x="292801" y="460770"/>
                  </a:cubicBezTo>
                  <a:cubicBezTo>
                    <a:pt x="274510" y="459005"/>
                    <a:pt x="285520" y="456630"/>
                    <a:pt x="270832" y="458560"/>
                  </a:cubicBezTo>
                  <a:cubicBezTo>
                    <a:pt x="256181" y="460452"/>
                    <a:pt x="262295" y="465939"/>
                    <a:pt x="252807" y="460719"/>
                  </a:cubicBezTo>
                  <a:cubicBezTo>
                    <a:pt x="240377" y="456808"/>
                    <a:pt x="227071" y="456668"/>
                    <a:pt x="214565" y="460313"/>
                  </a:cubicBezTo>
                  <a:cubicBezTo>
                    <a:pt x="211914" y="456401"/>
                    <a:pt x="209174" y="452528"/>
                    <a:pt x="206700" y="448565"/>
                  </a:cubicBezTo>
                  <a:cubicBezTo>
                    <a:pt x="198659" y="435471"/>
                    <a:pt x="189044" y="423241"/>
                    <a:pt x="182207" y="409513"/>
                  </a:cubicBezTo>
                  <a:cubicBezTo>
                    <a:pt x="176956" y="394590"/>
                    <a:pt x="166796" y="381903"/>
                    <a:pt x="153401" y="373521"/>
                  </a:cubicBezTo>
                  <a:cubicBezTo>
                    <a:pt x="128274" y="361507"/>
                    <a:pt x="122528" y="339497"/>
                    <a:pt x="121400" y="315520"/>
                  </a:cubicBezTo>
                  <a:cubicBezTo>
                    <a:pt x="121310" y="313082"/>
                    <a:pt x="121133" y="310707"/>
                    <a:pt x="120816" y="308357"/>
                  </a:cubicBezTo>
                  <a:cubicBezTo>
                    <a:pt x="119269" y="284456"/>
                    <a:pt x="106394" y="262726"/>
                    <a:pt x="86175" y="249912"/>
                  </a:cubicBezTo>
                  <a:cubicBezTo>
                    <a:pt x="81317" y="246762"/>
                    <a:pt x="74709" y="242622"/>
                    <a:pt x="73631" y="237847"/>
                  </a:cubicBezTo>
                  <a:cubicBezTo>
                    <a:pt x="65766" y="203430"/>
                    <a:pt x="41185" y="178716"/>
                    <a:pt x="23845" y="149925"/>
                  </a:cubicBezTo>
                  <a:cubicBezTo>
                    <a:pt x="16514" y="139358"/>
                    <a:pt x="8548" y="129262"/>
                    <a:pt x="-26" y="119686"/>
                  </a:cubicBezTo>
                  <a:cubicBezTo>
                    <a:pt x="824" y="113615"/>
                    <a:pt x="2092" y="104840"/>
                    <a:pt x="3487" y="95531"/>
                  </a:cubicBezTo>
                  <a:cubicBezTo>
                    <a:pt x="10844" y="94730"/>
                    <a:pt x="18239" y="94375"/>
                    <a:pt x="25634" y="94489"/>
                  </a:cubicBezTo>
                  <a:cubicBezTo>
                    <a:pt x="29452" y="95162"/>
                    <a:pt x="37189" y="95746"/>
                    <a:pt x="37189" y="95746"/>
                  </a:cubicBezTo>
                  <a:lnTo>
                    <a:pt x="62355" y="75998"/>
                  </a:lnTo>
                  <a:cubicBezTo>
                    <a:pt x="68139" y="70677"/>
                    <a:pt x="73605" y="65012"/>
                    <a:pt x="78717" y="59031"/>
                  </a:cubicBezTo>
                  <a:cubicBezTo>
                    <a:pt x="82941" y="53405"/>
                    <a:pt x="88065" y="47829"/>
                    <a:pt x="74760" y="35320"/>
                  </a:cubicBezTo>
                  <a:cubicBezTo>
                    <a:pt x="61416" y="22810"/>
                    <a:pt x="70409" y="22633"/>
                    <a:pt x="70624" y="20334"/>
                  </a:cubicBezTo>
                  <a:cubicBezTo>
                    <a:pt x="70853" y="18035"/>
                    <a:pt x="85909" y="15114"/>
                    <a:pt x="90222" y="12689"/>
                  </a:cubicBezTo>
                  <a:cubicBezTo>
                    <a:pt x="99481" y="8586"/>
                    <a:pt x="109172" y="5576"/>
                    <a:pt x="119116" y="3684"/>
                  </a:cubicBezTo>
                  <a:cubicBezTo>
                    <a:pt x="122934" y="2973"/>
                    <a:pt x="124697" y="1614"/>
                    <a:pt x="125319" y="1"/>
                  </a:cubicBezTo>
                  <a:cubicBezTo>
                    <a:pt x="132016" y="979"/>
                    <a:pt x="138777" y="1512"/>
                    <a:pt x="145537" y="1614"/>
                  </a:cubicBezTo>
                  <a:cubicBezTo>
                    <a:pt x="156509" y="1614"/>
                    <a:pt x="180419" y="17997"/>
                    <a:pt x="189095" y="24652"/>
                  </a:cubicBezTo>
                  <a:cubicBezTo>
                    <a:pt x="197720" y="31319"/>
                    <a:pt x="208413" y="38330"/>
                    <a:pt x="220095" y="48236"/>
                  </a:cubicBezTo>
                  <a:cubicBezTo>
                    <a:pt x="231828" y="58129"/>
                    <a:pt x="243371" y="67895"/>
                    <a:pt x="257171" y="78335"/>
                  </a:cubicBezTo>
                  <a:cubicBezTo>
                    <a:pt x="268993" y="86755"/>
                    <a:pt x="282133" y="93168"/>
                    <a:pt x="296048" y="97270"/>
                  </a:cubicBezTo>
                  <a:cubicBezTo>
                    <a:pt x="303646" y="99531"/>
                    <a:pt x="311624" y="100217"/>
                    <a:pt x="319501" y="99302"/>
                  </a:cubicBezTo>
                  <a:cubicBezTo>
                    <a:pt x="324156" y="99747"/>
                    <a:pt x="328837" y="98960"/>
                    <a:pt x="333073" y="97017"/>
                  </a:cubicBezTo>
                  <a:cubicBezTo>
                    <a:pt x="339961" y="98629"/>
                    <a:pt x="351681" y="101461"/>
                    <a:pt x="354065" y="102046"/>
                  </a:cubicBezTo>
                  <a:cubicBezTo>
                    <a:pt x="357439" y="102858"/>
                    <a:pt x="363414" y="116943"/>
                    <a:pt x="363414" y="116943"/>
                  </a:cubicBezTo>
                  <a:cubicBezTo>
                    <a:pt x="363414" y="116943"/>
                    <a:pt x="373751" y="117578"/>
                    <a:pt x="383810" y="118162"/>
                  </a:cubicBezTo>
                  <a:cubicBezTo>
                    <a:pt x="384711" y="121261"/>
                    <a:pt x="385522" y="123877"/>
                    <a:pt x="386283" y="125757"/>
                  </a:cubicBezTo>
                  <a:cubicBezTo>
                    <a:pt x="388541" y="131586"/>
                    <a:pt x="391573" y="137060"/>
                    <a:pt x="395327" y="142051"/>
                  </a:cubicBezTo>
                  <a:cubicBezTo>
                    <a:pt x="396672" y="143803"/>
                    <a:pt x="398130" y="145467"/>
                    <a:pt x="399678" y="147042"/>
                  </a:cubicBezTo>
                  <a:cubicBezTo>
                    <a:pt x="402493" y="149899"/>
                    <a:pt x="405487" y="152566"/>
                    <a:pt x="408671" y="155005"/>
                  </a:cubicBezTo>
                  <a:cubicBezTo>
                    <a:pt x="412933" y="158383"/>
                    <a:pt x="417791" y="161761"/>
                    <a:pt x="423359" y="165800"/>
                  </a:cubicBezTo>
                  <a:cubicBezTo>
                    <a:pt x="425896" y="167717"/>
                    <a:pt x="428090" y="170029"/>
                    <a:pt x="429879" y="172645"/>
                  </a:cubicBezTo>
                  <a:cubicBezTo>
                    <a:pt x="430703" y="173763"/>
                    <a:pt x="431452" y="174956"/>
                    <a:pt x="432086" y="176201"/>
                  </a:cubicBezTo>
                  <a:cubicBezTo>
                    <a:pt x="433278" y="178182"/>
                    <a:pt x="433785" y="180506"/>
                    <a:pt x="433519" y="182818"/>
                  </a:cubicBezTo>
                  <a:cubicBezTo>
                    <a:pt x="433379" y="183351"/>
                    <a:pt x="433252" y="183897"/>
                    <a:pt x="433164" y="184431"/>
                  </a:cubicBezTo>
                  <a:cubicBezTo>
                    <a:pt x="432555" y="187758"/>
                    <a:pt x="432467" y="191162"/>
                    <a:pt x="432885" y="194514"/>
                  </a:cubicBezTo>
                  <a:cubicBezTo>
                    <a:pt x="433329" y="198083"/>
                    <a:pt x="434178" y="201588"/>
                    <a:pt x="435447" y="204954"/>
                  </a:cubicBezTo>
                  <a:cubicBezTo>
                    <a:pt x="439671" y="217146"/>
                    <a:pt x="447814" y="228754"/>
                    <a:pt x="451366" y="240361"/>
                  </a:cubicBezTo>
                  <a:cubicBezTo>
                    <a:pt x="455221" y="227407"/>
                    <a:pt x="458330" y="210669"/>
                    <a:pt x="462147" y="196089"/>
                  </a:cubicBezTo>
                  <a:cubicBezTo>
                    <a:pt x="462781" y="193752"/>
                    <a:pt x="463403" y="191504"/>
                    <a:pt x="464075" y="189295"/>
                  </a:cubicBezTo>
                  <a:cubicBezTo>
                    <a:pt x="466143" y="191644"/>
                    <a:pt x="467957" y="194184"/>
                    <a:pt x="469517" y="196902"/>
                  </a:cubicBezTo>
                  <a:cubicBezTo>
                    <a:pt x="478726" y="213679"/>
                    <a:pt x="468071" y="226823"/>
                    <a:pt x="462731" y="241441"/>
                  </a:cubicBezTo>
                  <a:cubicBezTo>
                    <a:pt x="464215" y="243067"/>
                    <a:pt x="465825" y="244730"/>
                    <a:pt x="467538" y="246305"/>
                  </a:cubicBezTo>
                  <a:cubicBezTo>
                    <a:pt x="469428" y="248045"/>
                    <a:pt x="471420" y="249670"/>
                    <a:pt x="473512" y="251169"/>
                  </a:cubicBezTo>
                  <a:cubicBezTo>
                    <a:pt x="475732" y="252744"/>
                    <a:pt x="478092" y="254141"/>
                    <a:pt x="480565" y="255309"/>
                  </a:cubicBezTo>
                  <a:cubicBezTo>
                    <a:pt x="488226" y="259119"/>
                    <a:pt x="497206" y="259259"/>
                    <a:pt x="504969" y="255665"/>
                  </a:cubicBezTo>
                  <a:cubicBezTo>
                    <a:pt x="514279" y="253391"/>
                    <a:pt x="523970" y="253163"/>
                    <a:pt x="533369" y="254992"/>
                  </a:cubicBezTo>
                  <a:cubicBezTo>
                    <a:pt x="538468" y="255335"/>
                    <a:pt x="543567" y="254522"/>
                    <a:pt x="548286" y="252604"/>
                  </a:cubicBezTo>
                  <a:lnTo>
                    <a:pt x="548425" y="252515"/>
                  </a:lnTo>
                  <a:cubicBezTo>
                    <a:pt x="554704" y="249670"/>
                    <a:pt x="560234" y="245403"/>
                    <a:pt x="564560" y="240044"/>
                  </a:cubicBezTo>
                  <a:cubicBezTo>
                    <a:pt x="569772" y="234202"/>
                    <a:pt x="575303" y="227052"/>
                    <a:pt x="581099" y="219622"/>
                  </a:cubicBezTo>
                  <a:cubicBezTo>
                    <a:pt x="581214" y="219495"/>
                    <a:pt x="581328" y="219356"/>
                    <a:pt x="581417" y="219216"/>
                  </a:cubicBezTo>
                  <a:cubicBezTo>
                    <a:pt x="590765" y="206516"/>
                    <a:pt x="601065" y="194565"/>
                    <a:pt x="612239" y="183440"/>
                  </a:cubicBezTo>
                  <a:cubicBezTo>
                    <a:pt x="612112" y="185129"/>
                    <a:pt x="611783" y="186793"/>
                    <a:pt x="611250" y="188406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6" name="Vrije vorm 295">
              <a:extLst>
                <a:ext uri="{FF2B5EF4-FFF2-40B4-BE49-F238E27FC236}">
                  <a16:creationId xmlns:a16="http://schemas.microsoft.com/office/drawing/2014/main" id="{A5147AE6-68DB-2B4F-A5D1-BB28439AB7A7}"/>
                </a:ext>
              </a:extLst>
            </p:cNvPr>
            <p:cNvSpPr/>
            <p:nvPr/>
          </p:nvSpPr>
          <p:spPr>
            <a:xfrm>
              <a:off x="6693888" y="3850093"/>
              <a:ext cx="304470" cy="184231"/>
            </a:xfrm>
            <a:custGeom>
              <a:avLst/>
              <a:gdLst>
                <a:gd name="connsiteX0" fmla="*/ 304445 w 304470"/>
                <a:gd name="connsiteY0" fmla="*/ 68213 h 184231"/>
                <a:gd name="connsiteX1" fmla="*/ 299765 w 304470"/>
                <a:gd name="connsiteY1" fmla="*/ 69699 h 184231"/>
                <a:gd name="connsiteX2" fmla="*/ 296492 w 304470"/>
                <a:gd name="connsiteY2" fmla="*/ 70778 h 184231"/>
                <a:gd name="connsiteX3" fmla="*/ 295096 w 304470"/>
                <a:gd name="connsiteY3" fmla="*/ 71223 h 184231"/>
                <a:gd name="connsiteX4" fmla="*/ 293879 w 304470"/>
                <a:gd name="connsiteY4" fmla="*/ 71718 h 184231"/>
                <a:gd name="connsiteX5" fmla="*/ 293473 w 304470"/>
                <a:gd name="connsiteY5" fmla="*/ 71909 h 184231"/>
                <a:gd name="connsiteX6" fmla="*/ 279495 w 304470"/>
                <a:gd name="connsiteY6" fmla="*/ 86437 h 184231"/>
                <a:gd name="connsiteX7" fmla="*/ 277656 w 304470"/>
                <a:gd name="connsiteY7" fmla="*/ 92914 h 184231"/>
                <a:gd name="connsiteX8" fmla="*/ 260938 w 304470"/>
                <a:gd name="connsiteY8" fmla="*/ 105551 h 184231"/>
                <a:gd name="connsiteX9" fmla="*/ 216404 w 304470"/>
                <a:gd name="connsiteY9" fmla="*/ 120270 h 184231"/>
                <a:gd name="connsiteX10" fmla="*/ 187687 w 304470"/>
                <a:gd name="connsiteY10" fmla="*/ 135205 h 184231"/>
                <a:gd name="connsiteX11" fmla="*/ 186875 w 304470"/>
                <a:gd name="connsiteY11" fmla="*/ 135612 h 184231"/>
                <a:gd name="connsiteX12" fmla="*/ 168546 w 304470"/>
                <a:gd name="connsiteY12" fmla="*/ 144210 h 184231"/>
                <a:gd name="connsiteX13" fmla="*/ 149038 w 304470"/>
                <a:gd name="connsiteY13" fmla="*/ 150420 h 184231"/>
                <a:gd name="connsiteX14" fmla="*/ 146831 w 304470"/>
                <a:gd name="connsiteY14" fmla="*/ 151093 h 184231"/>
                <a:gd name="connsiteX15" fmla="*/ 55023 w 304470"/>
                <a:gd name="connsiteY15" fmla="*/ 182462 h 184231"/>
                <a:gd name="connsiteX16" fmla="*/ 26623 w 304470"/>
                <a:gd name="connsiteY16" fmla="*/ 164288 h 184231"/>
                <a:gd name="connsiteX17" fmla="*/ 14941 w 304470"/>
                <a:gd name="connsiteY17" fmla="*/ 110961 h 184231"/>
                <a:gd name="connsiteX18" fmla="*/ 12328 w 304470"/>
                <a:gd name="connsiteY18" fmla="*/ 95886 h 184231"/>
                <a:gd name="connsiteX19" fmla="*/ -26 w 304470"/>
                <a:gd name="connsiteY19" fmla="*/ 48553 h 184231"/>
                <a:gd name="connsiteX20" fmla="*/ 38216 w 304470"/>
                <a:gd name="connsiteY20" fmla="*/ 48960 h 184231"/>
                <a:gd name="connsiteX21" fmla="*/ 56241 w 304470"/>
                <a:gd name="connsiteY21" fmla="*/ 46801 h 184231"/>
                <a:gd name="connsiteX22" fmla="*/ 78210 w 304470"/>
                <a:gd name="connsiteY22" fmla="*/ 49011 h 184231"/>
                <a:gd name="connsiteX23" fmla="*/ 110656 w 304470"/>
                <a:gd name="connsiteY23" fmla="*/ 52567 h 184231"/>
                <a:gd name="connsiteX24" fmla="*/ 133538 w 304470"/>
                <a:gd name="connsiteY24" fmla="*/ 60847 h 184231"/>
                <a:gd name="connsiteX25" fmla="*/ 147554 w 304470"/>
                <a:gd name="connsiteY25" fmla="*/ 42661 h 184231"/>
                <a:gd name="connsiteX26" fmla="*/ 185391 w 304470"/>
                <a:gd name="connsiteY26" fmla="*/ 16333 h 184231"/>
                <a:gd name="connsiteX27" fmla="*/ 269970 w 304470"/>
                <a:gd name="connsiteY27" fmla="*/ 1 h 184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04470" h="184231">
                  <a:moveTo>
                    <a:pt x="304445" y="68213"/>
                  </a:moveTo>
                  <a:cubicBezTo>
                    <a:pt x="302872" y="68670"/>
                    <a:pt x="301299" y="69165"/>
                    <a:pt x="299765" y="69699"/>
                  </a:cubicBezTo>
                  <a:cubicBezTo>
                    <a:pt x="298597" y="70054"/>
                    <a:pt x="297520" y="70423"/>
                    <a:pt x="296492" y="70778"/>
                  </a:cubicBezTo>
                  <a:cubicBezTo>
                    <a:pt x="296035" y="70918"/>
                    <a:pt x="295541" y="71045"/>
                    <a:pt x="295096" y="71223"/>
                  </a:cubicBezTo>
                  <a:cubicBezTo>
                    <a:pt x="294691" y="71362"/>
                    <a:pt x="294285" y="71540"/>
                    <a:pt x="293879" y="71718"/>
                  </a:cubicBezTo>
                  <a:cubicBezTo>
                    <a:pt x="293739" y="71769"/>
                    <a:pt x="293600" y="71820"/>
                    <a:pt x="293473" y="71909"/>
                  </a:cubicBezTo>
                  <a:cubicBezTo>
                    <a:pt x="286991" y="74576"/>
                    <a:pt x="281917" y="79846"/>
                    <a:pt x="279495" y="86437"/>
                  </a:cubicBezTo>
                  <a:cubicBezTo>
                    <a:pt x="279153" y="88660"/>
                    <a:pt x="278531" y="90844"/>
                    <a:pt x="277656" y="92914"/>
                  </a:cubicBezTo>
                  <a:cubicBezTo>
                    <a:pt x="274168" y="99353"/>
                    <a:pt x="268067" y="103963"/>
                    <a:pt x="260938" y="105551"/>
                  </a:cubicBezTo>
                  <a:cubicBezTo>
                    <a:pt x="246199" y="110821"/>
                    <a:pt x="230966" y="114606"/>
                    <a:pt x="216404" y="120270"/>
                  </a:cubicBezTo>
                  <a:cubicBezTo>
                    <a:pt x="206573" y="124741"/>
                    <a:pt x="196984" y="129732"/>
                    <a:pt x="187687" y="135205"/>
                  </a:cubicBezTo>
                  <a:lnTo>
                    <a:pt x="186875" y="135612"/>
                  </a:lnTo>
                  <a:cubicBezTo>
                    <a:pt x="180914" y="138799"/>
                    <a:pt x="174800" y="141670"/>
                    <a:pt x="168546" y="144210"/>
                  </a:cubicBezTo>
                  <a:cubicBezTo>
                    <a:pt x="162204" y="146635"/>
                    <a:pt x="155558" y="148401"/>
                    <a:pt x="149038" y="150420"/>
                  </a:cubicBezTo>
                  <a:cubicBezTo>
                    <a:pt x="148315" y="150649"/>
                    <a:pt x="147554" y="150864"/>
                    <a:pt x="146831" y="151093"/>
                  </a:cubicBezTo>
                  <a:cubicBezTo>
                    <a:pt x="116098" y="161215"/>
                    <a:pt x="85402" y="171248"/>
                    <a:pt x="55023" y="182462"/>
                  </a:cubicBezTo>
                  <a:cubicBezTo>
                    <a:pt x="39701" y="188088"/>
                    <a:pt x="30035" y="179846"/>
                    <a:pt x="26623" y="164288"/>
                  </a:cubicBezTo>
                  <a:cubicBezTo>
                    <a:pt x="22755" y="146508"/>
                    <a:pt x="18797" y="128741"/>
                    <a:pt x="14941" y="110961"/>
                  </a:cubicBezTo>
                  <a:cubicBezTo>
                    <a:pt x="13812" y="105919"/>
                    <a:pt x="10983" y="100204"/>
                    <a:pt x="12328" y="95886"/>
                  </a:cubicBezTo>
                  <a:cubicBezTo>
                    <a:pt x="18581" y="76366"/>
                    <a:pt x="9538" y="62371"/>
                    <a:pt x="-26" y="48553"/>
                  </a:cubicBezTo>
                  <a:cubicBezTo>
                    <a:pt x="12480" y="44908"/>
                    <a:pt x="25786" y="45048"/>
                    <a:pt x="38216" y="48960"/>
                  </a:cubicBezTo>
                  <a:cubicBezTo>
                    <a:pt x="47692" y="54179"/>
                    <a:pt x="41590" y="48693"/>
                    <a:pt x="56241" y="46801"/>
                  </a:cubicBezTo>
                  <a:cubicBezTo>
                    <a:pt x="70929" y="44870"/>
                    <a:pt x="59919" y="47245"/>
                    <a:pt x="78210" y="49011"/>
                  </a:cubicBezTo>
                  <a:cubicBezTo>
                    <a:pt x="96500" y="50763"/>
                    <a:pt x="97578" y="51296"/>
                    <a:pt x="110656" y="52567"/>
                  </a:cubicBezTo>
                  <a:cubicBezTo>
                    <a:pt x="119040" y="52376"/>
                    <a:pt x="127196" y="55335"/>
                    <a:pt x="133538" y="60847"/>
                  </a:cubicBezTo>
                  <a:cubicBezTo>
                    <a:pt x="141935" y="66740"/>
                    <a:pt x="139956" y="51258"/>
                    <a:pt x="147554" y="42661"/>
                  </a:cubicBezTo>
                  <a:cubicBezTo>
                    <a:pt x="158602" y="31827"/>
                    <a:pt x="171388" y="22925"/>
                    <a:pt x="185391" y="16333"/>
                  </a:cubicBezTo>
                  <a:cubicBezTo>
                    <a:pt x="200409" y="8777"/>
                    <a:pt x="253695" y="1576"/>
                    <a:pt x="269970" y="1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7" name="Vrije vorm 296">
              <a:extLst>
                <a:ext uri="{FF2B5EF4-FFF2-40B4-BE49-F238E27FC236}">
                  <a16:creationId xmlns:a16="http://schemas.microsoft.com/office/drawing/2014/main" id="{6F2AA753-D095-DB49-94D1-6160C1359F0D}"/>
                </a:ext>
              </a:extLst>
            </p:cNvPr>
            <p:cNvSpPr/>
            <p:nvPr/>
          </p:nvSpPr>
          <p:spPr>
            <a:xfrm>
              <a:off x="6963896" y="3664183"/>
              <a:ext cx="226310" cy="254134"/>
            </a:xfrm>
            <a:custGeom>
              <a:avLst/>
              <a:gdLst>
                <a:gd name="connsiteX0" fmla="*/ 226285 w 226310"/>
                <a:gd name="connsiteY0" fmla="*/ 84895 h 254134"/>
                <a:gd name="connsiteX1" fmla="*/ 219537 w 226310"/>
                <a:gd name="connsiteY1" fmla="*/ 94255 h 254134"/>
                <a:gd name="connsiteX2" fmla="*/ 197302 w 226310"/>
                <a:gd name="connsiteY2" fmla="*/ 125205 h 254134"/>
                <a:gd name="connsiteX3" fmla="*/ 189298 w 226310"/>
                <a:gd name="connsiteY3" fmla="*/ 136318 h 254134"/>
                <a:gd name="connsiteX4" fmla="*/ 180178 w 226310"/>
                <a:gd name="connsiteY4" fmla="*/ 138578 h 254134"/>
                <a:gd name="connsiteX5" fmla="*/ 180089 w 226310"/>
                <a:gd name="connsiteY5" fmla="*/ 138616 h 254134"/>
                <a:gd name="connsiteX6" fmla="*/ 167634 w 226310"/>
                <a:gd name="connsiteY6" fmla="*/ 153107 h 254134"/>
                <a:gd name="connsiteX7" fmla="*/ 166289 w 226310"/>
                <a:gd name="connsiteY7" fmla="*/ 177364 h 254134"/>
                <a:gd name="connsiteX8" fmla="*/ 166289 w 226310"/>
                <a:gd name="connsiteY8" fmla="*/ 177453 h 254134"/>
                <a:gd name="connsiteX9" fmla="*/ 166112 w 226310"/>
                <a:gd name="connsiteY9" fmla="*/ 180603 h 254134"/>
                <a:gd name="connsiteX10" fmla="*/ 165832 w 226310"/>
                <a:gd name="connsiteY10" fmla="*/ 183219 h 254134"/>
                <a:gd name="connsiteX11" fmla="*/ 164894 w 226310"/>
                <a:gd name="connsiteY11" fmla="*/ 183346 h 254134"/>
                <a:gd name="connsiteX12" fmla="*/ 138701 w 226310"/>
                <a:gd name="connsiteY12" fmla="*/ 193607 h 254134"/>
                <a:gd name="connsiteX13" fmla="*/ 131864 w 226310"/>
                <a:gd name="connsiteY13" fmla="*/ 205977 h 254134"/>
                <a:gd name="connsiteX14" fmla="*/ 130925 w 226310"/>
                <a:gd name="connsiteY14" fmla="*/ 207743 h 254134"/>
                <a:gd name="connsiteX15" fmla="*/ 117531 w 226310"/>
                <a:gd name="connsiteY15" fmla="*/ 214715 h 254134"/>
                <a:gd name="connsiteX16" fmla="*/ 101396 w 226310"/>
                <a:gd name="connsiteY16" fmla="*/ 220201 h 254134"/>
                <a:gd name="connsiteX17" fmla="*/ 95461 w 226310"/>
                <a:gd name="connsiteY17" fmla="*/ 232266 h 254134"/>
                <a:gd name="connsiteX18" fmla="*/ 92860 w 226310"/>
                <a:gd name="connsiteY18" fmla="*/ 238159 h 254134"/>
                <a:gd name="connsiteX19" fmla="*/ 79922 w 226310"/>
                <a:gd name="connsiteY19" fmla="*/ 242655 h 254134"/>
                <a:gd name="connsiteX20" fmla="*/ 59691 w 226310"/>
                <a:gd name="connsiteY20" fmla="*/ 247163 h 254134"/>
                <a:gd name="connsiteX21" fmla="*/ 43836 w 226310"/>
                <a:gd name="connsiteY21" fmla="*/ 251303 h 254134"/>
                <a:gd name="connsiteX22" fmla="*/ 34450 w 226310"/>
                <a:gd name="connsiteY22" fmla="*/ 254136 h 254134"/>
                <a:gd name="connsiteX23" fmla="*/ -26 w 226310"/>
                <a:gd name="connsiteY23" fmla="*/ 185924 h 254134"/>
                <a:gd name="connsiteX24" fmla="*/ 1103 w 226310"/>
                <a:gd name="connsiteY24" fmla="*/ 185835 h 254134"/>
                <a:gd name="connsiteX25" fmla="*/ 39612 w 226310"/>
                <a:gd name="connsiteY25" fmla="*/ 177415 h 254134"/>
                <a:gd name="connsiteX26" fmla="*/ 92061 w 226310"/>
                <a:gd name="connsiteY26" fmla="*/ 137994 h 254134"/>
                <a:gd name="connsiteX27" fmla="*/ 98618 w 226310"/>
                <a:gd name="connsiteY27" fmla="*/ 98675 h 254134"/>
                <a:gd name="connsiteX28" fmla="*/ 92061 w 226310"/>
                <a:gd name="connsiteY28" fmla="*/ 73783 h 254134"/>
                <a:gd name="connsiteX29" fmla="*/ 98618 w 226310"/>
                <a:gd name="connsiteY29" fmla="*/ 37296 h 254134"/>
                <a:gd name="connsiteX30" fmla="*/ 114207 w 226310"/>
                <a:gd name="connsiteY30" fmla="*/ 31174 h 254134"/>
                <a:gd name="connsiteX31" fmla="*/ 106039 w 226310"/>
                <a:gd name="connsiteY31" fmla="*/ 20786 h 254134"/>
                <a:gd name="connsiteX32" fmla="*/ 113319 w 226310"/>
                <a:gd name="connsiteY32" fmla="*/ 3590 h 254134"/>
                <a:gd name="connsiteX33" fmla="*/ 117354 w 226310"/>
                <a:gd name="connsiteY33" fmla="*/ 11286 h 254134"/>
                <a:gd name="connsiteX34" fmla="*/ 124279 w 226310"/>
                <a:gd name="connsiteY34" fmla="*/ 7235 h 254134"/>
                <a:gd name="connsiteX35" fmla="*/ 156725 w 226310"/>
                <a:gd name="connsiteY35" fmla="*/ 35543 h 254134"/>
                <a:gd name="connsiteX36" fmla="*/ 159693 w 226310"/>
                <a:gd name="connsiteY36" fmla="*/ 36039 h 254134"/>
                <a:gd name="connsiteX37" fmla="*/ 220628 w 226310"/>
                <a:gd name="connsiteY37" fmla="*/ 78203 h 254134"/>
                <a:gd name="connsiteX38" fmla="*/ 221389 w 226310"/>
                <a:gd name="connsiteY38" fmla="*/ 79104 h 254134"/>
                <a:gd name="connsiteX39" fmla="*/ 226285 w 226310"/>
                <a:gd name="connsiteY39" fmla="*/ 84895 h 254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226310" h="254134">
                  <a:moveTo>
                    <a:pt x="226285" y="84895"/>
                  </a:moveTo>
                  <a:cubicBezTo>
                    <a:pt x="224040" y="87994"/>
                    <a:pt x="221833" y="91106"/>
                    <a:pt x="219537" y="94255"/>
                  </a:cubicBezTo>
                  <a:cubicBezTo>
                    <a:pt x="212218" y="104428"/>
                    <a:pt x="204798" y="114766"/>
                    <a:pt x="197302" y="125205"/>
                  </a:cubicBezTo>
                  <a:cubicBezTo>
                    <a:pt x="194638" y="128888"/>
                    <a:pt x="191949" y="132635"/>
                    <a:pt x="189298" y="136318"/>
                  </a:cubicBezTo>
                  <a:cubicBezTo>
                    <a:pt x="186178" y="136724"/>
                    <a:pt x="183121" y="137473"/>
                    <a:pt x="180178" y="138578"/>
                  </a:cubicBezTo>
                  <a:cubicBezTo>
                    <a:pt x="180127" y="138528"/>
                    <a:pt x="180127" y="138528"/>
                    <a:pt x="180089" y="138616"/>
                  </a:cubicBezTo>
                  <a:cubicBezTo>
                    <a:pt x="173684" y="140928"/>
                    <a:pt x="168965" y="146427"/>
                    <a:pt x="167634" y="153107"/>
                  </a:cubicBezTo>
                  <a:cubicBezTo>
                    <a:pt x="166466" y="161134"/>
                    <a:pt x="166010" y="169249"/>
                    <a:pt x="166289" y="177364"/>
                  </a:cubicBezTo>
                  <a:lnTo>
                    <a:pt x="166289" y="177453"/>
                  </a:lnTo>
                  <a:cubicBezTo>
                    <a:pt x="166238" y="178533"/>
                    <a:pt x="166200" y="179574"/>
                    <a:pt x="166112" y="180603"/>
                  </a:cubicBezTo>
                  <a:cubicBezTo>
                    <a:pt x="166023" y="181504"/>
                    <a:pt x="165921" y="182355"/>
                    <a:pt x="165832" y="183219"/>
                  </a:cubicBezTo>
                  <a:lnTo>
                    <a:pt x="164894" y="183346"/>
                  </a:lnTo>
                  <a:cubicBezTo>
                    <a:pt x="155254" y="183689"/>
                    <a:pt x="146007" y="187308"/>
                    <a:pt x="138701" y="193607"/>
                  </a:cubicBezTo>
                  <a:cubicBezTo>
                    <a:pt x="135391" y="197074"/>
                    <a:pt x="133031" y="201342"/>
                    <a:pt x="131864" y="205977"/>
                  </a:cubicBezTo>
                  <a:cubicBezTo>
                    <a:pt x="131661" y="206625"/>
                    <a:pt x="131344" y="207222"/>
                    <a:pt x="130925" y="207743"/>
                  </a:cubicBezTo>
                  <a:cubicBezTo>
                    <a:pt x="127323" y="211438"/>
                    <a:pt x="122630" y="213889"/>
                    <a:pt x="117531" y="214715"/>
                  </a:cubicBezTo>
                  <a:cubicBezTo>
                    <a:pt x="111773" y="215147"/>
                    <a:pt x="106216" y="217026"/>
                    <a:pt x="101396" y="220201"/>
                  </a:cubicBezTo>
                  <a:cubicBezTo>
                    <a:pt x="97857" y="223237"/>
                    <a:pt x="95714" y="227605"/>
                    <a:pt x="95461" y="232266"/>
                  </a:cubicBezTo>
                  <a:cubicBezTo>
                    <a:pt x="95283" y="234463"/>
                    <a:pt x="94357" y="236546"/>
                    <a:pt x="92860" y="238159"/>
                  </a:cubicBezTo>
                  <a:cubicBezTo>
                    <a:pt x="89042" y="240826"/>
                    <a:pt x="84565" y="242375"/>
                    <a:pt x="79922" y="242655"/>
                  </a:cubicBezTo>
                  <a:cubicBezTo>
                    <a:pt x="73174" y="244052"/>
                    <a:pt x="66389" y="245538"/>
                    <a:pt x="59691" y="247163"/>
                  </a:cubicBezTo>
                  <a:cubicBezTo>
                    <a:pt x="54351" y="248421"/>
                    <a:pt x="49087" y="249818"/>
                    <a:pt x="43836" y="251303"/>
                  </a:cubicBezTo>
                  <a:cubicBezTo>
                    <a:pt x="40690" y="252193"/>
                    <a:pt x="37544" y="253094"/>
                    <a:pt x="34450" y="254136"/>
                  </a:cubicBezTo>
                  <a:lnTo>
                    <a:pt x="-26" y="185924"/>
                  </a:lnTo>
                  <a:cubicBezTo>
                    <a:pt x="380" y="185873"/>
                    <a:pt x="735" y="185873"/>
                    <a:pt x="1103" y="185835"/>
                  </a:cubicBezTo>
                  <a:cubicBezTo>
                    <a:pt x="15841" y="184527"/>
                    <a:pt x="26218" y="179040"/>
                    <a:pt x="39612" y="177415"/>
                  </a:cubicBezTo>
                  <a:cubicBezTo>
                    <a:pt x="53007" y="175802"/>
                    <a:pt x="83335" y="147811"/>
                    <a:pt x="92061" y="137994"/>
                  </a:cubicBezTo>
                  <a:cubicBezTo>
                    <a:pt x="100573" y="126767"/>
                    <a:pt x="103033" y="112061"/>
                    <a:pt x="98618" y="98675"/>
                  </a:cubicBezTo>
                  <a:cubicBezTo>
                    <a:pt x="97350" y="90166"/>
                    <a:pt x="95143" y="81822"/>
                    <a:pt x="92061" y="73783"/>
                  </a:cubicBezTo>
                  <a:cubicBezTo>
                    <a:pt x="88636" y="67712"/>
                    <a:pt x="98175" y="46884"/>
                    <a:pt x="98618" y="37296"/>
                  </a:cubicBezTo>
                  <a:cubicBezTo>
                    <a:pt x="99025" y="27669"/>
                    <a:pt x="105139" y="33156"/>
                    <a:pt x="114207" y="31174"/>
                  </a:cubicBezTo>
                  <a:cubicBezTo>
                    <a:pt x="123340" y="29244"/>
                    <a:pt x="110796" y="27403"/>
                    <a:pt x="106039" y="20786"/>
                  </a:cubicBezTo>
                  <a:cubicBezTo>
                    <a:pt x="101320" y="14169"/>
                    <a:pt x="108602" y="13318"/>
                    <a:pt x="113319" y="3590"/>
                  </a:cubicBezTo>
                  <a:cubicBezTo>
                    <a:pt x="118038" y="-6126"/>
                    <a:pt x="114525" y="6435"/>
                    <a:pt x="117354" y="11286"/>
                  </a:cubicBezTo>
                  <a:cubicBezTo>
                    <a:pt x="118926" y="13991"/>
                    <a:pt x="121400" y="11337"/>
                    <a:pt x="124279" y="7235"/>
                  </a:cubicBezTo>
                  <a:cubicBezTo>
                    <a:pt x="128147" y="22526"/>
                    <a:pt x="141073" y="33803"/>
                    <a:pt x="156725" y="35543"/>
                  </a:cubicBezTo>
                  <a:cubicBezTo>
                    <a:pt x="157714" y="35683"/>
                    <a:pt x="158703" y="35861"/>
                    <a:pt x="159693" y="36039"/>
                  </a:cubicBezTo>
                  <a:cubicBezTo>
                    <a:pt x="186787" y="40941"/>
                    <a:pt x="203378" y="57857"/>
                    <a:pt x="220628" y="78203"/>
                  </a:cubicBezTo>
                  <a:cubicBezTo>
                    <a:pt x="220907" y="78482"/>
                    <a:pt x="221161" y="78787"/>
                    <a:pt x="221389" y="79104"/>
                  </a:cubicBezTo>
                  <a:cubicBezTo>
                    <a:pt x="223000" y="80984"/>
                    <a:pt x="224661" y="82914"/>
                    <a:pt x="226285" y="84895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8" name="Vrije vorm 297">
              <a:extLst>
                <a:ext uri="{FF2B5EF4-FFF2-40B4-BE49-F238E27FC236}">
                  <a16:creationId xmlns:a16="http://schemas.microsoft.com/office/drawing/2014/main" id="{9ABFEA6C-3EEA-E147-BEF1-20408F28E8EF}"/>
                </a:ext>
              </a:extLst>
            </p:cNvPr>
            <p:cNvSpPr/>
            <p:nvPr/>
          </p:nvSpPr>
          <p:spPr>
            <a:xfrm>
              <a:off x="6046525" y="2511866"/>
              <a:ext cx="89132" cy="45623"/>
            </a:xfrm>
            <a:custGeom>
              <a:avLst/>
              <a:gdLst>
                <a:gd name="connsiteX0" fmla="*/ 87660 w 89132"/>
                <a:gd name="connsiteY0" fmla="*/ 32084 h 45623"/>
                <a:gd name="connsiteX1" fmla="*/ 86176 w 89132"/>
                <a:gd name="connsiteY1" fmla="*/ 45402 h 45623"/>
                <a:gd name="connsiteX2" fmla="*/ -26 w 89132"/>
                <a:gd name="connsiteY2" fmla="*/ 42072 h 45623"/>
                <a:gd name="connsiteX3" fmla="*/ 17326 w 89132"/>
                <a:gd name="connsiteY3" fmla="*/ 17191 h 45623"/>
                <a:gd name="connsiteX4" fmla="*/ 38356 w 89132"/>
                <a:gd name="connsiteY4" fmla="*/ 1 h 45623"/>
                <a:gd name="connsiteX5" fmla="*/ 37100 w 89132"/>
                <a:gd name="connsiteY5" fmla="*/ 3961 h 45623"/>
                <a:gd name="connsiteX6" fmla="*/ 46360 w 89132"/>
                <a:gd name="connsiteY6" fmla="*/ 18185 h 45623"/>
                <a:gd name="connsiteX7" fmla="*/ 46081 w 89132"/>
                <a:gd name="connsiteY7" fmla="*/ 2842 h 45623"/>
                <a:gd name="connsiteX8" fmla="*/ 47438 w 89132"/>
                <a:gd name="connsiteY8" fmla="*/ 2842 h 45623"/>
                <a:gd name="connsiteX9" fmla="*/ 58537 w 89132"/>
                <a:gd name="connsiteY9" fmla="*/ 8826 h 45623"/>
                <a:gd name="connsiteX10" fmla="*/ 75343 w 89132"/>
                <a:gd name="connsiteY10" fmla="*/ 11661 h 45623"/>
                <a:gd name="connsiteX11" fmla="*/ 83563 w 89132"/>
                <a:gd name="connsiteY11" fmla="*/ 11390 h 45623"/>
                <a:gd name="connsiteX12" fmla="*/ 88243 w 89132"/>
                <a:gd name="connsiteY12" fmla="*/ 21830 h 45623"/>
                <a:gd name="connsiteX13" fmla="*/ 87660 w 89132"/>
                <a:gd name="connsiteY13" fmla="*/ 32084 h 45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132" h="45623">
                  <a:moveTo>
                    <a:pt x="87660" y="32084"/>
                  </a:moveTo>
                  <a:cubicBezTo>
                    <a:pt x="87571" y="36559"/>
                    <a:pt x="87076" y="41018"/>
                    <a:pt x="86176" y="45402"/>
                  </a:cubicBezTo>
                  <a:cubicBezTo>
                    <a:pt x="79973" y="46528"/>
                    <a:pt x="17732" y="43063"/>
                    <a:pt x="-26" y="42072"/>
                  </a:cubicBezTo>
                  <a:cubicBezTo>
                    <a:pt x="7838" y="33793"/>
                    <a:pt x="8383" y="18765"/>
                    <a:pt x="17326" y="17191"/>
                  </a:cubicBezTo>
                  <a:cubicBezTo>
                    <a:pt x="26446" y="17325"/>
                    <a:pt x="33727" y="8461"/>
                    <a:pt x="38356" y="1"/>
                  </a:cubicBezTo>
                  <a:cubicBezTo>
                    <a:pt x="37951" y="1216"/>
                    <a:pt x="37544" y="2521"/>
                    <a:pt x="37100" y="3961"/>
                  </a:cubicBezTo>
                  <a:cubicBezTo>
                    <a:pt x="23795" y="16695"/>
                    <a:pt x="30086" y="22770"/>
                    <a:pt x="46360" y="18185"/>
                  </a:cubicBezTo>
                  <a:cubicBezTo>
                    <a:pt x="46538" y="12875"/>
                    <a:pt x="46398" y="7791"/>
                    <a:pt x="46081" y="2842"/>
                  </a:cubicBezTo>
                  <a:cubicBezTo>
                    <a:pt x="46538" y="2796"/>
                    <a:pt x="46981" y="2796"/>
                    <a:pt x="47438" y="2842"/>
                  </a:cubicBezTo>
                  <a:cubicBezTo>
                    <a:pt x="52512" y="3246"/>
                    <a:pt x="48745" y="7116"/>
                    <a:pt x="58537" y="8826"/>
                  </a:cubicBezTo>
                  <a:cubicBezTo>
                    <a:pt x="68291" y="10536"/>
                    <a:pt x="70079" y="10985"/>
                    <a:pt x="75343" y="11661"/>
                  </a:cubicBezTo>
                  <a:cubicBezTo>
                    <a:pt x="80556" y="12296"/>
                    <a:pt x="78844" y="5362"/>
                    <a:pt x="83563" y="11390"/>
                  </a:cubicBezTo>
                  <a:cubicBezTo>
                    <a:pt x="88243" y="17465"/>
                    <a:pt x="86125" y="15260"/>
                    <a:pt x="88243" y="21830"/>
                  </a:cubicBezTo>
                  <a:cubicBezTo>
                    <a:pt x="90311" y="28394"/>
                    <a:pt x="88066" y="22950"/>
                    <a:pt x="87660" y="32084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9" name="Vrije vorm 298">
              <a:extLst>
                <a:ext uri="{FF2B5EF4-FFF2-40B4-BE49-F238E27FC236}">
                  <a16:creationId xmlns:a16="http://schemas.microsoft.com/office/drawing/2014/main" id="{6AC40B88-763A-824B-83B9-46AFA6171ABA}"/>
                </a:ext>
              </a:extLst>
            </p:cNvPr>
            <p:cNvSpPr/>
            <p:nvPr/>
          </p:nvSpPr>
          <p:spPr>
            <a:xfrm>
              <a:off x="6087546" y="2455213"/>
              <a:ext cx="159514" cy="125633"/>
            </a:xfrm>
            <a:custGeom>
              <a:avLst/>
              <a:gdLst>
                <a:gd name="connsiteX0" fmla="*/ 157055 w 159514"/>
                <a:gd name="connsiteY0" fmla="*/ 65923 h 125633"/>
                <a:gd name="connsiteX1" fmla="*/ 145855 w 159514"/>
                <a:gd name="connsiteY1" fmla="*/ 70876 h 125633"/>
                <a:gd name="connsiteX2" fmla="*/ 138003 w 159514"/>
                <a:gd name="connsiteY2" fmla="*/ 74386 h 125633"/>
                <a:gd name="connsiteX3" fmla="*/ 131610 w 159514"/>
                <a:gd name="connsiteY3" fmla="*/ 88737 h 125633"/>
                <a:gd name="connsiteX4" fmla="*/ 131610 w 159514"/>
                <a:gd name="connsiteY4" fmla="*/ 101246 h 125633"/>
                <a:gd name="connsiteX5" fmla="*/ 132917 w 159514"/>
                <a:gd name="connsiteY5" fmla="*/ 113575 h 125633"/>
                <a:gd name="connsiteX6" fmla="*/ 126131 w 159514"/>
                <a:gd name="connsiteY6" fmla="*/ 113935 h 125633"/>
                <a:gd name="connsiteX7" fmla="*/ 125281 w 159514"/>
                <a:gd name="connsiteY7" fmla="*/ 106150 h 125633"/>
                <a:gd name="connsiteX8" fmla="*/ 115844 w 159514"/>
                <a:gd name="connsiteY8" fmla="*/ 110245 h 125633"/>
                <a:gd name="connsiteX9" fmla="*/ 107345 w 159514"/>
                <a:gd name="connsiteY9" fmla="*/ 114700 h 125633"/>
                <a:gd name="connsiteX10" fmla="*/ 100597 w 159514"/>
                <a:gd name="connsiteY10" fmla="*/ 123384 h 125633"/>
                <a:gd name="connsiteX11" fmla="*/ 88687 w 159514"/>
                <a:gd name="connsiteY11" fmla="*/ 122574 h 125633"/>
                <a:gd name="connsiteX12" fmla="*/ 77867 w 159514"/>
                <a:gd name="connsiteY12" fmla="*/ 124059 h 125633"/>
                <a:gd name="connsiteX13" fmla="*/ 70891 w 159514"/>
                <a:gd name="connsiteY13" fmla="*/ 125635 h 125633"/>
                <a:gd name="connsiteX14" fmla="*/ 69141 w 159514"/>
                <a:gd name="connsiteY14" fmla="*/ 117850 h 125633"/>
                <a:gd name="connsiteX15" fmla="*/ 60642 w 159514"/>
                <a:gd name="connsiteY15" fmla="*/ 107005 h 125633"/>
                <a:gd name="connsiteX16" fmla="*/ 53539 w 159514"/>
                <a:gd name="connsiteY16" fmla="*/ 102190 h 125633"/>
                <a:gd name="connsiteX17" fmla="*/ 45142 w 159514"/>
                <a:gd name="connsiteY17" fmla="*/ 102056 h 125633"/>
                <a:gd name="connsiteX18" fmla="*/ 46626 w 159514"/>
                <a:gd name="connsiteY18" fmla="*/ 88737 h 125633"/>
                <a:gd name="connsiteX19" fmla="*/ 47210 w 159514"/>
                <a:gd name="connsiteY19" fmla="*/ 78478 h 125633"/>
                <a:gd name="connsiteX20" fmla="*/ 42529 w 159514"/>
                <a:gd name="connsiteY20" fmla="*/ 68039 h 125633"/>
                <a:gd name="connsiteX21" fmla="*/ 34310 w 159514"/>
                <a:gd name="connsiteY21" fmla="*/ 68309 h 125633"/>
                <a:gd name="connsiteX22" fmla="*/ 17503 w 159514"/>
                <a:gd name="connsiteY22" fmla="*/ 65475 h 125633"/>
                <a:gd name="connsiteX23" fmla="*/ 6405 w 159514"/>
                <a:gd name="connsiteY23" fmla="*/ 59491 h 125633"/>
                <a:gd name="connsiteX24" fmla="*/ 5047 w 159514"/>
                <a:gd name="connsiteY24" fmla="*/ 59491 h 125633"/>
                <a:gd name="connsiteX25" fmla="*/ -26 w 159514"/>
                <a:gd name="connsiteY25" fmla="*/ 18543 h 125633"/>
                <a:gd name="connsiteX26" fmla="*/ 14358 w 159514"/>
                <a:gd name="connsiteY26" fmla="*/ 6709 h 125633"/>
                <a:gd name="connsiteX27" fmla="*/ 27258 w 159514"/>
                <a:gd name="connsiteY27" fmla="*/ 1175 h 125633"/>
                <a:gd name="connsiteX28" fmla="*/ 37455 w 159514"/>
                <a:gd name="connsiteY28" fmla="*/ 1895 h 125633"/>
                <a:gd name="connsiteX29" fmla="*/ 47971 w 159514"/>
                <a:gd name="connsiteY29" fmla="*/ 456 h 125633"/>
                <a:gd name="connsiteX30" fmla="*/ 53818 w 159514"/>
                <a:gd name="connsiteY30" fmla="*/ 5180 h 125633"/>
                <a:gd name="connsiteX31" fmla="*/ 64105 w 159514"/>
                <a:gd name="connsiteY31" fmla="*/ 4685 h 125633"/>
                <a:gd name="connsiteX32" fmla="*/ 74443 w 159514"/>
                <a:gd name="connsiteY32" fmla="*/ 5180 h 125633"/>
                <a:gd name="connsiteX33" fmla="*/ 84463 w 159514"/>
                <a:gd name="connsiteY33" fmla="*/ 6890 h 125633"/>
                <a:gd name="connsiteX34" fmla="*/ 92327 w 159514"/>
                <a:gd name="connsiteY34" fmla="*/ 7564 h 125633"/>
                <a:gd name="connsiteX35" fmla="*/ 98035 w 159514"/>
                <a:gd name="connsiteY35" fmla="*/ 10444 h 125633"/>
                <a:gd name="connsiteX36" fmla="*/ 108601 w 159514"/>
                <a:gd name="connsiteY36" fmla="*/ 2390 h 125633"/>
                <a:gd name="connsiteX37" fmla="*/ 113041 w 159514"/>
                <a:gd name="connsiteY37" fmla="*/ 11389 h 125633"/>
                <a:gd name="connsiteX38" fmla="*/ 124545 w 159514"/>
                <a:gd name="connsiteY38" fmla="*/ 13999 h 125633"/>
                <a:gd name="connsiteX39" fmla="*/ 135327 w 159514"/>
                <a:gd name="connsiteY39" fmla="*/ 19624 h 125633"/>
                <a:gd name="connsiteX40" fmla="*/ 150966 w 159514"/>
                <a:gd name="connsiteY40" fmla="*/ 33213 h 125633"/>
                <a:gd name="connsiteX41" fmla="*/ 156941 w 159514"/>
                <a:gd name="connsiteY41" fmla="*/ 36813 h 125633"/>
                <a:gd name="connsiteX42" fmla="*/ 156547 w 159514"/>
                <a:gd name="connsiteY42" fmla="*/ 45767 h 125633"/>
                <a:gd name="connsiteX43" fmla="*/ 156547 w 159514"/>
                <a:gd name="connsiteY43" fmla="*/ 54317 h 125633"/>
                <a:gd name="connsiteX44" fmla="*/ 157055 w 159514"/>
                <a:gd name="connsiteY44" fmla="*/ 65923 h 125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59514" h="125633">
                  <a:moveTo>
                    <a:pt x="157055" y="65923"/>
                  </a:moveTo>
                  <a:cubicBezTo>
                    <a:pt x="152108" y="72537"/>
                    <a:pt x="152552" y="65474"/>
                    <a:pt x="145855" y="70876"/>
                  </a:cubicBezTo>
                  <a:cubicBezTo>
                    <a:pt x="139208" y="76276"/>
                    <a:pt x="142937" y="74296"/>
                    <a:pt x="138003" y="74386"/>
                  </a:cubicBezTo>
                  <a:cubicBezTo>
                    <a:pt x="133044" y="74431"/>
                    <a:pt x="135212" y="79111"/>
                    <a:pt x="131610" y="88737"/>
                  </a:cubicBezTo>
                  <a:cubicBezTo>
                    <a:pt x="128059" y="98367"/>
                    <a:pt x="130761" y="94226"/>
                    <a:pt x="131610" y="101246"/>
                  </a:cubicBezTo>
                  <a:cubicBezTo>
                    <a:pt x="132549" y="105288"/>
                    <a:pt x="132980" y="109428"/>
                    <a:pt x="132917" y="113575"/>
                  </a:cubicBezTo>
                  <a:cubicBezTo>
                    <a:pt x="132739" y="120279"/>
                    <a:pt x="130177" y="114385"/>
                    <a:pt x="126131" y="113935"/>
                  </a:cubicBezTo>
                  <a:cubicBezTo>
                    <a:pt x="122084" y="113486"/>
                    <a:pt x="127754" y="109617"/>
                    <a:pt x="125281" y="106150"/>
                  </a:cubicBezTo>
                  <a:cubicBezTo>
                    <a:pt x="122858" y="102686"/>
                    <a:pt x="120423" y="108716"/>
                    <a:pt x="115844" y="110245"/>
                  </a:cubicBezTo>
                  <a:cubicBezTo>
                    <a:pt x="112787" y="111249"/>
                    <a:pt x="109908" y="112754"/>
                    <a:pt x="107345" y="114700"/>
                  </a:cubicBezTo>
                  <a:cubicBezTo>
                    <a:pt x="105189" y="116050"/>
                    <a:pt x="102893" y="120865"/>
                    <a:pt x="100597" y="123384"/>
                  </a:cubicBezTo>
                  <a:cubicBezTo>
                    <a:pt x="98264" y="125950"/>
                    <a:pt x="94623" y="126039"/>
                    <a:pt x="88687" y="122574"/>
                  </a:cubicBezTo>
                  <a:cubicBezTo>
                    <a:pt x="82802" y="119109"/>
                    <a:pt x="83347" y="123924"/>
                    <a:pt x="77867" y="124059"/>
                  </a:cubicBezTo>
                  <a:cubicBezTo>
                    <a:pt x="75445" y="123998"/>
                    <a:pt x="73047" y="124539"/>
                    <a:pt x="70891" y="125635"/>
                  </a:cubicBezTo>
                  <a:cubicBezTo>
                    <a:pt x="70460" y="123008"/>
                    <a:pt x="69876" y="120409"/>
                    <a:pt x="69141" y="117850"/>
                  </a:cubicBezTo>
                  <a:cubicBezTo>
                    <a:pt x="67505" y="113436"/>
                    <a:pt x="64536" y="109644"/>
                    <a:pt x="60642" y="107005"/>
                  </a:cubicBezTo>
                  <a:cubicBezTo>
                    <a:pt x="58854" y="105926"/>
                    <a:pt x="59120" y="102236"/>
                    <a:pt x="53539" y="102190"/>
                  </a:cubicBezTo>
                  <a:cubicBezTo>
                    <a:pt x="47920" y="102102"/>
                    <a:pt x="52334" y="100706"/>
                    <a:pt x="45142" y="102056"/>
                  </a:cubicBezTo>
                  <a:cubicBezTo>
                    <a:pt x="46043" y="97672"/>
                    <a:pt x="46537" y="93213"/>
                    <a:pt x="46626" y="88737"/>
                  </a:cubicBezTo>
                  <a:cubicBezTo>
                    <a:pt x="47032" y="79604"/>
                    <a:pt x="49277" y="85048"/>
                    <a:pt x="47210" y="78478"/>
                  </a:cubicBezTo>
                  <a:cubicBezTo>
                    <a:pt x="45092" y="71909"/>
                    <a:pt x="47210" y="74113"/>
                    <a:pt x="42529" y="68039"/>
                  </a:cubicBezTo>
                  <a:cubicBezTo>
                    <a:pt x="37811" y="62010"/>
                    <a:pt x="39523" y="68939"/>
                    <a:pt x="34310" y="68309"/>
                  </a:cubicBezTo>
                  <a:cubicBezTo>
                    <a:pt x="29046" y="67634"/>
                    <a:pt x="27258" y="67184"/>
                    <a:pt x="17503" y="65475"/>
                  </a:cubicBezTo>
                  <a:cubicBezTo>
                    <a:pt x="7699" y="63764"/>
                    <a:pt x="11478" y="59894"/>
                    <a:pt x="6405" y="59491"/>
                  </a:cubicBezTo>
                  <a:cubicBezTo>
                    <a:pt x="5948" y="59445"/>
                    <a:pt x="5504" y="59445"/>
                    <a:pt x="5047" y="59491"/>
                  </a:cubicBezTo>
                  <a:cubicBezTo>
                    <a:pt x="4058" y="44867"/>
                    <a:pt x="1369" y="31592"/>
                    <a:pt x="-26" y="18543"/>
                  </a:cubicBezTo>
                  <a:cubicBezTo>
                    <a:pt x="4451" y="14226"/>
                    <a:pt x="9259" y="10269"/>
                    <a:pt x="14358" y="6709"/>
                  </a:cubicBezTo>
                  <a:cubicBezTo>
                    <a:pt x="16603" y="6125"/>
                    <a:pt x="20788" y="1220"/>
                    <a:pt x="27258" y="1175"/>
                  </a:cubicBezTo>
                  <a:cubicBezTo>
                    <a:pt x="33727" y="1129"/>
                    <a:pt x="30492" y="2615"/>
                    <a:pt x="37455" y="1895"/>
                  </a:cubicBezTo>
                  <a:cubicBezTo>
                    <a:pt x="44470" y="1133"/>
                    <a:pt x="42897" y="-899"/>
                    <a:pt x="47971" y="456"/>
                  </a:cubicBezTo>
                  <a:cubicBezTo>
                    <a:pt x="53006" y="1853"/>
                    <a:pt x="48148" y="2120"/>
                    <a:pt x="53818" y="5180"/>
                  </a:cubicBezTo>
                  <a:cubicBezTo>
                    <a:pt x="59437" y="8284"/>
                    <a:pt x="57370" y="5405"/>
                    <a:pt x="64105" y="4685"/>
                  </a:cubicBezTo>
                  <a:cubicBezTo>
                    <a:pt x="70891" y="4009"/>
                    <a:pt x="67974" y="2840"/>
                    <a:pt x="74443" y="5180"/>
                  </a:cubicBezTo>
                  <a:cubicBezTo>
                    <a:pt x="80873" y="7564"/>
                    <a:pt x="76650" y="6170"/>
                    <a:pt x="84463" y="6890"/>
                  </a:cubicBezTo>
                  <a:cubicBezTo>
                    <a:pt x="92327" y="7564"/>
                    <a:pt x="86569" y="4685"/>
                    <a:pt x="92327" y="7564"/>
                  </a:cubicBezTo>
                  <a:cubicBezTo>
                    <a:pt x="98035" y="10444"/>
                    <a:pt x="89448" y="16878"/>
                    <a:pt x="98035" y="10444"/>
                  </a:cubicBezTo>
                  <a:cubicBezTo>
                    <a:pt x="106572" y="4009"/>
                    <a:pt x="102754" y="1490"/>
                    <a:pt x="108601" y="2390"/>
                  </a:cubicBezTo>
                  <a:cubicBezTo>
                    <a:pt x="114436" y="3290"/>
                    <a:pt x="105899" y="7385"/>
                    <a:pt x="113041" y="11389"/>
                  </a:cubicBezTo>
                  <a:cubicBezTo>
                    <a:pt x="120144" y="15439"/>
                    <a:pt x="116770" y="13279"/>
                    <a:pt x="124545" y="13999"/>
                  </a:cubicBezTo>
                  <a:cubicBezTo>
                    <a:pt x="132321" y="14719"/>
                    <a:pt x="124824" y="10894"/>
                    <a:pt x="135327" y="19624"/>
                  </a:cubicBezTo>
                  <a:cubicBezTo>
                    <a:pt x="145893" y="28308"/>
                    <a:pt x="144637" y="28083"/>
                    <a:pt x="150966" y="33213"/>
                  </a:cubicBezTo>
                  <a:cubicBezTo>
                    <a:pt x="156142" y="37398"/>
                    <a:pt x="153757" y="38254"/>
                    <a:pt x="156941" y="36813"/>
                  </a:cubicBezTo>
                  <a:cubicBezTo>
                    <a:pt x="157270" y="39800"/>
                    <a:pt x="157143" y="42822"/>
                    <a:pt x="156547" y="45767"/>
                  </a:cubicBezTo>
                  <a:cubicBezTo>
                    <a:pt x="155076" y="48429"/>
                    <a:pt x="155076" y="51655"/>
                    <a:pt x="156547" y="54317"/>
                  </a:cubicBezTo>
                  <a:cubicBezTo>
                    <a:pt x="158133" y="58948"/>
                    <a:pt x="162001" y="59309"/>
                    <a:pt x="157055" y="65923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0" name="Vrije vorm 299">
              <a:extLst>
                <a:ext uri="{FF2B5EF4-FFF2-40B4-BE49-F238E27FC236}">
                  <a16:creationId xmlns:a16="http://schemas.microsoft.com/office/drawing/2014/main" id="{BC74D83A-142C-0648-A1A8-3D654324DA87}"/>
                </a:ext>
              </a:extLst>
            </p:cNvPr>
            <p:cNvSpPr/>
            <p:nvPr/>
          </p:nvSpPr>
          <p:spPr>
            <a:xfrm>
              <a:off x="6086513" y="2369476"/>
              <a:ext cx="202136" cy="123200"/>
            </a:xfrm>
            <a:custGeom>
              <a:avLst/>
              <a:gdLst>
                <a:gd name="connsiteX0" fmla="*/ 202077 w 202136"/>
                <a:gd name="connsiteY0" fmla="*/ 99555 h 123200"/>
                <a:gd name="connsiteX1" fmla="*/ 202077 w 202136"/>
                <a:gd name="connsiteY1" fmla="*/ 105360 h 123200"/>
                <a:gd name="connsiteX2" fmla="*/ 191334 w 202136"/>
                <a:gd name="connsiteY2" fmla="*/ 108154 h 123200"/>
                <a:gd name="connsiteX3" fmla="*/ 182619 w 202136"/>
                <a:gd name="connsiteY3" fmla="*/ 118324 h 123200"/>
                <a:gd name="connsiteX4" fmla="*/ 175339 w 202136"/>
                <a:gd name="connsiteY4" fmla="*/ 116029 h 123200"/>
                <a:gd name="connsiteX5" fmla="*/ 161183 w 202136"/>
                <a:gd name="connsiteY5" fmla="*/ 121293 h 123200"/>
                <a:gd name="connsiteX6" fmla="*/ 157999 w 202136"/>
                <a:gd name="connsiteY6" fmla="*/ 122553 h 123200"/>
                <a:gd name="connsiteX7" fmla="*/ 152013 w 202136"/>
                <a:gd name="connsiteY7" fmla="*/ 118953 h 123200"/>
                <a:gd name="connsiteX8" fmla="*/ 136373 w 202136"/>
                <a:gd name="connsiteY8" fmla="*/ 105364 h 123200"/>
                <a:gd name="connsiteX9" fmla="*/ 125591 w 202136"/>
                <a:gd name="connsiteY9" fmla="*/ 99739 h 123200"/>
                <a:gd name="connsiteX10" fmla="*/ 114087 w 202136"/>
                <a:gd name="connsiteY10" fmla="*/ 97129 h 123200"/>
                <a:gd name="connsiteX11" fmla="*/ 109647 w 202136"/>
                <a:gd name="connsiteY11" fmla="*/ 88130 h 123200"/>
                <a:gd name="connsiteX12" fmla="*/ 99081 w 202136"/>
                <a:gd name="connsiteY12" fmla="*/ 96184 h 123200"/>
                <a:gd name="connsiteX13" fmla="*/ 93373 w 202136"/>
                <a:gd name="connsiteY13" fmla="*/ 93304 h 123200"/>
                <a:gd name="connsiteX14" fmla="*/ 85509 w 202136"/>
                <a:gd name="connsiteY14" fmla="*/ 92630 h 123200"/>
                <a:gd name="connsiteX15" fmla="*/ 75489 w 202136"/>
                <a:gd name="connsiteY15" fmla="*/ 90920 h 123200"/>
                <a:gd name="connsiteX16" fmla="*/ 65151 w 202136"/>
                <a:gd name="connsiteY16" fmla="*/ 90425 h 123200"/>
                <a:gd name="connsiteX17" fmla="*/ 54864 w 202136"/>
                <a:gd name="connsiteY17" fmla="*/ 90920 h 123200"/>
                <a:gd name="connsiteX18" fmla="*/ 49017 w 202136"/>
                <a:gd name="connsiteY18" fmla="*/ 86196 h 123200"/>
                <a:gd name="connsiteX19" fmla="*/ 38502 w 202136"/>
                <a:gd name="connsiteY19" fmla="*/ 87635 h 123200"/>
                <a:gd name="connsiteX20" fmla="*/ 28304 w 202136"/>
                <a:gd name="connsiteY20" fmla="*/ 86915 h 123200"/>
                <a:gd name="connsiteX21" fmla="*/ 15404 w 202136"/>
                <a:gd name="connsiteY21" fmla="*/ 92449 h 123200"/>
                <a:gd name="connsiteX22" fmla="*/ 1020 w 202136"/>
                <a:gd name="connsiteY22" fmla="*/ 104283 h 123200"/>
                <a:gd name="connsiteX23" fmla="*/ 11231 w 202136"/>
                <a:gd name="connsiteY23" fmla="*/ 48263 h 123200"/>
                <a:gd name="connsiteX24" fmla="*/ 92841 w 202136"/>
                <a:gd name="connsiteY24" fmla="*/ 47768 h 123200"/>
                <a:gd name="connsiteX25" fmla="*/ 97559 w 202136"/>
                <a:gd name="connsiteY25" fmla="*/ 7587 h 123200"/>
                <a:gd name="connsiteX26" fmla="*/ 97559 w 202136"/>
                <a:gd name="connsiteY26" fmla="*/ 7542 h 123200"/>
                <a:gd name="connsiteX27" fmla="*/ 103939 w 202136"/>
                <a:gd name="connsiteY27" fmla="*/ 4663 h 123200"/>
                <a:gd name="connsiteX28" fmla="*/ 116878 w 202136"/>
                <a:gd name="connsiteY28" fmla="*/ 523 h 123200"/>
                <a:gd name="connsiteX29" fmla="*/ 124069 w 202136"/>
                <a:gd name="connsiteY29" fmla="*/ 2503 h 123200"/>
                <a:gd name="connsiteX30" fmla="*/ 137641 w 202136"/>
                <a:gd name="connsiteY30" fmla="*/ 10692 h 123200"/>
                <a:gd name="connsiteX31" fmla="*/ 149818 w 202136"/>
                <a:gd name="connsiteY31" fmla="*/ 23246 h 123200"/>
                <a:gd name="connsiteX32" fmla="*/ 158532 w 202136"/>
                <a:gd name="connsiteY32" fmla="*/ 26485 h 123200"/>
                <a:gd name="connsiteX33" fmla="*/ 168413 w 202136"/>
                <a:gd name="connsiteY33" fmla="*/ 23920 h 123200"/>
                <a:gd name="connsiteX34" fmla="*/ 179119 w 202136"/>
                <a:gd name="connsiteY34" fmla="*/ 26485 h 123200"/>
                <a:gd name="connsiteX35" fmla="*/ 182531 w 202136"/>
                <a:gd name="connsiteY35" fmla="*/ 29005 h 123200"/>
                <a:gd name="connsiteX36" fmla="*/ 188772 w 202136"/>
                <a:gd name="connsiteY36" fmla="*/ 39399 h 123200"/>
                <a:gd name="connsiteX37" fmla="*/ 191334 w 202136"/>
                <a:gd name="connsiteY37" fmla="*/ 54653 h 123200"/>
                <a:gd name="connsiteX38" fmla="*/ 195253 w 202136"/>
                <a:gd name="connsiteY38" fmla="*/ 67927 h 123200"/>
                <a:gd name="connsiteX39" fmla="*/ 201544 w 202136"/>
                <a:gd name="connsiteY39" fmla="*/ 81155 h 123200"/>
                <a:gd name="connsiteX40" fmla="*/ 202077 w 202136"/>
                <a:gd name="connsiteY40" fmla="*/ 99555 h 12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02136" h="123200">
                  <a:moveTo>
                    <a:pt x="202077" y="99555"/>
                  </a:moveTo>
                  <a:cubicBezTo>
                    <a:pt x="201899" y="101175"/>
                    <a:pt x="202077" y="105360"/>
                    <a:pt x="202077" y="105360"/>
                  </a:cubicBezTo>
                  <a:cubicBezTo>
                    <a:pt x="198399" y="105821"/>
                    <a:pt x="194784" y="106761"/>
                    <a:pt x="191334" y="108154"/>
                  </a:cubicBezTo>
                  <a:cubicBezTo>
                    <a:pt x="183609" y="110854"/>
                    <a:pt x="187655" y="113329"/>
                    <a:pt x="182619" y="118324"/>
                  </a:cubicBezTo>
                  <a:cubicBezTo>
                    <a:pt x="177635" y="123364"/>
                    <a:pt x="182619" y="118324"/>
                    <a:pt x="175339" y="116029"/>
                  </a:cubicBezTo>
                  <a:cubicBezTo>
                    <a:pt x="168020" y="113734"/>
                    <a:pt x="169047" y="118324"/>
                    <a:pt x="161183" y="121293"/>
                  </a:cubicBezTo>
                  <a:cubicBezTo>
                    <a:pt x="159750" y="121833"/>
                    <a:pt x="158710" y="122283"/>
                    <a:pt x="157999" y="122553"/>
                  </a:cubicBezTo>
                  <a:cubicBezTo>
                    <a:pt x="154803" y="123993"/>
                    <a:pt x="157188" y="123138"/>
                    <a:pt x="152013" y="118953"/>
                  </a:cubicBezTo>
                  <a:cubicBezTo>
                    <a:pt x="145671" y="113825"/>
                    <a:pt x="146939" y="114049"/>
                    <a:pt x="136373" y="105364"/>
                  </a:cubicBezTo>
                  <a:cubicBezTo>
                    <a:pt x="125858" y="96634"/>
                    <a:pt x="133367" y="100459"/>
                    <a:pt x="125591" y="99739"/>
                  </a:cubicBezTo>
                  <a:cubicBezTo>
                    <a:pt x="117829" y="99019"/>
                    <a:pt x="121190" y="101179"/>
                    <a:pt x="114087" y="97129"/>
                  </a:cubicBezTo>
                  <a:cubicBezTo>
                    <a:pt x="106946" y="93125"/>
                    <a:pt x="115482" y="89030"/>
                    <a:pt x="109647" y="88130"/>
                  </a:cubicBezTo>
                  <a:cubicBezTo>
                    <a:pt x="103800" y="87230"/>
                    <a:pt x="107618" y="89749"/>
                    <a:pt x="99081" y="96184"/>
                  </a:cubicBezTo>
                  <a:cubicBezTo>
                    <a:pt x="90494" y="102618"/>
                    <a:pt x="99081" y="96184"/>
                    <a:pt x="93373" y="93304"/>
                  </a:cubicBezTo>
                  <a:cubicBezTo>
                    <a:pt x="87628" y="90425"/>
                    <a:pt x="93373" y="93304"/>
                    <a:pt x="85509" y="92630"/>
                  </a:cubicBezTo>
                  <a:cubicBezTo>
                    <a:pt x="77696" y="91909"/>
                    <a:pt x="81920" y="93304"/>
                    <a:pt x="75489" y="90920"/>
                  </a:cubicBezTo>
                  <a:cubicBezTo>
                    <a:pt x="69020" y="88579"/>
                    <a:pt x="71937" y="89749"/>
                    <a:pt x="65151" y="90425"/>
                  </a:cubicBezTo>
                  <a:cubicBezTo>
                    <a:pt x="58416" y="91145"/>
                    <a:pt x="60483" y="94024"/>
                    <a:pt x="54864" y="90920"/>
                  </a:cubicBezTo>
                  <a:cubicBezTo>
                    <a:pt x="49207" y="87859"/>
                    <a:pt x="54053" y="87590"/>
                    <a:pt x="49017" y="86196"/>
                  </a:cubicBezTo>
                  <a:cubicBezTo>
                    <a:pt x="43943" y="84846"/>
                    <a:pt x="45516" y="86870"/>
                    <a:pt x="38502" y="87635"/>
                  </a:cubicBezTo>
                  <a:cubicBezTo>
                    <a:pt x="31538" y="88355"/>
                    <a:pt x="34773" y="86873"/>
                    <a:pt x="28304" y="86915"/>
                  </a:cubicBezTo>
                  <a:cubicBezTo>
                    <a:pt x="21835" y="86956"/>
                    <a:pt x="17649" y="91868"/>
                    <a:pt x="15404" y="92449"/>
                  </a:cubicBezTo>
                  <a:cubicBezTo>
                    <a:pt x="10305" y="96009"/>
                    <a:pt x="5498" y="99966"/>
                    <a:pt x="1020" y="104283"/>
                  </a:cubicBezTo>
                  <a:cubicBezTo>
                    <a:pt x="-2012" y="84992"/>
                    <a:pt x="1591" y="65241"/>
                    <a:pt x="11231" y="48263"/>
                  </a:cubicBezTo>
                  <a:cubicBezTo>
                    <a:pt x="48751" y="-36419"/>
                    <a:pt x="58365" y="90784"/>
                    <a:pt x="92841" y="47768"/>
                  </a:cubicBezTo>
                  <a:cubicBezTo>
                    <a:pt x="95441" y="34517"/>
                    <a:pt x="97027" y="21083"/>
                    <a:pt x="97559" y="7587"/>
                  </a:cubicBezTo>
                  <a:lnTo>
                    <a:pt x="97559" y="7542"/>
                  </a:lnTo>
                  <a:cubicBezTo>
                    <a:pt x="99627" y="6553"/>
                    <a:pt x="101694" y="5518"/>
                    <a:pt x="103939" y="4663"/>
                  </a:cubicBezTo>
                  <a:cubicBezTo>
                    <a:pt x="109774" y="2504"/>
                    <a:pt x="109647" y="-1413"/>
                    <a:pt x="116878" y="523"/>
                  </a:cubicBezTo>
                  <a:cubicBezTo>
                    <a:pt x="124069" y="2503"/>
                    <a:pt x="114087" y="-2537"/>
                    <a:pt x="124069" y="2503"/>
                  </a:cubicBezTo>
                  <a:cubicBezTo>
                    <a:pt x="129118" y="4246"/>
                    <a:pt x="133735" y="7037"/>
                    <a:pt x="137641" y="10692"/>
                  </a:cubicBezTo>
                  <a:cubicBezTo>
                    <a:pt x="144059" y="16092"/>
                    <a:pt x="142715" y="21851"/>
                    <a:pt x="149818" y="23246"/>
                  </a:cubicBezTo>
                  <a:cubicBezTo>
                    <a:pt x="156921" y="24640"/>
                    <a:pt x="150135" y="29051"/>
                    <a:pt x="158532" y="26485"/>
                  </a:cubicBezTo>
                  <a:cubicBezTo>
                    <a:pt x="166942" y="23920"/>
                    <a:pt x="159877" y="22481"/>
                    <a:pt x="168413" y="23920"/>
                  </a:cubicBezTo>
                  <a:cubicBezTo>
                    <a:pt x="172117" y="24098"/>
                    <a:pt x="175745" y="24968"/>
                    <a:pt x="179119" y="26485"/>
                  </a:cubicBezTo>
                  <a:cubicBezTo>
                    <a:pt x="180324" y="27226"/>
                    <a:pt x="181465" y="28068"/>
                    <a:pt x="182531" y="29005"/>
                  </a:cubicBezTo>
                  <a:cubicBezTo>
                    <a:pt x="186247" y="31181"/>
                    <a:pt x="188594" y="35096"/>
                    <a:pt x="188772" y="39399"/>
                  </a:cubicBezTo>
                  <a:cubicBezTo>
                    <a:pt x="189761" y="44664"/>
                    <a:pt x="192906" y="46733"/>
                    <a:pt x="191334" y="54653"/>
                  </a:cubicBezTo>
                  <a:cubicBezTo>
                    <a:pt x="189761" y="62572"/>
                    <a:pt x="191473" y="61807"/>
                    <a:pt x="195253" y="67927"/>
                  </a:cubicBezTo>
                  <a:cubicBezTo>
                    <a:pt x="199071" y="74001"/>
                    <a:pt x="201138" y="73281"/>
                    <a:pt x="201544" y="81155"/>
                  </a:cubicBezTo>
                  <a:cubicBezTo>
                    <a:pt x="201899" y="89027"/>
                    <a:pt x="202217" y="97890"/>
                    <a:pt x="202077" y="99555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301" name="Graphic 5">
              <a:extLst>
                <a:ext uri="{FF2B5EF4-FFF2-40B4-BE49-F238E27FC236}">
                  <a16:creationId xmlns:a16="http://schemas.microsoft.com/office/drawing/2014/main" id="{D82D3250-33F5-AE49-9637-D6F803CD607D}"/>
                </a:ext>
              </a:extLst>
            </p:cNvPr>
            <p:cNvGrpSpPr/>
            <p:nvPr/>
          </p:nvGrpSpPr>
          <p:grpSpPr>
            <a:xfrm>
              <a:off x="6111683" y="2281358"/>
              <a:ext cx="178704" cy="115390"/>
              <a:chOff x="6111683" y="2281358"/>
              <a:chExt cx="178704" cy="115390"/>
            </a:xfrm>
            <a:solidFill>
              <a:schemeClr val="bg2"/>
            </a:solidFill>
          </p:grpSpPr>
          <p:sp>
            <p:nvSpPr>
              <p:cNvPr id="569" name="Vrije vorm 568">
                <a:extLst>
                  <a:ext uri="{FF2B5EF4-FFF2-40B4-BE49-F238E27FC236}">
                    <a16:creationId xmlns:a16="http://schemas.microsoft.com/office/drawing/2014/main" id="{B7A8401F-EE65-A44E-BBA6-2E0C54D00E13}"/>
                  </a:ext>
                </a:extLst>
              </p:cNvPr>
              <p:cNvSpPr/>
              <p:nvPr/>
            </p:nvSpPr>
            <p:spPr>
              <a:xfrm>
                <a:off x="6116035" y="2313671"/>
                <a:ext cx="26767" cy="21337"/>
              </a:xfrm>
              <a:custGeom>
                <a:avLst/>
                <a:gdLst>
                  <a:gd name="connsiteX0" fmla="*/ 21917 w 26767"/>
                  <a:gd name="connsiteY0" fmla="*/ 14297 h 21337"/>
                  <a:gd name="connsiteX1" fmla="*/ 6950 w 26767"/>
                  <a:gd name="connsiteY1" fmla="*/ 10698 h 21337"/>
                  <a:gd name="connsiteX2" fmla="*/ 12975 w 26767"/>
                  <a:gd name="connsiteY2" fmla="*/ 3544 h 21337"/>
                  <a:gd name="connsiteX3" fmla="*/ 18327 w 26767"/>
                  <a:gd name="connsiteY3" fmla="*/ 2690 h 21337"/>
                  <a:gd name="connsiteX4" fmla="*/ 21917 w 26767"/>
                  <a:gd name="connsiteY4" fmla="*/ 14297 h 21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767" h="21337">
                    <a:moveTo>
                      <a:pt x="21917" y="14297"/>
                    </a:moveTo>
                    <a:cubicBezTo>
                      <a:pt x="11262" y="29417"/>
                      <a:pt x="15943" y="16329"/>
                      <a:pt x="6950" y="10698"/>
                    </a:cubicBezTo>
                    <a:cubicBezTo>
                      <a:pt x="-12647" y="6558"/>
                      <a:pt x="15537" y="9123"/>
                      <a:pt x="12975" y="3544"/>
                    </a:cubicBezTo>
                    <a:cubicBezTo>
                      <a:pt x="14725" y="2329"/>
                      <a:pt x="19038" y="-3250"/>
                      <a:pt x="18327" y="2690"/>
                    </a:cubicBezTo>
                    <a:cubicBezTo>
                      <a:pt x="36339" y="8223"/>
                      <a:pt x="19444" y="21992"/>
                      <a:pt x="21917" y="14297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0" name="Vrije vorm 569">
                <a:extLst>
                  <a:ext uri="{FF2B5EF4-FFF2-40B4-BE49-F238E27FC236}">
                    <a16:creationId xmlns:a16="http://schemas.microsoft.com/office/drawing/2014/main" id="{9037EB7C-9D36-F245-84BF-9A1217B1311A}"/>
                  </a:ext>
                </a:extLst>
              </p:cNvPr>
              <p:cNvSpPr/>
              <p:nvPr/>
            </p:nvSpPr>
            <p:spPr>
              <a:xfrm>
                <a:off x="6111683" y="2340125"/>
                <a:ext cx="40246" cy="37337"/>
              </a:xfrm>
              <a:custGeom>
                <a:avLst/>
                <a:gdLst>
                  <a:gd name="connsiteX0" fmla="*/ 29909 w 40246"/>
                  <a:gd name="connsiteY0" fmla="*/ 12726 h 37337"/>
                  <a:gd name="connsiteX1" fmla="*/ 3526 w 40246"/>
                  <a:gd name="connsiteY1" fmla="*/ 37339 h 37337"/>
                  <a:gd name="connsiteX2" fmla="*/ 2765 w 40246"/>
                  <a:gd name="connsiteY2" fmla="*/ 13537 h 37337"/>
                  <a:gd name="connsiteX3" fmla="*/ 37951 w 40246"/>
                  <a:gd name="connsiteY3" fmla="*/ 5572 h 37337"/>
                  <a:gd name="connsiteX4" fmla="*/ 29909 w 40246"/>
                  <a:gd name="connsiteY4" fmla="*/ 12726 h 37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246" h="37337">
                    <a:moveTo>
                      <a:pt x="29909" y="12726"/>
                    </a:moveTo>
                    <a:cubicBezTo>
                      <a:pt x="17593" y="25730"/>
                      <a:pt x="15437" y="14391"/>
                      <a:pt x="3526" y="37339"/>
                    </a:cubicBezTo>
                    <a:cubicBezTo>
                      <a:pt x="13369" y="17001"/>
                      <a:pt x="-7167" y="22176"/>
                      <a:pt x="2765" y="13537"/>
                    </a:cubicBezTo>
                    <a:cubicBezTo>
                      <a:pt x="-4516" y="5932"/>
                      <a:pt x="22362" y="-7702"/>
                      <a:pt x="37951" y="5572"/>
                    </a:cubicBezTo>
                    <a:cubicBezTo>
                      <a:pt x="45105" y="7822"/>
                      <a:pt x="33372" y="9892"/>
                      <a:pt x="29909" y="12726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1" name="Vrije vorm 570">
                <a:extLst>
                  <a:ext uri="{FF2B5EF4-FFF2-40B4-BE49-F238E27FC236}">
                    <a16:creationId xmlns:a16="http://schemas.microsoft.com/office/drawing/2014/main" id="{8E8B7DAF-E6C1-3241-9D82-9EF2E974740D}"/>
                  </a:ext>
                </a:extLst>
              </p:cNvPr>
              <p:cNvSpPr/>
              <p:nvPr/>
            </p:nvSpPr>
            <p:spPr>
              <a:xfrm>
                <a:off x="6155899" y="2281358"/>
                <a:ext cx="134489" cy="115390"/>
              </a:xfrm>
              <a:custGeom>
                <a:avLst/>
                <a:gdLst>
                  <a:gd name="connsiteX0" fmla="*/ 129774 w 134489"/>
                  <a:gd name="connsiteY0" fmla="*/ 20377 h 115390"/>
                  <a:gd name="connsiteX1" fmla="*/ 118320 w 134489"/>
                  <a:gd name="connsiteY1" fmla="*/ 37070 h 115390"/>
                  <a:gd name="connsiteX2" fmla="*/ 113868 w 134489"/>
                  <a:gd name="connsiteY2" fmla="*/ 79681 h 115390"/>
                  <a:gd name="connsiteX3" fmla="*/ 115567 w 134489"/>
                  <a:gd name="connsiteY3" fmla="*/ 77837 h 115390"/>
                  <a:gd name="connsiteX4" fmla="*/ 115795 w 134489"/>
                  <a:gd name="connsiteY4" fmla="*/ 89902 h 115390"/>
                  <a:gd name="connsiteX5" fmla="*/ 114185 w 134489"/>
                  <a:gd name="connsiteY5" fmla="*/ 105561 h 115390"/>
                  <a:gd name="connsiteX6" fmla="*/ 109732 w 134489"/>
                  <a:gd name="connsiteY6" fmla="*/ 114605 h 115390"/>
                  <a:gd name="connsiteX7" fmla="*/ 99040 w 134489"/>
                  <a:gd name="connsiteY7" fmla="*/ 112039 h 115390"/>
                  <a:gd name="connsiteX8" fmla="*/ 89146 w 134489"/>
                  <a:gd name="connsiteY8" fmla="*/ 114605 h 115390"/>
                  <a:gd name="connsiteX9" fmla="*/ 80432 w 134489"/>
                  <a:gd name="connsiteY9" fmla="*/ 111365 h 115390"/>
                  <a:gd name="connsiteX10" fmla="*/ 68255 w 134489"/>
                  <a:gd name="connsiteY10" fmla="*/ 98811 h 115390"/>
                  <a:gd name="connsiteX11" fmla="*/ 54683 w 134489"/>
                  <a:gd name="connsiteY11" fmla="*/ 90622 h 115390"/>
                  <a:gd name="connsiteX12" fmla="*/ 47491 w 134489"/>
                  <a:gd name="connsiteY12" fmla="*/ 88642 h 115390"/>
                  <a:gd name="connsiteX13" fmla="*/ 34553 w 134489"/>
                  <a:gd name="connsiteY13" fmla="*/ 92782 h 115390"/>
                  <a:gd name="connsiteX14" fmla="*/ 28173 w 134489"/>
                  <a:gd name="connsiteY14" fmla="*/ 95661 h 115390"/>
                  <a:gd name="connsiteX15" fmla="*/ 21514 w 134489"/>
                  <a:gd name="connsiteY15" fmla="*/ 76943 h 115390"/>
                  <a:gd name="connsiteX16" fmla="*/ 2691 w 134489"/>
                  <a:gd name="connsiteY16" fmla="*/ 52916 h 115390"/>
                  <a:gd name="connsiteX17" fmla="*/ 9971 w 134489"/>
                  <a:gd name="connsiteY17" fmla="*/ 52015 h 115390"/>
                  <a:gd name="connsiteX18" fmla="*/ 8665 w 134489"/>
                  <a:gd name="connsiteY18" fmla="*/ 49046 h 115390"/>
                  <a:gd name="connsiteX19" fmla="*/ 2107 w 134489"/>
                  <a:gd name="connsiteY19" fmla="*/ 38157 h 115390"/>
                  <a:gd name="connsiteX20" fmla="*/ 16123 w 134489"/>
                  <a:gd name="connsiteY20" fmla="*/ 16963 h 115390"/>
                  <a:gd name="connsiteX21" fmla="*/ 20169 w 134489"/>
                  <a:gd name="connsiteY21" fmla="*/ 14983 h 115390"/>
                  <a:gd name="connsiteX22" fmla="*/ 25027 w 134489"/>
                  <a:gd name="connsiteY22" fmla="*/ 11204 h 115390"/>
                  <a:gd name="connsiteX23" fmla="*/ 37788 w 134489"/>
                  <a:gd name="connsiteY23" fmla="*/ 8459 h 115390"/>
                  <a:gd name="connsiteX24" fmla="*/ 41339 w 134489"/>
                  <a:gd name="connsiteY24" fmla="*/ 8909 h 115390"/>
                  <a:gd name="connsiteX25" fmla="*/ 55546 w 134489"/>
                  <a:gd name="connsiteY25" fmla="*/ 10034 h 115390"/>
                  <a:gd name="connsiteX26" fmla="*/ 63638 w 134489"/>
                  <a:gd name="connsiteY26" fmla="*/ 1 h 115390"/>
                  <a:gd name="connsiteX27" fmla="*/ 128848 w 134489"/>
                  <a:gd name="connsiteY27" fmla="*/ 5491 h 115390"/>
                  <a:gd name="connsiteX28" fmla="*/ 131854 w 134489"/>
                  <a:gd name="connsiteY28" fmla="*/ 13275 h 115390"/>
                  <a:gd name="connsiteX29" fmla="*/ 129774 w 134489"/>
                  <a:gd name="connsiteY29" fmla="*/ 20377 h 115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34489" h="115390">
                    <a:moveTo>
                      <a:pt x="129774" y="20377"/>
                    </a:moveTo>
                    <a:cubicBezTo>
                      <a:pt x="123710" y="24002"/>
                      <a:pt x="119525" y="30099"/>
                      <a:pt x="118320" y="37070"/>
                    </a:cubicBezTo>
                    <a:cubicBezTo>
                      <a:pt x="85734" y="32211"/>
                      <a:pt x="109821" y="65463"/>
                      <a:pt x="113868" y="79681"/>
                    </a:cubicBezTo>
                    <a:cubicBezTo>
                      <a:pt x="114464" y="79100"/>
                      <a:pt x="115034" y="78485"/>
                      <a:pt x="115567" y="77837"/>
                    </a:cubicBezTo>
                    <a:cubicBezTo>
                      <a:pt x="115618" y="82291"/>
                      <a:pt x="115656" y="86611"/>
                      <a:pt x="115795" y="89902"/>
                    </a:cubicBezTo>
                    <a:cubicBezTo>
                      <a:pt x="115872" y="95166"/>
                      <a:pt x="115326" y="100421"/>
                      <a:pt x="114185" y="105561"/>
                    </a:cubicBezTo>
                    <a:cubicBezTo>
                      <a:pt x="112916" y="108680"/>
                      <a:pt x="111432" y="111703"/>
                      <a:pt x="109732" y="114605"/>
                    </a:cubicBezTo>
                    <a:cubicBezTo>
                      <a:pt x="106359" y="113087"/>
                      <a:pt x="102731" y="112217"/>
                      <a:pt x="99040" y="112039"/>
                    </a:cubicBezTo>
                    <a:cubicBezTo>
                      <a:pt x="90491" y="110600"/>
                      <a:pt x="97556" y="112039"/>
                      <a:pt x="89146" y="114605"/>
                    </a:cubicBezTo>
                    <a:cubicBezTo>
                      <a:pt x="80749" y="117170"/>
                      <a:pt x="87535" y="112759"/>
                      <a:pt x="80432" y="111365"/>
                    </a:cubicBezTo>
                    <a:cubicBezTo>
                      <a:pt x="73329" y="109970"/>
                      <a:pt x="74673" y="104211"/>
                      <a:pt x="68255" y="98811"/>
                    </a:cubicBezTo>
                    <a:cubicBezTo>
                      <a:pt x="64348" y="95156"/>
                      <a:pt x="59732" y="92366"/>
                      <a:pt x="54683" y="90622"/>
                    </a:cubicBezTo>
                    <a:cubicBezTo>
                      <a:pt x="44701" y="85583"/>
                      <a:pt x="54683" y="90622"/>
                      <a:pt x="47491" y="88642"/>
                    </a:cubicBezTo>
                    <a:cubicBezTo>
                      <a:pt x="40261" y="86707"/>
                      <a:pt x="40388" y="90622"/>
                      <a:pt x="34553" y="92782"/>
                    </a:cubicBezTo>
                    <a:cubicBezTo>
                      <a:pt x="32308" y="93637"/>
                      <a:pt x="30241" y="94672"/>
                      <a:pt x="28173" y="95661"/>
                    </a:cubicBezTo>
                    <a:cubicBezTo>
                      <a:pt x="29112" y="77843"/>
                      <a:pt x="28122" y="63624"/>
                      <a:pt x="21514" y="76943"/>
                    </a:cubicBezTo>
                    <a:cubicBezTo>
                      <a:pt x="12128" y="78427"/>
                      <a:pt x="-2484" y="60745"/>
                      <a:pt x="2691" y="52916"/>
                    </a:cubicBezTo>
                    <a:cubicBezTo>
                      <a:pt x="763" y="50216"/>
                      <a:pt x="8043" y="51295"/>
                      <a:pt x="9971" y="52015"/>
                    </a:cubicBezTo>
                    <a:cubicBezTo>
                      <a:pt x="8716" y="49945"/>
                      <a:pt x="13967" y="47020"/>
                      <a:pt x="8665" y="49046"/>
                    </a:cubicBezTo>
                    <a:cubicBezTo>
                      <a:pt x="-11909" y="52916"/>
                      <a:pt x="12217" y="30057"/>
                      <a:pt x="2107" y="38157"/>
                    </a:cubicBezTo>
                    <a:cubicBezTo>
                      <a:pt x="-8636" y="17098"/>
                      <a:pt x="25154" y="25693"/>
                      <a:pt x="16123" y="16963"/>
                    </a:cubicBezTo>
                    <a:cubicBezTo>
                      <a:pt x="16529" y="11653"/>
                      <a:pt x="25205" y="22857"/>
                      <a:pt x="20169" y="14983"/>
                    </a:cubicBezTo>
                    <a:cubicBezTo>
                      <a:pt x="22592" y="14309"/>
                      <a:pt x="25154" y="14624"/>
                      <a:pt x="25027" y="11204"/>
                    </a:cubicBezTo>
                    <a:cubicBezTo>
                      <a:pt x="33298" y="11384"/>
                      <a:pt x="36976" y="14263"/>
                      <a:pt x="37788" y="8459"/>
                    </a:cubicBezTo>
                    <a:cubicBezTo>
                      <a:pt x="36393" y="3240"/>
                      <a:pt x="40261" y="7062"/>
                      <a:pt x="41339" y="8909"/>
                    </a:cubicBezTo>
                    <a:cubicBezTo>
                      <a:pt x="47719" y="9270"/>
                      <a:pt x="48531" y="6929"/>
                      <a:pt x="55546" y="10034"/>
                    </a:cubicBezTo>
                    <a:cubicBezTo>
                      <a:pt x="58958" y="-7379"/>
                      <a:pt x="63638" y="13499"/>
                      <a:pt x="63638" y="1"/>
                    </a:cubicBezTo>
                    <a:cubicBezTo>
                      <a:pt x="121478" y="21825"/>
                      <a:pt x="124433" y="14805"/>
                      <a:pt x="128848" y="5491"/>
                    </a:cubicBezTo>
                    <a:cubicBezTo>
                      <a:pt x="130484" y="7793"/>
                      <a:pt x="131511" y="10468"/>
                      <a:pt x="131854" y="13275"/>
                    </a:cubicBezTo>
                    <a:cubicBezTo>
                      <a:pt x="132513" y="17634"/>
                      <a:pt x="138487" y="13853"/>
                      <a:pt x="129774" y="20377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302" name="Graphic 5">
              <a:extLst>
                <a:ext uri="{FF2B5EF4-FFF2-40B4-BE49-F238E27FC236}">
                  <a16:creationId xmlns:a16="http://schemas.microsoft.com/office/drawing/2014/main" id="{3BE1E700-7BAA-9D4B-9DDA-726BD8B90CD0}"/>
                </a:ext>
              </a:extLst>
            </p:cNvPr>
            <p:cNvGrpSpPr/>
            <p:nvPr/>
          </p:nvGrpSpPr>
          <p:grpSpPr>
            <a:xfrm>
              <a:off x="6048482" y="1575759"/>
              <a:ext cx="328174" cy="697223"/>
              <a:chOff x="6048482" y="1575759"/>
              <a:chExt cx="328174" cy="697223"/>
            </a:xfrm>
            <a:solidFill>
              <a:schemeClr val="bg2"/>
            </a:solidFill>
          </p:grpSpPr>
          <p:sp>
            <p:nvSpPr>
              <p:cNvPr id="567" name="Vrije vorm 566">
                <a:extLst>
                  <a:ext uri="{FF2B5EF4-FFF2-40B4-BE49-F238E27FC236}">
                    <a16:creationId xmlns:a16="http://schemas.microsoft.com/office/drawing/2014/main" id="{424E9AE6-106A-C341-B381-4395A9F7EAD3}"/>
                  </a:ext>
                </a:extLst>
              </p:cNvPr>
              <p:cNvSpPr/>
              <p:nvPr/>
            </p:nvSpPr>
            <p:spPr>
              <a:xfrm>
                <a:off x="6048482" y="2240735"/>
                <a:ext cx="16624" cy="17734"/>
              </a:xfrm>
              <a:custGeom>
                <a:avLst/>
                <a:gdLst>
                  <a:gd name="connsiteX0" fmla="*/ 528 w 16624"/>
                  <a:gd name="connsiteY0" fmla="*/ 6982 h 17734"/>
                  <a:gd name="connsiteX1" fmla="*/ 5932 w 16624"/>
                  <a:gd name="connsiteY1" fmla="*/ 16555 h 17734"/>
                  <a:gd name="connsiteX2" fmla="*/ 10777 w 16624"/>
                  <a:gd name="connsiteY2" fmla="*/ 12008 h 17734"/>
                  <a:gd name="connsiteX3" fmla="*/ 8240 w 16624"/>
                  <a:gd name="connsiteY3" fmla="*/ 9249 h 17734"/>
                  <a:gd name="connsiteX4" fmla="*/ 10219 w 16624"/>
                  <a:gd name="connsiteY4" fmla="*/ 6293 h 17734"/>
                  <a:gd name="connsiteX5" fmla="*/ 11361 w 16624"/>
                  <a:gd name="connsiteY5" fmla="*/ 11190 h 17734"/>
                  <a:gd name="connsiteX6" fmla="*/ 15445 w 16624"/>
                  <a:gd name="connsiteY6" fmla="*/ 9249 h 17734"/>
                  <a:gd name="connsiteX7" fmla="*/ 3205 w 16624"/>
                  <a:gd name="connsiteY7" fmla="*/ 1792 h 17734"/>
                  <a:gd name="connsiteX8" fmla="*/ 6845 w 16624"/>
                  <a:gd name="connsiteY8" fmla="*/ 6557 h 17734"/>
                  <a:gd name="connsiteX9" fmla="*/ 5513 w 16624"/>
                  <a:gd name="connsiteY9" fmla="*/ 8081 h 17734"/>
                  <a:gd name="connsiteX10" fmla="*/ 2939 w 16624"/>
                  <a:gd name="connsiteY10" fmla="*/ 8350 h 17734"/>
                  <a:gd name="connsiteX11" fmla="*/ 528 w 16624"/>
                  <a:gd name="connsiteY11" fmla="*/ 6982 h 17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6624" h="17734">
                    <a:moveTo>
                      <a:pt x="528" y="6982"/>
                    </a:moveTo>
                    <a:cubicBezTo>
                      <a:pt x="-1767" y="9316"/>
                      <a:pt x="3662" y="20673"/>
                      <a:pt x="5932" y="16555"/>
                    </a:cubicBezTo>
                    <a:cubicBezTo>
                      <a:pt x="8837" y="18044"/>
                      <a:pt x="9788" y="19429"/>
                      <a:pt x="10777" y="12008"/>
                    </a:cubicBezTo>
                    <a:cubicBezTo>
                      <a:pt x="10333" y="14929"/>
                      <a:pt x="5095" y="9278"/>
                      <a:pt x="8240" y="9249"/>
                    </a:cubicBezTo>
                    <a:cubicBezTo>
                      <a:pt x="11412" y="15294"/>
                      <a:pt x="7695" y="5566"/>
                      <a:pt x="10219" y="6293"/>
                    </a:cubicBezTo>
                    <a:cubicBezTo>
                      <a:pt x="11386" y="740"/>
                      <a:pt x="10042" y="9441"/>
                      <a:pt x="11361" y="11190"/>
                    </a:cubicBezTo>
                    <a:cubicBezTo>
                      <a:pt x="14468" y="2259"/>
                      <a:pt x="12680" y="17658"/>
                      <a:pt x="15445" y="9249"/>
                    </a:cubicBezTo>
                    <a:cubicBezTo>
                      <a:pt x="21102" y="5849"/>
                      <a:pt x="4156" y="-4010"/>
                      <a:pt x="3205" y="1792"/>
                    </a:cubicBezTo>
                    <a:cubicBezTo>
                      <a:pt x="5184" y="3732"/>
                      <a:pt x="9357" y="2518"/>
                      <a:pt x="6845" y="6557"/>
                    </a:cubicBezTo>
                    <a:cubicBezTo>
                      <a:pt x="5983" y="2525"/>
                      <a:pt x="6909" y="6900"/>
                      <a:pt x="5513" y="8081"/>
                    </a:cubicBezTo>
                    <a:cubicBezTo>
                      <a:pt x="4625" y="10434"/>
                      <a:pt x="4068" y="12474"/>
                      <a:pt x="2939" y="8350"/>
                    </a:cubicBezTo>
                    <a:cubicBezTo>
                      <a:pt x="5399" y="-1327"/>
                      <a:pt x="414" y="10688"/>
                      <a:pt x="528" y="6982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8" name="Vrije vorm 567">
                <a:extLst>
                  <a:ext uri="{FF2B5EF4-FFF2-40B4-BE49-F238E27FC236}">
                    <a16:creationId xmlns:a16="http://schemas.microsoft.com/office/drawing/2014/main" id="{B326FD5A-2975-EC44-8E41-766658ED78AF}"/>
                  </a:ext>
                </a:extLst>
              </p:cNvPr>
              <p:cNvSpPr/>
              <p:nvPr/>
            </p:nvSpPr>
            <p:spPr>
              <a:xfrm>
                <a:off x="6073985" y="1575759"/>
                <a:ext cx="302672" cy="697223"/>
              </a:xfrm>
              <a:custGeom>
                <a:avLst/>
                <a:gdLst>
                  <a:gd name="connsiteX0" fmla="*/ 302646 w 302672"/>
                  <a:gd name="connsiteY0" fmla="*/ 514226 h 697223"/>
                  <a:gd name="connsiteX1" fmla="*/ 283366 w 302672"/>
                  <a:gd name="connsiteY1" fmla="*/ 568942 h 697223"/>
                  <a:gd name="connsiteX2" fmla="*/ 206969 w 302672"/>
                  <a:gd name="connsiteY2" fmla="*/ 655829 h 697223"/>
                  <a:gd name="connsiteX3" fmla="*/ 203912 w 302672"/>
                  <a:gd name="connsiteY3" fmla="*/ 658122 h 697223"/>
                  <a:gd name="connsiteX4" fmla="*/ 202162 w 302672"/>
                  <a:gd name="connsiteY4" fmla="*/ 657360 h 697223"/>
                  <a:gd name="connsiteX5" fmla="*/ 195959 w 302672"/>
                  <a:gd name="connsiteY5" fmla="*/ 658080 h 697223"/>
                  <a:gd name="connsiteX6" fmla="*/ 188996 w 302672"/>
                  <a:gd name="connsiteY6" fmla="*/ 653851 h 697223"/>
                  <a:gd name="connsiteX7" fmla="*/ 187549 w 302672"/>
                  <a:gd name="connsiteY7" fmla="*/ 657001 h 697223"/>
                  <a:gd name="connsiteX8" fmla="*/ 185038 w 302672"/>
                  <a:gd name="connsiteY8" fmla="*/ 656955 h 697223"/>
                  <a:gd name="connsiteX9" fmla="*/ 176679 w 302672"/>
                  <a:gd name="connsiteY9" fmla="*/ 660870 h 697223"/>
                  <a:gd name="connsiteX10" fmla="*/ 174066 w 302672"/>
                  <a:gd name="connsiteY10" fmla="*/ 663029 h 697223"/>
                  <a:gd name="connsiteX11" fmla="*/ 168993 w 302672"/>
                  <a:gd name="connsiteY11" fmla="*/ 655741 h 697223"/>
                  <a:gd name="connsiteX12" fmla="*/ 160773 w 302672"/>
                  <a:gd name="connsiteY12" fmla="*/ 661276 h 697223"/>
                  <a:gd name="connsiteX13" fmla="*/ 160862 w 302672"/>
                  <a:gd name="connsiteY13" fmla="*/ 662490 h 697223"/>
                  <a:gd name="connsiteX14" fmla="*/ 160824 w 302672"/>
                  <a:gd name="connsiteY14" fmla="*/ 663344 h 697223"/>
                  <a:gd name="connsiteX15" fmla="*/ 160596 w 302672"/>
                  <a:gd name="connsiteY15" fmla="*/ 663840 h 697223"/>
                  <a:gd name="connsiteX16" fmla="*/ 159923 w 302672"/>
                  <a:gd name="connsiteY16" fmla="*/ 664200 h 697223"/>
                  <a:gd name="connsiteX17" fmla="*/ 159289 w 302672"/>
                  <a:gd name="connsiteY17" fmla="*/ 664065 h 697223"/>
                  <a:gd name="connsiteX18" fmla="*/ 156993 w 302672"/>
                  <a:gd name="connsiteY18" fmla="*/ 662668 h 697223"/>
                  <a:gd name="connsiteX19" fmla="*/ 155776 w 302672"/>
                  <a:gd name="connsiteY19" fmla="*/ 661678 h 697223"/>
                  <a:gd name="connsiteX20" fmla="*/ 154114 w 302672"/>
                  <a:gd name="connsiteY20" fmla="*/ 660373 h 697223"/>
                  <a:gd name="connsiteX21" fmla="*/ 153391 w 302672"/>
                  <a:gd name="connsiteY21" fmla="*/ 660688 h 697223"/>
                  <a:gd name="connsiteX22" fmla="*/ 153670 w 302672"/>
                  <a:gd name="connsiteY22" fmla="*/ 661408 h 697223"/>
                  <a:gd name="connsiteX23" fmla="*/ 155104 w 302672"/>
                  <a:gd name="connsiteY23" fmla="*/ 664152 h 697223"/>
                  <a:gd name="connsiteX24" fmla="*/ 155332 w 302672"/>
                  <a:gd name="connsiteY24" fmla="*/ 669912 h 697223"/>
                  <a:gd name="connsiteX25" fmla="*/ 151831 w 302672"/>
                  <a:gd name="connsiteY25" fmla="*/ 666403 h 697223"/>
                  <a:gd name="connsiteX26" fmla="*/ 146973 w 302672"/>
                  <a:gd name="connsiteY26" fmla="*/ 670136 h 697223"/>
                  <a:gd name="connsiteX27" fmla="*/ 144233 w 302672"/>
                  <a:gd name="connsiteY27" fmla="*/ 667572 h 697223"/>
                  <a:gd name="connsiteX28" fmla="*/ 140098 w 302672"/>
                  <a:gd name="connsiteY28" fmla="*/ 673017 h 697223"/>
                  <a:gd name="connsiteX29" fmla="*/ 125803 w 302672"/>
                  <a:gd name="connsiteY29" fmla="*/ 674997 h 697223"/>
                  <a:gd name="connsiteX30" fmla="*/ 125270 w 302672"/>
                  <a:gd name="connsiteY30" fmla="*/ 676841 h 697223"/>
                  <a:gd name="connsiteX31" fmla="*/ 124687 w 302672"/>
                  <a:gd name="connsiteY31" fmla="*/ 678101 h 697223"/>
                  <a:gd name="connsiteX32" fmla="*/ 124408 w 302672"/>
                  <a:gd name="connsiteY32" fmla="*/ 678506 h 697223"/>
                  <a:gd name="connsiteX33" fmla="*/ 123824 w 302672"/>
                  <a:gd name="connsiteY33" fmla="*/ 678957 h 697223"/>
                  <a:gd name="connsiteX34" fmla="*/ 121896 w 302672"/>
                  <a:gd name="connsiteY34" fmla="*/ 677607 h 697223"/>
                  <a:gd name="connsiteX35" fmla="*/ 121262 w 302672"/>
                  <a:gd name="connsiteY35" fmla="*/ 676616 h 697223"/>
                  <a:gd name="connsiteX36" fmla="*/ 120907 w 302672"/>
                  <a:gd name="connsiteY36" fmla="*/ 677741 h 697223"/>
                  <a:gd name="connsiteX37" fmla="*/ 113043 w 302672"/>
                  <a:gd name="connsiteY37" fmla="*/ 678327 h 697223"/>
                  <a:gd name="connsiteX38" fmla="*/ 110125 w 302672"/>
                  <a:gd name="connsiteY38" fmla="*/ 684311 h 697223"/>
                  <a:gd name="connsiteX39" fmla="*/ 106789 w 302672"/>
                  <a:gd name="connsiteY39" fmla="*/ 684536 h 697223"/>
                  <a:gd name="connsiteX40" fmla="*/ 104049 w 302672"/>
                  <a:gd name="connsiteY40" fmla="*/ 685256 h 697223"/>
                  <a:gd name="connsiteX41" fmla="*/ 102527 w 302672"/>
                  <a:gd name="connsiteY41" fmla="*/ 685661 h 697223"/>
                  <a:gd name="connsiteX42" fmla="*/ 99116 w 302672"/>
                  <a:gd name="connsiteY42" fmla="*/ 686606 h 697223"/>
                  <a:gd name="connsiteX43" fmla="*/ 97365 w 302672"/>
                  <a:gd name="connsiteY43" fmla="*/ 687055 h 697223"/>
                  <a:gd name="connsiteX44" fmla="*/ 92012 w 302672"/>
                  <a:gd name="connsiteY44" fmla="*/ 688315 h 697223"/>
                  <a:gd name="connsiteX45" fmla="*/ 84326 w 302672"/>
                  <a:gd name="connsiteY45" fmla="*/ 688991 h 697223"/>
                  <a:gd name="connsiteX46" fmla="*/ 83653 w 302672"/>
                  <a:gd name="connsiteY46" fmla="*/ 688810 h 697223"/>
                  <a:gd name="connsiteX47" fmla="*/ 82664 w 302672"/>
                  <a:gd name="connsiteY47" fmla="*/ 688315 h 697223"/>
                  <a:gd name="connsiteX48" fmla="*/ 82220 w 302672"/>
                  <a:gd name="connsiteY48" fmla="*/ 686201 h 697223"/>
                  <a:gd name="connsiteX49" fmla="*/ 82169 w 302672"/>
                  <a:gd name="connsiteY49" fmla="*/ 686245 h 697223"/>
                  <a:gd name="connsiteX50" fmla="*/ 78123 w 302672"/>
                  <a:gd name="connsiteY50" fmla="*/ 691284 h 697223"/>
                  <a:gd name="connsiteX51" fmla="*/ 77134 w 302672"/>
                  <a:gd name="connsiteY51" fmla="*/ 692139 h 697223"/>
                  <a:gd name="connsiteX52" fmla="*/ 69320 w 302672"/>
                  <a:gd name="connsiteY52" fmla="*/ 697134 h 697223"/>
                  <a:gd name="connsiteX53" fmla="*/ 68876 w 302672"/>
                  <a:gd name="connsiteY53" fmla="*/ 697224 h 697223"/>
                  <a:gd name="connsiteX54" fmla="*/ 73823 w 302672"/>
                  <a:gd name="connsiteY54" fmla="*/ 691690 h 697223"/>
                  <a:gd name="connsiteX55" fmla="*/ 72428 w 302672"/>
                  <a:gd name="connsiteY55" fmla="*/ 691330 h 697223"/>
                  <a:gd name="connsiteX56" fmla="*/ 69815 w 302672"/>
                  <a:gd name="connsiteY56" fmla="*/ 679316 h 697223"/>
                  <a:gd name="connsiteX57" fmla="*/ 66352 w 302672"/>
                  <a:gd name="connsiteY57" fmla="*/ 678327 h 697223"/>
                  <a:gd name="connsiteX58" fmla="*/ 66492 w 302672"/>
                  <a:gd name="connsiteY58" fmla="*/ 676977 h 697223"/>
                  <a:gd name="connsiteX59" fmla="*/ 67976 w 302672"/>
                  <a:gd name="connsiteY59" fmla="*/ 672252 h 697223"/>
                  <a:gd name="connsiteX60" fmla="*/ 66898 w 302672"/>
                  <a:gd name="connsiteY60" fmla="*/ 670812 h 697223"/>
                  <a:gd name="connsiteX61" fmla="*/ 66847 w 302672"/>
                  <a:gd name="connsiteY61" fmla="*/ 670766 h 697223"/>
                  <a:gd name="connsiteX62" fmla="*/ 66758 w 302672"/>
                  <a:gd name="connsiteY62" fmla="*/ 671891 h 697223"/>
                  <a:gd name="connsiteX63" fmla="*/ 66263 w 302672"/>
                  <a:gd name="connsiteY63" fmla="*/ 673962 h 697223"/>
                  <a:gd name="connsiteX64" fmla="*/ 65629 w 302672"/>
                  <a:gd name="connsiteY64" fmla="*/ 676032 h 697223"/>
                  <a:gd name="connsiteX65" fmla="*/ 62978 w 302672"/>
                  <a:gd name="connsiteY65" fmla="*/ 682556 h 697223"/>
                  <a:gd name="connsiteX66" fmla="*/ 62255 w 302672"/>
                  <a:gd name="connsiteY66" fmla="*/ 683816 h 697223"/>
                  <a:gd name="connsiteX67" fmla="*/ 61456 w 302672"/>
                  <a:gd name="connsiteY67" fmla="*/ 684760 h 697223"/>
                  <a:gd name="connsiteX68" fmla="*/ 57765 w 302672"/>
                  <a:gd name="connsiteY68" fmla="*/ 687866 h 697223"/>
                  <a:gd name="connsiteX69" fmla="*/ 57765 w 302672"/>
                  <a:gd name="connsiteY69" fmla="*/ 678911 h 697223"/>
                  <a:gd name="connsiteX70" fmla="*/ 64640 w 302672"/>
                  <a:gd name="connsiteY70" fmla="*/ 673242 h 697223"/>
                  <a:gd name="connsiteX71" fmla="*/ 65401 w 302672"/>
                  <a:gd name="connsiteY71" fmla="*/ 671982 h 697223"/>
                  <a:gd name="connsiteX72" fmla="*/ 66212 w 302672"/>
                  <a:gd name="connsiteY72" fmla="*/ 670858 h 697223"/>
                  <a:gd name="connsiteX73" fmla="*/ 66390 w 302672"/>
                  <a:gd name="connsiteY73" fmla="*/ 670633 h 697223"/>
                  <a:gd name="connsiteX74" fmla="*/ 66707 w 302672"/>
                  <a:gd name="connsiteY74" fmla="*/ 670543 h 697223"/>
                  <a:gd name="connsiteX75" fmla="*/ 66656 w 302672"/>
                  <a:gd name="connsiteY75" fmla="*/ 670498 h 697223"/>
                  <a:gd name="connsiteX76" fmla="*/ 66301 w 302672"/>
                  <a:gd name="connsiteY76" fmla="*/ 670048 h 697223"/>
                  <a:gd name="connsiteX77" fmla="*/ 60910 w 302672"/>
                  <a:gd name="connsiteY77" fmla="*/ 673062 h 697223"/>
                  <a:gd name="connsiteX78" fmla="*/ 59160 w 302672"/>
                  <a:gd name="connsiteY78" fmla="*/ 673917 h 697223"/>
                  <a:gd name="connsiteX79" fmla="*/ 59109 w 302672"/>
                  <a:gd name="connsiteY79" fmla="*/ 671123 h 697223"/>
                  <a:gd name="connsiteX80" fmla="*/ 58526 w 302672"/>
                  <a:gd name="connsiteY80" fmla="*/ 665588 h 697223"/>
                  <a:gd name="connsiteX81" fmla="*/ 36189 w 302672"/>
                  <a:gd name="connsiteY81" fmla="*/ 651010 h 697223"/>
                  <a:gd name="connsiteX82" fmla="*/ 22389 w 302672"/>
                  <a:gd name="connsiteY82" fmla="*/ 647454 h 697223"/>
                  <a:gd name="connsiteX83" fmla="*/ 20816 w 302672"/>
                  <a:gd name="connsiteY83" fmla="*/ 625901 h 697223"/>
                  <a:gd name="connsiteX84" fmla="*/ 26435 w 302672"/>
                  <a:gd name="connsiteY84" fmla="*/ 618206 h 697223"/>
                  <a:gd name="connsiteX85" fmla="*/ 26803 w 302672"/>
                  <a:gd name="connsiteY85" fmla="*/ 613752 h 697223"/>
                  <a:gd name="connsiteX86" fmla="*/ 28604 w 302672"/>
                  <a:gd name="connsiteY86" fmla="*/ 604888 h 697223"/>
                  <a:gd name="connsiteX87" fmla="*/ 28147 w 302672"/>
                  <a:gd name="connsiteY87" fmla="*/ 601423 h 697223"/>
                  <a:gd name="connsiteX88" fmla="*/ 27247 w 302672"/>
                  <a:gd name="connsiteY88" fmla="*/ 598903 h 697223"/>
                  <a:gd name="connsiteX89" fmla="*/ 25763 w 302672"/>
                  <a:gd name="connsiteY89" fmla="*/ 596159 h 697223"/>
                  <a:gd name="connsiteX90" fmla="*/ 29454 w 302672"/>
                  <a:gd name="connsiteY90" fmla="*/ 597014 h 697223"/>
                  <a:gd name="connsiteX91" fmla="*/ 29454 w 302672"/>
                  <a:gd name="connsiteY91" fmla="*/ 596968 h 697223"/>
                  <a:gd name="connsiteX92" fmla="*/ 29226 w 302672"/>
                  <a:gd name="connsiteY92" fmla="*/ 592829 h 697223"/>
                  <a:gd name="connsiteX93" fmla="*/ 23340 w 302672"/>
                  <a:gd name="connsiteY93" fmla="*/ 577170 h 697223"/>
                  <a:gd name="connsiteX94" fmla="*/ 22706 w 302672"/>
                  <a:gd name="connsiteY94" fmla="*/ 574201 h 697223"/>
                  <a:gd name="connsiteX95" fmla="*/ 21843 w 302672"/>
                  <a:gd name="connsiteY95" fmla="*/ 568395 h 697223"/>
                  <a:gd name="connsiteX96" fmla="*/ 21311 w 302672"/>
                  <a:gd name="connsiteY96" fmla="*/ 562636 h 697223"/>
                  <a:gd name="connsiteX97" fmla="*/ 21222 w 302672"/>
                  <a:gd name="connsiteY97" fmla="*/ 561376 h 697223"/>
                  <a:gd name="connsiteX98" fmla="*/ 20816 w 302672"/>
                  <a:gd name="connsiteY98" fmla="*/ 554942 h 697223"/>
                  <a:gd name="connsiteX99" fmla="*/ 20055 w 302672"/>
                  <a:gd name="connsiteY99" fmla="*/ 544998 h 697223"/>
                  <a:gd name="connsiteX100" fmla="*/ 15831 w 302672"/>
                  <a:gd name="connsiteY100" fmla="*/ 532806 h 697223"/>
                  <a:gd name="connsiteX101" fmla="*/ 15108 w 302672"/>
                  <a:gd name="connsiteY101" fmla="*/ 530511 h 697223"/>
                  <a:gd name="connsiteX102" fmla="*/ 15248 w 302672"/>
                  <a:gd name="connsiteY102" fmla="*/ 529566 h 697223"/>
                  <a:gd name="connsiteX103" fmla="*/ 20321 w 302672"/>
                  <a:gd name="connsiteY103" fmla="*/ 516248 h 697223"/>
                  <a:gd name="connsiteX104" fmla="*/ 22122 w 302672"/>
                  <a:gd name="connsiteY104" fmla="*/ 512964 h 697223"/>
                  <a:gd name="connsiteX105" fmla="*/ 23061 w 302672"/>
                  <a:gd name="connsiteY105" fmla="*/ 511389 h 697223"/>
                  <a:gd name="connsiteX106" fmla="*/ 23999 w 302672"/>
                  <a:gd name="connsiteY106" fmla="*/ 509992 h 697223"/>
                  <a:gd name="connsiteX107" fmla="*/ 25890 w 302672"/>
                  <a:gd name="connsiteY107" fmla="*/ 507697 h 697223"/>
                  <a:gd name="connsiteX108" fmla="*/ 29213 w 302672"/>
                  <a:gd name="connsiteY108" fmla="*/ 502838 h 697223"/>
                  <a:gd name="connsiteX109" fmla="*/ 26562 w 302672"/>
                  <a:gd name="connsiteY109" fmla="*/ 495504 h 697223"/>
                  <a:gd name="connsiteX110" fmla="*/ 26790 w 302672"/>
                  <a:gd name="connsiteY110" fmla="*/ 495369 h 697223"/>
                  <a:gd name="connsiteX111" fmla="*/ 27462 w 302672"/>
                  <a:gd name="connsiteY111" fmla="*/ 495233 h 697223"/>
                  <a:gd name="connsiteX112" fmla="*/ 28008 w 302672"/>
                  <a:gd name="connsiteY112" fmla="*/ 495189 h 697223"/>
                  <a:gd name="connsiteX113" fmla="*/ 28946 w 302672"/>
                  <a:gd name="connsiteY113" fmla="*/ 495099 h 697223"/>
                  <a:gd name="connsiteX114" fmla="*/ 30380 w 302672"/>
                  <a:gd name="connsiteY114" fmla="*/ 494874 h 697223"/>
                  <a:gd name="connsiteX115" fmla="*/ 34426 w 302672"/>
                  <a:gd name="connsiteY115" fmla="*/ 493570 h 697223"/>
                  <a:gd name="connsiteX116" fmla="*/ 37039 w 302672"/>
                  <a:gd name="connsiteY116" fmla="*/ 492308 h 697223"/>
                  <a:gd name="connsiteX117" fmla="*/ 37445 w 302672"/>
                  <a:gd name="connsiteY117" fmla="*/ 494603 h 697223"/>
                  <a:gd name="connsiteX118" fmla="*/ 40236 w 302672"/>
                  <a:gd name="connsiteY118" fmla="*/ 492804 h 697223"/>
                  <a:gd name="connsiteX119" fmla="*/ 50167 w 302672"/>
                  <a:gd name="connsiteY119" fmla="*/ 486910 h 697223"/>
                  <a:gd name="connsiteX120" fmla="*/ 49710 w 302672"/>
                  <a:gd name="connsiteY120" fmla="*/ 485513 h 697223"/>
                  <a:gd name="connsiteX121" fmla="*/ 49305 w 302672"/>
                  <a:gd name="connsiteY121" fmla="*/ 484569 h 697223"/>
                  <a:gd name="connsiteX122" fmla="*/ 46159 w 302672"/>
                  <a:gd name="connsiteY122" fmla="*/ 479709 h 697223"/>
                  <a:gd name="connsiteX123" fmla="*/ 51918 w 302672"/>
                  <a:gd name="connsiteY123" fmla="*/ 480114 h 697223"/>
                  <a:gd name="connsiteX124" fmla="*/ 56953 w 302672"/>
                  <a:gd name="connsiteY124" fmla="*/ 472194 h 697223"/>
                  <a:gd name="connsiteX125" fmla="*/ 58564 w 302672"/>
                  <a:gd name="connsiteY125" fmla="*/ 469899 h 697223"/>
                  <a:gd name="connsiteX126" fmla="*/ 60137 w 302672"/>
                  <a:gd name="connsiteY126" fmla="*/ 467740 h 697223"/>
                  <a:gd name="connsiteX127" fmla="*/ 64944 w 302672"/>
                  <a:gd name="connsiteY127" fmla="*/ 461710 h 697223"/>
                  <a:gd name="connsiteX128" fmla="*/ 66707 w 302672"/>
                  <a:gd name="connsiteY128" fmla="*/ 459686 h 697223"/>
                  <a:gd name="connsiteX129" fmla="*/ 66923 w 302672"/>
                  <a:gd name="connsiteY129" fmla="*/ 459415 h 697223"/>
                  <a:gd name="connsiteX130" fmla="*/ 101931 w 302672"/>
                  <a:gd name="connsiteY130" fmla="*/ 416804 h 697223"/>
                  <a:gd name="connsiteX131" fmla="*/ 102388 w 302672"/>
                  <a:gd name="connsiteY131" fmla="*/ 416169 h 697223"/>
                  <a:gd name="connsiteX132" fmla="*/ 103415 w 302672"/>
                  <a:gd name="connsiteY132" fmla="*/ 414460 h 697223"/>
                  <a:gd name="connsiteX133" fmla="*/ 104899 w 302672"/>
                  <a:gd name="connsiteY133" fmla="*/ 412029 h 697223"/>
                  <a:gd name="connsiteX134" fmla="*/ 105166 w 302672"/>
                  <a:gd name="connsiteY134" fmla="*/ 411580 h 697223"/>
                  <a:gd name="connsiteX135" fmla="*/ 107512 w 302672"/>
                  <a:gd name="connsiteY135" fmla="*/ 407575 h 697223"/>
                  <a:gd name="connsiteX136" fmla="*/ 115414 w 302672"/>
                  <a:gd name="connsiteY136" fmla="*/ 391192 h 697223"/>
                  <a:gd name="connsiteX137" fmla="*/ 116137 w 302672"/>
                  <a:gd name="connsiteY137" fmla="*/ 390472 h 697223"/>
                  <a:gd name="connsiteX138" fmla="*/ 117127 w 302672"/>
                  <a:gd name="connsiteY138" fmla="*/ 389662 h 697223"/>
                  <a:gd name="connsiteX139" fmla="*/ 117622 w 302672"/>
                  <a:gd name="connsiteY139" fmla="*/ 389301 h 697223"/>
                  <a:gd name="connsiteX140" fmla="*/ 118294 w 302672"/>
                  <a:gd name="connsiteY140" fmla="*/ 388942 h 697223"/>
                  <a:gd name="connsiteX141" fmla="*/ 119144 w 302672"/>
                  <a:gd name="connsiteY141" fmla="*/ 388492 h 697223"/>
                  <a:gd name="connsiteX142" fmla="*/ 131599 w 302672"/>
                  <a:gd name="connsiteY142" fmla="*/ 381788 h 697223"/>
                  <a:gd name="connsiteX143" fmla="*/ 131638 w 302672"/>
                  <a:gd name="connsiteY143" fmla="*/ 381698 h 697223"/>
                  <a:gd name="connsiteX144" fmla="*/ 131866 w 302672"/>
                  <a:gd name="connsiteY144" fmla="*/ 381202 h 697223"/>
                  <a:gd name="connsiteX145" fmla="*/ 132272 w 302672"/>
                  <a:gd name="connsiteY145" fmla="*/ 380753 h 697223"/>
                  <a:gd name="connsiteX146" fmla="*/ 132449 w 302672"/>
                  <a:gd name="connsiteY146" fmla="*/ 380617 h 697223"/>
                  <a:gd name="connsiteX147" fmla="*/ 132982 w 302672"/>
                  <a:gd name="connsiteY147" fmla="*/ 380392 h 697223"/>
                  <a:gd name="connsiteX148" fmla="*/ 134466 w 302672"/>
                  <a:gd name="connsiteY148" fmla="*/ 380302 h 697223"/>
                  <a:gd name="connsiteX149" fmla="*/ 137028 w 302672"/>
                  <a:gd name="connsiteY149" fmla="*/ 378863 h 697223"/>
                  <a:gd name="connsiteX150" fmla="*/ 137079 w 302672"/>
                  <a:gd name="connsiteY150" fmla="*/ 363294 h 697223"/>
                  <a:gd name="connsiteX151" fmla="*/ 136584 w 302672"/>
                  <a:gd name="connsiteY151" fmla="*/ 360640 h 697223"/>
                  <a:gd name="connsiteX152" fmla="*/ 133477 w 302672"/>
                  <a:gd name="connsiteY152" fmla="*/ 350560 h 697223"/>
                  <a:gd name="connsiteX153" fmla="*/ 132766 w 302672"/>
                  <a:gd name="connsiteY153" fmla="*/ 348985 h 697223"/>
                  <a:gd name="connsiteX154" fmla="*/ 131688 w 302672"/>
                  <a:gd name="connsiteY154" fmla="*/ 346871 h 697223"/>
                  <a:gd name="connsiteX155" fmla="*/ 130927 w 302672"/>
                  <a:gd name="connsiteY155" fmla="*/ 345566 h 697223"/>
                  <a:gd name="connsiteX156" fmla="*/ 123774 w 302672"/>
                  <a:gd name="connsiteY156" fmla="*/ 337151 h 697223"/>
                  <a:gd name="connsiteX157" fmla="*/ 121896 w 302672"/>
                  <a:gd name="connsiteY157" fmla="*/ 335576 h 697223"/>
                  <a:gd name="connsiteX158" fmla="*/ 114210 w 302672"/>
                  <a:gd name="connsiteY158" fmla="*/ 327163 h 697223"/>
                  <a:gd name="connsiteX159" fmla="*/ 114121 w 302672"/>
                  <a:gd name="connsiteY159" fmla="*/ 326218 h 697223"/>
                  <a:gd name="connsiteX160" fmla="*/ 114298 w 302672"/>
                  <a:gd name="connsiteY160" fmla="*/ 324643 h 697223"/>
                  <a:gd name="connsiteX161" fmla="*/ 114704 w 302672"/>
                  <a:gd name="connsiteY161" fmla="*/ 323157 h 697223"/>
                  <a:gd name="connsiteX162" fmla="*/ 114793 w 302672"/>
                  <a:gd name="connsiteY162" fmla="*/ 322888 h 697223"/>
                  <a:gd name="connsiteX163" fmla="*/ 113220 w 302672"/>
                  <a:gd name="connsiteY163" fmla="*/ 322302 h 697223"/>
                  <a:gd name="connsiteX164" fmla="*/ 107601 w 302672"/>
                  <a:gd name="connsiteY164" fmla="*/ 326037 h 697223"/>
                  <a:gd name="connsiteX165" fmla="*/ 103238 w 302672"/>
                  <a:gd name="connsiteY165" fmla="*/ 324148 h 697223"/>
                  <a:gd name="connsiteX166" fmla="*/ 90160 w 302672"/>
                  <a:gd name="connsiteY166" fmla="*/ 288781 h 697223"/>
                  <a:gd name="connsiteX167" fmla="*/ 96135 w 302672"/>
                  <a:gd name="connsiteY167" fmla="*/ 254989 h 697223"/>
                  <a:gd name="connsiteX168" fmla="*/ 90160 w 302672"/>
                  <a:gd name="connsiteY168" fmla="*/ 240815 h 697223"/>
                  <a:gd name="connsiteX169" fmla="*/ 85937 w 302672"/>
                  <a:gd name="connsiteY169" fmla="*/ 209543 h 697223"/>
                  <a:gd name="connsiteX170" fmla="*/ 81218 w 302672"/>
                  <a:gd name="connsiteY170" fmla="*/ 206303 h 697223"/>
                  <a:gd name="connsiteX171" fmla="*/ 84009 w 302672"/>
                  <a:gd name="connsiteY171" fmla="*/ 177911 h 697223"/>
                  <a:gd name="connsiteX172" fmla="*/ 77806 w 302672"/>
                  <a:gd name="connsiteY172" fmla="*/ 157437 h 697223"/>
                  <a:gd name="connsiteX173" fmla="*/ 72187 w 302672"/>
                  <a:gd name="connsiteY173" fmla="*/ 152173 h 697223"/>
                  <a:gd name="connsiteX174" fmla="*/ 62801 w 302672"/>
                  <a:gd name="connsiteY174" fmla="*/ 138674 h 697223"/>
                  <a:gd name="connsiteX175" fmla="*/ 56915 w 302672"/>
                  <a:gd name="connsiteY175" fmla="*/ 132644 h 697223"/>
                  <a:gd name="connsiteX176" fmla="*/ 29238 w 302672"/>
                  <a:gd name="connsiteY176" fmla="*/ 115097 h 697223"/>
                  <a:gd name="connsiteX177" fmla="*/ 4834 w 302672"/>
                  <a:gd name="connsiteY177" fmla="*/ 87784 h 697223"/>
                  <a:gd name="connsiteX178" fmla="*/ 521 w 302672"/>
                  <a:gd name="connsiteY178" fmla="*/ 83824 h 697223"/>
                  <a:gd name="connsiteX179" fmla="*/ 471 w 302672"/>
                  <a:gd name="connsiteY179" fmla="*/ 83824 h 697223"/>
                  <a:gd name="connsiteX180" fmla="*/ 2132 w 302672"/>
                  <a:gd name="connsiteY180" fmla="*/ 80314 h 697223"/>
                  <a:gd name="connsiteX181" fmla="*/ 11848 w 302672"/>
                  <a:gd name="connsiteY181" fmla="*/ 83780 h 697223"/>
                  <a:gd name="connsiteX182" fmla="*/ 14410 w 302672"/>
                  <a:gd name="connsiteY182" fmla="*/ 72171 h 697223"/>
                  <a:gd name="connsiteX183" fmla="*/ 24647 w 302672"/>
                  <a:gd name="connsiteY183" fmla="*/ 65821 h 697223"/>
                  <a:gd name="connsiteX184" fmla="*/ 45005 w 302672"/>
                  <a:gd name="connsiteY184" fmla="*/ 89938 h 697223"/>
                  <a:gd name="connsiteX185" fmla="*/ 50763 w 302672"/>
                  <a:gd name="connsiteY185" fmla="*/ 109017 h 697223"/>
                  <a:gd name="connsiteX186" fmla="*/ 59794 w 302672"/>
                  <a:gd name="connsiteY186" fmla="*/ 110771 h 697223"/>
                  <a:gd name="connsiteX187" fmla="*/ 69637 w 302672"/>
                  <a:gd name="connsiteY187" fmla="*/ 115089 h 697223"/>
                  <a:gd name="connsiteX188" fmla="*/ 73899 w 302672"/>
                  <a:gd name="connsiteY188" fmla="*/ 116753 h 697223"/>
                  <a:gd name="connsiteX189" fmla="*/ 87662 w 302672"/>
                  <a:gd name="connsiteY189" fmla="*/ 110769 h 697223"/>
                  <a:gd name="connsiteX190" fmla="*/ 96160 w 302672"/>
                  <a:gd name="connsiteY190" fmla="*/ 103930 h 697223"/>
                  <a:gd name="connsiteX191" fmla="*/ 112649 w 302672"/>
                  <a:gd name="connsiteY191" fmla="*/ 112614 h 697223"/>
                  <a:gd name="connsiteX192" fmla="*/ 122391 w 302672"/>
                  <a:gd name="connsiteY192" fmla="*/ 121388 h 697223"/>
                  <a:gd name="connsiteX193" fmla="*/ 129672 w 302672"/>
                  <a:gd name="connsiteY193" fmla="*/ 113019 h 697223"/>
                  <a:gd name="connsiteX194" fmla="*/ 135874 w 302672"/>
                  <a:gd name="connsiteY194" fmla="*/ 98351 h 697223"/>
                  <a:gd name="connsiteX195" fmla="*/ 143028 w 302672"/>
                  <a:gd name="connsiteY195" fmla="*/ 96910 h 697223"/>
                  <a:gd name="connsiteX196" fmla="*/ 154888 w 302672"/>
                  <a:gd name="connsiteY196" fmla="*/ 36436 h 697223"/>
                  <a:gd name="connsiteX197" fmla="*/ 174256 w 302672"/>
                  <a:gd name="connsiteY197" fmla="*/ 14162 h 697223"/>
                  <a:gd name="connsiteX198" fmla="*/ 182704 w 302672"/>
                  <a:gd name="connsiteY198" fmla="*/ 13443 h 697223"/>
                  <a:gd name="connsiteX199" fmla="*/ 193397 w 302672"/>
                  <a:gd name="connsiteY199" fmla="*/ 5209 h 697223"/>
                  <a:gd name="connsiteX200" fmla="*/ 203202 w 302672"/>
                  <a:gd name="connsiteY200" fmla="*/ 709 h 697223"/>
                  <a:gd name="connsiteX201" fmla="*/ 213894 w 302672"/>
                  <a:gd name="connsiteY201" fmla="*/ 8178 h 697223"/>
                  <a:gd name="connsiteX202" fmla="*/ 245985 w 302672"/>
                  <a:gd name="connsiteY202" fmla="*/ 43276 h 697223"/>
                  <a:gd name="connsiteX203" fmla="*/ 239466 w 302672"/>
                  <a:gd name="connsiteY203" fmla="*/ 79273 h 697223"/>
                  <a:gd name="connsiteX204" fmla="*/ 237360 w 302672"/>
                  <a:gd name="connsiteY204" fmla="*/ 86066 h 697223"/>
                  <a:gd name="connsiteX205" fmla="*/ 237310 w 302672"/>
                  <a:gd name="connsiteY205" fmla="*/ 86202 h 697223"/>
                  <a:gd name="connsiteX206" fmla="*/ 223154 w 302672"/>
                  <a:gd name="connsiteY206" fmla="*/ 97450 h 697223"/>
                  <a:gd name="connsiteX207" fmla="*/ 228545 w 302672"/>
                  <a:gd name="connsiteY207" fmla="*/ 102445 h 697223"/>
                  <a:gd name="connsiteX208" fmla="*/ 225856 w 302672"/>
                  <a:gd name="connsiteY208" fmla="*/ 138667 h 697223"/>
                  <a:gd name="connsiteX209" fmla="*/ 259063 w 302672"/>
                  <a:gd name="connsiteY209" fmla="*/ 180333 h 697223"/>
                  <a:gd name="connsiteX210" fmla="*/ 259063 w 302672"/>
                  <a:gd name="connsiteY210" fmla="*/ 201525 h 697223"/>
                  <a:gd name="connsiteX211" fmla="*/ 248142 w 302672"/>
                  <a:gd name="connsiteY211" fmla="*/ 232933 h 697223"/>
                  <a:gd name="connsiteX212" fmla="*/ 246531 w 302672"/>
                  <a:gd name="connsiteY212" fmla="*/ 260786 h 697223"/>
                  <a:gd name="connsiteX213" fmla="*/ 270428 w 302672"/>
                  <a:gd name="connsiteY213" fmla="*/ 333769 h 697223"/>
                  <a:gd name="connsiteX214" fmla="*/ 262386 w 302672"/>
                  <a:gd name="connsiteY214" fmla="*/ 336469 h 697223"/>
                  <a:gd name="connsiteX215" fmla="*/ 257312 w 302672"/>
                  <a:gd name="connsiteY215" fmla="*/ 363961 h 697223"/>
                  <a:gd name="connsiteX216" fmla="*/ 261042 w 302672"/>
                  <a:gd name="connsiteY216" fmla="*/ 369405 h 697223"/>
                  <a:gd name="connsiteX217" fmla="*/ 267739 w 302672"/>
                  <a:gd name="connsiteY217" fmla="*/ 415797 h 697223"/>
                  <a:gd name="connsiteX218" fmla="*/ 289810 w 302672"/>
                  <a:gd name="connsiteY218" fmla="*/ 474517 h 697223"/>
                  <a:gd name="connsiteX219" fmla="*/ 302646 w 302672"/>
                  <a:gd name="connsiteY219" fmla="*/ 514226 h 6972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</a:cxnLst>
                <a:rect l="l" t="t" r="r" b="b"/>
                <a:pathLst>
                  <a:path w="302672" h="697223">
                    <a:moveTo>
                      <a:pt x="302646" y="514226"/>
                    </a:moveTo>
                    <a:cubicBezTo>
                      <a:pt x="300464" y="533695"/>
                      <a:pt x="293868" y="552409"/>
                      <a:pt x="283366" y="568942"/>
                    </a:cubicBezTo>
                    <a:cubicBezTo>
                      <a:pt x="270149" y="592114"/>
                      <a:pt x="226287" y="636705"/>
                      <a:pt x="206969" y="655829"/>
                    </a:cubicBezTo>
                    <a:cubicBezTo>
                      <a:pt x="204178" y="654479"/>
                      <a:pt x="202517" y="653083"/>
                      <a:pt x="203912" y="658122"/>
                    </a:cubicBezTo>
                    <a:cubicBezTo>
                      <a:pt x="202339" y="659923"/>
                      <a:pt x="199143" y="659113"/>
                      <a:pt x="202162" y="657360"/>
                    </a:cubicBezTo>
                    <a:cubicBezTo>
                      <a:pt x="197760" y="658441"/>
                      <a:pt x="201439" y="660281"/>
                      <a:pt x="195959" y="658080"/>
                    </a:cubicBezTo>
                    <a:cubicBezTo>
                      <a:pt x="199194" y="664245"/>
                      <a:pt x="185939" y="655426"/>
                      <a:pt x="188996" y="653851"/>
                    </a:cubicBezTo>
                    <a:cubicBezTo>
                      <a:pt x="186522" y="652231"/>
                      <a:pt x="188907" y="659430"/>
                      <a:pt x="187549" y="657001"/>
                    </a:cubicBezTo>
                    <a:cubicBezTo>
                      <a:pt x="185977" y="656955"/>
                      <a:pt x="186027" y="654796"/>
                      <a:pt x="185038" y="656955"/>
                    </a:cubicBezTo>
                    <a:cubicBezTo>
                      <a:pt x="181803" y="655966"/>
                      <a:pt x="182742" y="661725"/>
                      <a:pt x="176679" y="660870"/>
                    </a:cubicBezTo>
                    <a:cubicBezTo>
                      <a:pt x="177669" y="656553"/>
                      <a:pt x="174789" y="661860"/>
                      <a:pt x="174066" y="663029"/>
                    </a:cubicBezTo>
                    <a:cubicBezTo>
                      <a:pt x="170248" y="663615"/>
                      <a:pt x="168320" y="658935"/>
                      <a:pt x="168993" y="655741"/>
                    </a:cubicBezTo>
                    <a:cubicBezTo>
                      <a:pt x="167065" y="661681"/>
                      <a:pt x="165137" y="669104"/>
                      <a:pt x="160773" y="661276"/>
                    </a:cubicBezTo>
                    <a:cubicBezTo>
                      <a:pt x="160849" y="661676"/>
                      <a:pt x="160875" y="662083"/>
                      <a:pt x="160862" y="662490"/>
                    </a:cubicBezTo>
                    <a:cubicBezTo>
                      <a:pt x="160900" y="662775"/>
                      <a:pt x="160875" y="663064"/>
                      <a:pt x="160824" y="663344"/>
                    </a:cubicBezTo>
                    <a:cubicBezTo>
                      <a:pt x="160773" y="663521"/>
                      <a:pt x="160697" y="663689"/>
                      <a:pt x="160596" y="663840"/>
                    </a:cubicBezTo>
                    <a:cubicBezTo>
                      <a:pt x="160456" y="664075"/>
                      <a:pt x="160190" y="664213"/>
                      <a:pt x="159923" y="664200"/>
                    </a:cubicBezTo>
                    <a:cubicBezTo>
                      <a:pt x="159708" y="664194"/>
                      <a:pt x="159492" y="664148"/>
                      <a:pt x="159289" y="664065"/>
                    </a:cubicBezTo>
                    <a:cubicBezTo>
                      <a:pt x="158452" y="663720"/>
                      <a:pt x="157678" y="663249"/>
                      <a:pt x="156993" y="662668"/>
                    </a:cubicBezTo>
                    <a:cubicBezTo>
                      <a:pt x="156575" y="662363"/>
                      <a:pt x="156169" y="662031"/>
                      <a:pt x="155776" y="661678"/>
                    </a:cubicBezTo>
                    <a:cubicBezTo>
                      <a:pt x="155141" y="661137"/>
                      <a:pt x="154571" y="660688"/>
                      <a:pt x="154114" y="660373"/>
                    </a:cubicBezTo>
                    <a:cubicBezTo>
                      <a:pt x="153848" y="660463"/>
                      <a:pt x="153619" y="660597"/>
                      <a:pt x="153391" y="660688"/>
                    </a:cubicBezTo>
                    <a:cubicBezTo>
                      <a:pt x="153467" y="660934"/>
                      <a:pt x="153556" y="661174"/>
                      <a:pt x="153670" y="661408"/>
                    </a:cubicBezTo>
                    <a:cubicBezTo>
                      <a:pt x="153987" y="662043"/>
                      <a:pt x="154431" y="662932"/>
                      <a:pt x="155104" y="664152"/>
                    </a:cubicBezTo>
                    <a:cubicBezTo>
                      <a:pt x="153353" y="665277"/>
                      <a:pt x="160367" y="668786"/>
                      <a:pt x="155332" y="669912"/>
                    </a:cubicBezTo>
                    <a:cubicBezTo>
                      <a:pt x="156321" y="666808"/>
                      <a:pt x="146478" y="662172"/>
                      <a:pt x="151831" y="666403"/>
                    </a:cubicBezTo>
                    <a:cubicBezTo>
                      <a:pt x="150524" y="677607"/>
                      <a:pt x="151374" y="667927"/>
                      <a:pt x="146973" y="670136"/>
                    </a:cubicBezTo>
                    <a:cubicBezTo>
                      <a:pt x="153442" y="674367"/>
                      <a:pt x="142394" y="673057"/>
                      <a:pt x="144233" y="667572"/>
                    </a:cubicBezTo>
                    <a:cubicBezTo>
                      <a:pt x="148863" y="666175"/>
                      <a:pt x="140187" y="665997"/>
                      <a:pt x="140098" y="673017"/>
                    </a:cubicBezTo>
                    <a:cubicBezTo>
                      <a:pt x="132361" y="669237"/>
                      <a:pt x="125803" y="683095"/>
                      <a:pt x="125803" y="674997"/>
                    </a:cubicBezTo>
                    <a:cubicBezTo>
                      <a:pt x="125663" y="675621"/>
                      <a:pt x="125486" y="676237"/>
                      <a:pt x="125270" y="676841"/>
                    </a:cubicBezTo>
                    <a:cubicBezTo>
                      <a:pt x="125131" y="677288"/>
                      <a:pt x="124940" y="677712"/>
                      <a:pt x="124687" y="678101"/>
                    </a:cubicBezTo>
                    <a:cubicBezTo>
                      <a:pt x="124610" y="678249"/>
                      <a:pt x="124522" y="678385"/>
                      <a:pt x="124408" y="678506"/>
                    </a:cubicBezTo>
                    <a:cubicBezTo>
                      <a:pt x="124243" y="678686"/>
                      <a:pt x="124040" y="678838"/>
                      <a:pt x="123824" y="678957"/>
                    </a:cubicBezTo>
                    <a:cubicBezTo>
                      <a:pt x="123114" y="679226"/>
                      <a:pt x="122429" y="678416"/>
                      <a:pt x="121896" y="677607"/>
                    </a:cubicBezTo>
                    <a:cubicBezTo>
                      <a:pt x="121668" y="677246"/>
                      <a:pt x="121452" y="676886"/>
                      <a:pt x="121262" y="676616"/>
                    </a:cubicBezTo>
                    <a:cubicBezTo>
                      <a:pt x="120856" y="675942"/>
                      <a:pt x="120678" y="675854"/>
                      <a:pt x="120907" y="677741"/>
                    </a:cubicBezTo>
                    <a:cubicBezTo>
                      <a:pt x="115503" y="680351"/>
                      <a:pt x="117482" y="680662"/>
                      <a:pt x="113043" y="678327"/>
                    </a:cubicBezTo>
                    <a:cubicBezTo>
                      <a:pt x="118611" y="680935"/>
                      <a:pt x="106345" y="690925"/>
                      <a:pt x="110125" y="684311"/>
                    </a:cubicBezTo>
                    <a:cubicBezTo>
                      <a:pt x="110024" y="683906"/>
                      <a:pt x="108768" y="684086"/>
                      <a:pt x="106789" y="684536"/>
                    </a:cubicBezTo>
                    <a:cubicBezTo>
                      <a:pt x="105990" y="684716"/>
                      <a:pt x="105089" y="684985"/>
                      <a:pt x="104049" y="685256"/>
                    </a:cubicBezTo>
                    <a:cubicBezTo>
                      <a:pt x="103555" y="685390"/>
                      <a:pt x="103022" y="685525"/>
                      <a:pt x="102527" y="685661"/>
                    </a:cubicBezTo>
                    <a:cubicBezTo>
                      <a:pt x="101449" y="685976"/>
                      <a:pt x="100282" y="686296"/>
                      <a:pt x="99116" y="686606"/>
                    </a:cubicBezTo>
                    <a:cubicBezTo>
                      <a:pt x="98532" y="686740"/>
                      <a:pt x="97948" y="686875"/>
                      <a:pt x="97365" y="687055"/>
                    </a:cubicBezTo>
                    <a:cubicBezTo>
                      <a:pt x="95564" y="687505"/>
                      <a:pt x="93762" y="687956"/>
                      <a:pt x="92012" y="688315"/>
                    </a:cubicBezTo>
                    <a:cubicBezTo>
                      <a:pt x="89513" y="688962"/>
                      <a:pt x="86913" y="689190"/>
                      <a:pt x="84326" y="688991"/>
                    </a:cubicBezTo>
                    <a:cubicBezTo>
                      <a:pt x="84097" y="688951"/>
                      <a:pt x="83869" y="688890"/>
                      <a:pt x="83653" y="688810"/>
                    </a:cubicBezTo>
                    <a:cubicBezTo>
                      <a:pt x="83285" y="688729"/>
                      <a:pt x="82956" y="688559"/>
                      <a:pt x="82664" y="688315"/>
                    </a:cubicBezTo>
                    <a:cubicBezTo>
                      <a:pt x="82131" y="687749"/>
                      <a:pt x="81966" y="686935"/>
                      <a:pt x="82220" y="686201"/>
                    </a:cubicBezTo>
                    <a:lnTo>
                      <a:pt x="82169" y="686245"/>
                    </a:lnTo>
                    <a:cubicBezTo>
                      <a:pt x="81155" y="688163"/>
                      <a:pt x="79772" y="689871"/>
                      <a:pt x="78123" y="691284"/>
                    </a:cubicBezTo>
                    <a:cubicBezTo>
                      <a:pt x="77819" y="691555"/>
                      <a:pt x="77502" y="691870"/>
                      <a:pt x="77134" y="692139"/>
                    </a:cubicBezTo>
                    <a:cubicBezTo>
                      <a:pt x="74825" y="694231"/>
                      <a:pt x="72187" y="695919"/>
                      <a:pt x="69320" y="697134"/>
                    </a:cubicBezTo>
                    <a:cubicBezTo>
                      <a:pt x="69181" y="697182"/>
                      <a:pt x="69029" y="697212"/>
                      <a:pt x="68876" y="697224"/>
                    </a:cubicBezTo>
                    <a:cubicBezTo>
                      <a:pt x="67925" y="697224"/>
                      <a:pt x="68965" y="695649"/>
                      <a:pt x="73823" y="691690"/>
                    </a:cubicBezTo>
                    <a:cubicBezTo>
                      <a:pt x="80292" y="686831"/>
                      <a:pt x="79430" y="687190"/>
                      <a:pt x="72428" y="691330"/>
                    </a:cubicBezTo>
                    <a:cubicBezTo>
                      <a:pt x="81586" y="677201"/>
                      <a:pt x="66035" y="690695"/>
                      <a:pt x="69815" y="679316"/>
                    </a:cubicBezTo>
                    <a:cubicBezTo>
                      <a:pt x="67342" y="681206"/>
                      <a:pt x="66352" y="680307"/>
                      <a:pt x="66352" y="678327"/>
                    </a:cubicBezTo>
                    <a:cubicBezTo>
                      <a:pt x="66365" y="677873"/>
                      <a:pt x="66403" y="677421"/>
                      <a:pt x="66492" y="676977"/>
                    </a:cubicBezTo>
                    <a:cubicBezTo>
                      <a:pt x="66771" y="675342"/>
                      <a:pt x="67265" y="673752"/>
                      <a:pt x="67976" y="672252"/>
                    </a:cubicBezTo>
                    <a:cubicBezTo>
                      <a:pt x="67608" y="671801"/>
                      <a:pt x="67253" y="671307"/>
                      <a:pt x="66898" y="670812"/>
                    </a:cubicBezTo>
                    <a:lnTo>
                      <a:pt x="66847" y="670766"/>
                    </a:lnTo>
                    <a:cubicBezTo>
                      <a:pt x="66885" y="671143"/>
                      <a:pt x="66847" y="671523"/>
                      <a:pt x="66758" y="671891"/>
                    </a:cubicBezTo>
                    <a:cubicBezTo>
                      <a:pt x="66644" y="672591"/>
                      <a:pt x="66479" y="673282"/>
                      <a:pt x="66263" y="673962"/>
                    </a:cubicBezTo>
                    <a:cubicBezTo>
                      <a:pt x="66086" y="674597"/>
                      <a:pt x="65857" y="675312"/>
                      <a:pt x="65629" y="676032"/>
                    </a:cubicBezTo>
                    <a:cubicBezTo>
                      <a:pt x="64881" y="678259"/>
                      <a:pt x="64006" y="680439"/>
                      <a:pt x="62978" y="682556"/>
                    </a:cubicBezTo>
                    <a:cubicBezTo>
                      <a:pt x="62712" y="683051"/>
                      <a:pt x="62484" y="683456"/>
                      <a:pt x="62255" y="683816"/>
                    </a:cubicBezTo>
                    <a:cubicBezTo>
                      <a:pt x="62027" y="684156"/>
                      <a:pt x="61748" y="684472"/>
                      <a:pt x="61456" y="684760"/>
                    </a:cubicBezTo>
                    <a:cubicBezTo>
                      <a:pt x="63295" y="689035"/>
                      <a:pt x="57854" y="683725"/>
                      <a:pt x="57765" y="687866"/>
                    </a:cubicBezTo>
                    <a:cubicBezTo>
                      <a:pt x="57638" y="686606"/>
                      <a:pt x="47516" y="681431"/>
                      <a:pt x="57765" y="678911"/>
                    </a:cubicBezTo>
                    <a:cubicBezTo>
                      <a:pt x="45499" y="676347"/>
                      <a:pt x="57182" y="676436"/>
                      <a:pt x="64640" y="673242"/>
                    </a:cubicBezTo>
                    <a:cubicBezTo>
                      <a:pt x="64919" y="672746"/>
                      <a:pt x="65185" y="672341"/>
                      <a:pt x="65401" y="671982"/>
                    </a:cubicBezTo>
                    <a:cubicBezTo>
                      <a:pt x="65604" y="671560"/>
                      <a:pt x="65870" y="671179"/>
                      <a:pt x="66212" y="670858"/>
                    </a:cubicBezTo>
                    <a:cubicBezTo>
                      <a:pt x="66251" y="670768"/>
                      <a:pt x="66352" y="670723"/>
                      <a:pt x="66390" y="670633"/>
                    </a:cubicBezTo>
                    <a:cubicBezTo>
                      <a:pt x="66492" y="670588"/>
                      <a:pt x="66593" y="670558"/>
                      <a:pt x="66707" y="670543"/>
                    </a:cubicBezTo>
                    <a:lnTo>
                      <a:pt x="66656" y="670498"/>
                    </a:lnTo>
                    <a:cubicBezTo>
                      <a:pt x="66530" y="670318"/>
                      <a:pt x="66441" y="670228"/>
                      <a:pt x="66301" y="670048"/>
                    </a:cubicBezTo>
                    <a:cubicBezTo>
                      <a:pt x="64500" y="671083"/>
                      <a:pt x="62572" y="672206"/>
                      <a:pt x="60910" y="673062"/>
                    </a:cubicBezTo>
                    <a:cubicBezTo>
                      <a:pt x="60340" y="673384"/>
                      <a:pt x="59756" y="673669"/>
                      <a:pt x="59160" y="673917"/>
                    </a:cubicBezTo>
                    <a:cubicBezTo>
                      <a:pt x="56598" y="675088"/>
                      <a:pt x="55608" y="674863"/>
                      <a:pt x="59109" y="671123"/>
                    </a:cubicBezTo>
                    <a:cubicBezTo>
                      <a:pt x="50611" y="674993"/>
                      <a:pt x="54619" y="669954"/>
                      <a:pt x="58526" y="665588"/>
                    </a:cubicBezTo>
                    <a:cubicBezTo>
                      <a:pt x="51791" y="665003"/>
                      <a:pt x="28693" y="659874"/>
                      <a:pt x="36189" y="651010"/>
                    </a:cubicBezTo>
                    <a:cubicBezTo>
                      <a:pt x="26397" y="660188"/>
                      <a:pt x="30570" y="661538"/>
                      <a:pt x="22389" y="647454"/>
                    </a:cubicBezTo>
                    <a:cubicBezTo>
                      <a:pt x="25940" y="645519"/>
                      <a:pt x="23378" y="634720"/>
                      <a:pt x="20816" y="625901"/>
                    </a:cubicBezTo>
                    <a:cubicBezTo>
                      <a:pt x="27881" y="628330"/>
                      <a:pt x="23340" y="621356"/>
                      <a:pt x="26435" y="618206"/>
                    </a:cubicBezTo>
                    <a:cubicBezTo>
                      <a:pt x="30938" y="616587"/>
                      <a:pt x="24329" y="615596"/>
                      <a:pt x="26803" y="613752"/>
                    </a:cubicBezTo>
                    <a:cubicBezTo>
                      <a:pt x="31876" y="611006"/>
                      <a:pt x="20867" y="603897"/>
                      <a:pt x="28604" y="604888"/>
                    </a:cubicBezTo>
                    <a:cubicBezTo>
                      <a:pt x="27386" y="601243"/>
                      <a:pt x="21184" y="600478"/>
                      <a:pt x="28147" y="601423"/>
                    </a:cubicBezTo>
                    <a:cubicBezTo>
                      <a:pt x="29860" y="601153"/>
                      <a:pt x="28731" y="597913"/>
                      <a:pt x="27247" y="598903"/>
                    </a:cubicBezTo>
                    <a:cubicBezTo>
                      <a:pt x="25674" y="597283"/>
                      <a:pt x="25357" y="596474"/>
                      <a:pt x="25763" y="596159"/>
                    </a:cubicBezTo>
                    <a:cubicBezTo>
                      <a:pt x="26257" y="595844"/>
                      <a:pt x="27881" y="596338"/>
                      <a:pt x="29454" y="597014"/>
                    </a:cubicBezTo>
                    <a:lnTo>
                      <a:pt x="29454" y="596968"/>
                    </a:lnTo>
                    <a:cubicBezTo>
                      <a:pt x="29403" y="595571"/>
                      <a:pt x="29314" y="594223"/>
                      <a:pt x="29226" y="592829"/>
                    </a:cubicBezTo>
                    <a:cubicBezTo>
                      <a:pt x="26600" y="587885"/>
                      <a:pt x="24621" y="582622"/>
                      <a:pt x="23340" y="577170"/>
                    </a:cubicBezTo>
                    <a:cubicBezTo>
                      <a:pt x="23112" y="576181"/>
                      <a:pt x="22934" y="575190"/>
                      <a:pt x="22706" y="574201"/>
                    </a:cubicBezTo>
                    <a:cubicBezTo>
                      <a:pt x="22338" y="572221"/>
                      <a:pt x="22033" y="570285"/>
                      <a:pt x="21843" y="568395"/>
                    </a:cubicBezTo>
                    <a:cubicBezTo>
                      <a:pt x="21628" y="566461"/>
                      <a:pt x="21450" y="564571"/>
                      <a:pt x="21311" y="562636"/>
                    </a:cubicBezTo>
                    <a:cubicBezTo>
                      <a:pt x="21272" y="562186"/>
                      <a:pt x="21222" y="561781"/>
                      <a:pt x="21222" y="561376"/>
                    </a:cubicBezTo>
                    <a:cubicBezTo>
                      <a:pt x="21044" y="559217"/>
                      <a:pt x="20955" y="557103"/>
                      <a:pt x="20816" y="554942"/>
                    </a:cubicBezTo>
                    <a:cubicBezTo>
                      <a:pt x="20638" y="551703"/>
                      <a:pt x="20410" y="548417"/>
                      <a:pt x="20055" y="544998"/>
                    </a:cubicBezTo>
                    <a:cubicBezTo>
                      <a:pt x="15780" y="557952"/>
                      <a:pt x="16731" y="530419"/>
                      <a:pt x="15831" y="532806"/>
                    </a:cubicBezTo>
                    <a:cubicBezTo>
                      <a:pt x="15108" y="532896"/>
                      <a:pt x="14930" y="531997"/>
                      <a:pt x="15108" y="530511"/>
                    </a:cubicBezTo>
                    <a:cubicBezTo>
                      <a:pt x="15134" y="530194"/>
                      <a:pt x="15184" y="529878"/>
                      <a:pt x="15248" y="529566"/>
                    </a:cubicBezTo>
                    <a:cubicBezTo>
                      <a:pt x="16389" y="524937"/>
                      <a:pt x="18101" y="520466"/>
                      <a:pt x="20321" y="516248"/>
                    </a:cubicBezTo>
                    <a:cubicBezTo>
                      <a:pt x="20854" y="515123"/>
                      <a:pt x="21488" y="513999"/>
                      <a:pt x="22122" y="512964"/>
                    </a:cubicBezTo>
                    <a:cubicBezTo>
                      <a:pt x="22427" y="512423"/>
                      <a:pt x="22756" y="511883"/>
                      <a:pt x="23061" y="511389"/>
                    </a:cubicBezTo>
                    <a:cubicBezTo>
                      <a:pt x="23365" y="510895"/>
                      <a:pt x="23695" y="510444"/>
                      <a:pt x="23999" y="509992"/>
                    </a:cubicBezTo>
                    <a:cubicBezTo>
                      <a:pt x="24570" y="509174"/>
                      <a:pt x="25192" y="508406"/>
                      <a:pt x="25890" y="507697"/>
                    </a:cubicBezTo>
                    <a:cubicBezTo>
                      <a:pt x="26968" y="506032"/>
                      <a:pt x="28046" y="504368"/>
                      <a:pt x="29213" y="502838"/>
                    </a:cubicBezTo>
                    <a:cubicBezTo>
                      <a:pt x="27107" y="497528"/>
                      <a:pt x="26118" y="495999"/>
                      <a:pt x="26562" y="495504"/>
                    </a:cubicBezTo>
                    <a:cubicBezTo>
                      <a:pt x="26613" y="495459"/>
                      <a:pt x="26701" y="495369"/>
                      <a:pt x="26790" y="495369"/>
                    </a:cubicBezTo>
                    <a:cubicBezTo>
                      <a:pt x="26968" y="495323"/>
                      <a:pt x="27196" y="495279"/>
                      <a:pt x="27462" y="495233"/>
                    </a:cubicBezTo>
                    <a:cubicBezTo>
                      <a:pt x="27640" y="495193"/>
                      <a:pt x="27818" y="495177"/>
                      <a:pt x="28008" y="495189"/>
                    </a:cubicBezTo>
                    <a:cubicBezTo>
                      <a:pt x="28274" y="495144"/>
                      <a:pt x="28591" y="495144"/>
                      <a:pt x="28946" y="495099"/>
                    </a:cubicBezTo>
                    <a:cubicBezTo>
                      <a:pt x="29352" y="495054"/>
                      <a:pt x="29847" y="494964"/>
                      <a:pt x="30380" y="494874"/>
                    </a:cubicBezTo>
                    <a:cubicBezTo>
                      <a:pt x="31775" y="494601"/>
                      <a:pt x="33145" y="494163"/>
                      <a:pt x="34426" y="493570"/>
                    </a:cubicBezTo>
                    <a:cubicBezTo>
                      <a:pt x="35326" y="493196"/>
                      <a:pt x="36189" y="492775"/>
                      <a:pt x="37039" y="492308"/>
                    </a:cubicBezTo>
                    <a:cubicBezTo>
                      <a:pt x="36938" y="493097"/>
                      <a:pt x="37077" y="493897"/>
                      <a:pt x="37445" y="494603"/>
                    </a:cubicBezTo>
                    <a:cubicBezTo>
                      <a:pt x="38320" y="493932"/>
                      <a:pt x="39259" y="493330"/>
                      <a:pt x="40236" y="492804"/>
                    </a:cubicBezTo>
                    <a:cubicBezTo>
                      <a:pt x="43876" y="491469"/>
                      <a:pt x="47250" y="489471"/>
                      <a:pt x="50167" y="486910"/>
                    </a:cubicBezTo>
                    <a:cubicBezTo>
                      <a:pt x="50066" y="486430"/>
                      <a:pt x="49914" y="485961"/>
                      <a:pt x="49710" y="485513"/>
                    </a:cubicBezTo>
                    <a:cubicBezTo>
                      <a:pt x="49622" y="485182"/>
                      <a:pt x="49482" y="484866"/>
                      <a:pt x="49305" y="484569"/>
                    </a:cubicBezTo>
                    <a:cubicBezTo>
                      <a:pt x="48417" y="482853"/>
                      <a:pt x="47364" y="481225"/>
                      <a:pt x="46159" y="479709"/>
                    </a:cubicBezTo>
                    <a:cubicBezTo>
                      <a:pt x="56002" y="486999"/>
                      <a:pt x="44193" y="467830"/>
                      <a:pt x="51918" y="480114"/>
                    </a:cubicBezTo>
                    <a:cubicBezTo>
                      <a:pt x="53617" y="477193"/>
                      <a:pt x="55291" y="474579"/>
                      <a:pt x="56953" y="472194"/>
                    </a:cubicBezTo>
                    <a:cubicBezTo>
                      <a:pt x="57486" y="471432"/>
                      <a:pt x="58031" y="470619"/>
                      <a:pt x="58564" y="469899"/>
                    </a:cubicBezTo>
                    <a:cubicBezTo>
                      <a:pt x="59059" y="469137"/>
                      <a:pt x="59604" y="468415"/>
                      <a:pt x="60137" y="467740"/>
                    </a:cubicBezTo>
                    <a:cubicBezTo>
                      <a:pt x="61760" y="465536"/>
                      <a:pt x="63333" y="463549"/>
                      <a:pt x="64944" y="461710"/>
                    </a:cubicBezTo>
                    <a:lnTo>
                      <a:pt x="66707" y="459686"/>
                    </a:lnTo>
                    <a:cubicBezTo>
                      <a:pt x="66758" y="459586"/>
                      <a:pt x="66834" y="459494"/>
                      <a:pt x="66923" y="459415"/>
                    </a:cubicBezTo>
                    <a:cubicBezTo>
                      <a:pt x="78072" y="444882"/>
                      <a:pt x="91200" y="431698"/>
                      <a:pt x="101931" y="416804"/>
                    </a:cubicBezTo>
                    <a:cubicBezTo>
                      <a:pt x="102071" y="416580"/>
                      <a:pt x="102248" y="416399"/>
                      <a:pt x="102388" y="416169"/>
                    </a:cubicBezTo>
                    <a:cubicBezTo>
                      <a:pt x="102743" y="415584"/>
                      <a:pt x="103060" y="415044"/>
                      <a:pt x="103415" y="414460"/>
                    </a:cubicBezTo>
                    <a:cubicBezTo>
                      <a:pt x="103910" y="413650"/>
                      <a:pt x="104367" y="412839"/>
                      <a:pt x="104899" y="412029"/>
                    </a:cubicBezTo>
                    <a:cubicBezTo>
                      <a:pt x="104975" y="411874"/>
                      <a:pt x="105064" y="411723"/>
                      <a:pt x="105166" y="411580"/>
                    </a:cubicBezTo>
                    <a:cubicBezTo>
                      <a:pt x="105927" y="410275"/>
                      <a:pt x="106688" y="408970"/>
                      <a:pt x="107512" y="407575"/>
                    </a:cubicBezTo>
                    <a:cubicBezTo>
                      <a:pt x="108869" y="401585"/>
                      <a:pt x="111571" y="395983"/>
                      <a:pt x="115414" y="391192"/>
                    </a:cubicBezTo>
                    <a:lnTo>
                      <a:pt x="116137" y="390472"/>
                    </a:lnTo>
                    <a:cubicBezTo>
                      <a:pt x="116493" y="390202"/>
                      <a:pt x="116810" y="389931"/>
                      <a:pt x="117127" y="389662"/>
                    </a:cubicBezTo>
                    <a:cubicBezTo>
                      <a:pt x="117305" y="389526"/>
                      <a:pt x="117482" y="389391"/>
                      <a:pt x="117622" y="389301"/>
                    </a:cubicBezTo>
                    <a:cubicBezTo>
                      <a:pt x="117850" y="389200"/>
                      <a:pt x="118078" y="389079"/>
                      <a:pt x="118294" y="388942"/>
                    </a:cubicBezTo>
                    <a:cubicBezTo>
                      <a:pt x="118611" y="388762"/>
                      <a:pt x="118877" y="388627"/>
                      <a:pt x="119144" y="388492"/>
                    </a:cubicBezTo>
                    <a:cubicBezTo>
                      <a:pt x="123088" y="385890"/>
                      <a:pt x="127249" y="383646"/>
                      <a:pt x="131599" y="381788"/>
                    </a:cubicBezTo>
                    <a:lnTo>
                      <a:pt x="131638" y="381698"/>
                    </a:lnTo>
                    <a:cubicBezTo>
                      <a:pt x="131663" y="381515"/>
                      <a:pt x="131739" y="381343"/>
                      <a:pt x="131866" y="381202"/>
                    </a:cubicBezTo>
                    <a:cubicBezTo>
                      <a:pt x="131968" y="381022"/>
                      <a:pt x="132094" y="380868"/>
                      <a:pt x="132272" y="380753"/>
                    </a:cubicBezTo>
                    <a:cubicBezTo>
                      <a:pt x="132297" y="380681"/>
                      <a:pt x="132373" y="380630"/>
                      <a:pt x="132449" y="380617"/>
                    </a:cubicBezTo>
                    <a:cubicBezTo>
                      <a:pt x="132614" y="380523"/>
                      <a:pt x="132804" y="380448"/>
                      <a:pt x="132982" y="380392"/>
                    </a:cubicBezTo>
                    <a:cubicBezTo>
                      <a:pt x="133464" y="380245"/>
                      <a:pt x="133971" y="380214"/>
                      <a:pt x="134466" y="380302"/>
                    </a:cubicBezTo>
                    <a:cubicBezTo>
                      <a:pt x="135367" y="379852"/>
                      <a:pt x="136217" y="379357"/>
                      <a:pt x="137028" y="378863"/>
                    </a:cubicBezTo>
                    <a:cubicBezTo>
                      <a:pt x="137028" y="374723"/>
                      <a:pt x="137117" y="369188"/>
                      <a:pt x="137079" y="363294"/>
                    </a:cubicBezTo>
                    <a:cubicBezTo>
                      <a:pt x="136940" y="362394"/>
                      <a:pt x="136762" y="361495"/>
                      <a:pt x="136584" y="360640"/>
                    </a:cubicBezTo>
                    <a:cubicBezTo>
                      <a:pt x="135887" y="357184"/>
                      <a:pt x="134847" y="353807"/>
                      <a:pt x="133477" y="350560"/>
                    </a:cubicBezTo>
                    <a:cubicBezTo>
                      <a:pt x="133274" y="350023"/>
                      <a:pt x="133033" y="349497"/>
                      <a:pt x="132766" y="348985"/>
                    </a:cubicBezTo>
                    <a:cubicBezTo>
                      <a:pt x="132399" y="348223"/>
                      <a:pt x="132043" y="347546"/>
                      <a:pt x="131688" y="346871"/>
                    </a:cubicBezTo>
                    <a:cubicBezTo>
                      <a:pt x="131409" y="346421"/>
                      <a:pt x="131194" y="345970"/>
                      <a:pt x="130927" y="345566"/>
                    </a:cubicBezTo>
                    <a:cubicBezTo>
                      <a:pt x="128987" y="342412"/>
                      <a:pt x="126576" y="339573"/>
                      <a:pt x="123774" y="337151"/>
                    </a:cubicBezTo>
                    <a:cubicBezTo>
                      <a:pt x="123139" y="336612"/>
                      <a:pt x="122518" y="336072"/>
                      <a:pt x="121896" y="335576"/>
                    </a:cubicBezTo>
                    <a:cubicBezTo>
                      <a:pt x="117939" y="332427"/>
                      <a:pt x="114704" y="330447"/>
                      <a:pt x="114210" y="327163"/>
                    </a:cubicBezTo>
                    <a:cubicBezTo>
                      <a:pt x="114159" y="326850"/>
                      <a:pt x="114121" y="326534"/>
                      <a:pt x="114121" y="326218"/>
                    </a:cubicBezTo>
                    <a:cubicBezTo>
                      <a:pt x="114108" y="325687"/>
                      <a:pt x="114171" y="325159"/>
                      <a:pt x="114298" y="324643"/>
                    </a:cubicBezTo>
                    <a:cubicBezTo>
                      <a:pt x="114400" y="324140"/>
                      <a:pt x="114539" y="323644"/>
                      <a:pt x="114704" y="323157"/>
                    </a:cubicBezTo>
                    <a:cubicBezTo>
                      <a:pt x="114704" y="323062"/>
                      <a:pt x="114742" y="322970"/>
                      <a:pt x="114793" y="322888"/>
                    </a:cubicBezTo>
                    <a:cubicBezTo>
                      <a:pt x="114273" y="322666"/>
                      <a:pt x="113753" y="322470"/>
                      <a:pt x="113220" y="322302"/>
                    </a:cubicBezTo>
                    <a:cubicBezTo>
                      <a:pt x="111596" y="324868"/>
                      <a:pt x="109707" y="327297"/>
                      <a:pt x="107601" y="326037"/>
                    </a:cubicBezTo>
                    <a:cubicBezTo>
                      <a:pt x="106333" y="325049"/>
                      <a:pt x="104823" y="324400"/>
                      <a:pt x="103238" y="324148"/>
                    </a:cubicBezTo>
                    <a:cubicBezTo>
                      <a:pt x="96946" y="309035"/>
                      <a:pt x="91327" y="293236"/>
                      <a:pt x="90160" y="288781"/>
                    </a:cubicBezTo>
                    <a:cubicBezTo>
                      <a:pt x="89539" y="277207"/>
                      <a:pt x="91581" y="265645"/>
                      <a:pt x="96135" y="254989"/>
                    </a:cubicBezTo>
                    <a:cubicBezTo>
                      <a:pt x="100675" y="245674"/>
                      <a:pt x="93179" y="251389"/>
                      <a:pt x="90160" y="240815"/>
                    </a:cubicBezTo>
                    <a:cubicBezTo>
                      <a:pt x="87154" y="230196"/>
                      <a:pt x="88372" y="213862"/>
                      <a:pt x="85937" y="209543"/>
                    </a:cubicBezTo>
                    <a:cubicBezTo>
                      <a:pt x="83552" y="205268"/>
                      <a:pt x="84097" y="210083"/>
                      <a:pt x="81218" y="206303"/>
                    </a:cubicBezTo>
                    <a:cubicBezTo>
                      <a:pt x="78339" y="202524"/>
                      <a:pt x="83552" y="187585"/>
                      <a:pt x="84009" y="177911"/>
                    </a:cubicBezTo>
                    <a:cubicBezTo>
                      <a:pt x="84414" y="168282"/>
                      <a:pt x="82486" y="159148"/>
                      <a:pt x="77806" y="157437"/>
                    </a:cubicBezTo>
                    <a:cubicBezTo>
                      <a:pt x="73088" y="155682"/>
                      <a:pt x="74977" y="156988"/>
                      <a:pt x="72187" y="152173"/>
                    </a:cubicBezTo>
                    <a:cubicBezTo>
                      <a:pt x="69675" y="147277"/>
                      <a:pt x="66517" y="142737"/>
                      <a:pt x="62801" y="138674"/>
                    </a:cubicBezTo>
                    <a:cubicBezTo>
                      <a:pt x="56015" y="130574"/>
                      <a:pt x="61596" y="133410"/>
                      <a:pt x="56915" y="132644"/>
                    </a:cubicBezTo>
                    <a:cubicBezTo>
                      <a:pt x="47313" y="127417"/>
                      <a:pt x="38066" y="121555"/>
                      <a:pt x="29238" y="115097"/>
                    </a:cubicBezTo>
                    <a:cubicBezTo>
                      <a:pt x="19839" y="107200"/>
                      <a:pt x="11633" y="98004"/>
                      <a:pt x="4834" y="87784"/>
                    </a:cubicBezTo>
                    <a:cubicBezTo>
                      <a:pt x="2766" y="85084"/>
                      <a:pt x="1549" y="84049"/>
                      <a:pt x="521" y="83824"/>
                    </a:cubicBezTo>
                    <a:lnTo>
                      <a:pt x="471" y="83824"/>
                    </a:lnTo>
                    <a:cubicBezTo>
                      <a:pt x="-240" y="82340"/>
                      <a:pt x="-557" y="81214"/>
                      <a:pt x="2132" y="80314"/>
                    </a:cubicBezTo>
                    <a:cubicBezTo>
                      <a:pt x="6952" y="78695"/>
                      <a:pt x="8157" y="86749"/>
                      <a:pt x="11848" y="83780"/>
                    </a:cubicBezTo>
                    <a:cubicBezTo>
                      <a:pt x="15526" y="80859"/>
                      <a:pt x="13282" y="76940"/>
                      <a:pt x="14410" y="72171"/>
                    </a:cubicBezTo>
                    <a:cubicBezTo>
                      <a:pt x="15526" y="67445"/>
                      <a:pt x="18761" y="62586"/>
                      <a:pt x="24647" y="65821"/>
                    </a:cubicBezTo>
                    <a:cubicBezTo>
                      <a:pt x="33754" y="71573"/>
                      <a:pt x="40857" y="79994"/>
                      <a:pt x="45005" y="89938"/>
                    </a:cubicBezTo>
                    <a:cubicBezTo>
                      <a:pt x="49279" y="101232"/>
                      <a:pt x="45816" y="107172"/>
                      <a:pt x="50763" y="109017"/>
                    </a:cubicBezTo>
                    <a:cubicBezTo>
                      <a:pt x="55710" y="110863"/>
                      <a:pt x="52108" y="108027"/>
                      <a:pt x="59794" y="110771"/>
                    </a:cubicBezTo>
                    <a:cubicBezTo>
                      <a:pt x="63156" y="112022"/>
                      <a:pt x="66441" y="113464"/>
                      <a:pt x="69637" y="115089"/>
                    </a:cubicBezTo>
                    <a:cubicBezTo>
                      <a:pt x="73899" y="116753"/>
                      <a:pt x="65908" y="121566"/>
                      <a:pt x="73899" y="116753"/>
                    </a:cubicBezTo>
                    <a:cubicBezTo>
                      <a:pt x="81953" y="111938"/>
                      <a:pt x="84782" y="113379"/>
                      <a:pt x="87662" y="110769"/>
                    </a:cubicBezTo>
                    <a:cubicBezTo>
                      <a:pt x="90528" y="108159"/>
                      <a:pt x="94803" y="101815"/>
                      <a:pt x="96160" y="103930"/>
                    </a:cubicBezTo>
                    <a:cubicBezTo>
                      <a:pt x="97504" y="106044"/>
                      <a:pt x="111711" y="109509"/>
                      <a:pt x="112649" y="112614"/>
                    </a:cubicBezTo>
                    <a:cubicBezTo>
                      <a:pt x="113537" y="115673"/>
                      <a:pt x="117317" y="126562"/>
                      <a:pt x="122391" y="121388"/>
                    </a:cubicBezTo>
                    <a:cubicBezTo>
                      <a:pt x="127477" y="116214"/>
                      <a:pt x="127071" y="120578"/>
                      <a:pt x="129672" y="113019"/>
                    </a:cubicBezTo>
                    <a:cubicBezTo>
                      <a:pt x="132335" y="105505"/>
                      <a:pt x="128682" y="99791"/>
                      <a:pt x="135874" y="98351"/>
                    </a:cubicBezTo>
                    <a:cubicBezTo>
                      <a:pt x="143028" y="96910"/>
                      <a:pt x="141404" y="101725"/>
                      <a:pt x="143028" y="96910"/>
                    </a:cubicBezTo>
                    <a:cubicBezTo>
                      <a:pt x="144639" y="92096"/>
                      <a:pt x="149091" y="46785"/>
                      <a:pt x="154888" y="36436"/>
                    </a:cubicBezTo>
                    <a:cubicBezTo>
                      <a:pt x="160684" y="26132"/>
                      <a:pt x="169043" y="14567"/>
                      <a:pt x="174256" y="14162"/>
                    </a:cubicBezTo>
                    <a:cubicBezTo>
                      <a:pt x="179470" y="13757"/>
                      <a:pt x="176324" y="16818"/>
                      <a:pt x="182704" y="13443"/>
                    </a:cubicBezTo>
                    <a:cubicBezTo>
                      <a:pt x="189084" y="10023"/>
                      <a:pt x="187562" y="7863"/>
                      <a:pt x="193397" y="5209"/>
                    </a:cubicBezTo>
                    <a:cubicBezTo>
                      <a:pt x="199295" y="2509"/>
                      <a:pt x="198026" y="-1676"/>
                      <a:pt x="203202" y="709"/>
                    </a:cubicBezTo>
                    <a:cubicBezTo>
                      <a:pt x="207020" y="2805"/>
                      <a:pt x="210609" y="5309"/>
                      <a:pt x="213894" y="8178"/>
                    </a:cubicBezTo>
                    <a:cubicBezTo>
                      <a:pt x="217497" y="10563"/>
                      <a:pt x="246607" y="35176"/>
                      <a:pt x="245985" y="43276"/>
                    </a:cubicBezTo>
                    <a:cubicBezTo>
                      <a:pt x="244438" y="55380"/>
                      <a:pt x="242269" y="67394"/>
                      <a:pt x="239466" y="79273"/>
                    </a:cubicBezTo>
                    <a:cubicBezTo>
                      <a:pt x="238388" y="81401"/>
                      <a:pt x="237677" y="83699"/>
                      <a:pt x="237360" y="86066"/>
                    </a:cubicBezTo>
                    <a:lnTo>
                      <a:pt x="237310" y="86202"/>
                    </a:lnTo>
                    <a:cubicBezTo>
                      <a:pt x="235153" y="89396"/>
                      <a:pt x="221315" y="94256"/>
                      <a:pt x="223154" y="97450"/>
                    </a:cubicBezTo>
                    <a:cubicBezTo>
                      <a:pt x="224486" y="99561"/>
                      <a:pt x="226338" y="101283"/>
                      <a:pt x="228545" y="102445"/>
                    </a:cubicBezTo>
                    <a:cubicBezTo>
                      <a:pt x="228545" y="102445"/>
                      <a:pt x="221353" y="135381"/>
                      <a:pt x="225856" y="138667"/>
                    </a:cubicBezTo>
                    <a:cubicBezTo>
                      <a:pt x="237868" y="151777"/>
                      <a:pt x="248954" y="165699"/>
                      <a:pt x="259063" y="180333"/>
                    </a:cubicBezTo>
                    <a:cubicBezTo>
                      <a:pt x="259291" y="182223"/>
                      <a:pt x="259063" y="201525"/>
                      <a:pt x="259063" y="201525"/>
                    </a:cubicBezTo>
                    <a:cubicBezTo>
                      <a:pt x="256145" y="212233"/>
                      <a:pt x="252492" y="222727"/>
                      <a:pt x="248142" y="232933"/>
                    </a:cubicBezTo>
                    <a:cubicBezTo>
                      <a:pt x="244159" y="241693"/>
                      <a:pt x="243588" y="251623"/>
                      <a:pt x="246531" y="260786"/>
                    </a:cubicBezTo>
                    <a:cubicBezTo>
                      <a:pt x="249081" y="268570"/>
                      <a:pt x="271963" y="333499"/>
                      <a:pt x="270428" y="333769"/>
                    </a:cubicBezTo>
                    <a:cubicBezTo>
                      <a:pt x="268906" y="333994"/>
                      <a:pt x="263921" y="329809"/>
                      <a:pt x="262386" y="336469"/>
                    </a:cubicBezTo>
                    <a:cubicBezTo>
                      <a:pt x="260902" y="343128"/>
                      <a:pt x="257985" y="361712"/>
                      <a:pt x="257312" y="363961"/>
                    </a:cubicBezTo>
                    <a:cubicBezTo>
                      <a:pt x="256602" y="366166"/>
                      <a:pt x="261181" y="367246"/>
                      <a:pt x="261042" y="369405"/>
                    </a:cubicBezTo>
                    <a:cubicBezTo>
                      <a:pt x="260915" y="371520"/>
                      <a:pt x="265988" y="408507"/>
                      <a:pt x="267739" y="415797"/>
                    </a:cubicBezTo>
                    <a:cubicBezTo>
                      <a:pt x="269451" y="423036"/>
                      <a:pt x="283378" y="468622"/>
                      <a:pt x="289810" y="474517"/>
                    </a:cubicBezTo>
                    <a:cubicBezTo>
                      <a:pt x="298168" y="486061"/>
                      <a:pt x="302671" y="499964"/>
                      <a:pt x="302646" y="514226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303" name="Graphic 5">
              <a:extLst>
                <a:ext uri="{FF2B5EF4-FFF2-40B4-BE49-F238E27FC236}">
                  <a16:creationId xmlns:a16="http://schemas.microsoft.com/office/drawing/2014/main" id="{5E572868-FCBE-0C4B-B22A-797EC13E134D}"/>
                </a:ext>
              </a:extLst>
            </p:cNvPr>
            <p:cNvGrpSpPr/>
            <p:nvPr/>
          </p:nvGrpSpPr>
          <p:grpSpPr>
            <a:xfrm>
              <a:off x="5806788" y="1659566"/>
              <a:ext cx="370473" cy="850462"/>
              <a:chOff x="5806788" y="1659566"/>
              <a:chExt cx="370473" cy="850462"/>
            </a:xfrm>
            <a:solidFill>
              <a:schemeClr val="bg2"/>
            </a:solidFill>
          </p:grpSpPr>
          <p:sp>
            <p:nvSpPr>
              <p:cNvPr id="564" name="Vrije vorm 563">
                <a:extLst>
                  <a:ext uri="{FF2B5EF4-FFF2-40B4-BE49-F238E27FC236}">
                    <a16:creationId xmlns:a16="http://schemas.microsoft.com/office/drawing/2014/main" id="{84D314DC-ABFC-9C46-A24D-004E9A5E34F3}"/>
                  </a:ext>
                </a:extLst>
              </p:cNvPr>
              <p:cNvSpPr/>
              <p:nvPr/>
            </p:nvSpPr>
            <p:spPr>
              <a:xfrm>
                <a:off x="6004971" y="2377663"/>
                <a:ext cx="25826" cy="51279"/>
              </a:xfrm>
              <a:custGeom>
                <a:avLst/>
                <a:gdLst>
                  <a:gd name="connsiteX0" fmla="*/ 20637 w 25826"/>
                  <a:gd name="connsiteY0" fmla="*/ 27339 h 51279"/>
                  <a:gd name="connsiteX1" fmla="*/ 5125 w 25826"/>
                  <a:gd name="connsiteY1" fmla="*/ 50647 h 51279"/>
                  <a:gd name="connsiteX2" fmla="*/ 5531 w 25826"/>
                  <a:gd name="connsiteY2" fmla="*/ 12674 h 51279"/>
                  <a:gd name="connsiteX3" fmla="*/ 18164 w 25826"/>
                  <a:gd name="connsiteY3" fmla="*/ 1470 h 51279"/>
                  <a:gd name="connsiteX4" fmla="*/ 25800 w 25826"/>
                  <a:gd name="connsiteY4" fmla="*/ 2280 h 51279"/>
                  <a:gd name="connsiteX5" fmla="*/ 18608 w 25826"/>
                  <a:gd name="connsiteY5" fmla="*/ 23474 h 51279"/>
                  <a:gd name="connsiteX6" fmla="*/ 20637 w 25826"/>
                  <a:gd name="connsiteY6" fmla="*/ 27339 h 51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826" h="51279">
                    <a:moveTo>
                      <a:pt x="20637" y="27339"/>
                    </a:moveTo>
                    <a:cubicBezTo>
                      <a:pt x="13712" y="36159"/>
                      <a:pt x="6520" y="40073"/>
                      <a:pt x="5125" y="50647"/>
                    </a:cubicBezTo>
                    <a:cubicBezTo>
                      <a:pt x="685" y="56631"/>
                      <a:pt x="-3995" y="18389"/>
                      <a:pt x="5531" y="12674"/>
                    </a:cubicBezTo>
                    <a:cubicBezTo>
                      <a:pt x="7687" y="8714"/>
                      <a:pt x="15729" y="-3929"/>
                      <a:pt x="18164" y="1470"/>
                    </a:cubicBezTo>
                    <a:cubicBezTo>
                      <a:pt x="18519" y="8264"/>
                      <a:pt x="21893" y="-5054"/>
                      <a:pt x="25800" y="2280"/>
                    </a:cubicBezTo>
                    <a:cubicBezTo>
                      <a:pt x="25673" y="8310"/>
                      <a:pt x="14701" y="12313"/>
                      <a:pt x="18608" y="23474"/>
                    </a:cubicBezTo>
                    <a:cubicBezTo>
                      <a:pt x="18481" y="24148"/>
                      <a:pt x="26206" y="27204"/>
                      <a:pt x="20637" y="27339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5" name="Vrije vorm 564">
                <a:extLst>
                  <a:ext uri="{FF2B5EF4-FFF2-40B4-BE49-F238E27FC236}">
                    <a16:creationId xmlns:a16="http://schemas.microsoft.com/office/drawing/2014/main" id="{ED787245-9111-6940-9A72-22600E4018C4}"/>
                  </a:ext>
                </a:extLst>
              </p:cNvPr>
              <p:cNvSpPr/>
              <p:nvPr/>
            </p:nvSpPr>
            <p:spPr>
              <a:xfrm>
                <a:off x="5955872" y="2408869"/>
                <a:ext cx="20599" cy="57011"/>
              </a:xfrm>
              <a:custGeom>
                <a:avLst/>
                <a:gdLst>
                  <a:gd name="connsiteX0" fmla="*/ 20573 w 20599"/>
                  <a:gd name="connsiteY0" fmla="*/ 92 h 57011"/>
                  <a:gd name="connsiteX1" fmla="*/ 849 w 20599"/>
                  <a:gd name="connsiteY1" fmla="*/ 57013 h 57011"/>
                  <a:gd name="connsiteX2" fmla="*/ 20573 w 20599"/>
                  <a:gd name="connsiteY2" fmla="*/ 92 h 570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0599" h="57011">
                    <a:moveTo>
                      <a:pt x="20573" y="92"/>
                    </a:moveTo>
                    <a:cubicBezTo>
                      <a:pt x="11986" y="16067"/>
                      <a:pt x="10641" y="39195"/>
                      <a:pt x="849" y="57013"/>
                    </a:cubicBezTo>
                    <a:cubicBezTo>
                      <a:pt x="-4326" y="44414"/>
                      <a:pt x="14903" y="-2337"/>
                      <a:pt x="20573" y="92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6" name="Vrije vorm 565">
                <a:extLst>
                  <a:ext uri="{FF2B5EF4-FFF2-40B4-BE49-F238E27FC236}">
                    <a16:creationId xmlns:a16="http://schemas.microsoft.com/office/drawing/2014/main" id="{DAFAEA14-BBF8-0844-9091-85A850C96122}"/>
                  </a:ext>
                </a:extLst>
              </p:cNvPr>
              <p:cNvSpPr/>
              <p:nvPr/>
            </p:nvSpPr>
            <p:spPr>
              <a:xfrm>
                <a:off x="5806788" y="1659566"/>
                <a:ext cx="370473" cy="850462"/>
              </a:xfrm>
              <a:custGeom>
                <a:avLst/>
                <a:gdLst>
                  <a:gd name="connsiteX0" fmla="*/ 370447 w 370473"/>
                  <a:gd name="connsiteY0" fmla="*/ 240356 h 850462"/>
                  <a:gd name="connsiteX1" fmla="*/ 362850 w 370473"/>
                  <a:gd name="connsiteY1" fmla="*/ 243506 h 850462"/>
                  <a:gd name="connsiteX2" fmla="*/ 347705 w 370473"/>
                  <a:gd name="connsiteY2" fmla="*/ 242966 h 850462"/>
                  <a:gd name="connsiteX3" fmla="*/ 343265 w 370473"/>
                  <a:gd name="connsiteY3" fmla="*/ 240446 h 850462"/>
                  <a:gd name="connsiteX4" fmla="*/ 342948 w 370473"/>
                  <a:gd name="connsiteY4" fmla="*/ 240671 h 850462"/>
                  <a:gd name="connsiteX5" fmla="*/ 342669 w 370473"/>
                  <a:gd name="connsiteY5" fmla="*/ 240941 h 850462"/>
                  <a:gd name="connsiteX6" fmla="*/ 340018 w 370473"/>
                  <a:gd name="connsiteY6" fmla="*/ 244045 h 850462"/>
                  <a:gd name="connsiteX7" fmla="*/ 339384 w 370473"/>
                  <a:gd name="connsiteY7" fmla="*/ 244316 h 850462"/>
                  <a:gd name="connsiteX8" fmla="*/ 337773 w 370473"/>
                  <a:gd name="connsiteY8" fmla="*/ 244316 h 850462"/>
                  <a:gd name="connsiteX9" fmla="*/ 336733 w 370473"/>
                  <a:gd name="connsiteY9" fmla="*/ 243955 h 850462"/>
                  <a:gd name="connsiteX10" fmla="*/ 336098 w 370473"/>
                  <a:gd name="connsiteY10" fmla="*/ 243596 h 850462"/>
                  <a:gd name="connsiteX11" fmla="*/ 334843 w 370473"/>
                  <a:gd name="connsiteY11" fmla="*/ 242785 h 850462"/>
                  <a:gd name="connsiteX12" fmla="*/ 333815 w 370473"/>
                  <a:gd name="connsiteY12" fmla="*/ 241931 h 850462"/>
                  <a:gd name="connsiteX13" fmla="*/ 332509 w 370473"/>
                  <a:gd name="connsiteY13" fmla="*/ 240805 h 850462"/>
                  <a:gd name="connsiteX14" fmla="*/ 330479 w 370473"/>
                  <a:gd name="connsiteY14" fmla="*/ 238826 h 850462"/>
                  <a:gd name="connsiteX15" fmla="*/ 328513 w 370473"/>
                  <a:gd name="connsiteY15" fmla="*/ 236621 h 850462"/>
                  <a:gd name="connsiteX16" fmla="*/ 326129 w 370473"/>
                  <a:gd name="connsiteY16" fmla="*/ 233786 h 850462"/>
                  <a:gd name="connsiteX17" fmla="*/ 325989 w 370473"/>
                  <a:gd name="connsiteY17" fmla="*/ 233786 h 850462"/>
                  <a:gd name="connsiteX18" fmla="*/ 326395 w 370473"/>
                  <a:gd name="connsiteY18" fmla="*/ 235136 h 850462"/>
                  <a:gd name="connsiteX19" fmla="*/ 326979 w 370473"/>
                  <a:gd name="connsiteY19" fmla="*/ 237295 h 850462"/>
                  <a:gd name="connsiteX20" fmla="*/ 327029 w 370473"/>
                  <a:gd name="connsiteY20" fmla="*/ 237384 h 850462"/>
                  <a:gd name="connsiteX21" fmla="*/ 327334 w 370473"/>
                  <a:gd name="connsiteY21" fmla="*/ 239005 h 850462"/>
                  <a:gd name="connsiteX22" fmla="*/ 326979 w 370473"/>
                  <a:gd name="connsiteY22" fmla="*/ 242154 h 850462"/>
                  <a:gd name="connsiteX23" fmla="*/ 326535 w 370473"/>
                  <a:gd name="connsiteY23" fmla="*/ 242064 h 850462"/>
                  <a:gd name="connsiteX24" fmla="*/ 324467 w 370473"/>
                  <a:gd name="connsiteY24" fmla="*/ 240625 h 850462"/>
                  <a:gd name="connsiteX25" fmla="*/ 323211 w 370473"/>
                  <a:gd name="connsiteY25" fmla="*/ 239590 h 850462"/>
                  <a:gd name="connsiteX26" fmla="*/ 322438 w 370473"/>
                  <a:gd name="connsiteY26" fmla="*/ 239050 h 850462"/>
                  <a:gd name="connsiteX27" fmla="*/ 321093 w 370473"/>
                  <a:gd name="connsiteY27" fmla="*/ 238104 h 850462"/>
                  <a:gd name="connsiteX28" fmla="*/ 320155 w 370473"/>
                  <a:gd name="connsiteY28" fmla="*/ 237610 h 850462"/>
                  <a:gd name="connsiteX29" fmla="*/ 317909 w 370473"/>
                  <a:gd name="connsiteY29" fmla="*/ 240445 h 850462"/>
                  <a:gd name="connsiteX30" fmla="*/ 317909 w 370473"/>
                  <a:gd name="connsiteY30" fmla="*/ 240489 h 850462"/>
                  <a:gd name="connsiteX31" fmla="*/ 318036 w 370473"/>
                  <a:gd name="connsiteY31" fmla="*/ 241251 h 850462"/>
                  <a:gd name="connsiteX32" fmla="*/ 317859 w 370473"/>
                  <a:gd name="connsiteY32" fmla="*/ 243456 h 850462"/>
                  <a:gd name="connsiteX33" fmla="*/ 317630 w 370473"/>
                  <a:gd name="connsiteY33" fmla="*/ 243950 h 850462"/>
                  <a:gd name="connsiteX34" fmla="*/ 315030 w 370473"/>
                  <a:gd name="connsiteY34" fmla="*/ 244175 h 850462"/>
                  <a:gd name="connsiteX35" fmla="*/ 314979 w 370473"/>
                  <a:gd name="connsiteY35" fmla="*/ 244221 h 850462"/>
                  <a:gd name="connsiteX36" fmla="*/ 314891 w 370473"/>
                  <a:gd name="connsiteY36" fmla="*/ 244311 h 850462"/>
                  <a:gd name="connsiteX37" fmla="*/ 317542 w 370473"/>
                  <a:gd name="connsiteY37" fmla="*/ 247009 h 850462"/>
                  <a:gd name="connsiteX38" fmla="*/ 318036 w 370473"/>
                  <a:gd name="connsiteY38" fmla="*/ 247644 h 850462"/>
                  <a:gd name="connsiteX39" fmla="*/ 315931 w 370473"/>
                  <a:gd name="connsiteY39" fmla="*/ 247599 h 850462"/>
                  <a:gd name="connsiteX40" fmla="*/ 313318 w 370473"/>
                  <a:gd name="connsiteY40" fmla="*/ 252953 h 850462"/>
                  <a:gd name="connsiteX41" fmla="*/ 317364 w 370473"/>
                  <a:gd name="connsiteY41" fmla="*/ 251063 h 850462"/>
                  <a:gd name="connsiteX42" fmla="*/ 318759 w 370473"/>
                  <a:gd name="connsiteY42" fmla="*/ 253763 h 850462"/>
                  <a:gd name="connsiteX43" fmla="*/ 317681 w 370473"/>
                  <a:gd name="connsiteY43" fmla="*/ 257003 h 850462"/>
                  <a:gd name="connsiteX44" fmla="*/ 316920 w 370473"/>
                  <a:gd name="connsiteY44" fmla="*/ 256913 h 850462"/>
                  <a:gd name="connsiteX45" fmla="*/ 315981 w 370473"/>
                  <a:gd name="connsiteY45" fmla="*/ 256688 h 850462"/>
                  <a:gd name="connsiteX46" fmla="*/ 313775 w 370473"/>
                  <a:gd name="connsiteY46" fmla="*/ 255743 h 850462"/>
                  <a:gd name="connsiteX47" fmla="*/ 311263 w 370473"/>
                  <a:gd name="connsiteY47" fmla="*/ 254346 h 850462"/>
                  <a:gd name="connsiteX48" fmla="*/ 308511 w 370473"/>
                  <a:gd name="connsiteY48" fmla="*/ 252456 h 850462"/>
                  <a:gd name="connsiteX49" fmla="*/ 307750 w 370473"/>
                  <a:gd name="connsiteY49" fmla="*/ 253401 h 850462"/>
                  <a:gd name="connsiteX50" fmla="*/ 308739 w 370473"/>
                  <a:gd name="connsiteY50" fmla="*/ 254036 h 850462"/>
                  <a:gd name="connsiteX51" fmla="*/ 309284 w 370473"/>
                  <a:gd name="connsiteY51" fmla="*/ 254396 h 850462"/>
                  <a:gd name="connsiteX52" fmla="*/ 310007 w 370473"/>
                  <a:gd name="connsiteY52" fmla="*/ 254845 h 850462"/>
                  <a:gd name="connsiteX53" fmla="*/ 311796 w 370473"/>
                  <a:gd name="connsiteY53" fmla="*/ 256151 h 850462"/>
                  <a:gd name="connsiteX54" fmla="*/ 312341 w 370473"/>
                  <a:gd name="connsiteY54" fmla="*/ 256691 h 850462"/>
                  <a:gd name="connsiteX55" fmla="*/ 312290 w 370473"/>
                  <a:gd name="connsiteY55" fmla="*/ 258625 h 850462"/>
                  <a:gd name="connsiteX56" fmla="*/ 308244 w 370473"/>
                  <a:gd name="connsiteY56" fmla="*/ 260245 h 850462"/>
                  <a:gd name="connsiteX57" fmla="*/ 306316 w 370473"/>
                  <a:gd name="connsiteY57" fmla="*/ 264655 h 850462"/>
                  <a:gd name="connsiteX58" fmla="*/ 299302 w 370473"/>
                  <a:gd name="connsiteY58" fmla="*/ 268029 h 850462"/>
                  <a:gd name="connsiteX59" fmla="*/ 296435 w 370473"/>
                  <a:gd name="connsiteY59" fmla="*/ 267895 h 850462"/>
                  <a:gd name="connsiteX60" fmla="*/ 294723 w 370473"/>
                  <a:gd name="connsiteY60" fmla="*/ 270054 h 850462"/>
                  <a:gd name="connsiteX61" fmla="*/ 294672 w 370473"/>
                  <a:gd name="connsiteY61" fmla="*/ 272393 h 850462"/>
                  <a:gd name="connsiteX62" fmla="*/ 298947 w 370473"/>
                  <a:gd name="connsiteY62" fmla="*/ 275408 h 850462"/>
                  <a:gd name="connsiteX63" fmla="*/ 299264 w 370473"/>
                  <a:gd name="connsiteY63" fmla="*/ 275992 h 850462"/>
                  <a:gd name="connsiteX64" fmla="*/ 299391 w 370473"/>
                  <a:gd name="connsiteY64" fmla="*/ 276532 h 850462"/>
                  <a:gd name="connsiteX65" fmla="*/ 298591 w 370473"/>
                  <a:gd name="connsiteY65" fmla="*/ 277929 h 850462"/>
                  <a:gd name="connsiteX66" fmla="*/ 297551 w 370473"/>
                  <a:gd name="connsiteY66" fmla="*/ 278603 h 850462"/>
                  <a:gd name="connsiteX67" fmla="*/ 295941 w 370473"/>
                  <a:gd name="connsiteY67" fmla="*/ 279279 h 850462"/>
                  <a:gd name="connsiteX68" fmla="*/ 294862 w 370473"/>
                  <a:gd name="connsiteY68" fmla="*/ 277794 h 850462"/>
                  <a:gd name="connsiteX69" fmla="*/ 294862 w 370473"/>
                  <a:gd name="connsiteY69" fmla="*/ 279008 h 850462"/>
                  <a:gd name="connsiteX70" fmla="*/ 295941 w 370473"/>
                  <a:gd name="connsiteY70" fmla="*/ 281618 h 850462"/>
                  <a:gd name="connsiteX71" fmla="*/ 296067 w 370473"/>
                  <a:gd name="connsiteY71" fmla="*/ 286118 h 850462"/>
                  <a:gd name="connsiteX72" fmla="*/ 295484 w 370473"/>
                  <a:gd name="connsiteY72" fmla="*/ 288053 h 850462"/>
                  <a:gd name="connsiteX73" fmla="*/ 294317 w 370473"/>
                  <a:gd name="connsiteY73" fmla="*/ 290527 h 850462"/>
                  <a:gd name="connsiteX74" fmla="*/ 290004 w 370473"/>
                  <a:gd name="connsiteY74" fmla="*/ 296287 h 850462"/>
                  <a:gd name="connsiteX75" fmla="*/ 288114 w 370473"/>
                  <a:gd name="connsiteY75" fmla="*/ 298403 h 850462"/>
                  <a:gd name="connsiteX76" fmla="*/ 284614 w 370473"/>
                  <a:gd name="connsiteY76" fmla="*/ 302407 h 850462"/>
                  <a:gd name="connsiteX77" fmla="*/ 285159 w 370473"/>
                  <a:gd name="connsiteY77" fmla="*/ 310415 h 850462"/>
                  <a:gd name="connsiteX78" fmla="*/ 285831 w 370473"/>
                  <a:gd name="connsiteY78" fmla="*/ 310776 h 850462"/>
                  <a:gd name="connsiteX79" fmla="*/ 287493 w 370473"/>
                  <a:gd name="connsiteY79" fmla="*/ 311451 h 850462"/>
                  <a:gd name="connsiteX80" fmla="*/ 288431 w 370473"/>
                  <a:gd name="connsiteY80" fmla="*/ 311765 h 850462"/>
                  <a:gd name="connsiteX81" fmla="*/ 287404 w 370473"/>
                  <a:gd name="connsiteY81" fmla="*/ 315770 h 850462"/>
                  <a:gd name="connsiteX82" fmla="*/ 294596 w 370473"/>
                  <a:gd name="connsiteY82" fmla="*/ 325489 h 850462"/>
                  <a:gd name="connsiteX83" fmla="*/ 292744 w 370473"/>
                  <a:gd name="connsiteY83" fmla="*/ 328684 h 850462"/>
                  <a:gd name="connsiteX84" fmla="*/ 292706 w 370473"/>
                  <a:gd name="connsiteY84" fmla="*/ 328729 h 850462"/>
                  <a:gd name="connsiteX85" fmla="*/ 293150 w 370473"/>
                  <a:gd name="connsiteY85" fmla="*/ 329674 h 850462"/>
                  <a:gd name="connsiteX86" fmla="*/ 293606 w 370473"/>
                  <a:gd name="connsiteY86" fmla="*/ 331024 h 850462"/>
                  <a:gd name="connsiteX87" fmla="*/ 295801 w 370473"/>
                  <a:gd name="connsiteY87" fmla="*/ 329899 h 850462"/>
                  <a:gd name="connsiteX88" fmla="*/ 247360 w 370473"/>
                  <a:gd name="connsiteY88" fmla="*/ 388618 h 850462"/>
                  <a:gd name="connsiteX89" fmla="*/ 237251 w 370473"/>
                  <a:gd name="connsiteY89" fmla="*/ 398877 h 850462"/>
                  <a:gd name="connsiteX90" fmla="*/ 223907 w 370473"/>
                  <a:gd name="connsiteY90" fmla="*/ 413636 h 850462"/>
                  <a:gd name="connsiteX91" fmla="*/ 219049 w 370473"/>
                  <a:gd name="connsiteY91" fmla="*/ 409092 h 850462"/>
                  <a:gd name="connsiteX92" fmla="*/ 219544 w 370473"/>
                  <a:gd name="connsiteY92" fmla="*/ 411521 h 850462"/>
                  <a:gd name="connsiteX93" fmla="*/ 219810 w 370473"/>
                  <a:gd name="connsiteY93" fmla="*/ 411972 h 850462"/>
                  <a:gd name="connsiteX94" fmla="*/ 219544 w 370473"/>
                  <a:gd name="connsiteY94" fmla="*/ 413186 h 850462"/>
                  <a:gd name="connsiteX95" fmla="*/ 216842 w 370473"/>
                  <a:gd name="connsiteY95" fmla="*/ 414267 h 850462"/>
                  <a:gd name="connsiteX96" fmla="*/ 216347 w 370473"/>
                  <a:gd name="connsiteY96" fmla="*/ 411612 h 850462"/>
                  <a:gd name="connsiteX97" fmla="*/ 209346 w 370473"/>
                  <a:gd name="connsiteY97" fmla="*/ 420071 h 850462"/>
                  <a:gd name="connsiteX98" fmla="*/ 204221 w 370473"/>
                  <a:gd name="connsiteY98" fmla="*/ 422320 h 850462"/>
                  <a:gd name="connsiteX99" fmla="*/ 210195 w 370473"/>
                  <a:gd name="connsiteY99" fmla="*/ 427361 h 850462"/>
                  <a:gd name="connsiteX100" fmla="*/ 209346 w 370473"/>
                  <a:gd name="connsiteY100" fmla="*/ 429475 h 850462"/>
                  <a:gd name="connsiteX101" fmla="*/ 200352 w 370473"/>
                  <a:gd name="connsiteY101" fmla="*/ 432894 h 850462"/>
                  <a:gd name="connsiteX102" fmla="*/ 196661 w 370473"/>
                  <a:gd name="connsiteY102" fmla="*/ 438834 h 850462"/>
                  <a:gd name="connsiteX103" fmla="*/ 196661 w 370473"/>
                  <a:gd name="connsiteY103" fmla="*/ 433754 h 850462"/>
                  <a:gd name="connsiteX104" fmla="*/ 187719 w 370473"/>
                  <a:gd name="connsiteY104" fmla="*/ 426059 h 850462"/>
                  <a:gd name="connsiteX105" fmla="*/ 177293 w 370473"/>
                  <a:gd name="connsiteY105" fmla="*/ 466285 h 850462"/>
                  <a:gd name="connsiteX106" fmla="*/ 180844 w 370473"/>
                  <a:gd name="connsiteY106" fmla="*/ 476995 h 850462"/>
                  <a:gd name="connsiteX107" fmla="*/ 179766 w 370473"/>
                  <a:gd name="connsiteY107" fmla="*/ 482574 h 850462"/>
                  <a:gd name="connsiteX108" fmla="*/ 179639 w 370473"/>
                  <a:gd name="connsiteY108" fmla="*/ 483248 h 850462"/>
                  <a:gd name="connsiteX109" fmla="*/ 179056 w 370473"/>
                  <a:gd name="connsiteY109" fmla="*/ 485589 h 850462"/>
                  <a:gd name="connsiteX110" fmla="*/ 178472 w 370473"/>
                  <a:gd name="connsiteY110" fmla="*/ 487928 h 850462"/>
                  <a:gd name="connsiteX111" fmla="*/ 177977 w 370473"/>
                  <a:gd name="connsiteY111" fmla="*/ 490179 h 850462"/>
                  <a:gd name="connsiteX112" fmla="*/ 177216 w 370473"/>
                  <a:gd name="connsiteY112" fmla="*/ 494318 h 850462"/>
                  <a:gd name="connsiteX113" fmla="*/ 178700 w 370473"/>
                  <a:gd name="connsiteY113" fmla="*/ 506603 h 850462"/>
                  <a:gd name="connsiteX114" fmla="*/ 178650 w 370473"/>
                  <a:gd name="connsiteY114" fmla="*/ 506603 h 850462"/>
                  <a:gd name="connsiteX115" fmla="*/ 178561 w 370473"/>
                  <a:gd name="connsiteY115" fmla="*/ 506467 h 850462"/>
                  <a:gd name="connsiteX116" fmla="*/ 178066 w 370473"/>
                  <a:gd name="connsiteY116" fmla="*/ 505927 h 850462"/>
                  <a:gd name="connsiteX117" fmla="*/ 176849 w 370473"/>
                  <a:gd name="connsiteY117" fmla="*/ 504892 h 850462"/>
                  <a:gd name="connsiteX118" fmla="*/ 175644 w 370473"/>
                  <a:gd name="connsiteY118" fmla="*/ 504172 h 850462"/>
                  <a:gd name="connsiteX119" fmla="*/ 174426 w 370473"/>
                  <a:gd name="connsiteY119" fmla="*/ 503632 h 850462"/>
                  <a:gd name="connsiteX120" fmla="*/ 173792 w 370473"/>
                  <a:gd name="connsiteY120" fmla="*/ 503407 h 850462"/>
                  <a:gd name="connsiteX121" fmla="*/ 172980 w 370473"/>
                  <a:gd name="connsiteY121" fmla="*/ 503227 h 850462"/>
                  <a:gd name="connsiteX122" fmla="*/ 171813 w 370473"/>
                  <a:gd name="connsiteY122" fmla="*/ 503542 h 850462"/>
                  <a:gd name="connsiteX123" fmla="*/ 168895 w 370473"/>
                  <a:gd name="connsiteY123" fmla="*/ 508041 h 850462"/>
                  <a:gd name="connsiteX124" fmla="*/ 171230 w 370473"/>
                  <a:gd name="connsiteY124" fmla="*/ 519875 h 850462"/>
                  <a:gd name="connsiteX125" fmla="*/ 170025 w 370473"/>
                  <a:gd name="connsiteY125" fmla="*/ 519875 h 850462"/>
                  <a:gd name="connsiteX126" fmla="*/ 170430 w 370473"/>
                  <a:gd name="connsiteY126" fmla="*/ 526310 h 850462"/>
                  <a:gd name="connsiteX127" fmla="*/ 175327 w 370473"/>
                  <a:gd name="connsiteY127" fmla="*/ 567212 h 850462"/>
                  <a:gd name="connsiteX128" fmla="*/ 193795 w 370473"/>
                  <a:gd name="connsiteY128" fmla="*/ 569551 h 850462"/>
                  <a:gd name="connsiteX129" fmla="*/ 210462 w 370473"/>
                  <a:gd name="connsiteY129" fmla="*/ 590252 h 850462"/>
                  <a:gd name="connsiteX130" fmla="*/ 211058 w 370473"/>
                  <a:gd name="connsiteY130" fmla="*/ 599027 h 850462"/>
                  <a:gd name="connsiteX131" fmla="*/ 216220 w 370473"/>
                  <a:gd name="connsiteY131" fmla="*/ 596911 h 850462"/>
                  <a:gd name="connsiteX132" fmla="*/ 224808 w 370473"/>
                  <a:gd name="connsiteY132" fmla="*/ 612615 h 850462"/>
                  <a:gd name="connsiteX133" fmla="*/ 215459 w 370473"/>
                  <a:gd name="connsiteY133" fmla="*/ 615495 h 850462"/>
                  <a:gd name="connsiteX134" fmla="*/ 225252 w 370473"/>
                  <a:gd name="connsiteY134" fmla="*/ 616080 h 850462"/>
                  <a:gd name="connsiteX135" fmla="*/ 203232 w 370473"/>
                  <a:gd name="connsiteY135" fmla="*/ 637093 h 850462"/>
                  <a:gd name="connsiteX136" fmla="*/ 196902 w 370473"/>
                  <a:gd name="connsiteY136" fmla="*/ 634753 h 850462"/>
                  <a:gd name="connsiteX137" fmla="*/ 198653 w 370473"/>
                  <a:gd name="connsiteY137" fmla="*/ 640242 h 850462"/>
                  <a:gd name="connsiteX138" fmla="*/ 207811 w 370473"/>
                  <a:gd name="connsiteY138" fmla="*/ 640422 h 850462"/>
                  <a:gd name="connsiteX139" fmla="*/ 212847 w 370473"/>
                  <a:gd name="connsiteY139" fmla="*/ 640782 h 850462"/>
                  <a:gd name="connsiteX140" fmla="*/ 202243 w 370473"/>
                  <a:gd name="connsiteY140" fmla="*/ 643933 h 850462"/>
                  <a:gd name="connsiteX141" fmla="*/ 203409 w 370473"/>
                  <a:gd name="connsiteY141" fmla="*/ 646137 h 850462"/>
                  <a:gd name="connsiteX142" fmla="*/ 195228 w 370473"/>
                  <a:gd name="connsiteY142" fmla="*/ 656576 h 850462"/>
                  <a:gd name="connsiteX143" fmla="*/ 189888 w 370473"/>
                  <a:gd name="connsiteY143" fmla="*/ 663326 h 850462"/>
                  <a:gd name="connsiteX144" fmla="*/ 184814 w 370473"/>
                  <a:gd name="connsiteY144" fmla="*/ 649737 h 850462"/>
                  <a:gd name="connsiteX145" fmla="*/ 168223 w 370473"/>
                  <a:gd name="connsiteY145" fmla="*/ 673045 h 850462"/>
                  <a:gd name="connsiteX146" fmla="*/ 142880 w 370473"/>
                  <a:gd name="connsiteY146" fmla="*/ 679434 h 850462"/>
                  <a:gd name="connsiteX147" fmla="*/ 149489 w 370473"/>
                  <a:gd name="connsiteY147" fmla="*/ 687623 h 850462"/>
                  <a:gd name="connsiteX148" fmla="*/ 159776 w 370473"/>
                  <a:gd name="connsiteY148" fmla="*/ 695048 h 850462"/>
                  <a:gd name="connsiteX149" fmla="*/ 157036 w 370473"/>
                  <a:gd name="connsiteY149" fmla="*/ 695858 h 850462"/>
                  <a:gd name="connsiteX150" fmla="*/ 157848 w 370473"/>
                  <a:gd name="connsiteY150" fmla="*/ 696352 h 850462"/>
                  <a:gd name="connsiteX151" fmla="*/ 160055 w 370473"/>
                  <a:gd name="connsiteY151" fmla="*/ 696217 h 850462"/>
                  <a:gd name="connsiteX152" fmla="*/ 159738 w 370473"/>
                  <a:gd name="connsiteY152" fmla="*/ 696488 h 850462"/>
                  <a:gd name="connsiteX153" fmla="*/ 159459 w 370473"/>
                  <a:gd name="connsiteY153" fmla="*/ 696757 h 850462"/>
                  <a:gd name="connsiteX154" fmla="*/ 159281 w 370473"/>
                  <a:gd name="connsiteY154" fmla="*/ 696982 h 850462"/>
                  <a:gd name="connsiteX155" fmla="*/ 158977 w 370473"/>
                  <a:gd name="connsiteY155" fmla="*/ 697567 h 850462"/>
                  <a:gd name="connsiteX156" fmla="*/ 158875 w 370473"/>
                  <a:gd name="connsiteY156" fmla="*/ 698063 h 850462"/>
                  <a:gd name="connsiteX157" fmla="*/ 159826 w 370473"/>
                  <a:gd name="connsiteY157" fmla="*/ 706342 h 850462"/>
                  <a:gd name="connsiteX158" fmla="*/ 158660 w 370473"/>
                  <a:gd name="connsiteY158" fmla="*/ 708771 h 850462"/>
                  <a:gd name="connsiteX159" fmla="*/ 156452 w 370473"/>
                  <a:gd name="connsiteY159" fmla="*/ 711426 h 850462"/>
                  <a:gd name="connsiteX160" fmla="*/ 152406 w 370473"/>
                  <a:gd name="connsiteY160" fmla="*/ 713361 h 850462"/>
                  <a:gd name="connsiteX161" fmla="*/ 149666 w 370473"/>
                  <a:gd name="connsiteY161" fmla="*/ 718940 h 850462"/>
                  <a:gd name="connsiteX162" fmla="*/ 154157 w 370473"/>
                  <a:gd name="connsiteY162" fmla="*/ 728794 h 850462"/>
                  <a:gd name="connsiteX163" fmla="*/ 133126 w 370473"/>
                  <a:gd name="connsiteY163" fmla="*/ 812937 h 850462"/>
                  <a:gd name="connsiteX164" fmla="*/ 105132 w 370473"/>
                  <a:gd name="connsiteY164" fmla="*/ 809923 h 850462"/>
                  <a:gd name="connsiteX165" fmla="*/ 61537 w 370473"/>
                  <a:gd name="connsiteY165" fmla="*/ 850464 h 850462"/>
                  <a:gd name="connsiteX166" fmla="*/ 52277 w 370473"/>
                  <a:gd name="connsiteY166" fmla="*/ 845199 h 850462"/>
                  <a:gd name="connsiteX167" fmla="*/ 37132 w 370473"/>
                  <a:gd name="connsiteY167" fmla="*/ 801913 h 850462"/>
                  <a:gd name="connsiteX168" fmla="*/ 47876 w 370473"/>
                  <a:gd name="connsiteY168" fmla="*/ 803263 h 850462"/>
                  <a:gd name="connsiteX169" fmla="*/ 49043 w 370473"/>
                  <a:gd name="connsiteY169" fmla="*/ 784230 h 850462"/>
                  <a:gd name="connsiteX170" fmla="*/ 27746 w 370473"/>
                  <a:gd name="connsiteY170" fmla="*/ 751697 h 850462"/>
                  <a:gd name="connsiteX171" fmla="*/ 26224 w 370473"/>
                  <a:gd name="connsiteY171" fmla="*/ 748323 h 850462"/>
                  <a:gd name="connsiteX172" fmla="*/ 26046 w 370473"/>
                  <a:gd name="connsiteY172" fmla="*/ 745443 h 850462"/>
                  <a:gd name="connsiteX173" fmla="*/ 21949 w 370473"/>
                  <a:gd name="connsiteY173" fmla="*/ 744949 h 850462"/>
                  <a:gd name="connsiteX174" fmla="*/ 18892 w 370473"/>
                  <a:gd name="connsiteY174" fmla="*/ 724609 h 850462"/>
                  <a:gd name="connsiteX175" fmla="*/ 11257 w 370473"/>
                  <a:gd name="connsiteY175" fmla="*/ 700582 h 850462"/>
                  <a:gd name="connsiteX176" fmla="*/ 12652 w 370473"/>
                  <a:gd name="connsiteY176" fmla="*/ 691763 h 850462"/>
                  <a:gd name="connsiteX177" fmla="*/ 7312 w 370473"/>
                  <a:gd name="connsiteY177" fmla="*/ 697028 h 850462"/>
                  <a:gd name="connsiteX178" fmla="*/ 2403 w 370473"/>
                  <a:gd name="connsiteY178" fmla="*/ 667376 h 850462"/>
                  <a:gd name="connsiteX179" fmla="*/ 3887 w 370473"/>
                  <a:gd name="connsiteY179" fmla="*/ 654146 h 850462"/>
                  <a:gd name="connsiteX180" fmla="*/ 9950 w 370473"/>
                  <a:gd name="connsiteY180" fmla="*/ 662515 h 850462"/>
                  <a:gd name="connsiteX181" fmla="*/ 17104 w 370473"/>
                  <a:gd name="connsiteY181" fmla="*/ 646047 h 850462"/>
                  <a:gd name="connsiteX182" fmla="*/ 18626 w 370473"/>
                  <a:gd name="connsiteY182" fmla="*/ 617654 h 850462"/>
                  <a:gd name="connsiteX183" fmla="*/ 27251 w 370473"/>
                  <a:gd name="connsiteY183" fmla="*/ 608971 h 850462"/>
                  <a:gd name="connsiteX184" fmla="*/ 40062 w 370473"/>
                  <a:gd name="connsiteY184" fmla="*/ 587057 h 850462"/>
                  <a:gd name="connsiteX185" fmla="*/ 33860 w 370473"/>
                  <a:gd name="connsiteY185" fmla="*/ 552366 h 850462"/>
                  <a:gd name="connsiteX186" fmla="*/ 43792 w 370473"/>
                  <a:gd name="connsiteY186" fmla="*/ 538777 h 850462"/>
                  <a:gd name="connsiteX187" fmla="*/ 28101 w 370473"/>
                  <a:gd name="connsiteY187" fmla="*/ 449280 h 850462"/>
                  <a:gd name="connsiteX188" fmla="*/ 33860 w 370473"/>
                  <a:gd name="connsiteY188" fmla="*/ 378995 h 850462"/>
                  <a:gd name="connsiteX189" fmla="*/ 57275 w 370473"/>
                  <a:gd name="connsiteY189" fmla="*/ 356363 h 850462"/>
                  <a:gd name="connsiteX190" fmla="*/ 77544 w 370473"/>
                  <a:gd name="connsiteY190" fmla="*/ 360188 h 850462"/>
                  <a:gd name="connsiteX191" fmla="*/ 104321 w 370473"/>
                  <a:gd name="connsiteY191" fmla="*/ 228754 h 850462"/>
                  <a:gd name="connsiteX192" fmla="*/ 173982 w 370473"/>
                  <a:gd name="connsiteY192" fmla="*/ 75904 h 850462"/>
                  <a:gd name="connsiteX193" fmla="*/ 183736 w 370473"/>
                  <a:gd name="connsiteY193" fmla="*/ 79007 h 850462"/>
                  <a:gd name="connsiteX194" fmla="*/ 194886 w 370473"/>
                  <a:gd name="connsiteY194" fmla="*/ 83912 h 850462"/>
                  <a:gd name="connsiteX195" fmla="*/ 198298 w 370473"/>
                  <a:gd name="connsiteY195" fmla="*/ 54890 h 850462"/>
                  <a:gd name="connsiteX196" fmla="*/ 203143 w 370473"/>
                  <a:gd name="connsiteY196" fmla="*/ 39096 h 850462"/>
                  <a:gd name="connsiteX197" fmla="*/ 214381 w 370473"/>
                  <a:gd name="connsiteY197" fmla="*/ 42922 h 850462"/>
                  <a:gd name="connsiteX198" fmla="*/ 225442 w 370473"/>
                  <a:gd name="connsiteY198" fmla="*/ 43684 h 850462"/>
                  <a:gd name="connsiteX199" fmla="*/ 249250 w 370473"/>
                  <a:gd name="connsiteY199" fmla="*/ 52193 h 850462"/>
                  <a:gd name="connsiteX200" fmla="*/ 253791 w 370473"/>
                  <a:gd name="connsiteY200" fmla="*/ 46389 h 850462"/>
                  <a:gd name="connsiteX201" fmla="*/ 253791 w 370473"/>
                  <a:gd name="connsiteY201" fmla="*/ 38874 h 850462"/>
                  <a:gd name="connsiteX202" fmla="*/ 259093 w 370473"/>
                  <a:gd name="connsiteY202" fmla="*/ 25690 h 850462"/>
                  <a:gd name="connsiteX203" fmla="*/ 259093 w 370473"/>
                  <a:gd name="connsiteY203" fmla="*/ 10302 h 850462"/>
                  <a:gd name="connsiteX204" fmla="*/ 260767 w 370473"/>
                  <a:gd name="connsiteY204" fmla="*/ 1437 h 850462"/>
                  <a:gd name="connsiteX205" fmla="*/ 267680 w 370473"/>
                  <a:gd name="connsiteY205" fmla="*/ 40 h 850462"/>
                  <a:gd name="connsiteX206" fmla="*/ 267731 w 370473"/>
                  <a:gd name="connsiteY206" fmla="*/ 40 h 850462"/>
                  <a:gd name="connsiteX207" fmla="*/ 272044 w 370473"/>
                  <a:gd name="connsiteY207" fmla="*/ 4000 h 850462"/>
                  <a:gd name="connsiteX208" fmla="*/ 296448 w 370473"/>
                  <a:gd name="connsiteY208" fmla="*/ 31313 h 850462"/>
                  <a:gd name="connsiteX209" fmla="*/ 324125 w 370473"/>
                  <a:gd name="connsiteY209" fmla="*/ 48860 h 850462"/>
                  <a:gd name="connsiteX210" fmla="*/ 330010 w 370473"/>
                  <a:gd name="connsiteY210" fmla="*/ 54890 h 850462"/>
                  <a:gd name="connsiteX211" fmla="*/ 339397 w 370473"/>
                  <a:gd name="connsiteY211" fmla="*/ 68389 h 850462"/>
                  <a:gd name="connsiteX212" fmla="*/ 345016 w 370473"/>
                  <a:gd name="connsiteY212" fmla="*/ 73653 h 850462"/>
                  <a:gd name="connsiteX213" fmla="*/ 351218 w 370473"/>
                  <a:gd name="connsiteY213" fmla="*/ 94127 h 850462"/>
                  <a:gd name="connsiteX214" fmla="*/ 348428 w 370473"/>
                  <a:gd name="connsiteY214" fmla="*/ 122519 h 850462"/>
                  <a:gd name="connsiteX215" fmla="*/ 353146 w 370473"/>
                  <a:gd name="connsiteY215" fmla="*/ 125759 h 850462"/>
                  <a:gd name="connsiteX216" fmla="*/ 357370 w 370473"/>
                  <a:gd name="connsiteY216" fmla="*/ 157031 h 850462"/>
                  <a:gd name="connsiteX217" fmla="*/ 363344 w 370473"/>
                  <a:gd name="connsiteY217" fmla="*/ 171204 h 850462"/>
                  <a:gd name="connsiteX218" fmla="*/ 357370 w 370473"/>
                  <a:gd name="connsiteY218" fmla="*/ 204997 h 850462"/>
                  <a:gd name="connsiteX219" fmla="*/ 370447 w 370473"/>
                  <a:gd name="connsiteY219" fmla="*/ 240356 h 850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</a:cxnLst>
                <a:rect l="l" t="t" r="r" b="b"/>
                <a:pathLst>
                  <a:path w="370473" h="850462">
                    <a:moveTo>
                      <a:pt x="370447" y="240356"/>
                    </a:moveTo>
                    <a:cubicBezTo>
                      <a:pt x="367492" y="239560"/>
                      <a:pt x="364372" y="240852"/>
                      <a:pt x="362850" y="243506"/>
                    </a:cubicBezTo>
                    <a:cubicBezTo>
                      <a:pt x="356698" y="238781"/>
                      <a:pt x="348960" y="237251"/>
                      <a:pt x="347705" y="242966"/>
                    </a:cubicBezTo>
                    <a:cubicBezTo>
                      <a:pt x="345460" y="240356"/>
                      <a:pt x="344204" y="239951"/>
                      <a:pt x="343265" y="240446"/>
                    </a:cubicBezTo>
                    <a:cubicBezTo>
                      <a:pt x="343164" y="240491"/>
                      <a:pt x="343075" y="240581"/>
                      <a:pt x="342948" y="240671"/>
                    </a:cubicBezTo>
                    <a:cubicBezTo>
                      <a:pt x="342834" y="240737"/>
                      <a:pt x="342745" y="240830"/>
                      <a:pt x="342669" y="240941"/>
                    </a:cubicBezTo>
                    <a:cubicBezTo>
                      <a:pt x="341819" y="241841"/>
                      <a:pt x="341198" y="243325"/>
                      <a:pt x="340018" y="244045"/>
                    </a:cubicBezTo>
                    <a:cubicBezTo>
                      <a:pt x="339828" y="244181"/>
                      <a:pt x="339612" y="244273"/>
                      <a:pt x="339384" y="244316"/>
                    </a:cubicBezTo>
                    <a:cubicBezTo>
                      <a:pt x="338864" y="244473"/>
                      <a:pt x="338293" y="244473"/>
                      <a:pt x="337773" y="244316"/>
                    </a:cubicBezTo>
                    <a:cubicBezTo>
                      <a:pt x="337418" y="244215"/>
                      <a:pt x="337075" y="244095"/>
                      <a:pt x="336733" y="243955"/>
                    </a:cubicBezTo>
                    <a:cubicBezTo>
                      <a:pt x="336555" y="243820"/>
                      <a:pt x="336327" y="243730"/>
                      <a:pt x="336098" y="243596"/>
                    </a:cubicBezTo>
                    <a:cubicBezTo>
                      <a:pt x="335667" y="243347"/>
                      <a:pt x="335249" y="243076"/>
                      <a:pt x="334843" y="242785"/>
                    </a:cubicBezTo>
                    <a:cubicBezTo>
                      <a:pt x="334526" y="242515"/>
                      <a:pt x="334170" y="242246"/>
                      <a:pt x="333815" y="241931"/>
                    </a:cubicBezTo>
                    <a:cubicBezTo>
                      <a:pt x="333409" y="241616"/>
                      <a:pt x="332953" y="241211"/>
                      <a:pt x="332509" y="240805"/>
                    </a:cubicBezTo>
                    <a:cubicBezTo>
                      <a:pt x="331875" y="240221"/>
                      <a:pt x="331203" y="239546"/>
                      <a:pt x="330479" y="238826"/>
                    </a:cubicBezTo>
                    <a:cubicBezTo>
                      <a:pt x="329896" y="238151"/>
                      <a:pt x="329224" y="237429"/>
                      <a:pt x="328513" y="236621"/>
                    </a:cubicBezTo>
                    <a:cubicBezTo>
                      <a:pt x="327752" y="235766"/>
                      <a:pt x="326991" y="234821"/>
                      <a:pt x="326129" y="233786"/>
                    </a:cubicBezTo>
                    <a:lnTo>
                      <a:pt x="325989" y="233786"/>
                    </a:lnTo>
                    <a:cubicBezTo>
                      <a:pt x="326129" y="234282"/>
                      <a:pt x="326256" y="234731"/>
                      <a:pt x="326395" y="235136"/>
                    </a:cubicBezTo>
                    <a:cubicBezTo>
                      <a:pt x="326624" y="235946"/>
                      <a:pt x="326801" y="236660"/>
                      <a:pt x="326979" y="237295"/>
                    </a:cubicBezTo>
                    <a:lnTo>
                      <a:pt x="327029" y="237384"/>
                    </a:lnTo>
                    <a:cubicBezTo>
                      <a:pt x="327156" y="238019"/>
                      <a:pt x="327245" y="238555"/>
                      <a:pt x="327334" y="239005"/>
                    </a:cubicBezTo>
                    <a:cubicBezTo>
                      <a:pt x="327828" y="241300"/>
                      <a:pt x="327613" y="242154"/>
                      <a:pt x="326979" y="242154"/>
                    </a:cubicBezTo>
                    <a:cubicBezTo>
                      <a:pt x="326827" y="242142"/>
                      <a:pt x="326674" y="242112"/>
                      <a:pt x="326535" y="242064"/>
                    </a:cubicBezTo>
                    <a:cubicBezTo>
                      <a:pt x="325799" y="241645"/>
                      <a:pt x="325114" y="241164"/>
                      <a:pt x="324467" y="240625"/>
                    </a:cubicBezTo>
                    <a:cubicBezTo>
                      <a:pt x="324061" y="240309"/>
                      <a:pt x="323655" y="239950"/>
                      <a:pt x="323211" y="239590"/>
                    </a:cubicBezTo>
                    <a:cubicBezTo>
                      <a:pt x="322983" y="239410"/>
                      <a:pt x="322717" y="239229"/>
                      <a:pt x="322438" y="239050"/>
                    </a:cubicBezTo>
                    <a:cubicBezTo>
                      <a:pt x="322019" y="238705"/>
                      <a:pt x="321562" y="238389"/>
                      <a:pt x="321093" y="238104"/>
                    </a:cubicBezTo>
                    <a:cubicBezTo>
                      <a:pt x="320814" y="237887"/>
                      <a:pt x="320497" y="237721"/>
                      <a:pt x="320155" y="237610"/>
                    </a:cubicBezTo>
                    <a:cubicBezTo>
                      <a:pt x="319432" y="238600"/>
                      <a:pt x="318708" y="239500"/>
                      <a:pt x="317909" y="240445"/>
                    </a:cubicBezTo>
                    <a:lnTo>
                      <a:pt x="317909" y="240489"/>
                    </a:lnTo>
                    <a:cubicBezTo>
                      <a:pt x="317998" y="240733"/>
                      <a:pt x="318036" y="240991"/>
                      <a:pt x="318036" y="241251"/>
                    </a:cubicBezTo>
                    <a:cubicBezTo>
                      <a:pt x="318150" y="241990"/>
                      <a:pt x="318087" y="242744"/>
                      <a:pt x="317859" y="243456"/>
                    </a:cubicBezTo>
                    <a:cubicBezTo>
                      <a:pt x="317808" y="243631"/>
                      <a:pt x="317732" y="243799"/>
                      <a:pt x="317630" y="243950"/>
                    </a:cubicBezTo>
                    <a:cubicBezTo>
                      <a:pt x="317136" y="244626"/>
                      <a:pt x="316337" y="244850"/>
                      <a:pt x="315030" y="244175"/>
                    </a:cubicBezTo>
                    <a:lnTo>
                      <a:pt x="314979" y="244221"/>
                    </a:lnTo>
                    <a:lnTo>
                      <a:pt x="314891" y="244311"/>
                    </a:lnTo>
                    <a:cubicBezTo>
                      <a:pt x="315854" y="245130"/>
                      <a:pt x="316742" y="246033"/>
                      <a:pt x="317542" y="247009"/>
                    </a:cubicBezTo>
                    <a:cubicBezTo>
                      <a:pt x="317719" y="247210"/>
                      <a:pt x="317884" y="247422"/>
                      <a:pt x="318036" y="247644"/>
                    </a:cubicBezTo>
                    <a:cubicBezTo>
                      <a:pt x="319254" y="249219"/>
                      <a:pt x="319165" y="249984"/>
                      <a:pt x="315931" y="247599"/>
                    </a:cubicBezTo>
                    <a:cubicBezTo>
                      <a:pt x="314079" y="249219"/>
                      <a:pt x="318036" y="253808"/>
                      <a:pt x="313318" y="252953"/>
                    </a:cubicBezTo>
                    <a:cubicBezTo>
                      <a:pt x="319203" y="257228"/>
                      <a:pt x="314713" y="246744"/>
                      <a:pt x="317364" y="251063"/>
                    </a:cubicBezTo>
                    <a:cubicBezTo>
                      <a:pt x="317922" y="251915"/>
                      <a:pt x="318379" y="252820"/>
                      <a:pt x="318759" y="253763"/>
                    </a:cubicBezTo>
                    <a:cubicBezTo>
                      <a:pt x="319660" y="256058"/>
                      <a:pt x="319115" y="257003"/>
                      <a:pt x="317681" y="257003"/>
                    </a:cubicBezTo>
                    <a:cubicBezTo>
                      <a:pt x="317428" y="256993"/>
                      <a:pt x="317174" y="256962"/>
                      <a:pt x="316920" y="256913"/>
                    </a:cubicBezTo>
                    <a:cubicBezTo>
                      <a:pt x="316603" y="256871"/>
                      <a:pt x="316286" y="256796"/>
                      <a:pt x="315981" y="256688"/>
                    </a:cubicBezTo>
                    <a:cubicBezTo>
                      <a:pt x="315220" y="256437"/>
                      <a:pt x="314485" y="256120"/>
                      <a:pt x="313775" y="255743"/>
                    </a:cubicBezTo>
                    <a:cubicBezTo>
                      <a:pt x="312912" y="255336"/>
                      <a:pt x="312062" y="254869"/>
                      <a:pt x="311263" y="254346"/>
                    </a:cubicBezTo>
                    <a:cubicBezTo>
                      <a:pt x="310362" y="253761"/>
                      <a:pt x="309462" y="253131"/>
                      <a:pt x="308511" y="252456"/>
                    </a:cubicBezTo>
                    <a:cubicBezTo>
                      <a:pt x="308295" y="252771"/>
                      <a:pt x="308029" y="253091"/>
                      <a:pt x="307750" y="253401"/>
                    </a:cubicBezTo>
                    <a:cubicBezTo>
                      <a:pt x="308117" y="253626"/>
                      <a:pt x="308434" y="253851"/>
                      <a:pt x="308739" y="254036"/>
                    </a:cubicBezTo>
                    <a:cubicBezTo>
                      <a:pt x="308916" y="254172"/>
                      <a:pt x="309094" y="254292"/>
                      <a:pt x="309284" y="254396"/>
                    </a:cubicBezTo>
                    <a:cubicBezTo>
                      <a:pt x="309551" y="254530"/>
                      <a:pt x="309779" y="254711"/>
                      <a:pt x="310007" y="254845"/>
                    </a:cubicBezTo>
                    <a:cubicBezTo>
                      <a:pt x="310654" y="255200"/>
                      <a:pt x="311263" y="255638"/>
                      <a:pt x="311796" y="256151"/>
                    </a:cubicBezTo>
                    <a:cubicBezTo>
                      <a:pt x="311999" y="256307"/>
                      <a:pt x="312189" y="256489"/>
                      <a:pt x="312341" y="256691"/>
                    </a:cubicBezTo>
                    <a:cubicBezTo>
                      <a:pt x="312975" y="257326"/>
                      <a:pt x="313102" y="257995"/>
                      <a:pt x="312290" y="258625"/>
                    </a:cubicBezTo>
                    <a:cubicBezTo>
                      <a:pt x="311073" y="259440"/>
                      <a:pt x="309703" y="259991"/>
                      <a:pt x="308244" y="260245"/>
                    </a:cubicBezTo>
                    <a:cubicBezTo>
                      <a:pt x="296841" y="254711"/>
                      <a:pt x="314726" y="268525"/>
                      <a:pt x="306316" y="264655"/>
                    </a:cubicBezTo>
                    <a:cubicBezTo>
                      <a:pt x="305466" y="268659"/>
                      <a:pt x="302409" y="268344"/>
                      <a:pt x="299302" y="268029"/>
                    </a:cubicBezTo>
                    <a:cubicBezTo>
                      <a:pt x="298351" y="267919"/>
                      <a:pt x="297386" y="267874"/>
                      <a:pt x="296435" y="267895"/>
                    </a:cubicBezTo>
                    <a:cubicBezTo>
                      <a:pt x="295852" y="268615"/>
                      <a:pt x="295306" y="269292"/>
                      <a:pt x="294723" y="270054"/>
                    </a:cubicBezTo>
                    <a:cubicBezTo>
                      <a:pt x="294672" y="270689"/>
                      <a:pt x="294672" y="271493"/>
                      <a:pt x="294672" y="272393"/>
                    </a:cubicBezTo>
                    <a:cubicBezTo>
                      <a:pt x="296296" y="273094"/>
                      <a:pt x="297742" y="274120"/>
                      <a:pt x="298947" y="275408"/>
                    </a:cubicBezTo>
                    <a:cubicBezTo>
                      <a:pt x="299099" y="275577"/>
                      <a:pt x="299200" y="275776"/>
                      <a:pt x="299264" y="275992"/>
                    </a:cubicBezTo>
                    <a:cubicBezTo>
                      <a:pt x="299352" y="276159"/>
                      <a:pt x="299391" y="276344"/>
                      <a:pt x="299391" y="276532"/>
                    </a:cubicBezTo>
                    <a:cubicBezTo>
                      <a:pt x="299365" y="277101"/>
                      <a:pt x="299061" y="277620"/>
                      <a:pt x="298591" y="277929"/>
                    </a:cubicBezTo>
                    <a:cubicBezTo>
                      <a:pt x="298262" y="278184"/>
                      <a:pt x="297919" y="278410"/>
                      <a:pt x="297551" y="278603"/>
                    </a:cubicBezTo>
                    <a:cubicBezTo>
                      <a:pt x="297031" y="278860"/>
                      <a:pt x="296486" y="279086"/>
                      <a:pt x="295941" y="279279"/>
                    </a:cubicBezTo>
                    <a:cubicBezTo>
                      <a:pt x="295572" y="278828"/>
                      <a:pt x="295217" y="278333"/>
                      <a:pt x="294862" y="277794"/>
                    </a:cubicBezTo>
                    <a:lnTo>
                      <a:pt x="294862" y="279008"/>
                    </a:lnTo>
                    <a:cubicBezTo>
                      <a:pt x="295319" y="279831"/>
                      <a:pt x="295687" y="280708"/>
                      <a:pt x="295941" y="281618"/>
                    </a:cubicBezTo>
                    <a:cubicBezTo>
                      <a:pt x="296321" y="283089"/>
                      <a:pt x="296359" y="284627"/>
                      <a:pt x="296067" y="286118"/>
                    </a:cubicBezTo>
                    <a:cubicBezTo>
                      <a:pt x="295928" y="286777"/>
                      <a:pt x="295725" y="287423"/>
                      <a:pt x="295484" y="288053"/>
                    </a:cubicBezTo>
                    <a:cubicBezTo>
                      <a:pt x="295205" y="288922"/>
                      <a:pt x="294811" y="289753"/>
                      <a:pt x="294317" y="290527"/>
                    </a:cubicBezTo>
                    <a:cubicBezTo>
                      <a:pt x="293087" y="292594"/>
                      <a:pt x="291640" y="294524"/>
                      <a:pt x="290004" y="296287"/>
                    </a:cubicBezTo>
                    <a:cubicBezTo>
                      <a:pt x="289370" y="297007"/>
                      <a:pt x="288748" y="297727"/>
                      <a:pt x="288114" y="298403"/>
                    </a:cubicBezTo>
                    <a:cubicBezTo>
                      <a:pt x="286884" y="299678"/>
                      <a:pt x="285717" y="301014"/>
                      <a:pt x="284614" y="302407"/>
                    </a:cubicBezTo>
                    <a:cubicBezTo>
                      <a:pt x="284233" y="305084"/>
                      <a:pt x="284411" y="307815"/>
                      <a:pt x="285159" y="310415"/>
                    </a:cubicBezTo>
                    <a:cubicBezTo>
                      <a:pt x="285375" y="310554"/>
                      <a:pt x="285590" y="310675"/>
                      <a:pt x="285831" y="310776"/>
                    </a:cubicBezTo>
                    <a:cubicBezTo>
                      <a:pt x="286326" y="311001"/>
                      <a:pt x="286859" y="311226"/>
                      <a:pt x="287493" y="311451"/>
                    </a:cubicBezTo>
                    <a:cubicBezTo>
                      <a:pt x="287810" y="311541"/>
                      <a:pt x="288127" y="311675"/>
                      <a:pt x="288431" y="311765"/>
                    </a:cubicBezTo>
                    <a:cubicBezTo>
                      <a:pt x="285920" y="312261"/>
                      <a:pt x="286859" y="314466"/>
                      <a:pt x="287404" y="315770"/>
                    </a:cubicBezTo>
                    <a:cubicBezTo>
                      <a:pt x="289421" y="319275"/>
                      <a:pt x="291831" y="322536"/>
                      <a:pt x="294596" y="325489"/>
                    </a:cubicBezTo>
                    <a:cubicBezTo>
                      <a:pt x="293911" y="326614"/>
                      <a:pt x="293328" y="327605"/>
                      <a:pt x="292744" y="328684"/>
                    </a:cubicBezTo>
                    <a:lnTo>
                      <a:pt x="292706" y="328729"/>
                    </a:lnTo>
                    <a:cubicBezTo>
                      <a:pt x="292884" y="329044"/>
                      <a:pt x="293023" y="329405"/>
                      <a:pt x="293150" y="329674"/>
                    </a:cubicBezTo>
                    <a:cubicBezTo>
                      <a:pt x="293264" y="330136"/>
                      <a:pt x="293416" y="330588"/>
                      <a:pt x="293606" y="331024"/>
                    </a:cubicBezTo>
                    <a:cubicBezTo>
                      <a:pt x="293822" y="331609"/>
                      <a:pt x="294279" y="331564"/>
                      <a:pt x="295801" y="329899"/>
                    </a:cubicBezTo>
                    <a:cubicBezTo>
                      <a:pt x="271891" y="367065"/>
                      <a:pt x="267667" y="377640"/>
                      <a:pt x="247360" y="388618"/>
                    </a:cubicBezTo>
                    <a:cubicBezTo>
                      <a:pt x="241386" y="408821"/>
                      <a:pt x="233826" y="375930"/>
                      <a:pt x="237251" y="398877"/>
                    </a:cubicBezTo>
                    <a:cubicBezTo>
                      <a:pt x="229424" y="387134"/>
                      <a:pt x="227864" y="412647"/>
                      <a:pt x="223907" y="413636"/>
                    </a:cubicBezTo>
                    <a:cubicBezTo>
                      <a:pt x="222423" y="412151"/>
                      <a:pt x="220216" y="405312"/>
                      <a:pt x="219049" y="409092"/>
                    </a:cubicBezTo>
                    <a:cubicBezTo>
                      <a:pt x="212212" y="407788"/>
                      <a:pt x="217920" y="409542"/>
                      <a:pt x="219544" y="411521"/>
                    </a:cubicBezTo>
                    <a:cubicBezTo>
                      <a:pt x="219658" y="411650"/>
                      <a:pt x="219759" y="411803"/>
                      <a:pt x="219810" y="411972"/>
                    </a:cubicBezTo>
                    <a:cubicBezTo>
                      <a:pt x="220013" y="412391"/>
                      <a:pt x="219899" y="412893"/>
                      <a:pt x="219544" y="413186"/>
                    </a:cubicBezTo>
                    <a:cubicBezTo>
                      <a:pt x="218745" y="413763"/>
                      <a:pt x="217819" y="414134"/>
                      <a:pt x="216842" y="414267"/>
                    </a:cubicBezTo>
                    <a:cubicBezTo>
                      <a:pt x="216766" y="413368"/>
                      <a:pt x="216601" y="412478"/>
                      <a:pt x="216347" y="411612"/>
                    </a:cubicBezTo>
                    <a:cubicBezTo>
                      <a:pt x="215497" y="408733"/>
                      <a:pt x="214369" y="413952"/>
                      <a:pt x="209346" y="420071"/>
                    </a:cubicBezTo>
                    <a:cubicBezTo>
                      <a:pt x="210601" y="422230"/>
                      <a:pt x="203536" y="424120"/>
                      <a:pt x="204221" y="422320"/>
                    </a:cubicBezTo>
                    <a:cubicBezTo>
                      <a:pt x="194873" y="429475"/>
                      <a:pt x="213608" y="422051"/>
                      <a:pt x="210195" y="427361"/>
                    </a:cubicBezTo>
                    <a:cubicBezTo>
                      <a:pt x="206783" y="425837"/>
                      <a:pt x="204526" y="429656"/>
                      <a:pt x="209346" y="429475"/>
                    </a:cubicBezTo>
                    <a:cubicBezTo>
                      <a:pt x="204399" y="433975"/>
                      <a:pt x="210284" y="435325"/>
                      <a:pt x="200352" y="432894"/>
                    </a:cubicBezTo>
                    <a:cubicBezTo>
                      <a:pt x="203359" y="436900"/>
                      <a:pt x="201291" y="438204"/>
                      <a:pt x="196661" y="438834"/>
                    </a:cubicBezTo>
                    <a:cubicBezTo>
                      <a:pt x="193211" y="434290"/>
                      <a:pt x="200213" y="439149"/>
                      <a:pt x="196661" y="433754"/>
                    </a:cubicBezTo>
                    <a:cubicBezTo>
                      <a:pt x="189482" y="442302"/>
                      <a:pt x="193249" y="422280"/>
                      <a:pt x="187719" y="426059"/>
                    </a:cubicBezTo>
                    <a:cubicBezTo>
                      <a:pt x="211768" y="474969"/>
                      <a:pt x="166422" y="442122"/>
                      <a:pt x="177293" y="466285"/>
                    </a:cubicBezTo>
                    <a:cubicBezTo>
                      <a:pt x="180502" y="468830"/>
                      <a:pt x="181897" y="473035"/>
                      <a:pt x="180844" y="476995"/>
                    </a:cubicBezTo>
                    <a:cubicBezTo>
                      <a:pt x="180629" y="478749"/>
                      <a:pt x="180210" y="480640"/>
                      <a:pt x="179766" y="482574"/>
                    </a:cubicBezTo>
                    <a:cubicBezTo>
                      <a:pt x="179728" y="482754"/>
                      <a:pt x="179677" y="482979"/>
                      <a:pt x="179639" y="483248"/>
                    </a:cubicBezTo>
                    <a:cubicBezTo>
                      <a:pt x="179411" y="484011"/>
                      <a:pt x="179233" y="484773"/>
                      <a:pt x="179056" y="485589"/>
                    </a:cubicBezTo>
                    <a:cubicBezTo>
                      <a:pt x="178827" y="486351"/>
                      <a:pt x="178650" y="487113"/>
                      <a:pt x="178472" y="487928"/>
                    </a:cubicBezTo>
                    <a:cubicBezTo>
                      <a:pt x="178282" y="488690"/>
                      <a:pt x="178104" y="489413"/>
                      <a:pt x="177977" y="490179"/>
                    </a:cubicBezTo>
                    <a:cubicBezTo>
                      <a:pt x="177610" y="491537"/>
                      <a:pt x="177356" y="492921"/>
                      <a:pt x="177216" y="494318"/>
                    </a:cubicBezTo>
                    <a:cubicBezTo>
                      <a:pt x="176392" y="498467"/>
                      <a:pt x="176912" y="502768"/>
                      <a:pt x="178700" y="506603"/>
                    </a:cubicBezTo>
                    <a:lnTo>
                      <a:pt x="178650" y="506603"/>
                    </a:lnTo>
                    <a:lnTo>
                      <a:pt x="178561" y="506467"/>
                    </a:lnTo>
                    <a:cubicBezTo>
                      <a:pt x="178383" y="506286"/>
                      <a:pt x="178244" y="506107"/>
                      <a:pt x="178066" y="505927"/>
                    </a:cubicBezTo>
                    <a:cubicBezTo>
                      <a:pt x="177711" y="505533"/>
                      <a:pt x="177305" y="505185"/>
                      <a:pt x="176849" y="504892"/>
                    </a:cubicBezTo>
                    <a:cubicBezTo>
                      <a:pt x="176481" y="504602"/>
                      <a:pt x="176075" y="504361"/>
                      <a:pt x="175644" y="504172"/>
                    </a:cubicBezTo>
                    <a:cubicBezTo>
                      <a:pt x="175250" y="503955"/>
                      <a:pt x="174845" y="503774"/>
                      <a:pt x="174426" y="503632"/>
                    </a:cubicBezTo>
                    <a:cubicBezTo>
                      <a:pt x="174249" y="503542"/>
                      <a:pt x="174020" y="503497"/>
                      <a:pt x="173792" y="503407"/>
                    </a:cubicBezTo>
                    <a:cubicBezTo>
                      <a:pt x="173525" y="503326"/>
                      <a:pt x="173259" y="503266"/>
                      <a:pt x="172980" y="503227"/>
                    </a:cubicBezTo>
                    <a:cubicBezTo>
                      <a:pt x="171230" y="502867"/>
                      <a:pt x="170240" y="503182"/>
                      <a:pt x="171813" y="503542"/>
                    </a:cubicBezTo>
                    <a:cubicBezTo>
                      <a:pt x="176303" y="506062"/>
                      <a:pt x="170291" y="507457"/>
                      <a:pt x="168895" y="508041"/>
                    </a:cubicBezTo>
                    <a:cubicBezTo>
                      <a:pt x="175187" y="509797"/>
                      <a:pt x="166156" y="507951"/>
                      <a:pt x="171230" y="519875"/>
                    </a:cubicBezTo>
                    <a:cubicBezTo>
                      <a:pt x="173969" y="517716"/>
                      <a:pt x="170963" y="522710"/>
                      <a:pt x="170025" y="519875"/>
                    </a:cubicBezTo>
                    <a:cubicBezTo>
                      <a:pt x="166245" y="523610"/>
                      <a:pt x="178561" y="529416"/>
                      <a:pt x="170430" y="526310"/>
                    </a:cubicBezTo>
                    <a:cubicBezTo>
                      <a:pt x="171026" y="540048"/>
                      <a:pt x="172675" y="553721"/>
                      <a:pt x="175327" y="567212"/>
                    </a:cubicBezTo>
                    <a:cubicBezTo>
                      <a:pt x="193972" y="562801"/>
                      <a:pt x="172942" y="579810"/>
                      <a:pt x="193795" y="569551"/>
                    </a:cubicBezTo>
                    <a:cubicBezTo>
                      <a:pt x="196218" y="584400"/>
                      <a:pt x="209523" y="583095"/>
                      <a:pt x="210462" y="590252"/>
                    </a:cubicBezTo>
                    <a:cubicBezTo>
                      <a:pt x="196712" y="582557"/>
                      <a:pt x="208940" y="590343"/>
                      <a:pt x="211058" y="599027"/>
                    </a:cubicBezTo>
                    <a:cubicBezTo>
                      <a:pt x="212174" y="585797"/>
                      <a:pt x="218910" y="611854"/>
                      <a:pt x="216220" y="596911"/>
                    </a:cubicBezTo>
                    <a:cubicBezTo>
                      <a:pt x="219354" y="601990"/>
                      <a:pt x="222220" y="607231"/>
                      <a:pt x="224808" y="612615"/>
                    </a:cubicBezTo>
                    <a:cubicBezTo>
                      <a:pt x="215586" y="602176"/>
                      <a:pt x="225746" y="614325"/>
                      <a:pt x="215459" y="615495"/>
                    </a:cubicBezTo>
                    <a:cubicBezTo>
                      <a:pt x="215282" y="617475"/>
                      <a:pt x="223818" y="613785"/>
                      <a:pt x="225252" y="616080"/>
                    </a:cubicBezTo>
                    <a:cubicBezTo>
                      <a:pt x="219315" y="620715"/>
                      <a:pt x="201164" y="630883"/>
                      <a:pt x="203232" y="637093"/>
                    </a:cubicBezTo>
                    <a:cubicBezTo>
                      <a:pt x="196991" y="637728"/>
                      <a:pt x="202560" y="631918"/>
                      <a:pt x="196902" y="634753"/>
                    </a:cubicBezTo>
                    <a:cubicBezTo>
                      <a:pt x="197080" y="639071"/>
                      <a:pt x="193617" y="635563"/>
                      <a:pt x="198653" y="640242"/>
                    </a:cubicBezTo>
                    <a:cubicBezTo>
                      <a:pt x="196623" y="644023"/>
                      <a:pt x="203904" y="634663"/>
                      <a:pt x="207811" y="640422"/>
                    </a:cubicBezTo>
                    <a:cubicBezTo>
                      <a:pt x="205743" y="630793"/>
                      <a:pt x="210601" y="636823"/>
                      <a:pt x="212847" y="640782"/>
                    </a:cubicBezTo>
                    <a:cubicBezTo>
                      <a:pt x="207684" y="645862"/>
                      <a:pt x="203232" y="636913"/>
                      <a:pt x="202243" y="643933"/>
                    </a:cubicBezTo>
                    <a:cubicBezTo>
                      <a:pt x="204044" y="645237"/>
                      <a:pt x="210068" y="650186"/>
                      <a:pt x="203409" y="646137"/>
                    </a:cubicBezTo>
                    <a:cubicBezTo>
                      <a:pt x="211591" y="653966"/>
                      <a:pt x="198602" y="650952"/>
                      <a:pt x="195228" y="656576"/>
                    </a:cubicBezTo>
                    <a:cubicBezTo>
                      <a:pt x="193122" y="659861"/>
                      <a:pt x="192133" y="670255"/>
                      <a:pt x="189888" y="663326"/>
                    </a:cubicBezTo>
                    <a:cubicBezTo>
                      <a:pt x="185880" y="663821"/>
                      <a:pt x="189571" y="657251"/>
                      <a:pt x="184814" y="649737"/>
                    </a:cubicBezTo>
                    <a:cubicBezTo>
                      <a:pt x="184319" y="667240"/>
                      <a:pt x="178789" y="672684"/>
                      <a:pt x="168223" y="673045"/>
                    </a:cubicBezTo>
                    <a:cubicBezTo>
                      <a:pt x="175961" y="683754"/>
                      <a:pt x="147421" y="674754"/>
                      <a:pt x="142880" y="679434"/>
                    </a:cubicBezTo>
                    <a:cubicBezTo>
                      <a:pt x="153269" y="674530"/>
                      <a:pt x="178117" y="693112"/>
                      <a:pt x="149489" y="687623"/>
                    </a:cubicBezTo>
                    <a:cubicBezTo>
                      <a:pt x="153827" y="688487"/>
                      <a:pt x="157581" y="691196"/>
                      <a:pt x="159776" y="695048"/>
                    </a:cubicBezTo>
                    <a:cubicBezTo>
                      <a:pt x="155742" y="692978"/>
                      <a:pt x="155742" y="694777"/>
                      <a:pt x="157036" y="695858"/>
                    </a:cubicBezTo>
                    <a:cubicBezTo>
                      <a:pt x="157302" y="696038"/>
                      <a:pt x="157569" y="696203"/>
                      <a:pt x="157848" y="696352"/>
                    </a:cubicBezTo>
                    <a:cubicBezTo>
                      <a:pt x="158558" y="696667"/>
                      <a:pt x="159382" y="696617"/>
                      <a:pt x="160055" y="696217"/>
                    </a:cubicBezTo>
                    <a:cubicBezTo>
                      <a:pt x="159941" y="696296"/>
                      <a:pt x="159826" y="696388"/>
                      <a:pt x="159738" y="696488"/>
                    </a:cubicBezTo>
                    <a:lnTo>
                      <a:pt x="159459" y="696757"/>
                    </a:lnTo>
                    <a:cubicBezTo>
                      <a:pt x="159370" y="696847"/>
                      <a:pt x="159332" y="696937"/>
                      <a:pt x="159281" y="696982"/>
                    </a:cubicBezTo>
                    <a:cubicBezTo>
                      <a:pt x="159129" y="697144"/>
                      <a:pt x="159027" y="697348"/>
                      <a:pt x="158977" y="697567"/>
                    </a:cubicBezTo>
                    <a:cubicBezTo>
                      <a:pt x="158913" y="697727"/>
                      <a:pt x="158888" y="697894"/>
                      <a:pt x="158875" y="698063"/>
                    </a:cubicBezTo>
                    <a:cubicBezTo>
                      <a:pt x="158875" y="700402"/>
                      <a:pt x="163784" y="702607"/>
                      <a:pt x="159826" y="706342"/>
                    </a:cubicBezTo>
                    <a:cubicBezTo>
                      <a:pt x="154030" y="700673"/>
                      <a:pt x="156046" y="703822"/>
                      <a:pt x="158660" y="708771"/>
                    </a:cubicBezTo>
                    <a:cubicBezTo>
                      <a:pt x="157213" y="710571"/>
                      <a:pt x="159459" y="715431"/>
                      <a:pt x="156452" y="711426"/>
                    </a:cubicBezTo>
                    <a:cubicBezTo>
                      <a:pt x="156859" y="716015"/>
                      <a:pt x="163784" y="726095"/>
                      <a:pt x="152406" y="713361"/>
                    </a:cubicBezTo>
                    <a:cubicBezTo>
                      <a:pt x="151328" y="719030"/>
                      <a:pt x="162071" y="733300"/>
                      <a:pt x="149666" y="718940"/>
                    </a:cubicBezTo>
                    <a:cubicBezTo>
                      <a:pt x="151506" y="723395"/>
                      <a:pt x="163505" y="732170"/>
                      <a:pt x="154157" y="728794"/>
                    </a:cubicBezTo>
                    <a:cubicBezTo>
                      <a:pt x="155577" y="758303"/>
                      <a:pt x="148259" y="787574"/>
                      <a:pt x="133126" y="812937"/>
                    </a:cubicBezTo>
                    <a:cubicBezTo>
                      <a:pt x="129080" y="803847"/>
                      <a:pt x="118793" y="809697"/>
                      <a:pt x="105132" y="809923"/>
                    </a:cubicBezTo>
                    <a:cubicBezTo>
                      <a:pt x="64873" y="830891"/>
                      <a:pt x="118298" y="843669"/>
                      <a:pt x="61537" y="850464"/>
                    </a:cubicBezTo>
                    <a:cubicBezTo>
                      <a:pt x="54307" y="846594"/>
                      <a:pt x="43246" y="849829"/>
                      <a:pt x="52277" y="845199"/>
                    </a:cubicBezTo>
                    <a:cubicBezTo>
                      <a:pt x="52683" y="828146"/>
                      <a:pt x="47965" y="820179"/>
                      <a:pt x="37132" y="801913"/>
                    </a:cubicBezTo>
                    <a:cubicBezTo>
                      <a:pt x="40189" y="802814"/>
                      <a:pt x="47660" y="809562"/>
                      <a:pt x="47876" y="803263"/>
                    </a:cubicBezTo>
                    <a:cubicBezTo>
                      <a:pt x="32109" y="787469"/>
                      <a:pt x="58087" y="801283"/>
                      <a:pt x="49043" y="784230"/>
                    </a:cubicBezTo>
                    <a:cubicBezTo>
                      <a:pt x="39695" y="784679"/>
                      <a:pt x="27251" y="752099"/>
                      <a:pt x="27746" y="751697"/>
                    </a:cubicBezTo>
                    <a:cubicBezTo>
                      <a:pt x="29458" y="751653"/>
                      <a:pt x="27746" y="746838"/>
                      <a:pt x="26224" y="748323"/>
                    </a:cubicBezTo>
                    <a:cubicBezTo>
                      <a:pt x="24296" y="747647"/>
                      <a:pt x="29776" y="744722"/>
                      <a:pt x="26046" y="745443"/>
                    </a:cubicBezTo>
                    <a:cubicBezTo>
                      <a:pt x="27074" y="735049"/>
                      <a:pt x="23433" y="753228"/>
                      <a:pt x="21949" y="744949"/>
                    </a:cubicBezTo>
                    <a:cubicBezTo>
                      <a:pt x="23218" y="718266"/>
                      <a:pt x="10496" y="736354"/>
                      <a:pt x="18892" y="724609"/>
                    </a:cubicBezTo>
                    <a:cubicBezTo>
                      <a:pt x="9735" y="719345"/>
                      <a:pt x="32021" y="681593"/>
                      <a:pt x="11257" y="700582"/>
                    </a:cubicBezTo>
                    <a:cubicBezTo>
                      <a:pt x="6487" y="699232"/>
                      <a:pt x="18892" y="685643"/>
                      <a:pt x="12652" y="691763"/>
                    </a:cubicBezTo>
                    <a:cubicBezTo>
                      <a:pt x="11218" y="685013"/>
                      <a:pt x="10178" y="702787"/>
                      <a:pt x="7312" y="697028"/>
                    </a:cubicBezTo>
                    <a:cubicBezTo>
                      <a:pt x="1819" y="688183"/>
                      <a:pt x="57" y="677519"/>
                      <a:pt x="2403" y="667376"/>
                    </a:cubicBezTo>
                    <a:cubicBezTo>
                      <a:pt x="-1859" y="663185"/>
                      <a:pt x="31" y="652932"/>
                      <a:pt x="3887" y="654146"/>
                    </a:cubicBezTo>
                    <a:cubicBezTo>
                      <a:pt x="7083" y="657432"/>
                      <a:pt x="3938" y="667735"/>
                      <a:pt x="9950" y="662515"/>
                    </a:cubicBezTo>
                    <a:cubicBezTo>
                      <a:pt x="15975" y="657341"/>
                      <a:pt x="16115" y="655721"/>
                      <a:pt x="17104" y="646047"/>
                    </a:cubicBezTo>
                    <a:cubicBezTo>
                      <a:pt x="18094" y="636418"/>
                      <a:pt x="14364" y="624629"/>
                      <a:pt x="18626" y="617654"/>
                    </a:cubicBezTo>
                    <a:cubicBezTo>
                      <a:pt x="22939" y="610680"/>
                      <a:pt x="20871" y="611040"/>
                      <a:pt x="27251" y="608971"/>
                    </a:cubicBezTo>
                    <a:cubicBezTo>
                      <a:pt x="35851" y="605257"/>
                      <a:pt x="41039" y="596381"/>
                      <a:pt x="40062" y="587057"/>
                    </a:cubicBezTo>
                    <a:cubicBezTo>
                      <a:pt x="38439" y="576888"/>
                      <a:pt x="30892" y="559475"/>
                      <a:pt x="33860" y="552366"/>
                    </a:cubicBezTo>
                    <a:cubicBezTo>
                      <a:pt x="36828" y="545211"/>
                      <a:pt x="43297" y="547371"/>
                      <a:pt x="43792" y="538777"/>
                    </a:cubicBezTo>
                    <a:cubicBezTo>
                      <a:pt x="44324" y="530227"/>
                      <a:pt x="27391" y="461744"/>
                      <a:pt x="28101" y="449280"/>
                    </a:cubicBezTo>
                    <a:cubicBezTo>
                      <a:pt x="28824" y="436860"/>
                      <a:pt x="23383" y="393575"/>
                      <a:pt x="33860" y="378995"/>
                    </a:cubicBezTo>
                    <a:cubicBezTo>
                      <a:pt x="40037" y="369929"/>
                      <a:pt x="48003" y="362226"/>
                      <a:pt x="57275" y="356363"/>
                    </a:cubicBezTo>
                    <a:cubicBezTo>
                      <a:pt x="59342" y="355328"/>
                      <a:pt x="75426" y="361268"/>
                      <a:pt x="77544" y="360188"/>
                    </a:cubicBezTo>
                    <a:cubicBezTo>
                      <a:pt x="79701" y="359107"/>
                      <a:pt x="86131" y="267901"/>
                      <a:pt x="104321" y="228754"/>
                    </a:cubicBezTo>
                    <a:cubicBezTo>
                      <a:pt x="122573" y="189608"/>
                      <a:pt x="173982" y="75904"/>
                      <a:pt x="173982" y="75904"/>
                    </a:cubicBezTo>
                    <a:cubicBezTo>
                      <a:pt x="177483" y="75863"/>
                      <a:pt x="180895" y="76951"/>
                      <a:pt x="183736" y="79007"/>
                    </a:cubicBezTo>
                    <a:cubicBezTo>
                      <a:pt x="187909" y="82337"/>
                      <a:pt x="193262" y="91962"/>
                      <a:pt x="194886" y="83912"/>
                    </a:cubicBezTo>
                    <a:cubicBezTo>
                      <a:pt x="195393" y="74175"/>
                      <a:pt x="196535" y="64481"/>
                      <a:pt x="198298" y="54890"/>
                    </a:cubicBezTo>
                    <a:cubicBezTo>
                      <a:pt x="201304" y="45306"/>
                      <a:pt x="197537" y="39861"/>
                      <a:pt x="203143" y="39096"/>
                    </a:cubicBezTo>
                    <a:cubicBezTo>
                      <a:pt x="208813" y="38334"/>
                      <a:pt x="207595" y="43191"/>
                      <a:pt x="214381" y="42922"/>
                    </a:cubicBezTo>
                    <a:cubicBezTo>
                      <a:pt x="221129" y="42651"/>
                      <a:pt x="211552" y="37746"/>
                      <a:pt x="225442" y="43684"/>
                    </a:cubicBezTo>
                    <a:cubicBezTo>
                      <a:pt x="239318" y="49621"/>
                      <a:pt x="244176" y="53672"/>
                      <a:pt x="249250" y="52193"/>
                    </a:cubicBezTo>
                    <a:cubicBezTo>
                      <a:pt x="254336" y="50713"/>
                      <a:pt x="253791" y="53902"/>
                      <a:pt x="253791" y="46389"/>
                    </a:cubicBezTo>
                    <a:cubicBezTo>
                      <a:pt x="253791" y="38875"/>
                      <a:pt x="251685" y="48548"/>
                      <a:pt x="253791" y="38874"/>
                    </a:cubicBezTo>
                    <a:cubicBezTo>
                      <a:pt x="255947" y="29245"/>
                      <a:pt x="257926" y="33430"/>
                      <a:pt x="259093" y="25690"/>
                    </a:cubicBezTo>
                    <a:cubicBezTo>
                      <a:pt x="260222" y="17951"/>
                      <a:pt x="258459" y="15476"/>
                      <a:pt x="259093" y="10302"/>
                    </a:cubicBezTo>
                    <a:cubicBezTo>
                      <a:pt x="259676" y="5082"/>
                      <a:pt x="254286" y="1572"/>
                      <a:pt x="260767" y="1437"/>
                    </a:cubicBezTo>
                    <a:cubicBezTo>
                      <a:pt x="264674" y="1393"/>
                      <a:pt x="266018" y="-272"/>
                      <a:pt x="267680" y="40"/>
                    </a:cubicBezTo>
                    <a:lnTo>
                      <a:pt x="267731" y="40"/>
                    </a:lnTo>
                    <a:cubicBezTo>
                      <a:pt x="268758" y="265"/>
                      <a:pt x="269976" y="1300"/>
                      <a:pt x="272044" y="4000"/>
                    </a:cubicBezTo>
                    <a:cubicBezTo>
                      <a:pt x="278842" y="14220"/>
                      <a:pt x="287049" y="23416"/>
                      <a:pt x="296448" y="31313"/>
                    </a:cubicBezTo>
                    <a:cubicBezTo>
                      <a:pt x="305276" y="37771"/>
                      <a:pt x="314523" y="43633"/>
                      <a:pt x="324125" y="48860"/>
                    </a:cubicBezTo>
                    <a:cubicBezTo>
                      <a:pt x="328793" y="49622"/>
                      <a:pt x="323224" y="46790"/>
                      <a:pt x="330010" y="54890"/>
                    </a:cubicBezTo>
                    <a:cubicBezTo>
                      <a:pt x="333727" y="58953"/>
                      <a:pt x="336885" y="63493"/>
                      <a:pt x="339397" y="68389"/>
                    </a:cubicBezTo>
                    <a:cubicBezTo>
                      <a:pt x="342187" y="73204"/>
                      <a:pt x="340297" y="71898"/>
                      <a:pt x="345016" y="73653"/>
                    </a:cubicBezTo>
                    <a:cubicBezTo>
                      <a:pt x="349683" y="75364"/>
                      <a:pt x="351624" y="84498"/>
                      <a:pt x="351218" y="94127"/>
                    </a:cubicBezTo>
                    <a:cubicBezTo>
                      <a:pt x="350761" y="103800"/>
                      <a:pt x="345561" y="118739"/>
                      <a:pt x="348428" y="122519"/>
                    </a:cubicBezTo>
                    <a:cubicBezTo>
                      <a:pt x="351294" y="126298"/>
                      <a:pt x="350761" y="121484"/>
                      <a:pt x="353146" y="125759"/>
                    </a:cubicBezTo>
                    <a:cubicBezTo>
                      <a:pt x="355569" y="130077"/>
                      <a:pt x="354364" y="146411"/>
                      <a:pt x="357370" y="157031"/>
                    </a:cubicBezTo>
                    <a:cubicBezTo>
                      <a:pt x="360389" y="167605"/>
                      <a:pt x="367885" y="161890"/>
                      <a:pt x="363344" y="171204"/>
                    </a:cubicBezTo>
                    <a:cubicBezTo>
                      <a:pt x="358791" y="181861"/>
                      <a:pt x="356749" y="193423"/>
                      <a:pt x="357370" y="204997"/>
                    </a:cubicBezTo>
                    <a:cubicBezTo>
                      <a:pt x="358537" y="209444"/>
                      <a:pt x="364156" y="225238"/>
                      <a:pt x="370447" y="240356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304" name="Graphic 5">
              <a:extLst>
                <a:ext uri="{FF2B5EF4-FFF2-40B4-BE49-F238E27FC236}">
                  <a16:creationId xmlns:a16="http://schemas.microsoft.com/office/drawing/2014/main" id="{E272329E-6971-E04D-897A-F64277C8066F}"/>
                </a:ext>
              </a:extLst>
            </p:cNvPr>
            <p:cNvGrpSpPr/>
            <p:nvPr/>
          </p:nvGrpSpPr>
          <p:grpSpPr>
            <a:xfrm>
              <a:off x="5720402" y="2389214"/>
              <a:ext cx="128107" cy="158931"/>
              <a:chOff x="5720402" y="2389214"/>
              <a:chExt cx="128107" cy="158931"/>
            </a:xfrm>
            <a:solidFill>
              <a:schemeClr val="bg2"/>
            </a:solidFill>
          </p:grpSpPr>
          <p:sp>
            <p:nvSpPr>
              <p:cNvPr id="560" name="Vrije vorm 559">
                <a:extLst>
                  <a:ext uri="{FF2B5EF4-FFF2-40B4-BE49-F238E27FC236}">
                    <a16:creationId xmlns:a16="http://schemas.microsoft.com/office/drawing/2014/main" id="{A90BFBBC-FB5A-9643-BE21-9F14F95E45C2}"/>
                  </a:ext>
                </a:extLst>
              </p:cNvPr>
              <p:cNvSpPr/>
              <p:nvPr/>
            </p:nvSpPr>
            <p:spPr>
              <a:xfrm>
                <a:off x="5799247" y="2470916"/>
                <a:ext cx="49262" cy="77229"/>
              </a:xfrm>
              <a:custGeom>
                <a:avLst/>
                <a:gdLst>
                  <a:gd name="connsiteX0" fmla="*/ -26 w 49262"/>
                  <a:gd name="connsiteY0" fmla="*/ 19368 h 77229"/>
                  <a:gd name="connsiteX1" fmla="*/ 9297 w 49262"/>
                  <a:gd name="connsiteY1" fmla="*/ 36640 h 77229"/>
                  <a:gd name="connsiteX2" fmla="*/ 11618 w 49262"/>
                  <a:gd name="connsiteY2" fmla="*/ 43403 h 77229"/>
                  <a:gd name="connsiteX3" fmla="*/ 26306 w 49262"/>
                  <a:gd name="connsiteY3" fmla="*/ 49419 h 77229"/>
                  <a:gd name="connsiteX4" fmla="*/ 26966 w 49262"/>
                  <a:gd name="connsiteY4" fmla="*/ 53586 h 77229"/>
                  <a:gd name="connsiteX5" fmla="*/ 23668 w 49262"/>
                  <a:gd name="connsiteY5" fmla="*/ 58651 h 77229"/>
                  <a:gd name="connsiteX6" fmla="*/ 30974 w 49262"/>
                  <a:gd name="connsiteY6" fmla="*/ 77231 h 77229"/>
                  <a:gd name="connsiteX7" fmla="*/ 33004 w 49262"/>
                  <a:gd name="connsiteY7" fmla="*/ 61370 h 77229"/>
                  <a:gd name="connsiteX8" fmla="*/ 36073 w 49262"/>
                  <a:gd name="connsiteY8" fmla="*/ 56384 h 77229"/>
                  <a:gd name="connsiteX9" fmla="*/ 35109 w 49262"/>
                  <a:gd name="connsiteY9" fmla="*/ 48482 h 77229"/>
                  <a:gd name="connsiteX10" fmla="*/ 37468 w 49262"/>
                  <a:gd name="connsiteY10" fmla="*/ 31856 h 77229"/>
                  <a:gd name="connsiteX11" fmla="*/ 43620 w 49262"/>
                  <a:gd name="connsiteY11" fmla="*/ 1037 h 77229"/>
                  <a:gd name="connsiteX12" fmla="*/ 31431 w 49262"/>
                  <a:gd name="connsiteY12" fmla="*/ 21461 h 77229"/>
                  <a:gd name="connsiteX13" fmla="*/ 29503 w 49262"/>
                  <a:gd name="connsiteY13" fmla="*/ 9377 h 77229"/>
                  <a:gd name="connsiteX14" fmla="*/ 25609 w 49262"/>
                  <a:gd name="connsiteY14" fmla="*/ 23208 h 77229"/>
                  <a:gd name="connsiteX15" fmla="*/ 20725 w 49262"/>
                  <a:gd name="connsiteY15" fmla="*/ 17025 h 77229"/>
                  <a:gd name="connsiteX16" fmla="*/ 22298 w 49262"/>
                  <a:gd name="connsiteY16" fmla="*/ 10762 h 77229"/>
                  <a:gd name="connsiteX17" fmla="*/ 11225 w 49262"/>
                  <a:gd name="connsiteY17" fmla="*/ 6237 h 77229"/>
                  <a:gd name="connsiteX18" fmla="*/ -26 w 49262"/>
                  <a:gd name="connsiteY18" fmla="*/ 19368 h 772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9262" h="77229">
                    <a:moveTo>
                      <a:pt x="-26" y="19368"/>
                    </a:moveTo>
                    <a:cubicBezTo>
                      <a:pt x="6861" y="24348"/>
                      <a:pt x="6506" y="24691"/>
                      <a:pt x="9297" y="36640"/>
                    </a:cubicBezTo>
                    <a:cubicBezTo>
                      <a:pt x="3208" y="38215"/>
                      <a:pt x="9703" y="41653"/>
                      <a:pt x="11618" y="43403"/>
                    </a:cubicBezTo>
                    <a:cubicBezTo>
                      <a:pt x="7432" y="48943"/>
                      <a:pt x="25342" y="43387"/>
                      <a:pt x="26306" y="49419"/>
                    </a:cubicBezTo>
                    <a:cubicBezTo>
                      <a:pt x="21448" y="49747"/>
                      <a:pt x="26103" y="51405"/>
                      <a:pt x="26966" y="53586"/>
                    </a:cubicBezTo>
                    <a:cubicBezTo>
                      <a:pt x="11517" y="48371"/>
                      <a:pt x="38838" y="57548"/>
                      <a:pt x="23668" y="58651"/>
                    </a:cubicBezTo>
                    <a:cubicBezTo>
                      <a:pt x="27892" y="64677"/>
                      <a:pt x="26915" y="72212"/>
                      <a:pt x="30974" y="77231"/>
                    </a:cubicBezTo>
                    <a:cubicBezTo>
                      <a:pt x="27270" y="70806"/>
                      <a:pt x="41781" y="62491"/>
                      <a:pt x="33004" y="61370"/>
                    </a:cubicBezTo>
                    <a:cubicBezTo>
                      <a:pt x="24949" y="56056"/>
                      <a:pt x="29591" y="57358"/>
                      <a:pt x="36073" y="56384"/>
                    </a:cubicBezTo>
                    <a:cubicBezTo>
                      <a:pt x="38318" y="49630"/>
                      <a:pt x="30352" y="46640"/>
                      <a:pt x="35109" y="48482"/>
                    </a:cubicBezTo>
                    <a:cubicBezTo>
                      <a:pt x="42555" y="39189"/>
                      <a:pt x="50292" y="44193"/>
                      <a:pt x="37468" y="31856"/>
                    </a:cubicBezTo>
                    <a:cubicBezTo>
                      <a:pt x="46093" y="25313"/>
                      <a:pt x="55531" y="6985"/>
                      <a:pt x="43620" y="1037"/>
                    </a:cubicBezTo>
                    <a:cubicBezTo>
                      <a:pt x="20344" y="-5662"/>
                      <a:pt x="41045" y="22350"/>
                      <a:pt x="31431" y="21461"/>
                    </a:cubicBezTo>
                    <a:cubicBezTo>
                      <a:pt x="27752" y="27209"/>
                      <a:pt x="37291" y="12132"/>
                      <a:pt x="29503" y="9377"/>
                    </a:cubicBezTo>
                    <a:cubicBezTo>
                      <a:pt x="30835" y="14429"/>
                      <a:pt x="27777" y="18405"/>
                      <a:pt x="25609" y="23208"/>
                    </a:cubicBezTo>
                    <a:cubicBezTo>
                      <a:pt x="23021" y="18096"/>
                      <a:pt x="27499" y="16261"/>
                      <a:pt x="20725" y="17025"/>
                    </a:cubicBezTo>
                    <a:cubicBezTo>
                      <a:pt x="23402" y="15120"/>
                      <a:pt x="25418" y="14753"/>
                      <a:pt x="22298" y="10762"/>
                    </a:cubicBezTo>
                    <a:cubicBezTo>
                      <a:pt x="31177" y="7968"/>
                      <a:pt x="16590" y="9473"/>
                      <a:pt x="11225" y="6237"/>
                    </a:cubicBezTo>
                    <a:cubicBezTo>
                      <a:pt x="23972" y="11596"/>
                      <a:pt x="13280" y="22843"/>
                      <a:pt x="-26" y="19368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1" name="Vrije vorm 560">
                <a:extLst>
                  <a:ext uri="{FF2B5EF4-FFF2-40B4-BE49-F238E27FC236}">
                    <a16:creationId xmlns:a16="http://schemas.microsoft.com/office/drawing/2014/main" id="{1B132073-9172-0E44-8970-F61523F5D174}"/>
                  </a:ext>
                </a:extLst>
              </p:cNvPr>
              <p:cNvSpPr/>
              <p:nvPr/>
            </p:nvSpPr>
            <p:spPr>
              <a:xfrm>
                <a:off x="5803344" y="2529716"/>
                <a:ext cx="23402" cy="15792"/>
              </a:xfrm>
              <a:custGeom>
                <a:avLst/>
                <a:gdLst>
                  <a:gd name="connsiteX0" fmla="*/ 9868 w 23402"/>
                  <a:gd name="connsiteY0" fmla="*/ 3159 h 15792"/>
                  <a:gd name="connsiteX1" fmla="*/ 23376 w 23402"/>
                  <a:gd name="connsiteY1" fmla="*/ 10497 h 15792"/>
                  <a:gd name="connsiteX2" fmla="*/ 9868 w 23402"/>
                  <a:gd name="connsiteY2" fmla="*/ 3159 h 15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402" h="15792">
                    <a:moveTo>
                      <a:pt x="9868" y="3159"/>
                    </a:moveTo>
                    <a:cubicBezTo>
                      <a:pt x="-15145" y="-11339"/>
                      <a:pt x="14041" y="29900"/>
                      <a:pt x="23376" y="10497"/>
                    </a:cubicBezTo>
                    <a:cubicBezTo>
                      <a:pt x="19431" y="-3900"/>
                      <a:pt x="17821" y="9320"/>
                      <a:pt x="9868" y="3159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2" name="Vrije vorm 561">
                <a:extLst>
                  <a:ext uri="{FF2B5EF4-FFF2-40B4-BE49-F238E27FC236}">
                    <a16:creationId xmlns:a16="http://schemas.microsoft.com/office/drawing/2014/main" id="{CF305E02-AC68-3245-A1B4-3C6AF5AB71AC}"/>
                  </a:ext>
                </a:extLst>
              </p:cNvPr>
              <p:cNvSpPr/>
              <p:nvPr/>
            </p:nvSpPr>
            <p:spPr>
              <a:xfrm>
                <a:off x="5767363" y="2496477"/>
                <a:ext cx="30355" cy="27670"/>
              </a:xfrm>
              <a:custGeom>
                <a:avLst/>
                <a:gdLst>
                  <a:gd name="connsiteX0" fmla="*/ 25896 w 30355"/>
                  <a:gd name="connsiteY0" fmla="*/ 27359 h 27670"/>
                  <a:gd name="connsiteX1" fmla="*/ 287 w 30355"/>
                  <a:gd name="connsiteY1" fmla="*/ 9102 h 27670"/>
                  <a:gd name="connsiteX2" fmla="*/ 59 w 30355"/>
                  <a:gd name="connsiteY2" fmla="*/ 3466 h 27670"/>
                  <a:gd name="connsiteX3" fmla="*/ 20911 w 30355"/>
                  <a:gd name="connsiteY3" fmla="*/ 5221 h 27670"/>
                  <a:gd name="connsiteX4" fmla="*/ 24818 w 30355"/>
                  <a:gd name="connsiteY4" fmla="*/ 1 h 27670"/>
                  <a:gd name="connsiteX5" fmla="*/ 23435 w 30355"/>
                  <a:gd name="connsiteY5" fmla="*/ 8866 h 27670"/>
                  <a:gd name="connsiteX6" fmla="*/ 25896 w 30355"/>
                  <a:gd name="connsiteY6" fmla="*/ 27359 h 27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0355" h="27670">
                    <a:moveTo>
                      <a:pt x="25896" y="27359"/>
                    </a:moveTo>
                    <a:cubicBezTo>
                      <a:pt x="13795" y="29400"/>
                      <a:pt x="2329" y="21227"/>
                      <a:pt x="287" y="9102"/>
                    </a:cubicBezTo>
                    <a:cubicBezTo>
                      <a:pt x="-30" y="7240"/>
                      <a:pt x="-106" y="5347"/>
                      <a:pt x="59" y="3466"/>
                    </a:cubicBezTo>
                    <a:cubicBezTo>
                      <a:pt x="7973" y="6617"/>
                      <a:pt x="19021" y="-5443"/>
                      <a:pt x="20911" y="5221"/>
                    </a:cubicBezTo>
                    <a:cubicBezTo>
                      <a:pt x="16548" y="12376"/>
                      <a:pt x="26124" y="4906"/>
                      <a:pt x="24818" y="1"/>
                    </a:cubicBezTo>
                    <a:cubicBezTo>
                      <a:pt x="31743" y="6351"/>
                      <a:pt x="23524" y="6705"/>
                      <a:pt x="23435" y="8866"/>
                    </a:cubicBezTo>
                    <a:cubicBezTo>
                      <a:pt x="30615" y="5221"/>
                      <a:pt x="33367" y="24794"/>
                      <a:pt x="25896" y="27359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3" name="Vrije vorm 562">
                <a:extLst>
                  <a:ext uri="{FF2B5EF4-FFF2-40B4-BE49-F238E27FC236}">
                    <a16:creationId xmlns:a16="http://schemas.microsoft.com/office/drawing/2014/main" id="{2B27304A-3AAA-9346-9D3C-92B8797826D3}"/>
                  </a:ext>
                </a:extLst>
              </p:cNvPr>
              <p:cNvSpPr/>
              <p:nvPr/>
            </p:nvSpPr>
            <p:spPr>
              <a:xfrm>
                <a:off x="5720402" y="2389214"/>
                <a:ext cx="81343" cy="145794"/>
              </a:xfrm>
              <a:custGeom>
                <a:avLst/>
                <a:gdLst>
                  <a:gd name="connsiteX0" fmla="*/ 81317 w 81343"/>
                  <a:gd name="connsiteY0" fmla="*/ 65238 h 145794"/>
                  <a:gd name="connsiteX1" fmla="*/ 73491 w 81343"/>
                  <a:gd name="connsiteY1" fmla="*/ 76487 h 145794"/>
                  <a:gd name="connsiteX2" fmla="*/ 67923 w 81343"/>
                  <a:gd name="connsiteY2" fmla="*/ 80678 h 145794"/>
                  <a:gd name="connsiteX3" fmla="*/ 66173 w 81343"/>
                  <a:gd name="connsiteY3" fmla="*/ 76449 h 145794"/>
                  <a:gd name="connsiteX4" fmla="*/ 65805 w 81343"/>
                  <a:gd name="connsiteY4" fmla="*/ 72938 h 145794"/>
                  <a:gd name="connsiteX5" fmla="*/ 50216 w 81343"/>
                  <a:gd name="connsiteY5" fmla="*/ 95257 h 145794"/>
                  <a:gd name="connsiteX6" fmla="*/ 41312 w 81343"/>
                  <a:gd name="connsiteY6" fmla="*/ 102861 h 145794"/>
                  <a:gd name="connsiteX7" fmla="*/ 42707 w 81343"/>
                  <a:gd name="connsiteY7" fmla="*/ 113166 h 145794"/>
                  <a:gd name="connsiteX8" fmla="*/ 45054 w 81343"/>
                  <a:gd name="connsiteY8" fmla="*/ 128015 h 145794"/>
                  <a:gd name="connsiteX9" fmla="*/ 41502 w 81343"/>
                  <a:gd name="connsiteY9" fmla="*/ 133594 h 145794"/>
                  <a:gd name="connsiteX10" fmla="*/ 46753 w 81343"/>
                  <a:gd name="connsiteY10" fmla="*/ 145743 h 145794"/>
                  <a:gd name="connsiteX11" fmla="*/ 46436 w 81343"/>
                  <a:gd name="connsiteY11" fmla="*/ 145743 h 145794"/>
                  <a:gd name="connsiteX12" fmla="*/ 46347 w 81343"/>
                  <a:gd name="connsiteY12" fmla="*/ 145698 h 145794"/>
                  <a:gd name="connsiteX13" fmla="*/ 39840 w 81343"/>
                  <a:gd name="connsiteY13" fmla="*/ 144663 h 145794"/>
                  <a:gd name="connsiteX14" fmla="*/ 29401 w 81343"/>
                  <a:gd name="connsiteY14" fmla="*/ 145247 h 145794"/>
                  <a:gd name="connsiteX15" fmla="*/ 19343 w 81343"/>
                  <a:gd name="connsiteY15" fmla="*/ 142772 h 145794"/>
                  <a:gd name="connsiteX16" fmla="*/ 15969 w 81343"/>
                  <a:gd name="connsiteY16" fmla="*/ 142053 h 145794"/>
                  <a:gd name="connsiteX17" fmla="*/ 13051 w 81343"/>
                  <a:gd name="connsiteY17" fmla="*/ 133008 h 145794"/>
                  <a:gd name="connsiteX18" fmla="*/ 16248 w 81343"/>
                  <a:gd name="connsiteY18" fmla="*/ 131028 h 145794"/>
                  <a:gd name="connsiteX19" fmla="*/ 4921 w 81343"/>
                  <a:gd name="connsiteY19" fmla="*/ 111079 h 145794"/>
                  <a:gd name="connsiteX20" fmla="*/ -26 w 81343"/>
                  <a:gd name="connsiteY20" fmla="*/ 110510 h 145794"/>
                  <a:gd name="connsiteX21" fmla="*/ 1496 w 81343"/>
                  <a:gd name="connsiteY21" fmla="*/ 82118 h 145794"/>
                  <a:gd name="connsiteX22" fmla="*/ 3881 w 81343"/>
                  <a:gd name="connsiteY22" fmla="*/ 55391 h 145794"/>
                  <a:gd name="connsiteX23" fmla="*/ 6126 w 81343"/>
                  <a:gd name="connsiteY23" fmla="*/ 58225 h 145794"/>
                  <a:gd name="connsiteX24" fmla="*/ 18759 w 81343"/>
                  <a:gd name="connsiteY24" fmla="*/ 58585 h 145794"/>
                  <a:gd name="connsiteX25" fmla="*/ 26852 w 81343"/>
                  <a:gd name="connsiteY25" fmla="*/ 46183 h 145794"/>
                  <a:gd name="connsiteX26" fmla="*/ 26941 w 81343"/>
                  <a:gd name="connsiteY26" fmla="*/ 46167 h 145794"/>
                  <a:gd name="connsiteX27" fmla="*/ 29858 w 81343"/>
                  <a:gd name="connsiteY27" fmla="*/ 55975 h 145794"/>
                  <a:gd name="connsiteX28" fmla="*/ 35566 w 81343"/>
                  <a:gd name="connsiteY28" fmla="*/ 58585 h 145794"/>
                  <a:gd name="connsiteX29" fmla="*/ 30657 w 81343"/>
                  <a:gd name="connsiteY29" fmla="*/ 53231 h 145794"/>
                  <a:gd name="connsiteX30" fmla="*/ 41895 w 81343"/>
                  <a:gd name="connsiteY30" fmla="*/ 37212 h 145794"/>
                  <a:gd name="connsiteX31" fmla="*/ 32597 w 81343"/>
                  <a:gd name="connsiteY31" fmla="*/ 36312 h 145794"/>
                  <a:gd name="connsiteX32" fmla="*/ 8827 w 81343"/>
                  <a:gd name="connsiteY32" fmla="*/ 52556 h 145794"/>
                  <a:gd name="connsiteX33" fmla="*/ 13140 w 81343"/>
                  <a:gd name="connsiteY33" fmla="*/ 57461 h 145794"/>
                  <a:gd name="connsiteX34" fmla="*/ 69394 w 81343"/>
                  <a:gd name="connsiteY34" fmla="*/ 1 h 145794"/>
                  <a:gd name="connsiteX35" fmla="*/ 66160 w 81343"/>
                  <a:gd name="connsiteY35" fmla="*/ 32038 h 145794"/>
                  <a:gd name="connsiteX36" fmla="*/ 65310 w 81343"/>
                  <a:gd name="connsiteY36" fmla="*/ 33657 h 145794"/>
                  <a:gd name="connsiteX37" fmla="*/ 61619 w 81343"/>
                  <a:gd name="connsiteY37" fmla="*/ 35503 h 145794"/>
                  <a:gd name="connsiteX38" fmla="*/ 60363 w 81343"/>
                  <a:gd name="connsiteY38" fmla="*/ 35367 h 145794"/>
                  <a:gd name="connsiteX39" fmla="*/ 57218 w 81343"/>
                  <a:gd name="connsiteY39" fmla="*/ 34333 h 145794"/>
                  <a:gd name="connsiteX40" fmla="*/ 55607 w 81343"/>
                  <a:gd name="connsiteY40" fmla="*/ 33523 h 145794"/>
                  <a:gd name="connsiteX41" fmla="*/ 55416 w 81343"/>
                  <a:gd name="connsiteY41" fmla="*/ 33433 h 145794"/>
                  <a:gd name="connsiteX42" fmla="*/ 56177 w 81343"/>
                  <a:gd name="connsiteY42" fmla="*/ 34068 h 145794"/>
                  <a:gd name="connsiteX43" fmla="*/ 56368 w 81343"/>
                  <a:gd name="connsiteY43" fmla="*/ 34248 h 145794"/>
                  <a:gd name="connsiteX44" fmla="*/ 57395 w 81343"/>
                  <a:gd name="connsiteY44" fmla="*/ 35283 h 145794"/>
                  <a:gd name="connsiteX45" fmla="*/ 54478 w 81343"/>
                  <a:gd name="connsiteY45" fmla="*/ 53641 h 145794"/>
                  <a:gd name="connsiteX46" fmla="*/ 60046 w 81343"/>
                  <a:gd name="connsiteY46" fmla="*/ 59266 h 145794"/>
                  <a:gd name="connsiteX47" fmla="*/ 64232 w 81343"/>
                  <a:gd name="connsiteY47" fmla="*/ 59085 h 145794"/>
                  <a:gd name="connsiteX48" fmla="*/ 81317 w 81343"/>
                  <a:gd name="connsiteY48" fmla="*/ 65238 h 1457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81343" h="145794">
                    <a:moveTo>
                      <a:pt x="81317" y="65238"/>
                    </a:moveTo>
                    <a:cubicBezTo>
                      <a:pt x="80417" y="68433"/>
                      <a:pt x="71969" y="86882"/>
                      <a:pt x="73491" y="76487"/>
                    </a:cubicBezTo>
                    <a:cubicBezTo>
                      <a:pt x="68367" y="72707"/>
                      <a:pt x="71247" y="87691"/>
                      <a:pt x="67923" y="80678"/>
                    </a:cubicBezTo>
                    <a:cubicBezTo>
                      <a:pt x="71652" y="76808"/>
                      <a:pt x="59425" y="80633"/>
                      <a:pt x="66173" y="76449"/>
                    </a:cubicBezTo>
                    <a:cubicBezTo>
                      <a:pt x="68456" y="79283"/>
                      <a:pt x="68633" y="71544"/>
                      <a:pt x="65805" y="72938"/>
                    </a:cubicBezTo>
                    <a:cubicBezTo>
                      <a:pt x="54351" y="82928"/>
                      <a:pt x="69724" y="96293"/>
                      <a:pt x="50216" y="95257"/>
                    </a:cubicBezTo>
                    <a:cubicBezTo>
                      <a:pt x="63154" y="101872"/>
                      <a:pt x="48275" y="104301"/>
                      <a:pt x="41312" y="102861"/>
                    </a:cubicBezTo>
                    <a:cubicBezTo>
                      <a:pt x="61454" y="109116"/>
                      <a:pt x="34310" y="112894"/>
                      <a:pt x="42707" y="113166"/>
                    </a:cubicBezTo>
                    <a:cubicBezTo>
                      <a:pt x="43798" y="118063"/>
                      <a:pt x="44571" y="123021"/>
                      <a:pt x="45054" y="128015"/>
                    </a:cubicBezTo>
                    <a:cubicBezTo>
                      <a:pt x="39929" y="129274"/>
                      <a:pt x="37494" y="130174"/>
                      <a:pt x="41502" y="133594"/>
                    </a:cubicBezTo>
                    <a:cubicBezTo>
                      <a:pt x="34132" y="139443"/>
                      <a:pt x="49404" y="130624"/>
                      <a:pt x="46753" y="145743"/>
                    </a:cubicBezTo>
                    <a:lnTo>
                      <a:pt x="46436" y="145743"/>
                    </a:lnTo>
                    <a:lnTo>
                      <a:pt x="46347" y="145698"/>
                    </a:lnTo>
                    <a:cubicBezTo>
                      <a:pt x="40957" y="143539"/>
                      <a:pt x="45041" y="137733"/>
                      <a:pt x="39840" y="144663"/>
                    </a:cubicBezTo>
                    <a:cubicBezTo>
                      <a:pt x="35426" y="144348"/>
                      <a:pt x="36821" y="146868"/>
                      <a:pt x="29401" y="145247"/>
                    </a:cubicBezTo>
                    <a:cubicBezTo>
                      <a:pt x="26015" y="144597"/>
                      <a:pt x="22653" y="143771"/>
                      <a:pt x="19343" y="142772"/>
                    </a:cubicBezTo>
                    <a:cubicBezTo>
                      <a:pt x="18239" y="142458"/>
                      <a:pt x="17110" y="142218"/>
                      <a:pt x="15969" y="142053"/>
                    </a:cubicBezTo>
                    <a:cubicBezTo>
                      <a:pt x="15969" y="135124"/>
                      <a:pt x="16374" y="127924"/>
                      <a:pt x="13051" y="133008"/>
                    </a:cubicBezTo>
                    <a:cubicBezTo>
                      <a:pt x="8739" y="136248"/>
                      <a:pt x="8244" y="123469"/>
                      <a:pt x="16248" y="131028"/>
                    </a:cubicBezTo>
                    <a:cubicBezTo>
                      <a:pt x="18620" y="122390"/>
                      <a:pt x="13559" y="113459"/>
                      <a:pt x="4921" y="111079"/>
                    </a:cubicBezTo>
                    <a:cubicBezTo>
                      <a:pt x="3310" y="110636"/>
                      <a:pt x="1648" y="110443"/>
                      <a:pt x="-26" y="110510"/>
                    </a:cubicBezTo>
                    <a:cubicBezTo>
                      <a:pt x="1319" y="91163"/>
                      <a:pt x="15842" y="92243"/>
                      <a:pt x="1496" y="82118"/>
                    </a:cubicBezTo>
                    <a:cubicBezTo>
                      <a:pt x="-166" y="101601"/>
                      <a:pt x="101" y="40716"/>
                      <a:pt x="3881" y="55391"/>
                    </a:cubicBezTo>
                    <a:cubicBezTo>
                      <a:pt x="4781" y="55481"/>
                      <a:pt x="6494" y="61780"/>
                      <a:pt x="6126" y="58225"/>
                    </a:cubicBezTo>
                    <a:cubicBezTo>
                      <a:pt x="12874" y="54805"/>
                      <a:pt x="17313" y="70779"/>
                      <a:pt x="18759" y="58585"/>
                    </a:cubicBezTo>
                    <a:cubicBezTo>
                      <a:pt x="17567" y="52921"/>
                      <a:pt x="21195" y="47368"/>
                      <a:pt x="26852" y="46183"/>
                    </a:cubicBezTo>
                    <a:cubicBezTo>
                      <a:pt x="26877" y="46178"/>
                      <a:pt x="26903" y="46172"/>
                      <a:pt x="26941" y="46167"/>
                    </a:cubicBezTo>
                    <a:cubicBezTo>
                      <a:pt x="34982" y="47201"/>
                      <a:pt x="21993" y="64120"/>
                      <a:pt x="29858" y="55975"/>
                    </a:cubicBezTo>
                    <a:cubicBezTo>
                      <a:pt x="29947" y="50666"/>
                      <a:pt x="36365" y="64435"/>
                      <a:pt x="35566" y="58585"/>
                    </a:cubicBezTo>
                    <a:cubicBezTo>
                      <a:pt x="31063" y="59620"/>
                      <a:pt x="38838" y="48462"/>
                      <a:pt x="30657" y="53231"/>
                    </a:cubicBezTo>
                    <a:cubicBezTo>
                      <a:pt x="29363" y="45896"/>
                      <a:pt x="33536" y="29788"/>
                      <a:pt x="41895" y="37212"/>
                    </a:cubicBezTo>
                    <a:cubicBezTo>
                      <a:pt x="56279" y="27493"/>
                      <a:pt x="46842" y="33613"/>
                      <a:pt x="32597" y="36312"/>
                    </a:cubicBezTo>
                    <a:cubicBezTo>
                      <a:pt x="22577" y="28033"/>
                      <a:pt x="10400" y="48956"/>
                      <a:pt x="8827" y="52556"/>
                    </a:cubicBezTo>
                    <a:cubicBezTo>
                      <a:pt x="11567" y="52105"/>
                      <a:pt x="16958" y="54041"/>
                      <a:pt x="13140" y="57461"/>
                    </a:cubicBezTo>
                    <a:cubicBezTo>
                      <a:pt x="-16034" y="43016"/>
                      <a:pt x="50077" y="13725"/>
                      <a:pt x="69394" y="1"/>
                    </a:cubicBezTo>
                    <a:cubicBezTo>
                      <a:pt x="65538" y="8235"/>
                      <a:pt x="68951" y="24838"/>
                      <a:pt x="66160" y="32038"/>
                    </a:cubicBezTo>
                    <a:cubicBezTo>
                      <a:pt x="65957" y="32617"/>
                      <a:pt x="65678" y="33163"/>
                      <a:pt x="65310" y="33657"/>
                    </a:cubicBezTo>
                    <a:cubicBezTo>
                      <a:pt x="64473" y="34863"/>
                      <a:pt x="63091" y="35559"/>
                      <a:pt x="61619" y="35503"/>
                    </a:cubicBezTo>
                    <a:cubicBezTo>
                      <a:pt x="61200" y="35500"/>
                      <a:pt x="60782" y="35454"/>
                      <a:pt x="60363" y="35367"/>
                    </a:cubicBezTo>
                    <a:cubicBezTo>
                      <a:pt x="59273" y="35153"/>
                      <a:pt x="58220" y="34807"/>
                      <a:pt x="57218" y="34333"/>
                    </a:cubicBezTo>
                    <a:cubicBezTo>
                      <a:pt x="56723" y="34107"/>
                      <a:pt x="56190" y="33836"/>
                      <a:pt x="55607" y="33523"/>
                    </a:cubicBezTo>
                    <a:lnTo>
                      <a:pt x="55416" y="33433"/>
                    </a:lnTo>
                    <a:lnTo>
                      <a:pt x="56177" y="34068"/>
                    </a:lnTo>
                    <a:cubicBezTo>
                      <a:pt x="56228" y="34112"/>
                      <a:pt x="56317" y="34158"/>
                      <a:pt x="56368" y="34248"/>
                    </a:cubicBezTo>
                    <a:cubicBezTo>
                      <a:pt x="56736" y="34558"/>
                      <a:pt x="57091" y="34905"/>
                      <a:pt x="57395" y="35283"/>
                    </a:cubicBezTo>
                    <a:cubicBezTo>
                      <a:pt x="66604" y="41402"/>
                      <a:pt x="63560" y="50581"/>
                      <a:pt x="54478" y="53641"/>
                    </a:cubicBezTo>
                    <a:cubicBezTo>
                      <a:pt x="61264" y="52156"/>
                      <a:pt x="68684" y="50447"/>
                      <a:pt x="60046" y="59266"/>
                    </a:cubicBezTo>
                    <a:cubicBezTo>
                      <a:pt x="58651" y="71684"/>
                      <a:pt x="61898" y="51346"/>
                      <a:pt x="64232" y="59085"/>
                    </a:cubicBezTo>
                    <a:cubicBezTo>
                      <a:pt x="69585" y="64794"/>
                      <a:pt x="77855" y="56149"/>
                      <a:pt x="81317" y="65238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305" name="Graphic 5">
              <a:extLst>
                <a:ext uri="{FF2B5EF4-FFF2-40B4-BE49-F238E27FC236}">
                  <a16:creationId xmlns:a16="http://schemas.microsoft.com/office/drawing/2014/main" id="{F79B207C-AFBF-794B-B877-FE45527BF8B1}"/>
                </a:ext>
              </a:extLst>
            </p:cNvPr>
            <p:cNvGrpSpPr/>
            <p:nvPr/>
          </p:nvGrpSpPr>
          <p:grpSpPr>
            <a:xfrm>
              <a:off x="5584415" y="2599159"/>
              <a:ext cx="110668" cy="130260"/>
              <a:chOff x="5584415" y="2599159"/>
              <a:chExt cx="110668" cy="130260"/>
            </a:xfrm>
            <a:solidFill>
              <a:schemeClr val="bg2"/>
            </a:solidFill>
          </p:grpSpPr>
          <p:sp>
            <p:nvSpPr>
              <p:cNvPr id="552" name="Vrije vorm 551">
                <a:extLst>
                  <a:ext uri="{FF2B5EF4-FFF2-40B4-BE49-F238E27FC236}">
                    <a16:creationId xmlns:a16="http://schemas.microsoft.com/office/drawing/2014/main" id="{CB977AAE-C300-9444-8FA2-C5C35E485402}"/>
                  </a:ext>
                </a:extLst>
              </p:cNvPr>
              <p:cNvSpPr/>
              <p:nvPr/>
            </p:nvSpPr>
            <p:spPr>
              <a:xfrm>
                <a:off x="5664555" y="2599159"/>
                <a:ext cx="5803" cy="2492"/>
              </a:xfrm>
              <a:custGeom>
                <a:avLst/>
                <a:gdLst>
                  <a:gd name="connsiteX0" fmla="*/ 721 w 5803"/>
                  <a:gd name="connsiteY0" fmla="*/ 2084 h 2492"/>
                  <a:gd name="connsiteX1" fmla="*/ 2383 w 5803"/>
                  <a:gd name="connsiteY1" fmla="*/ 179 h 2492"/>
                  <a:gd name="connsiteX2" fmla="*/ 721 w 5803"/>
                  <a:gd name="connsiteY2" fmla="*/ 2084 h 2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803" h="2492">
                    <a:moveTo>
                      <a:pt x="721" y="2084"/>
                    </a:moveTo>
                    <a:cubicBezTo>
                      <a:pt x="3194" y="1301"/>
                      <a:pt x="9752" y="-583"/>
                      <a:pt x="2383" y="179"/>
                    </a:cubicBezTo>
                    <a:cubicBezTo>
                      <a:pt x="417" y="-218"/>
                      <a:pt x="-941" y="3747"/>
                      <a:pt x="721" y="2084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3" name="Vrije vorm 552">
                <a:extLst>
                  <a:ext uri="{FF2B5EF4-FFF2-40B4-BE49-F238E27FC236}">
                    <a16:creationId xmlns:a16="http://schemas.microsoft.com/office/drawing/2014/main" id="{106E103B-6A6B-9843-9C66-F6D425763C8C}"/>
                  </a:ext>
                </a:extLst>
              </p:cNvPr>
              <p:cNvSpPr/>
              <p:nvPr/>
            </p:nvSpPr>
            <p:spPr>
              <a:xfrm>
                <a:off x="5650733" y="2601148"/>
                <a:ext cx="7470" cy="1941"/>
              </a:xfrm>
              <a:custGeom>
                <a:avLst/>
                <a:gdLst>
                  <a:gd name="connsiteX0" fmla="*/ 958 w 7470"/>
                  <a:gd name="connsiteY0" fmla="*/ 138 h 1941"/>
                  <a:gd name="connsiteX1" fmla="*/ 1098 w 7470"/>
                  <a:gd name="connsiteY1" fmla="*/ 1935 h 1941"/>
                  <a:gd name="connsiteX2" fmla="*/ 958 w 7470"/>
                  <a:gd name="connsiteY2" fmla="*/ 138 h 1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470" h="1941">
                    <a:moveTo>
                      <a:pt x="958" y="138"/>
                    </a:moveTo>
                    <a:cubicBezTo>
                      <a:pt x="-450" y="-460"/>
                      <a:pt x="-298" y="2100"/>
                      <a:pt x="1098" y="1935"/>
                    </a:cubicBezTo>
                    <a:cubicBezTo>
                      <a:pt x="9558" y="296"/>
                      <a:pt x="9609" y="-295"/>
                      <a:pt x="958" y="138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4" name="Vrije vorm 553">
                <a:extLst>
                  <a:ext uri="{FF2B5EF4-FFF2-40B4-BE49-F238E27FC236}">
                    <a16:creationId xmlns:a16="http://schemas.microsoft.com/office/drawing/2014/main" id="{2ED4D377-BE54-DE46-BA36-3AD32A836AFA}"/>
                  </a:ext>
                </a:extLst>
              </p:cNvPr>
              <p:cNvSpPr/>
              <p:nvPr/>
            </p:nvSpPr>
            <p:spPr>
              <a:xfrm>
                <a:off x="5637346" y="2602135"/>
                <a:ext cx="11078" cy="4173"/>
              </a:xfrm>
              <a:custGeom>
                <a:avLst/>
                <a:gdLst>
                  <a:gd name="connsiteX0" fmla="*/ -26 w 11078"/>
                  <a:gd name="connsiteY0" fmla="*/ 3909 h 4173"/>
                  <a:gd name="connsiteX1" fmla="*/ 7255 w 11078"/>
                  <a:gd name="connsiteY1" fmla="*/ 940 h 4173"/>
                  <a:gd name="connsiteX2" fmla="*/ -26 w 11078"/>
                  <a:gd name="connsiteY2" fmla="*/ 3909 h 41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078" h="4173">
                    <a:moveTo>
                      <a:pt x="-26" y="3909"/>
                    </a:moveTo>
                    <a:cubicBezTo>
                      <a:pt x="875" y="1480"/>
                      <a:pt x="5416" y="2290"/>
                      <a:pt x="7255" y="940"/>
                    </a:cubicBezTo>
                    <a:cubicBezTo>
                      <a:pt x="17960" y="-2750"/>
                      <a:pt x="2942" y="5754"/>
                      <a:pt x="-26" y="3909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5" name="Vrije vorm 554">
                <a:extLst>
                  <a:ext uri="{FF2B5EF4-FFF2-40B4-BE49-F238E27FC236}">
                    <a16:creationId xmlns:a16="http://schemas.microsoft.com/office/drawing/2014/main" id="{FAB387FD-A404-3E4B-934F-80BD9EDA7F70}"/>
                  </a:ext>
                </a:extLst>
              </p:cNvPr>
              <p:cNvSpPr/>
              <p:nvPr/>
            </p:nvSpPr>
            <p:spPr>
              <a:xfrm>
                <a:off x="5629165" y="2608694"/>
                <a:ext cx="6405" cy="4379"/>
              </a:xfrm>
              <a:custGeom>
                <a:avLst/>
                <a:gdLst>
                  <a:gd name="connsiteX0" fmla="*/ 6379 w 6405"/>
                  <a:gd name="connsiteY0" fmla="*/ 110 h 4379"/>
                  <a:gd name="connsiteX1" fmla="*/ -26 w 6405"/>
                  <a:gd name="connsiteY1" fmla="*/ 4314 h 4379"/>
                  <a:gd name="connsiteX2" fmla="*/ 6379 w 6405"/>
                  <a:gd name="connsiteY2" fmla="*/ 110 h 4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405" h="4379">
                    <a:moveTo>
                      <a:pt x="6379" y="110"/>
                    </a:moveTo>
                    <a:cubicBezTo>
                      <a:pt x="3779" y="-623"/>
                      <a:pt x="1420" y="2508"/>
                      <a:pt x="-26" y="4314"/>
                    </a:cubicBezTo>
                    <a:cubicBezTo>
                      <a:pt x="2079" y="5000"/>
                      <a:pt x="4147" y="170"/>
                      <a:pt x="6379" y="11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6" name="Vrije vorm 555">
                <a:extLst>
                  <a:ext uri="{FF2B5EF4-FFF2-40B4-BE49-F238E27FC236}">
                    <a16:creationId xmlns:a16="http://schemas.microsoft.com/office/drawing/2014/main" id="{27F42AF4-206E-CF4A-9A0D-38613A6F8570}"/>
                  </a:ext>
                </a:extLst>
              </p:cNvPr>
              <p:cNvSpPr/>
              <p:nvPr/>
            </p:nvSpPr>
            <p:spPr>
              <a:xfrm>
                <a:off x="5624481" y="2615189"/>
                <a:ext cx="5398" cy="8306"/>
              </a:xfrm>
              <a:custGeom>
                <a:avLst/>
                <a:gdLst>
                  <a:gd name="connsiteX0" fmla="*/ 5064 w 5398"/>
                  <a:gd name="connsiteY0" fmla="*/ 3003 h 8306"/>
                  <a:gd name="connsiteX1" fmla="*/ 345 w 5398"/>
                  <a:gd name="connsiteY1" fmla="*/ 8083 h 8306"/>
                  <a:gd name="connsiteX2" fmla="*/ 5064 w 5398"/>
                  <a:gd name="connsiteY2" fmla="*/ 3003 h 83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398" h="8306">
                    <a:moveTo>
                      <a:pt x="5064" y="3003"/>
                    </a:moveTo>
                    <a:cubicBezTo>
                      <a:pt x="6332" y="3948"/>
                      <a:pt x="2324" y="9480"/>
                      <a:pt x="345" y="8083"/>
                    </a:cubicBezTo>
                    <a:cubicBezTo>
                      <a:pt x="-1938" y="4173"/>
                      <a:pt x="7131" y="-4600"/>
                      <a:pt x="5064" y="3003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7" name="Vrije vorm 556">
                <a:extLst>
                  <a:ext uri="{FF2B5EF4-FFF2-40B4-BE49-F238E27FC236}">
                    <a16:creationId xmlns:a16="http://schemas.microsoft.com/office/drawing/2014/main" id="{1BB76404-397F-7646-B66B-681F7CAB311C}"/>
                  </a:ext>
                </a:extLst>
              </p:cNvPr>
              <p:cNvSpPr/>
              <p:nvPr/>
            </p:nvSpPr>
            <p:spPr>
              <a:xfrm>
                <a:off x="5584415" y="2698066"/>
                <a:ext cx="26915" cy="8314"/>
              </a:xfrm>
              <a:custGeom>
                <a:avLst/>
                <a:gdLst>
                  <a:gd name="connsiteX0" fmla="*/ 26890 w 26915"/>
                  <a:gd name="connsiteY0" fmla="*/ 1928 h 8314"/>
                  <a:gd name="connsiteX1" fmla="*/ 24416 w 26915"/>
                  <a:gd name="connsiteY1" fmla="*/ 3998 h 8314"/>
                  <a:gd name="connsiteX2" fmla="*/ 16869 w 26915"/>
                  <a:gd name="connsiteY2" fmla="*/ 8138 h 8314"/>
                  <a:gd name="connsiteX3" fmla="*/ 7483 w 26915"/>
                  <a:gd name="connsiteY3" fmla="*/ 4265 h 8314"/>
                  <a:gd name="connsiteX4" fmla="*/ 1369 w 26915"/>
                  <a:gd name="connsiteY4" fmla="*/ 4265 h 8314"/>
                  <a:gd name="connsiteX5" fmla="*/ -26 w 26915"/>
                  <a:gd name="connsiteY5" fmla="*/ 2284 h 8314"/>
                  <a:gd name="connsiteX6" fmla="*/ 22806 w 26915"/>
                  <a:gd name="connsiteY6" fmla="*/ 849 h 8314"/>
                  <a:gd name="connsiteX7" fmla="*/ 26890 w 26915"/>
                  <a:gd name="connsiteY7" fmla="*/ 1928 h 83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6915" h="8314">
                    <a:moveTo>
                      <a:pt x="26890" y="1928"/>
                    </a:moveTo>
                    <a:cubicBezTo>
                      <a:pt x="26306" y="2068"/>
                      <a:pt x="25900" y="2284"/>
                      <a:pt x="24416" y="3998"/>
                    </a:cubicBezTo>
                    <a:cubicBezTo>
                      <a:pt x="21588" y="7237"/>
                      <a:pt x="21131" y="7148"/>
                      <a:pt x="16869" y="8138"/>
                    </a:cubicBezTo>
                    <a:cubicBezTo>
                      <a:pt x="12557" y="9180"/>
                      <a:pt x="11517" y="5344"/>
                      <a:pt x="7483" y="4265"/>
                    </a:cubicBezTo>
                    <a:cubicBezTo>
                      <a:pt x="3437" y="3236"/>
                      <a:pt x="4743" y="5713"/>
                      <a:pt x="1369" y="4265"/>
                    </a:cubicBezTo>
                    <a:cubicBezTo>
                      <a:pt x="570" y="3922"/>
                      <a:pt x="37" y="3160"/>
                      <a:pt x="-26" y="2284"/>
                    </a:cubicBezTo>
                    <a:cubicBezTo>
                      <a:pt x="7331" y="-155"/>
                      <a:pt x="15195" y="-650"/>
                      <a:pt x="22806" y="849"/>
                    </a:cubicBezTo>
                    <a:cubicBezTo>
                      <a:pt x="24251" y="620"/>
                      <a:pt x="25736" y="1014"/>
                      <a:pt x="26890" y="1928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8" name="Vrije vorm 557">
                <a:extLst>
                  <a:ext uri="{FF2B5EF4-FFF2-40B4-BE49-F238E27FC236}">
                    <a16:creationId xmlns:a16="http://schemas.microsoft.com/office/drawing/2014/main" id="{DA2DBF5A-BC62-1C4D-A0FE-547CEBAF97D4}"/>
                  </a:ext>
                </a:extLst>
              </p:cNvPr>
              <p:cNvSpPr/>
              <p:nvPr/>
            </p:nvSpPr>
            <p:spPr>
              <a:xfrm>
                <a:off x="5588550" y="2601789"/>
                <a:ext cx="106533" cy="127630"/>
              </a:xfrm>
              <a:custGeom>
                <a:avLst/>
                <a:gdLst>
                  <a:gd name="connsiteX0" fmla="*/ 106432 w 106533"/>
                  <a:gd name="connsiteY0" fmla="*/ 9475 h 127630"/>
                  <a:gd name="connsiteX1" fmla="*/ 103058 w 106533"/>
                  <a:gd name="connsiteY1" fmla="*/ 9025 h 127630"/>
                  <a:gd name="connsiteX2" fmla="*/ 97934 w 106533"/>
                  <a:gd name="connsiteY2" fmla="*/ 5020 h 127630"/>
                  <a:gd name="connsiteX3" fmla="*/ 62748 w 106533"/>
                  <a:gd name="connsiteY3" fmla="*/ 6911 h 127630"/>
                  <a:gd name="connsiteX4" fmla="*/ 12011 w 106533"/>
                  <a:gd name="connsiteY4" fmla="*/ 77911 h 127630"/>
                  <a:gd name="connsiteX5" fmla="*/ 15334 w 106533"/>
                  <a:gd name="connsiteY5" fmla="*/ 86954 h 127630"/>
                  <a:gd name="connsiteX6" fmla="*/ -26 w 106533"/>
                  <a:gd name="connsiteY6" fmla="*/ 88935 h 127630"/>
                  <a:gd name="connsiteX7" fmla="*/ 22615 w 106533"/>
                  <a:gd name="connsiteY7" fmla="*/ 94917 h 127630"/>
                  <a:gd name="connsiteX8" fmla="*/ 23376 w 106533"/>
                  <a:gd name="connsiteY8" fmla="*/ 98028 h 127630"/>
                  <a:gd name="connsiteX9" fmla="*/ 25761 w 106533"/>
                  <a:gd name="connsiteY9" fmla="*/ 96987 h 127630"/>
                  <a:gd name="connsiteX10" fmla="*/ 30213 w 106533"/>
                  <a:gd name="connsiteY10" fmla="*/ 92084 h 127630"/>
                  <a:gd name="connsiteX11" fmla="*/ 37760 w 106533"/>
                  <a:gd name="connsiteY11" fmla="*/ 93393 h 127630"/>
                  <a:gd name="connsiteX12" fmla="*/ 39244 w 106533"/>
                  <a:gd name="connsiteY12" fmla="*/ 93481 h 127630"/>
                  <a:gd name="connsiteX13" fmla="*/ 39333 w 106533"/>
                  <a:gd name="connsiteY13" fmla="*/ 93481 h 127630"/>
                  <a:gd name="connsiteX14" fmla="*/ 41984 w 106533"/>
                  <a:gd name="connsiteY14" fmla="*/ 93748 h 127630"/>
                  <a:gd name="connsiteX15" fmla="*/ 48009 w 106533"/>
                  <a:gd name="connsiteY15" fmla="*/ 100504 h 127630"/>
                  <a:gd name="connsiteX16" fmla="*/ 55607 w 106533"/>
                  <a:gd name="connsiteY16" fmla="*/ 101762 h 127630"/>
                  <a:gd name="connsiteX17" fmla="*/ 62393 w 106533"/>
                  <a:gd name="connsiteY17" fmla="*/ 105356 h 127630"/>
                  <a:gd name="connsiteX18" fmla="*/ 67022 w 106533"/>
                  <a:gd name="connsiteY18" fmla="*/ 108874 h 127630"/>
                  <a:gd name="connsiteX19" fmla="*/ 63560 w 106533"/>
                  <a:gd name="connsiteY19" fmla="*/ 117243 h 127630"/>
                  <a:gd name="connsiteX20" fmla="*/ 64194 w 106533"/>
                  <a:gd name="connsiteY20" fmla="*/ 125155 h 127630"/>
                  <a:gd name="connsiteX21" fmla="*/ 72324 w 106533"/>
                  <a:gd name="connsiteY21" fmla="*/ 127276 h 127630"/>
                  <a:gd name="connsiteX22" fmla="*/ 72908 w 106533"/>
                  <a:gd name="connsiteY22" fmla="*/ 127632 h 127630"/>
                  <a:gd name="connsiteX23" fmla="*/ 74798 w 106533"/>
                  <a:gd name="connsiteY23" fmla="*/ 121828 h 127630"/>
                  <a:gd name="connsiteX24" fmla="*/ 70929 w 106533"/>
                  <a:gd name="connsiteY24" fmla="*/ 116379 h 127630"/>
                  <a:gd name="connsiteX25" fmla="*/ 75470 w 106533"/>
                  <a:gd name="connsiteY25" fmla="*/ 107617 h 127630"/>
                  <a:gd name="connsiteX26" fmla="*/ 75242 w 106533"/>
                  <a:gd name="connsiteY26" fmla="*/ 100504 h 127630"/>
                  <a:gd name="connsiteX27" fmla="*/ 74798 w 106533"/>
                  <a:gd name="connsiteY27" fmla="*/ 87678 h 127630"/>
                  <a:gd name="connsiteX28" fmla="*/ 70929 w 106533"/>
                  <a:gd name="connsiteY28" fmla="*/ 77911 h 127630"/>
                  <a:gd name="connsiteX29" fmla="*/ 77005 w 106533"/>
                  <a:gd name="connsiteY29" fmla="*/ 76375 h 127630"/>
                  <a:gd name="connsiteX30" fmla="*/ 92911 w 106533"/>
                  <a:gd name="connsiteY30" fmla="*/ 69364 h 127630"/>
                  <a:gd name="connsiteX31" fmla="*/ 99836 w 106533"/>
                  <a:gd name="connsiteY31" fmla="*/ 54251 h 127630"/>
                  <a:gd name="connsiteX32" fmla="*/ 97718 w 106533"/>
                  <a:gd name="connsiteY32" fmla="*/ 48216 h 127630"/>
                  <a:gd name="connsiteX33" fmla="*/ 94890 w 106533"/>
                  <a:gd name="connsiteY33" fmla="*/ 40432 h 127630"/>
                  <a:gd name="connsiteX34" fmla="*/ 100864 w 106533"/>
                  <a:gd name="connsiteY34" fmla="*/ 38362 h 127630"/>
                  <a:gd name="connsiteX35" fmla="*/ 105265 w 106533"/>
                  <a:gd name="connsiteY35" fmla="*/ 24639 h 127630"/>
                  <a:gd name="connsiteX36" fmla="*/ 106432 w 106533"/>
                  <a:gd name="connsiteY36" fmla="*/ 9475 h 127630"/>
                  <a:gd name="connsiteX37" fmla="*/ 68367 w 106533"/>
                  <a:gd name="connsiteY37" fmla="*/ 44751 h 127630"/>
                  <a:gd name="connsiteX38" fmla="*/ 67923 w 106533"/>
                  <a:gd name="connsiteY38" fmla="*/ 45337 h 127630"/>
                  <a:gd name="connsiteX39" fmla="*/ 52639 w 106533"/>
                  <a:gd name="connsiteY39" fmla="*/ 35393 h 127630"/>
                  <a:gd name="connsiteX40" fmla="*/ 55378 w 106533"/>
                  <a:gd name="connsiteY40" fmla="*/ 24458 h 127630"/>
                  <a:gd name="connsiteX41" fmla="*/ 68722 w 106533"/>
                  <a:gd name="connsiteY41" fmla="*/ 43177 h 127630"/>
                  <a:gd name="connsiteX42" fmla="*/ 68227 w 106533"/>
                  <a:gd name="connsiteY42" fmla="*/ 44437 h 127630"/>
                  <a:gd name="connsiteX43" fmla="*/ 68367 w 106533"/>
                  <a:gd name="connsiteY43" fmla="*/ 44751 h 1276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106533" h="127630">
                    <a:moveTo>
                      <a:pt x="106432" y="9475"/>
                    </a:moveTo>
                    <a:cubicBezTo>
                      <a:pt x="105760" y="10237"/>
                      <a:pt x="104808" y="10510"/>
                      <a:pt x="103058" y="9025"/>
                    </a:cubicBezTo>
                    <a:cubicBezTo>
                      <a:pt x="103464" y="5830"/>
                      <a:pt x="100141" y="8035"/>
                      <a:pt x="97934" y="5020"/>
                    </a:cubicBezTo>
                    <a:cubicBezTo>
                      <a:pt x="94484" y="-5284"/>
                      <a:pt x="70878" y="2815"/>
                      <a:pt x="62748" y="6911"/>
                    </a:cubicBezTo>
                    <a:cubicBezTo>
                      <a:pt x="34399" y="22749"/>
                      <a:pt x="31025" y="57706"/>
                      <a:pt x="12011" y="77911"/>
                    </a:cubicBezTo>
                    <a:cubicBezTo>
                      <a:pt x="19241" y="77060"/>
                      <a:pt x="24188" y="88440"/>
                      <a:pt x="15334" y="86954"/>
                    </a:cubicBezTo>
                    <a:cubicBezTo>
                      <a:pt x="35515" y="102664"/>
                      <a:pt x="8777" y="80032"/>
                      <a:pt x="-26" y="88935"/>
                    </a:cubicBezTo>
                    <a:cubicBezTo>
                      <a:pt x="5542" y="98168"/>
                      <a:pt x="14713" y="93253"/>
                      <a:pt x="22615" y="94917"/>
                    </a:cubicBezTo>
                    <a:cubicBezTo>
                      <a:pt x="22932" y="96225"/>
                      <a:pt x="23161" y="97266"/>
                      <a:pt x="23376" y="98028"/>
                    </a:cubicBezTo>
                    <a:cubicBezTo>
                      <a:pt x="24226" y="97812"/>
                      <a:pt x="25038" y="97469"/>
                      <a:pt x="25761" y="96987"/>
                    </a:cubicBezTo>
                    <a:cubicBezTo>
                      <a:pt x="29490" y="94828"/>
                      <a:pt x="24822" y="90827"/>
                      <a:pt x="30213" y="92084"/>
                    </a:cubicBezTo>
                    <a:cubicBezTo>
                      <a:pt x="32648" y="92897"/>
                      <a:pt x="35198" y="93329"/>
                      <a:pt x="37760" y="93393"/>
                    </a:cubicBezTo>
                    <a:cubicBezTo>
                      <a:pt x="38711" y="93481"/>
                      <a:pt x="39104" y="93481"/>
                      <a:pt x="39244" y="93481"/>
                    </a:cubicBezTo>
                    <a:lnTo>
                      <a:pt x="39333" y="93481"/>
                    </a:lnTo>
                    <a:cubicBezTo>
                      <a:pt x="39739" y="93532"/>
                      <a:pt x="40551" y="93570"/>
                      <a:pt x="41984" y="93748"/>
                    </a:cubicBezTo>
                    <a:cubicBezTo>
                      <a:pt x="48415" y="94472"/>
                      <a:pt x="43290" y="98650"/>
                      <a:pt x="48009" y="100504"/>
                    </a:cubicBezTo>
                    <a:cubicBezTo>
                      <a:pt x="50355" y="101660"/>
                      <a:pt x="53006" y="102105"/>
                      <a:pt x="55607" y="101762"/>
                    </a:cubicBezTo>
                    <a:cubicBezTo>
                      <a:pt x="59513" y="101990"/>
                      <a:pt x="58524" y="103337"/>
                      <a:pt x="62393" y="105356"/>
                    </a:cubicBezTo>
                    <a:cubicBezTo>
                      <a:pt x="66300" y="107337"/>
                      <a:pt x="68811" y="103565"/>
                      <a:pt x="67022" y="108874"/>
                    </a:cubicBezTo>
                    <a:cubicBezTo>
                      <a:pt x="65221" y="114132"/>
                      <a:pt x="64004" y="110309"/>
                      <a:pt x="63560" y="117243"/>
                    </a:cubicBezTo>
                    <a:cubicBezTo>
                      <a:pt x="63065" y="124165"/>
                      <a:pt x="59551" y="124038"/>
                      <a:pt x="64194" y="125155"/>
                    </a:cubicBezTo>
                    <a:cubicBezTo>
                      <a:pt x="68773" y="126286"/>
                      <a:pt x="68367" y="125066"/>
                      <a:pt x="72324" y="127276"/>
                    </a:cubicBezTo>
                    <a:cubicBezTo>
                      <a:pt x="72527" y="127390"/>
                      <a:pt x="72717" y="127505"/>
                      <a:pt x="72908" y="127632"/>
                    </a:cubicBezTo>
                    <a:cubicBezTo>
                      <a:pt x="73808" y="125790"/>
                      <a:pt x="74443" y="123847"/>
                      <a:pt x="74798" y="121828"/>
                    </a:cubicBezTo>
                    <a:cubicBezTo>
                      <a:pt x="75064" y="119135"/>
                      <a:pt x="72007" y="117738"/>
                      <a:pt x="70929" y="116379"/>
                    </a:cubicBezTo>
                    <a:cubicBezTo>
                      <a:pt x="69902" y="115033"/>
                      <a:pt x="70929" y="112697"/>
                      <a:pt x="75470" y="107617"/>
                    </a:cubicBezTo>
                    <a:cubicBezTo>
                      <a:pt x="79960" y="102486"/>
                      <a:pt x="76637" y="105229"/>
                      <a:pt x="75242" y="100504"/>
                    </a:cubicBezTo>
                    <a:cubicBezTo>
                      <a:pt x="73808" y="95818"/>
                      <a:pt x="74887" y="94828"/>
                      <a:pt x="74798" y="87678"/>
                    </a:cubicBezTo>
                    <a:cubicBezTo>
                      <a:pt x="74709" y="80515"/>
                      <a:pt x="71652" y="81962"/>
                      <a:pt x="70929" y="77911"/>
                    </a:cubicBezTo>
                    <a:cubicBezTo>
                      <a:pt x="70257" y="73809"/>
                      <a:pt x="72007" y="76603"/>
                      <a:pt x="77005" y="76375"/>
                    </a:cubicBezTo>
                    <a:cubicBezTo>
                      <a:pt x="81952" y="76197"/>
                      <a:pt x="84869" y="73720"/>
                      <a:pt x="92911" y="69364"/>
                    </a:cubicBezTo>
                    <a:cubicBezTo>
                      <a:pt x="100953" y="64995"/>
                      <a:pt x="98441" y="56943"/>
                      <a:pt x="99836" y="54251"/>
                    </a:cubicBezTo>
                    <a:cubicBezTo>
                      <a:pt x="101219" y="51551"/>
                      <a:pt x="100230" y="49791"/>
                      <a:pt x="97718" y="48216"/>
                    </a:cubicBezTo>
                    <a:cubicBezTo>
                      <a:pt x="95156" y="46641"/>
                      <a:pt x="94890" y="45472"/>
                      <a:pt x="94890" y="40432"/>
                    </a:cubicBezTo>
                    <a:cubicBezTo>
                      <a:pt x="94890" y="35352"/>
                      <a:pt x="100597" y="39035"/>
                      <a:pt x="100864" y="38362"/>
                    </a:cubicBezTo>
                    <a:cubicBezTo>
                      <a:pt x="101181" y="37688"/>
                      <a:pt x="104149" y="29048"/>
                      <a:pt x="105265" y="24639"/>
                    </a:cubicBezTo>
                    <a:cubicBezTo>
                      <a:pt x="106293" y="19654"/>
                      <a:pt x="106686" y="14559"/>
                      <a:pt x="106432" y="9475"/>
                    </a:cubicBezTo>
                    <a:close/>
                    <a:moveTo>
                      <a:pt x="68367" y="44751"/>
                    </a:moveTo>
                    <a:lnTo>
                      <a:pt x="67923" y="45337"/>
                    </a:lnTo>
                    <a:cubicBezTo>
                      <a:pt x="59069" y="66659"/>
                      <a:pt x="30669" y="47271"/>
                      <a:pt x="52639" y="35393"/>
                    </a:cubicBezTo>
                    <a:cubicBezTo>
                      <a:pt x="38343" y="31837"/>
                      <a:pt x="55429" y="9519"/>
                      <a:pt x="55378" y="24458"/>
                    </a:cubicBezTo>
                    <a:cubicBezTo>
                      <a:pt x="69090" y="37012"/>
                      <a:pt x="52677" y="29363"/>
                      <a:pt x="68722" y="43177"/>
                    </a:cubicBezTo>
                    <a:cubicBezTo>
                      <a:pt x="68545" y="43626"/>
                      <a:pt x="68418" y="44031"/>
                      <a:pt x="68227" y="44437"/>
                    </a:cubicBezTo>
                    <a:cubicBezTo>
                      <a:pt x="68278" y="44571"/>
                      <a:pt x="68316" y="44617"/>
                      <a:pt x="68367" y="44751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9" name="Vrije vorm 558">
                <a:extLst>
                  <a:ext uri="{FF2B5EF4-FFF2-40B4-BE49-F238E27FC236}">
                    <a16:creationId xmlns:a16="http://schemas.microsoft.com/office/drawing/2014/main" id="{EE6A3AE8-7492-F84F-BC13-8BB1A0F92AF5}"/>
                  </a:ext>
                </a:extLst>
              </p:cNvPr>
              <p:cNvSpPr/>
              <p:nvPr/>
            </p:nvSpPr>
            <p:spPr>
              <a:xfrm>
                <a:off x="5636357" y="2642199"/>
                <a:ext cx="20446" cy="14109"/>
              </a:xfrm>
              <a:custGeom>
                <a:avLst/>
                <a:gdLst>
                  <a:gd name="connsiteX0" fmla="*/ 20421 w 20446"/>
                  <a:gd name="connsiteY0" fmla="*/ 4026 h 14109"/>
                  <a:gd name="connsiteX1" fmla="*/ 20116 w 20446"/>
                  <a:gd name="connsiteY1" fmla="*/ 4927 h 14109"/>
                  <a:gd name="connsiteX2" fmla="*/ -26 w 20446"/>
                  <a:gd name="connsiteY2" fmla="*/ 9966 h 14109"/>
                  <a:gd name="connsiteX3" fmla="*/ 20421 w 20446"/>
                  <a:gd name="connsiteY3" fmla="*/ 4026 h 14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446" h="14109">
                    <a:moveTo>
                      <a:pt x="20421" y="4026"/>
                    </a:moveTo>
                    <a:cubicBezTo>
                      <a:pt x="20345" y="4335"/>
                      <a:pt x="20243" y="4637"/>
                      <a:pt x="20116" y="4927"/>
                    </a:cubicBezTo>
                    <a:cubicBezTo>
                      <a:pt x="15043" y="11900"/>
                      <a:pt x="6227" y="18743"/>
                      <a:pt x="-26" y="9966"/>
                    </a:cubicBezTo>
                    <a:cubicBezTo>
                      <a:pt x="6139" y="6681"/>
                      <a:pt x="16692" y="-6548"/>
                      <a:pt x="20421" y="4026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306" name="Vrije vorm 305">
              <a:extLst>
                <a:ext uri="{FF2B5EF4-FFF2-40B4-BE49-F238E27FC236}">
                  <a16:creationId xmlns:a16="http://schemas.microsoft.com/office/drawing/2014/main" id="{748BE1C0-4D5A-EE45-9F7F-24A69EDF9FA2}"/>
                </a:ext>
              </a:extLst>
            </p:cNvPr>
            <p:cNvSpPr/>
            <p:nvPr/>
          </p:nvSpPr>
          <p:spPr>
            <a:xfrm>
              <a:off x="5882823" y="2536254"/>
              <a:ext cx="289613" cy="267778"/>
            </a:xfrm>
            <a:custGeom>
              <a:avLst/>
              <a:gdLst>
                <a:gd name="connsiteX0" fmla="*/ 287981 w 289613"/>
                <a:gd name="connsiteY0" fmla="*/ 200011 h 267778"/>
                <a:gd name="connsiteX1" fmla="*/ 277732 w 289613"/>
                <a:gd name="connsiteY1" fmla="*/ 211657 h 267778"/>
                <a:gd name="connsiteX2" fmla="*/ 251666 w 289613"/>
                <a:gd name="connsiteY2" fmla="*/ 242887 h 267778"/>
                <a:gd name="connsiteX3" fmla="*/ 251895 w 289613"/>
                <a:gd name="connsiteY3" fmla="*/ 260032 h 267778"/>
                <a:gd name="connsiteX4" fmla="*/ 254546 w 289613"/>
                <a:gd name="connsiteY4" fmla="*/ 267588 h 267778"/>
                <a:gd name="connsiteX5" fmla="*/ 248571 w 289613"/>
                <a:gd name="connsiteY5" fmla="*/ 265480 h 267778"/>
                <a:gd name="connsiteX6" fmla="*/ 246237 w 289613"/>
                <a:gd name="connsiteY6" fmla="*/ 263321 h 267778"/>
                <a:gd name="connsiteX7" fmla="*/ 240935 w 289613"/>
                <a:gd name="connsiteY7" fmla="*/ 261657 h 267778"/>
                <a:gd name="connsiteX8" fmla="*/ 238234 w 289613"/>
                <a:gd name="connsiteY8" fmla="*/ 260527 h 267778"/>
                <a:gd name="connsiteX9" fmla="*/ 238196 w 289613"/>
                <a:gd name="connsiteY9" fmla="*/ 260527 h 267778"/>
                <a:gd name="connsiteX10" fmla="*/ 238094 w 289613"/>
                <a:gd name="connsiteY10" fmla="*/ 260489 h 267778"/>
                <a:gd name="connsiteX11" fmla="*/ 237967 w 289613"/>
                <a:gd name="connsiteY11" fmla="*/ 260438 h 267778"/>
                <a:gd name="connsiteX12" fmla="*/ 237917 w 289613"/>
                <a:gd name="connsiteY12" fmla="*/ 260438 h 267778"/>
                <a:gd name="connsiteX13" fmla="*/ 236623 w 289613"/>
                <a:gd name="connsiteY13" fmla="*/ 259943 h 267778"/>
                <a:gd name="connsiteX14" fmla="*/ 229152 w 289613"/>
                <a:gd name="connsiteY14" fmla="*/ 253415 h 267778"/>
                <a:gd name="connsiteX15" fmla="*/ 222417 w 289613"/>
                <a:gd name="connsiteY15" fmla="*/ 249910 h 267778"/>
                <a:gd name="connsiteX16" fmla="*/ 212079 w 289613"/>
                <a:gd name="connsiteY16" fmla="*/ 248386 h 267778"/>
                <a:gd name="connsiteX17" fmla="*/ 203720 w 289613"/>
                <a:gd name="connsiteY17" fmla="*/ 251624 h 267778"/>
                <a:gd name="connsiteX18" fmla="*/ 199141 w 289613"/>
                <a:gd name="connsiteY18" fmla="*/ 253021 h 267778"/>
                <a:gd name="connsiteX19" fmla="*/ 193205 w 289613"/>
                <a:gd name="connsiteY19" fmla="*/ 250100 h 267778"/>
                <a:gd name="connsiteX20" fmla="*/ 185696 w 289613"/>
                <a:gd name="connsiteY20" fmla="*/ 250811 h 267778"/>
                <a:gd name="connsiteX21" fmla="*/ 177388 w 289613"/>
                <a:gd name="connsiteY21" fmla="*/ 258558 h 267778"/>
                <a:gd name="connsiteX22" fmla="*/ 170424 w 289613"/>
                <a:gd name="connsiteY22" fmla="*/ 259320 h 267778"/>
                <a:gd name="connsiteX23" fmla="*/ 171718 w 289613"/>
                <a:gd name="connsiteY23" fmla="*/ 252653 h 267778"/>
                <a:gd name="connsiteX24" fmla="*/ 164310 w 289613"/>
                <a:gd name="connsiteY24" fmla="*/ 247624 h 267778"/>
                <a:gd name="connsiteX25" fmla="*/ 157435 w 289613"/>
                <a:gd name="connsiteY25" fmla="*/ 241947 h 267778"/>
                <a:gd name="connsiteX26" fmla="*/ 150916 w 289613"/>
                <a:gd name="connsiteY26" fmla="*/ 248741 h 267778"/>
                <a:gd name="connsiteX27" fmla="*/ 146286 w 289613"/>
                <a:gd name="connsiteY27" fmla="*/ 248970 h 267778"/>
                <a:gd name="connsiteX28" fmla="*/ 143229 w 289613"/>
                <a:gd name="connsiteY28" fmla="*/ 244563 h 267778"/>
                <a:gd name="connsiteX29" fmla="*/ 143229 w 289613"/>
                <a:gd name="connsiteY29" fmla="*/ 244512 h 267778"/>
                <a:gd name="connsiteX30" fmla="*/ 140401 w 289613"/>
                <a:gd name="connsiteY30" fmla="*/ 237984 h 267778"/>
                <a:gd name="connsiteX31" fmla="*/ 133615 w 289613"/>
                <a:gd name="connsiteY31" fmla="*/ 229895 h 267778"/>
                <a:gd name="connsiteX32" fmla="*/ 125979 w 289613"/>
                <a:gd name="connsiteY32" fmla="*/ 226288 h 267778"/>
                <a:gd name="connsiteX33" fmla="*/ 119015 w 289613"/>
                <a:gd name="connsiteY33" fmla="*/ 222694 h 267778"/>
                <a:gd name="connsiteX34" fmla="*/ 111189 w 289613"/>
                <a:gd name="connsiteY34" fmla="*/ 221068 h 267778"/>
                <a:gd name="connsiteX35" fmla="*/ 108310 w 289613"/>
                <a:gd name="connsiteY35" fmla="*/ 215442 h 267778"/>
                <a:gd name="connsiteX36" fmla="*/ 107282 w 289613"/>
                <a:gd name="connsiteY36" fmla="*/ 212343 h 267778"/>
                <a:gd name="connsiteX37" fmla="*/ 96399 w 289613"/>
                <a:gd name="connsiteY37" fmla="*/ 208292 h 267778"/>
                <a:gd name="connsiteX38" fmla="*/ 87051 w 289613"/>
                <a:gd name="connsiteY38" fmla="*/ 204609 h 267778"/>
                <a:gd name="connsiteX39" fmla="*/ 88992 w 289613"/>
                <a:gd name="connsiteY39" fmla="*/ 213512 h 267778"/>
                <a:gd name="connsiteX40" fmla="*/ 82966 w 289613"/>
                <a:gd name="connsiteY40" fmla="*/ 218642 h 267778"/>
                <a:gd name="connsiteX41" fmla="*/ 75737 w 289613"/>
                <a:gd name="connsiteY41" fmla="*/ 213245 h 267778"/>
                <a:gd name="connsiteX42" fmla="*/ 67644 w 289613"/>
                <a:gd name="connsiteY42" fmla="*/ 207263 h 267778"/>
                <a:gd name="connsiteX43" fmla="*/ 72769 w 289613"/>
                <a:gd name="connsiteY43" fmla="*/ 200647 h 267778"/>
                <a:gd name="connsiteX44" fmla="*/ 69179 w 289613"/>
                <a:gd name="connsiteY44" fmla="*/ 195884 h 267778"/>
                <a:gd name="connsiteX45" fmla="*/ 61670 w 289613"/>
                <a:gd name="connsiteY45" fmla="*/ 195071 h 267778"/>
                <a:gd name="connsiteX46" fmla="*/ 53045 w 289613"/>
                <a:gd name="connsiteY46" fmla="*/ 189712 h 267778"/>
                <a:gd name="connsiteX47" fmla="*/ 43874 w 289613"/>
                <a:gd name="connsiteY47" fmla="*/ 189445 h 267778"/>
                <a:gd name="connsiteX48" fmla="*/ 38623 w 289613"/>
                <a:gd name="connsiteY48" fmla="*/ 181927 h 267778"/>
                <a:gd name="connsiteX49" fmla="*/ 33498 w 289613"/>
                <a:gd name="connsiteY49" fmla="*/ 178282 h 267778"/>
                <a:gd name="connsiteX50" fmla="*/ 29630 w 289613"/>
                <a:gd name="connsiteY50" fmla="*/ 185305 h 267778"/>
                <a:gd name="connsiteX51" fmla="*/ 27791 w 289613"/>
                <a:gd name="connsiteY51" fmla="*/ 187337 h 267778"/>
                <a:gd name="connsiteX52" fmla="*/ 29135 w 289613"/>
                <a:gd name="connsiteY52" fmla="*/ 171360 h 267778"/>
                <a:gd name="connsiteX53" fmla="*/ 26167 w 289613"/>
                <a:gd name="connsiteY53" fmla="*/ 133921 h 267778"/>
                <a:gd name="connsiteX54" fmla="*/ 18392 w 289613"/>
                <a:gd name="connsiteY54" fmla="*/ 103908 h 267778"/>
                <a:gd name="connsiteX55" fmla="*/ 11973 w 289613"/>
                <a:gd name="connsiteY55" fmla="*/ 65391 h 267778"/>
                <a:gd name="connsiteX56" fmla="*/ 11923 w 289613"/>
                <a:gd name="connsiteY56" fmla="*/ 52342 h 267778"/>
                <a:gd name="connsiteX57" fmla="*/ 21905 w 289613"/>
                <a:gd name="connsiteY57" fmla="*/ 58692 h 267778"/>
                <a:gd name="connsiteX58" fmla="*/ 22704 w 289613"/>
                <a:gd name="connsiteY58" fmla="*/ 50638 h 267778"/>
                <a:gd name="connsiteX59" fmla="*/ 17313 w 289613"/>
                <a:gd name="connsiteY59" fmla="*/ 44288 h 267778"/>
                <a:gd name="connsiteX60" fmla="*/ 15880 w 289613"/>
                <a:gd name="connsiteY60" fmla="*/ 47034 h 267778"/>
                <a:gd name="connsiteX61" fmla="*/ -26 w 289613"/>
                <a:gd name="connsiteY61" fmla="*/ 46043 h 267778"/>
                <a:gd name="connsiteX62" fmla="*/ 2308 w 289613"/>
                <a:gd name="connsiteY62" fmla="*/ 39788 h 267778"/>
                <a:gd name="connsiteX63" fmla="*/ 6532 w 289613"/>
                <a:gd name="connsiteY63" fmla="*/ 40550 h 267778"/>
                <a:gd name="connsiteX64" fmla="*/ 131737 w 289613"/>
                <a:gd name="connsiteY64" fmla="*/ 3339 h 267778"/>
                <a:gd name="connsiteX65" fmla="*/ 146882 w 289613"/>
                <a:gd name="connsiteY65" fmla="*/ 22868 h 267778"/>
                <a:gd name="connsiteX66" fmla="*/ 163689 w 289613"/>
                <a:gd name="connsiteY66" fmla="*/ 17693 h 267778"/>
                <a:gd name="connsiteX67" fmla="*/ 249878 w 289613"/>
                <a:gd name="connsiteY67" fmla="*/ 21023 h 267778"/>
                <a:gd name="connsiteX68" fmla="*/ 258288 w 289613"/>
                <a:gd name="connsiteY68" fmla="*/ 21157 h 267778"/>
                <a:gd name="connsiteX69" fmla="*/ 265391 w 289613"/>
                <a:gd name="connsiteY69" fmla="*/ 25972 h 267778"/>
                <a:gd name="connsiteX70" fmla="*/ 273889 w 289613"/>
                <a:gd name="connsiteY70" fmla="*/ 36816 h 267778"/>
                <a:gd name="connsiteX71" fmla="*/ 275639 w 289613"/>
                <a:gd name="connsiteY71" fmla="*/ 44602 h 267778"/>
                <a:gd name="connsiteX72" fmla="*/ 278925 w 289613"/>
                <a:gd name="connsiteY72" fmla="*/ 58685 h 267778"/>
                <a:gd name="connsiteX73" fmla="*/ 284937 w 289613"/>
                <a:gd name="connsiteY73" fmla="*/ 87752 h 267778"/>
                <a:gd name="connsiteX74" fmla="*/ 280320 w 289613"/>
                <a:gd name="connsiteY74" fmla="*/ 101976 h 267778"/>
                <a:gd name="connsiteX75" fmla="*/ 270933 w 289613"/>
                <a:gd name="connsiteY75" fmla="*/ 115475 h 267778"/>
                <a:gd name="connsiteX76" fmla="*/ 273623 w 289613"/>
                <a:gd name="connsiteY76" fmla="*/ 125818 h 267778"/>
                <a:gd name="connsiteX77" fmla="*/ 276819 w 289613"/>
                <a:gd name="connsiteY77" fmla="*/ 139140 h 267778"/>
                <a:gd name="connsiteX78" fmla="*/ 276058 w 289613"/>
                <a:gd name="connsiteY78" fmla="*/ 148640 h 267778"/>
                <a:gd name="connsiteX79" fmla="*/ 276362 w 289613"/>
                <a:gd name="connsiteY79" fmla="*/ 154076 h 267778"/>
                <a:gd name="connsiteX80" fmla="*/ 288679 w 289613"/>
                <a:gd name="connsiteY80" fmla="*/ 182790 h 267778"/>
                <a:gd name="connsiteX81" fmla="*/ 287981 w 289613"/>
                <a:gd name="connsiteY81" fmla="*/ 200011 h 267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289613" h="267778">
                  <a:moveTo>
                    <a:pt x="287981" y="200011"/>
                  </a:moveTo>
                  <a:cubicBezTo>
                    <a:pt x="286091" y="205726"/>
                    <a:pt x="282946" y="207250"/>
                    <a:pt x="277732" y="211657"/>
                  </a:cubicBezTo>
                  <a:cubicBezTo>
                    <a:pt x="268333" y="221449"/>
                    <a:pt x="259619" y="231876"/>
                    <a:pt x="251666" y="242887"/>
                  </a:cubicBezTo>
                  <a:cubicBezTo>
                    <a:pt x="250017" y="248500"/>
                    <a:pt x="250094" y="254469"/>
                    <a:pt x="251895" y="260032"/>
                  </a:cubicBezTo>
                  <a:cubicBezTo>
                    <a:pt x="253518" y="267093"/>
                    <a:pt x="256169" y="267588"/>
                    <a:pt x="254546" y="267588"/>
                  </a:cubicBezTo>
                  <a:cubicBezTo>
                    <a:pt x="252884" y="267588"/>
                    <a:pt x="250956" y="268719"/>
                    <a:pt x="248571" y="265480"/>
                  </a:cubicBezTo>
                  <a:cubicBezTo>
                    <a:pt x="247404" y="263905"/>
                    <a:pt x="247087" y="263550"/>
                    <a:pt x="246237" y="263321"/>
                  </a:cubicBezTo>
                  <a:cubicBezTo>
                    <a:pt x="244423" y="262927"/>
                    <a:pt x="242648" y="262369"/>
                    <a:pt x="240935" y="261657"/>
                  </a:cubicBezTo>
                  <a:cubicBezTo>
                    <a:pt x="239413" y="261022"/>
                    <a:pt x="238589" y="260705"/>
                    <a:pt x="238234" y="260527"/>
                  </a:cubicBezTo>
                  <a:lnTo>
                    <a:pt x="238196" y="260527"/>
                  </a:lnTo>
                  <a:lnTo>
                    <a:pt x="238094" y="260489"/>
                  </a:lnTo>
                  <a:lnTo>
                    <a:pt x="237967" y="260438"/>
                  </a:lnTo>
                  <a:lnTo>
                    <a:pt x="237917" y="260438"/>
                  </a:lnTo>
                  <a:cubicBezTo>
                    <a:pt x="237650" y="260349"/>
                    <a:pt x="237245" y="260209"/>
                    <a:pt x="236623" y="259943"/>
                  </a:cubicBezTo>
                  <a:cubicBezTo>
                    <a:pt x="232260" y="258241"/>
                    <a:pt x="232792" y="257784"/>
                    <a:pt x="229152" y="253415"/>
                  </a:cubicBezTo>
                  <a:cubicBezTo>
                    <a:pt x="225511" y="249110"/>
                    <a:pt x="225017" y="252247"/>
                    <a:pt x="222417" y="249910"/>
                  </a:cubicBezTo>
                  <a:cubicBezTo>
                    <a:pt x="219854" y="247611"/>
                    <a:pt x="217609" y="249465"/>
                    <a:pt x="212079" y="248386"/>
                  </a:cubicBezTo>
                  <a:cubicBezTo>
                    <a:pt x="206599" y="247255"/>
                    <a:pt x="207449" y="249237"/>
                    <a:pt x="203720" y="251624"/>
                  </a:cubicBezTo>
                  <a:cubicBezTo>
                    <a:pt x="200042" y="254012"/>
                    <a:pt x="203276" y="253517"/>
                    <a:pt x="199141" y="253021"/>
                  </a:cubicBezTo>
                  <a:cubicBezTo>
                    <a:pt x="195006" y="252526"/>
                    <a:pt x="198329" y="253428"/>
                    <a:pt x="193205" y="250100"/>
                  </a:cubicBezTo>
                  <a:cubicBezTo>
                    <a:pt x="188081" y="246722"/>
                    <a:pt x="190592" y="251269"/>
                    <a:pt x="185696" y="250811"/>
                  </a:cubicBezTo>
                  <a:cubicBezTo>
                    <a:pt x="180749" y="250316"/>
                    <a:pt x="181244" y="252970"/>
                    <a:pt x="177388" y="258558"/>
                  </a:cubicBezTo>
                  <a:cubicBezTo>
                    <a:pt x="173481" y="264134"/>
                    <a:pt x="177388" y="258558"/>
                    <a:pt x="170424" y="259320"/>
                  </a:cubicBezTo>
                  <a:cubicBezTo>
                    <a:pt x="163460" y="260044"/>
                    <a:pt x="170602" y="256209"/>
                    <a:pt x="171718" y="252653"/>
                  </a:cubicBezTo>
                  <a:cubicBezTo>
                    <a:pt x="172809" y="249059"/>
                    <a:pt x="172035" y="250138"/>
                    <a:pt x="164310" y="247624"/>
                  </a:cubicBezTo>
                  <a:cubicBezTo>
                    <a:pt x="156624" y="245147"/>
                    <a:pt x="161393" y="244017"/>
                    <a:pt x="157435" y="241947"/>
                  </a:cubicBezTo>
                  <a:cubicBezTo>
                    <a:pt x="153427" y="239877"/>
                    <a:pt x="154873" y="244601"/>
                    <a:pt x="150916" y="248741"/>
                  </a:cubicBezTo>
                  <a:cubicBezTo>
                    <a:pt x="146920" y="252844"/>
                    <a:pt x="149077" y="249910"/>
                    <a:pt x="146286" y="248970"/>
                  </a:cubicBezTo>
                  <a:cubicBezTo>
                    <a:pt x="144079" y="248246"/>
                    <a:pt x="144485" y="246494"/>
                    <a:pt x="143229" y="244563"/>
                  </a:cubicBezTo>
                  <a:lnTo>
                    <a:pt x="143229" y="244512"/>
                  </a:lnTo>
                  <a:cubicBezTo>
                    <a:pt x="144663" y="243077"/>
                    <a:pt x="141428" y="240778"/>
                    <a:pt x="140401" y="237984"/>
                  </a:cubicBezTo>
                  <a:cubicBezTo>
                    <a:pt x="139145" y="234708"/>
                    <a:pt x="135238" y="233895"/>
                    <a:pt x="133615" y="229895"/>
                  </a:cubicBezTo>
                  <a:cubicBezTo>
                    <a:pt x="131991" y="225932"/>
                    <a:pt x="132130" y="228269"/>
                    <a:pt x="125979" y="226288"/>
                  </a:cubicBezTo>
                  <a:cubicBezTo>
                    <a:pt x="119776" y="224269"/>
                    <a:pt x="124710" y="225792"/>
                    <a:pt x="119015" y="222694"/>
                  </a:cubicBezTo>
                  <a:cubicBezTo>
                    <a:pt x="113345" y="219544"/>
                    <a:pt x="113168" y="224357"/>
                    <a:pt x="111189" y="221068"/>
                  </a:cubicBezTo>
                  <a:cubicBezTo>
                    <a:pt x="109210" y="217830"/>
                    <a:pt x="107371" y="220801"/>
                    <a:pt x="108310" y="215442"/>
                  </a:cubicBezTo>
                  <a:cubicBezTo>
                    <a:pt x="109261" y="210044"/>
                    <a:pt x="110606" y="211441"/>
                    <a:pt x="107282" y="212343"/>
                  </a:cubicBezTo>
                  <a:cubicBezTo>
                    <a:pt x="103997" y="213245"/>
                    <a:pt x="101080" y="211708"/>
                    <a:pt x="96399" y="208292"/>
                  </a:cubicBezTo>
                  <a:cubicBezTo>
                    <a:pt x="91731" y="204914"/>
                    <a:pt x="93431" y="203301"/>
                    <a:pt x="87051" y="204609"/>
                  </a:cubicBezTo>
                  <a:cubicBezTo>
                    <a:pt x="80671" y="205866"/>
                    <a:pt x="91326" y="209740"/>
                    <a:pt x="88992" y="213512"/>
                  </a:cubicBezTo>
                  <a:cubicBezTo>
                    <a:pt x="86658" y="217296"/>
                    <a:pt x="86074" y="215455"/>
                    <a:pt x="82966" y="218642"/>
                  </a:cubicBezTo>
                  <a:cubicBezTo>
                    <a:pt x="79910" y="221792"/>
                    <a:pt x="78071" y="217169"/>
                    <a:pt x="75737" y="213245"/>
                  </a:cubicBezTo>
                  <a:cubicBezTo>
                    <a:pt x="74278" y="209968"/>
                    <a:pt x="71208" y="207695"/>
                    <a:pt x="67644" y="207263"/>
                  </a:cubicBezTo>
                  <a:cubicBezTo>
                    <a:pt x="63154" y="206184"/>
                    <a:pt x="68900" y="202945"/>
                    <a:pt x="72769" y="200647"/>
                  </a:cubicBezTo>
                  <a:cubicBezTo>
                    <a:pt x="76586" y="198399"/>
                    <a:pt x="72946" y="197268"/>
                    <a:pt x="69179" y="195884"/>
                  </a:cubicBezTo>
                  <a:cubicBezTo>
                    <a:pt x="65399" y="194487"/>
                    <a:pt x="66706" y="196062"/>
                    <a:pt x="61670" y="195071"/>
                  </a:cubicBezTo>
                  <a:cubicBezTo>
                    <a:pt x="56634" y="194030"/>
                    <a:pt x="57624" y="193852"/>
                    <a:pt x="53045" y="189712"/>
                  </a:cubicBezTo>
                  <a:cubicBezTo>
                    <a:pt x="48415" y="185622"/>
                    <a:pt x="50127" y="189712"/>
                    <a:pt x="43874" y="189445"/>
                  </a:cubicBezTo>
                  <a:cubicBezTo>
                    <a:pt x="37621" y="189178"/>
                    <a:pt x="42618" y="187108"/>
                    <a:pt x="38623" y="181927"/>
                  </a:cubicBezTo>
                  <a:cubicBezTo>
                    <a:pt x="34576" y="176758"/>
                    <a:pt x="37494" y="178688"/>
                    <a:pt x="33498" y="178282"/>
                  </a:cubicBezTo>
                  <a:cubicBezTo>
                    <a:pt x="29503" y="177875"/>
                    <a:pt x="31291" y="181838"/>
                    <a:pt x="29630" y="185305"/>
                  </a:cubicBezTo>
                  <a:cubicBezTo>
                    <a:pt x="29046" y="186524"/>
                    <a:pt x="28513" y="187197"/>
                    <a:pt x="27791" y="187337"/>
                  </a:cubicBezTo>
                  <a:cubicBezTo>
                    <a:pt x="28539" y="182041"/>
                    <a:pt x="28983" y="176707"/>
                    <a:pt x="29135" y="171360"/>
                  </a:cubicBezTo>
                  <a:cubicBezTo>
                    <a:pt x="28780" y="169062"/>
                    <a:pt x="27245" y="142112"/>
                    <a:pt x="26167" y="133921"/>
                  </a:cubicBezTo>
                  <a:cubicBezTo>
                    <a:pt x="25089" y="125729"/>
                    <a:pt x="20370" y="112412"/>
                    <a:pt x="18392" y="103908"/>
                  </a:cubicBezTo>
                  <a:cubicBezTo>
                    <a:pt x="16413" y="95404"/>
                    <a:pt x="13178" y="75606"/>
                    <a:pt x="11973" y="65391"/>
                  </a:cubicBezTo>
                  <a:cubicBezTo>
                    <a:pt x="11339" y="61066"/>
                    <a:pt x="11326" y="56672"/>
                    <a:pt x="11923" y="52342"/>
                  </a:cubicBezTo>
                  <a:cubicBezTo>
                    <a:pt x="15956" y="53070"/>
                    <a:pt x="19533" y="55350"/>
                    <a:pt x="21905" y="58692"/>
                  </a:cubicBezTo>
                  <a:cubicBezTo>
                    <a:pt x="23884" y="55362"/>
                    <a:pt x="17313" y="52393"/>
                    <a:pt x="22704" y="50638"/>
                  </a:cubicBezTo>
                  <a:cubicBezTo>
                    <a:pt x="22577" y="44288"/>
                    <a:pt x="19964" y="48793"/>
                    <a:pt x="17313" y="44288"/>
                  </a:cubicBezTo>
                  <a:cubicBezTo>
                    <a:pt x="13724" y="44063"/>
                    <a:pt x="18214" y="46494"/>
                    <a:pt x="15880" y="47034"/>
                  </a:cubicBezTo>
                  <a:cubicBezTo>
                    <a:pt x="12557" y="46448"/>
                    <a:pt x="3881" y="46719"/>
                    <a:pt x="-26" y="46043"/>
                  </a:cubicBezTo>
                  <a:cubicBezTo>
                    <a:pt x="3881" y="45774"/>
                    <a:pt x="3069" y="42398"/>
                    <a:pt x="2308" y="39788"/>
                  </a:cubicBezTo>
                  <a:cubicBezTo>
                    <a:pt x="5276" y="41768"/>
                    <a:pt x="6532" y="41499"/>
                    <a:pt x="6532" y="40550"/>
                  </a:cubicBezTo>
                  <a:cubicBezTo>
                    <a:pt x="49633" y="47789"/>
                    <a:pt x="93900" y="-14885"/>
                    <a:pt x="131737" y="3339"/>
                  </a:cubicBezTo>
                  <a:cubicBezTo>
                    <a:pt x="129847" y="7614"/>
                    <a:pt x="136316" y="24533"/>
                    <a:pt x="146882" y="22868"/>
                  </a:cubicBezTo>
                  <a:cubicBezTo>
                    <a:pt x="152996" y="24115"/>
                    <a:pt x="159326" y="22166"/>
                    <a:pt x="163689" y="17693"/>
                  </a:cubicBezTo>
                  <a:cubicBezTo>
                    <a:pt x="181434" y="18683"/>
                    <a:pt x="243675" y="22148"/>
                    <a:pt x="249878" y="21023"/>
                  </a:cubicBezTo>
                  <a:cubicBezTo>
                    <a:pt x="257070" y="19673"/>
                    <a:pt x="252668" y="21069"/>
                    <a:pt x="258288" y="21157"/>
                  </a:cubicBezTo>
                  <a:cubicBezTo>
                    <a:pt x="263856" y="21203"/>
                    <a:pt x="263590" y="24892"/>
                    <a:pt x="265391" y="25972"/>
                  </a:cubicBezTo>
                  <a:cubicBezTo>
                    <a:pt x="269285" y="28611"/>
                    <a:pt x="272253" y="32403"/>
                    <a:pt x="273889" y="36816"/>
                  </a:cubicBezTo>
                  <a:cubicBezTo>
                    <a:pt x="274612" y="39376"/>
                    <a:pt x="275208" y="41975"/>
                    <a:pt x="275639" y="44602"/>
                  </a:cubicBezTo>
                  <a:cubicBezTo>
                    <a:pt x="276299" y="49388"/>
                    <a:pt x="277390" y="54102"/>
                    <a:pt x="278925" y="58685"/>
                  </a:cubicBezTo>
                  <a:cubicBezTo>
                    <a:pt x="282514" y="67976"/>
                    <a:pt x="284544" y="77797"/>
                    <a:pt x="284937" y="87752"/>
                  </a:cubicBezTo>
                  <a:cubicBezTo>
                    <a:pt x="285165" y="92898"/>
                    <a:pt x="283529" y="97950"/>
                    <a:pt x="280320" y="101976"/>
                  </a:cubicBezTo>
                  <a:cubicBezTo>
                    <a:pt x="276692" y="106111"/>
                    <a:pt x="273547" y="110639"/>
                    <a:pt x="270933" y="115475"/>
                  </a:cubicBezTo>
                  <a:cubicBezTo>
                    <a:pt x="267014" y="122453"/>
                    <a:pt x="268765" y="123443"/>
                    <a:pt x="273623" y="125818"/>
                  </a:cubicBezTo>
                  <a:cubicBezTo>
                    <a:pt x="278519" y="128206"/>
                    <a:pt x="278836" y="133514"/>
                    <a:pt x="276819" y="139140"/>
                  </a:cubicBezTo>
                  <a:cubicBezTo>
                    <a:pt x="275665" y="142176"/>
                    <a:pt x="275398" y="145465"/>
                    <a:pt x="276058" y="148640"/>
                  </a:cubicBezTo>
                  <a:cubicBezTo>
                    <a:pt x="276185" y="150075"/>
                    <a:pt x="276324" y="151790"/>
                    <a:pt x="276362" y="154076"/>
                  </a:cubicBezTo>
                  <a:cubicBezTo>
                    <a:pt x="279216" y="164134"/>
                    <a:pt x="283364" y="173786"/>
                    <a:pt x="288679" y="182790"/>
                  </a:cubicBezTo>
                  <a:cubicBezTo>
                    <a:pt x="290099" y="188480"/>
                    <a:pt x="289845" y="194449"/>
                    <a:pt x="287981" y="200011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7" name="Vrije vorm 306">
              <a:extLst>
                <a:ext uri="{FF2B5EF4-FFF2-40B4-BE49-F238E27FC236}">
                  <a16:creationId xmlns:a16="http://schemas.microsoft.com/office/drawing/2014/main" id="{D24523BB-736B-934E-A036-1BC25E32FC9A}"/>
                </a:ext>
              </a:extLst>
            </p:cNvPr>
            <p:cNvSpPr/>
            <p:nvPr/>
          </p:nvSpPr>
          <p:spPr>
            <a:xfrm>
              <a:off x="5652140" y="2751772"/>
              <a:ext cx="22577" cy="32532"/>
            </a:xfrm>
            <a:custGeom>
              <a:avLst/>
              <a:gdLst>
                <a:gd name="connsiteX0" fmla="*/ 21901 w 22577"/>
                <a:gd name="connsiteY0" fmla="*/ 21743 h 32532"/>
                <a:gd name="connsiteX1" fmla="*/ 16827 w 22577"/>
                <a:gd name="connsiteY1" fmla="*/ 30785 h 32532"/>
                <a:gd name="connsiteX2" fmla="*/ 10891 w 22577"/>
                <a:gd name="connsiteY2" fmla="*/ 32093 h 32532"/>
                <a:gd name="connsiteX3" fmla="*/ 2710 w 22577"/>
                <a:gd name="connsiteY3" fmla="*/ 30341 h 32532"/>
                <a:gd name="connsiteX4" fmla="*/ 1631 w 22577"/>
                <a:gd name="connsiteY4" fmla="*/ 30112 h 32532"/>
                <a:gd name="connsiteX5" fmla="*/ 2849 w 22577"/>
                <a:gd name="connsiteY5" fmla="*/ 28499 h 32532"/>
                <a:gd name="connsiteX6" fmla="*/ 2266 w 22577"/>
                <a:gd name="connsiteY6" fmla="*/ 21248 h 32532"/>
                <a:gd name="connsiteX7" fmla="*/ 1594 w 22577"/>
                <a:gd name="connsiteY7" fmla="*/ 20752 h 32532"/>
                <a:gd name="connsiteX8" fmla="*/ 604 w 22577"/>
                <a:gd name="connsiteY8" fmla="*/ 9957 h 32532"/>
                <a:gd name="connsiteX9" fmla="*/ 8735 w 22577"/>
                <a:gd name="connsiteY9" fmla="*/ 509 h 32532"/>
                <a:gd name="connsiteX10" fmla="*/ 13859 w 22577"/>
                <a:gd name="connsiteY10" fmla="*/ 6185 h 32532"/>
                <a:gd name="connsiteX11" fmla="*/ 14316 w 22577"/>
                <a:gd name="connsiteY11" fmla="*/ 11354 h 32532"/>
                <a:gd name="connsiteX12" fmla="*/ 19529 w 22577"/>
                <a:gd name="connsiteY12" fmla="*/ 15990 h 32532"/>
                <a:gd name="connsiteX13" fmla="*/ 21901 w 22577"/>
                <a:gd name="connsiteY13" fmla="*/ 21743 h 32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577" h="32532">
                  <a:moveTo>
                    <a:pt x="21901" y="21743"/>
                  </a:moveTo>
                  <a:cubicBezTo>
                    <a:pt x="20556" y="24588"/>
                    <a:pt x="18616" y="27191"/>
                    <a:pt x="16827" y="30785"/>
                  </a:cubicBezTo>
                  <a:cubicBezTo>
                    <a:pt x="12426" y="28677"/>
                    <a:pt x="15077" y="30696"/>
                    <a:pt x="10891" y="32093"/>
                  </a:cubicBezTo>
                  <a:cubicBezTo>
                    <a:pt x="6578" y="33541"/>
                    <a:pt x="6261" y="31014"/>
                    <a:pt x="2710" y="30341"/>
                  </a:cubicBezTo>
                  <a:cubicBezTo>
                    <a:pt x="2355" y="30290"/>
                    <a:pt x="1987" y="30214"/>
                    <a:pt x="1631" y="30112"/>
                  </a:cubicBezTo>
                  <a:cubicBezTo>
                    <a:pt x="1974" y="29528"/>
                    <a:pt x="2380" y="28982"/>
                    <a:pt x="2849" y="28499"/>
                  </a:cubicBezTo>
                  <a:cubicBezTo>
                    <a:pt x="4688" y="26328"/>
                    <a:pt x="4422" y="23089"/>
                    <a:pt x="2266" y="21248"/>
                  </a:cubicBezTo>
                  <a:cubicBezTo>
                    <a:pt x="2050" y="21070"/>
                    <a:pt x="1835" y="20905"/>
                    <a:pt x="1594" y="20752"/>
                  </a:cubicBezTo>
                  <a:cubicBezTo>
                    <a:pt x="-1730" y="18009"/>
                    <a:pt x="1187" y="14364"/>
                    <a:pt x="604" y="9957"/>
                  </a:cubicBezTo>
                  <a:cubicBezTo>
                    <a:pt x="-30" y="5550"/>
                    <a:pt x="6312" y="3303"/>
                    <a:pt x="8735" y="509"/>
                  </a:cubicBezTo>
                  <a:cubicBezTo>
                    <a:pt x="10625" y="-1650"/>
                    <a:pt x="12921" y="3620"/>
                    <a:pt x="13859" y="6185"/>
                  </a:cubicBezTo>
                  <a:cubicBezTo>
                    <a:pt x="12832" y="7989"/>
                    <a:pt x="12058" y="9195"/>
                    <a:pt x="14316" y="11354"/>
                  </a:cubicBezTo>
                  <a:cubicBezTo>
                    <a:pt x="18083" y="14961"/>
                    <a:pt x="17449" y="12802"/>
                    <a:pt x="19529" y="15990"/>
                  </a:cubicBezTo>
                  <a:cubicBezTo>
                    <a:pt x="21635" y="19228"/>
                    <a:pt x="23613" y="18149"/>
                    <a:pt x="21901" y="21743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8" name="Vrije vorm 307">
              <a:extLst>
                <a:ext uri="{FF2B5EF4-FFF2-40B4-BE49-F238E27FC236}">
                  <a16:creationId xmlns:a16="http://schemas.microsoft.com/office/drawing/2014/main" id="{3208B573-673E-B545-971A-47977DD0E708}"/>
                </a:ext>
              </a:extLst>
            </p:cNvPr>
            <p:cNvSpPr/>
            <p:nvPr/>
          </p:nvSpPr>
          <p:spPr>
            <a:xfrm>
              <a:off x="5659135" y="2531261"/>
              <a:ext cx="252836" cy="343765"/>
            </a:xfrm>
            <a:custGeom>
              <a:avLst/>
              <a:gdLst>
                <a:gd name="connsiteX0" fmla="*/ 251466 w 252836"/>
                <a:gd name="connsiteY0" fmla="*/ 192317 h 343765"/>
                <a:gd name="connsiteX1" fmla="*/ 244642 w 252836"/>
                <a:gd name="connsiteY1" fmla="*/ 188393 h 343765"/>
                <a:gd name="connsiteX2" fmla="*/ 240367 w 252836"/>
                <a:gd name="connsiteY2" fmla="*/ 181878 h 343765"/>
                <a:gd name="connsiteX3" fmla="*/ 235649 w 252836"/>
                <a:gd name="connsiteY3" fmla="*/ 184392 h 343765"/>
                <a:gd name="connsiteX4" fmla="*/ 232097 w 252836"/>
                <a:gd name="connsiteY4" fmla="*/ 191149 h 343765"/>
                <a:gd name="connsiteX5" fmla="*/ 224677 w 252836"/>
                <a:gd name="connsiteY5" fmla="*/ 194832 h 343765"/>
                <a:gd name="connsiteX6" fmla="*/ 213046 w 252836"/>
                <a:gd name="connsiteY6" fmla="*/ 200547 h 343765"/>
                <a:gd name="connsiteX7" fmla="*/ 197089 w 252836"/>
                <a:gd name="connsiteY7" fmla="*/ 207202 h 343765"/>
                <a:gd name="connsiteX8" fmla="*/ 183517 w 252836"/>
                <a:gd name="connsiteY8" fmla="*/ 212612 h 343765"/>
                <a:gd name="connsiteX9" fmla="*/ 178620 w 252836"/>
                <a:gd name="connsiteY9" fmla="*/ 218962 h 343765"/>
                <a:gd name="connsiteX10" fmla="*/ 184823 w 252836"/>
                <a:gd name="connsiteY10" fmla="*/ 232589 h 343765"/>
                <a:gd name="connsiteX11" fmla="*/ 187918 w 252836"/>
                <a:gd name="connsiteY11" fmla="*/ 249010 h 343765"/>
                <a:gd name="connsiteX12" fmla="*/ 204141 w 252836"/>
                <a:gd name="connsiteY12" fmla="*/ 263094 h 343765"/>
                <a:gd name="connsiteX13" fmla="*/ 213895 w 252836"/>
                <a:gd name="connsiteY13" fmla="*/ 272594 h 343765"/>
                <a:gd name="connsiteX14" fmla="*/ 222837 w 252836"/>
                <a:gd name="connsiteY14" fmla="*/ 278042 h 343765"/>
                <a:gd name="connsiteX15" fmla="*/ 222749 w 252836"/>
                <a:gd name="connsiteY15" fmla="*/ 283529 h 343765"/>
                <a:gd name="connsiteX16" fmla="*/ 222482 w 252836"/>
                <a:gd name="connsiteY16" fmla="*/ 289460 h 343765"/>
                <a:gd name="connsiteX17" fmla="*/ 215113 w 252836"/>
                <a:gd name="connsiteY17" fmla="*/ 290183 h 343765"/>
                <a:gd name="connsiteX18" fmla="*/ 208010 w 252836"/>
                <a:gd name="connsiteY18" fmla="*/ 298604 h 343765"/>
                <a:gd name="connsiteX19" fmla="*/ 193448 w 252836"/>
                <a:gd name="connsiteY19" fmla="*/ 309894 h 343765"/>
                <a:gd name="connsiteX20" fmla="*/ 202036 w 252836"/>
                <a:gd name="connsiteY20" fmla="*/ 328385 h 343765"/>
                <a:gd name="connsiteX21" fmla="*/ 200095 w 252836"/>
                <a:gd name="connsiteY21" fmla="*/ 337567 h 343765"/>
                <a:gd name="connsiteX22" fmla="*/ 191520 w 252836"/>
                <a:gd name="connsiteY22" fmla="*/ 328791 h 343765"/>
                <a:gd name="connsiteX23" fmla="*/ 180282 w 252836"/>
                <a:gd name="connsiteY23" fmla="*/ 328156 h 343765"/>
                <a:gd name="connsiteX24" fmla="*/ 170173 w 252836"/>
                <a:gd name="connsiteY24" fmla="*/ 331484 h 343765"/>
                <a:gd name="connsiteX25" fmla="*/ 157311 w 252836"/>
                <a:gd name="connsiteY25" fmla="*/ 336030 h 343765"/>
                <a:gd name="connsiteX26" fmla="*/ 145997 w 252836"/>
                <a:gd name="connsiteY26" fmla="*/ 340755 h 343765"/>
                <a:gd name="connsiteX27" fmla="*/ 140783 w 252836"/>
                <a:gd name="connsiteY27" fmla="*/ 335853 h 343765"/>
                <a:gd name="connsiteX28" fmla="*/ 131791 w 252836"/>
                <a:gd name="connsiteY28" fmla="*/ 333516 h 343765"/>
                <a:gd name="connsiteX29" fmla="*/ 125994 w 252836"/>
                <a:gd name="connsiteY29" fmla="*/ 339142 h 343765"/>
                <a:gd name="connsiteX30" fmla="*/ 121187 w 252836"/>
                <a:gd name="connsiteY30" fmla="*/ 343409 h 343765"/>
                <a:gd name="connsiteX31" fmla="*/ 115073 w 252836"/>
                <a:gd name="connsiteY31" fmla="*/ 337110 h 343765"/>
                <a:gd name="connsiteX32" fmla="*/ 108325 w 252836"/>
                <a:gd name="connsiteY32" fmla="*/ 334506 h 343765"/>
                <a:gd name="connsiteX33" fmla="*/ 103606 w 252836"/>
                <a:gd name="connsiteY33" fmla="*/ 337110 h 343765"/>
                <a:gd name="connsiteX34" fmla="*/ 99700 w 252836"/>
                <a:gd name="connsiteY34" fmla="*/ 332970 h 343765"/>
                <a:gd name="connsiteX35" fmla="*/ 85772 w 252836"/>
                <a:gd name="connsiteY35" fmla="*/ 330176 h 343765"/>
                <a:gd name="connsiteX36" fmla="*/ 76018 w 252836"/>
                <a:gd name="connsiteY36" fmla="*/ 325324 h 343765"/>
                <a:gd name="connsiteX37" fmla="*/ 71528 w 252836"/>
                <a:gd name="connsiteY37" fmla="*/ 330277 h 343765"/>
                <a:gd name="connsiteX38" fmla="*/ 65643 w 252836"/>
                <a:gd name="connsiteY38" fmla="*/ 332703 h 343765"/>
                <a:gd name="connsiteX39" fmla="*/ 53415 w 252836"/>
                <a:gd name="connsiteY39" fmla="*/ 332119 h 343765"/>
                <a:gd name="connsiteX40" fmla="*/ 47035 w 252836"/>
                <a:gd name="connsiteY40" fmla="*/ 333236 h 343765"/>
                <a:gd name="connsiteX41" fmla="*/ 44612 w 252836"/>
                <a:gd name="connsiteY41" fmla="*/ 322086 h 343765"/>
                <a:gd name="connsiteX42" fmla="*/ 50764 w 252836"/>
                <a:gd name="connsiteY42" fmla="*/ 304128 h 343765"/>
                <a:gd name="connsiteX43" fmla="*/ 58362 w 252836"/>
                <a:gd name="connsiteY43" fmla="*/ 283249 h 343765"/>
                <a:gd name="connsiteX44" fmla="*/ 58362 w 252836"/>
                <a:gd name="connsiteY44" fmla="*/ 271375 h 343765"/>
                <a:gd name="connsiteX45" fmla="*/ 50764 w 252836"/>
                <a:gd name="connsiteY45" fmla="*/ 270244 h 343765"/>
                <a:gd name="connsiteX46" fmla="*/ 43433 w 252836"/>
                <a:gd name="connsiteY46" fmla="*/ 266968 h 343765"/>
                <a:gd name="connsiteX47" fmla="*/ 36926 w 252836"/>
                <a:gd name="connsiteY47" fmla="*/ 267679 h 343765"/>
                <a:gd name="connsiteX48" fmla="*/ 30266 w 252836"/>
                <a:gd name="connsiteY48" fmla="*/ 264580 h 343765"/>
                <a:gd name="connsiteX49" fmla="*/ 22313 w 252836"/>
                <a:gd name="connsiteY49" fmla="*/ 264580 h 343765"/>
                <a:gd name="connsiteX50" fmla="*/ 15350 w 252836"/>
                <a:gd name="connsiteY50" fmla="*/ 254052 h 343765"/>
                <a:gd name="connsiteX51" fmla="*/ 10276 w 252836"/>
                <a:gd name="connsiteY51" fmla="*/ 251525 h 343765"/>
                <a:gd name="connsiteX52" fmla="*/ 9832 w 252836"/>
                <a:gd name="connsiteY52" fmla="*/ 251309 h 343765"/>
                <a:gd name="connsiteX53" fmla="*/ 14906 w 252836"/>
                <a:gd name="connsiteY53" fmla="*/ 242254 h 343765"/>
                <a:gd name="connsiteX54" fmla="*/ 12521 w 252836"/>
                <a:gd name="connsiteY54" fmla="*/ 236501 h 343765"/>
                <a:gd name="connsiteX55" fmla="*/ 7308 w 252836"/>
                <a:gd name="connsiteY55" fmla="*/ 231865 h 343765"/>
                <a:gd name="connsiteX56" fmla="*/ 6851 w 252836"/>
                <a:gd name="connsiteY56" fmla="*/ 226696 h 343765"/>
                <a:gd name="connsiteX57" fmla="*/ 8564 w 252836"/>
                <a:gd name="connsiteY57" fmla="*/ 221870 h 343765"/>
                <a:gd name="connsiteX58" fmla="*/ 11481 w 252836"/>
                <a:gd name="connsiteY58" fmla="*/ 215088 h 343765"/>
                <a:gd name="connsiteX59" fmla="*/ 10581 w 252836"/>
                <a:gd name="connsiteY59" fmla="*/ 208776 h 343765"/>
                <a:gd name="connsiteX60" fmla="*/ 7308 w 252836"/>
                <a:gd name="connsiteY60" fmla="*/ 203201 h 343765"/>
                <a:gd name="connsiteX61" fmla="*/ 2310 w 252836"/>
                <a:gd name="connsiteY61" fmla="*/ 198159 h 343765"/>
                <a:gd name="connsiteX62" fmla="*/ 4200 w 252836"/>
                <a:gd name="connsiteY62" fmla="*/ 192355 h 343765"/>
                <a:gd name="connsiteX63" fmla="*/ 344 w 252836"/>
                <a:gd name="connsiteY63" fmla="*/ 186920 h 343765"/>
                <a:gd name="connsiteX64" fmla="*/ 4872 w 252836"/>
                <a:gd name="connsiteY64" fmla="*/ 178144 h 343765"/>
                <a:gd name="connsiteX65" fmla="*/ 4657 w 252836"/>
                <a:gd name="connsiteY65" fmla="*/ 171032 h 343765"/>
                <a:gd name="connsiteX66" fmla="*/ 4200 w 252836"/>
                <a:gd name="connsiteY66" fmla="*/ 158205 h 343765"/>
                <a:gd name="connsiteX67" fmla="*/ 344 w 252836"/>
                <a:gd name="connsiteY67" fmla="*/ 148439 h 343765"/>
                <a:gd name="connsiteX68" fmla="*/ 6407 w 252836"/>
                <a:gd name="connsiteY68" fmla="*/ 146902 h 343765"/>
                <a:gd name="connsiteX69" fmla="*/ 22313 w 252836"/>
                <a:gd name="connsiteY69" fmla="*/ 139892 h 343765"/>
                <a:gd name="connsiteX70" fmla="*/ 29239 w 252836"/>
                <a:gd name="connsiteY70" fmla="*/ 124779 h 343765"/>
                <a:gd name="connsiteX71" fmla="*/ 27121 w 252836"/>
                <a:gd name="connsiteY71" fmla="*/ 118745 h 343765"/>
                <a:gd name="connsiteX72" fmla="*/ 24292 w 252836"/>
                <a:gd name="connsiteY72" fmla="*/ 110961 h 343765"/>
                <a:gd name="connsiteX73" fmla="*/ 30266 w 252836"/>
                <a:gd name="connsiteY73" fmla="*/ 108891 h 343765"/>
                <a:gd name="connsiteX74" fmla="*/ 34668 w 252836"/>
                <a:gd name="connsiteY74" fmla="*/ 95167 h 343765"/>
                <a:gd name="connsiteX75" fmla="*/ 35835 w 252836"/>
                <a:gd name="connsiteY75" fmla="*/ 80004 h 343765"/>
                <a:gd name="connsiteX76" fmla="*/ 37775 w 252836"/>
                <a:gd name="connsiteY76" fmla="*/ 77259 h 343765"/>
                <a:gd name="connsiteX77" fmla="*/ 62979 w 252836"/>
                <a:gd name="connsiteY77" fmla="*/ 65470 h 343765"/>
                <a:gd name="connsiteX78" fmla="*/ 65097 w 252836"/>
                <a:gd name="connsiteY78" fmla="*/ 67315 h 343765"/>
                <a:gd name="connsiteX79" fmla="*/ 72289 w 252836"/>
                <a:gd name="connsiteY79" fmla="*/ 68754 h 343765"/>
                <a:gd name="connsiteX80" fmla="*/ 98089 w 252836"/>
                <a:gd name="connsiteY80" fmla="*/ 52691 h 343765"/>
                <a:gd name="connsiteX81" fmla="*/ 86800 w 252836"/>
                <a:gd name="connsiteY81" fmla="*/ 43062 h 343765"/>
                <a:gd name="connsiteX82" fmla="*/ 82538 w 252836"/>
                <a:gd name="connsiteY82" fmla="*/ 33252 h 343765"/>
                <a:gd name="connsiteX83" fmla="*/ 78263 w 252836"/>
                <a:gd name="connsiteY83" fmla="*/ 27178 h 343765"/>
                <a:gd name="connsiteX84" fmla="*/ 87028 w 252836"/>
                <a:gd name="connsiteY84" fmla="*/ 21959 h 343765"/>
                <a:gd name="connsiteX85" fmla="*/ 78035 w 252836"/>
                <a:gd name="connsiteY85" fmla="*/ 8776 h 343765"/>
                <a:gd name="connsiteX86" fmla="*/ 77236 w 252836"/>
                <a:gd name="connsiteY86" fmla="*/ 1 h 343765"/>
                <a:gd name="connsiteX87" fmla="*/ 80597 w 252836"/>
                <a:gd name="connsiteY87" fmla="*/ 720 h 343765"/>
                <a:gd name="connsiteX88" fmla="*/ 90668 w 252836"/>
                <a:gd name="connsiteY88" fmla="*/ 3195 h 343765"/>
                <a:gd name="connsiteX89" fmla="*/ 101095 w 252836"/>
                <a:gd name="connsiteY89" fmla="*/ 2611 h 343765"/>
                <a:gd name="connsiteX90" fmla="*/ 99256 w 252836"/>
                <a:gd name="connsiteY90" fmla="*/ 5085 h 343765"/>
                <a:gd name="connsiteX91" fmla="*/ 110709 w 252836"/>
                <a:gd name="connsiteY91" fmla="*/ 21149 h 343765"/>
                <a:gd name="connsiteX92" fmla="*/ 144145 w 252836"/>
                <a:gd name="connsiteY92" fmla="*/ 26188 h 343765"/>
                <a:gd name="connsiteX93" fmla="*/ 153316 w 252836"/>
                <a:gd name="connsiteY93" fmla="*/ 46572 h 343765"/>
                <a:gd name="connsiteX94" fmla="*/ 158351 w 252836"/>
                <a:gd name="connsiteY94" fmla="*/ 42793 h 343765"/>
                <a:gd name="connsiteX95" fmla="*/ 175196 w 252836"/>
                <a:gd name="connsiteY95" fmla="*/ 39822 h 343765"/>
                <a:gd name="connsiteX96" fmla="*/ 183022 w 252836"/>
                <a:gd name="connsiteY96" fmla="*/ 27854 h 343765"/>
                <a:gd name="connsiteX97" fmla="*/ 188768 w 252836"/>
                <a:gd name="connsiteY97" fmla="*/ 26684 h 343765"/>
                <a:gd name="connsiteX98" fmla="*/ 211777 w 252836"/>
                <a:gd name="connsiteY98" fmla="*/ 36177 h 343765"/>
                <a:gd name="connsiteX99" fmla="*/ 220631 w 252836"/>
                <a:gd name="connsiteY99" fmla="*/ 36403 h 343765"/>
                <a:gd name="connsiteX100" fmla="*/ 223370 w 252836"/>
                <a:gd name="connsiteY100" fmla="*/ 42880 h 343765"/>
                <a:gd name="connsiteX101" fmla="*/ 222292 w 252836"/>
                <a:gd name="connsiteY101" fmla="*/ 43421 h 343765"/>
                <a:gd name="connsiteX102" fmla="*/ 223687 w 252836"/>
                <a:gd name="connsiteY102" fmla="*/ 43871 h 343765"/>
                <a:gd name="connsiteX103" fmla="*/ 223243 w 252836"/>
                <a:gd name="connsiteY103" fmla="*/ 51025 h 343765"/>
                <a:gd name="connsiteX104" fmla="*/ 235598 w 252836"/>
                <a:gd name="connsiteY104" fmla="*/ 57324 h 343765"/>
                <a:gd name="connsiteX105" fmla="*/ 235649 w 252836"/>
                <a:gd name="connsiteY105" fmla="*/ 70373 h 343765"/>
                <a:gd name="connsiteX106" fmla="*/ 242067 w 252836"/>
                <a:gd name="connsiteY106" fmla="*/ 108890 h 343765"/>
                <a:gd name="connsiteX107" fmla="*/ 249842 w 252836"/>
                <a:gd name="connsiteY107" fmla="*/ 138901 h 343765"/>
                <a:gd name="connsiteX108" fmla="*/ 252810 w 252836"/>
                <a:gd name="connsiteY108" fmla="*/ 176341 h 343765"/>
                <a:gd name="connsiteX109" fmla="*/ 251466 w 252836"/>
                <a:gd name="connsiteY109" fmla="*/ 192317 h 343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</a:cxnLst>
              <a:rect l="l" t="t" r="r" b="b"/>
              <a:pathLst>
                <a:path w="252836" h="343765">
                  <a:moveTo>
                    <a:pt x="251466" y="192317"/>
                  </a:moveTo>
                  <a:cubicBezTo>
                    <a:pt x="250159" y="192673"/>
                    <a:pt x="248282" y="191238"/>
                    <a:pt x="244642" y="188393"/>
                  </a:cubicBezTo>
                  <a:cubicBezTo>
                    <a:pt x="239022" y="184126"/>
                    <a:pt x="243881" y="184304"/>
                    <a:pt x="240367" y="181878"/>
                  </a:cubicBezTo>
                  <a:cubicBezTo>
                    <a:pt x="236904" y="179401"/>
                    <a:pt x="237767" y="182411"/>
                    <a:pt x="235649" y="184392"/>
                  </a:cubicBezTo>
                  <a:cubicBezTo>
                    <a:pt x="233543" y="186323"/>
                    <a:pt x="234621" y="187898"/>
                    <a:pt x="232097" y="191149"/>
                  </a:cubicBezTo>
                  <a:cubicBezTo>
                    <a:pt x="229535" y="194425"/>
                    <a:pt x="229129" y="193117"/>
                    <a:pt x="224677" y="194832"/>
                  </a:cubicBezTo>
                  <a:cubicBezTo>
                    <a:pt x="220237" y="196584"/>
                    <a:pt x="217853" y="199696"/>
                    <a:pt x="213046" y="200547"/>
                  </a:cubicBezTo>
                  <a:cubicBezTo>
                    <a:pt x="208187" y="201398"/>
                    <a:pt x="203380" y="206617"/>
                    <a:pt x="197089" y="207202"/>
                  </a:cubicBezTo>
                  <a:cubicBezTo>
                    <a:pt x="192116" y="207583"/>
                    <a:pt x="187385" y="209462"/>
                    <a:pt x="183517" y="212612"/>
                  </a:cubicBezTo>
                  <a:cubicBezTo>
                    <a:pt x="176731" y="216612"/>
                    <a:pt x="177859" y="213285"/>
                    <a:pt x="178620" y="218962"/>
                  </a:cubicBezTo>
                  <a:cubicBezTo>
                    <a:pt x="179344" y="224626"/>
                    <a:pt x="183922" y="223991"/>
                    <a:pt x="184823" y="232589"/>
                  </a:cubicBezTo>
                  <a:cubicBezTo>
                    <a:pt x="185762" y="241136"/>
                    <a:pt x="185673" y="236323"/>
                    <a:pt x="187918" y="249010"/>
                  </a:cubicBezTo>
                  <a:cubicBezTo>
                    <a:pt x="190176" y="261697"/>
                    <a:pt x="197850" y="255855"/>
                    <a:pt x="204141" y="263094"/>
                  </a:cubicBezTo>
                  <a:cubicBezTo>
                    <a:pt x="210394" y="270346"/>
                    <a:pt x="210128" y="271057"/>
                    <a:pt x="213895" y="272594"/>
                  </a:cubicBezTo>
                  <a:cubicBezTo>
                    <a:pt x="217053" y="274093"/>
                    <a:pt x="220047" y="275921"/>
                    <a:pt x="222837" y="278042"/>
                  </a:cubicBezTo>
                  <a:cubicBezTo>
                    <a:pt x="222837" y="278042"/>
                    <a:pt x="222837" y="280557"/>
                    <a:pt x="222749" y="283529"/>
                  </a:cubicBezTo>
                  <a:cubicBezTo>
                    <a:pt x="222711" y="285510"/>
                    <a:pt x="222609" y="287669"/>
                    <a:pt x="222482" y="289460"/>
                  </a:cubicBezTo>
                  <a:cubicBezTo>
                    <a:pt x="222076" y="294006"/>
                    <a:pt x="218030" y="291225"/>
                    <a:pt x="215113" y="290183"/>
                  </a:cubicBezTo>
                  <a:cubicBezTo>
                    <a:pt x="212145" y="289193"/>
                    <a:pt x="211244" y="297791"/>
                    <a:pt x="208010" y="298604"/>
                  </a:cubicBezTo>
                  <a:cubicBezTo>
                    <a:pt x="202315" y="301118"/>
                    <a:pt x="197317" y="305004"/>
                    <a:pt x="193448" y="309894"/>
                  </a:cubicBezTo>
                  <a:cubicBezTo>
                    <a:pt x="188730" y="315698"/>
                    <a:pt x="198484" y="322899"/>
                    <a:pt x="202036" y="328385"/>
                  </a:cubicBezTo>
                  <a:cubicBezTo>
                    <a:pt x="205587" y="333871"/>
                    <a:pt x="203203" y="336310"/>
                    <a:pt x="200095" y="337567"/>
                  </a:cubicBezTo>
                  <a:cubicBezTo>
                    <a:pt x="196949" y="338824"/>
                    <a:pt x="195554" y="334913"/>
                    <a:pt x="191520" y="328791"/>
                  </a:cubicBezTo>
                  <a:cubicBezTo>
                    <a:pt x="187423" y="322632"/>
                    <a:pt x="186802" y="327356"/>
                    <a:pt x="180282" y="328156"/>
                  </a:cubicBezTo>
                  <a:cubicBezTo>
                    <a:pt x="173813" y="328918"/>
                    <a:pt x="176680" y="331751"/>
                    <a:pt x="170173" y="331484"/>
                  </a:cubicBezTo>
                  <a:cubicBezTo>
                    <a:pt x="163653" y="331166"/>
                    <a:pt x="163209" y="334862"/>
                    <a:pt x="157311" y="336030"/>
                  </a:cubicBezTo>
                  <a:cubicBezTo>
                    <a:pt x="151387" y="337161"/>
                    <a:pt x="153455" y="338329"/>
                    <a:pt x="145997" y="340755"/>
                  </a:cubicBezTo>
                  <a:cubicBezTo>
                    <a:pt x="138526" y="343142"/>
                    <a:pt x="143295" y="340399"/>
                    <a:pt x="140783" y="335853"/>
                  </a:cubicBezTo>
                  <a:cubicBezTo>
                    <a:pt x="138259" y="331357"/>
                    <a:pt x="139211" y="334811"/>
                    <a:pt x="131791" y="333516"/>
                  </a:cubicBezTo>
                  <a:cubicBezTo>
                    <a:pt x="124370" y="332208"/>
                    <a:pt x="130129" y="334913"/>
                    <a:pt x="125994" y="339142"/>
                  </a:cubicBezTo>
                  <a:cubicBezTo>
                    <a:pt x="121859" y="343358"/>
                    <a:pt x="126260" y="341606"/>
                    <a:pt x="121187" y="343409"/>
                  </a:cubicBezTo>
                  <a:cubicBezTo>
                    <a:pt x="116151" y="345251"/>
                    <a:pt x="119296" y="339498"/>
                    <a:pt x="115073" y="337110"/>
                  </a:cubicBezTo>
                  <a:cubicBezTo>
                    <a:pt x="110849" y="334684"/>
                    <a:pt x="111255" y="334367"/>
                    <a:pt x="108325" y="334506"/>
                  </a:cubicBezTo>
                  <a:cubicBezTo>
                    <a:pt x="106473" y="334722"/>
                    <a:pt x="104786" y="335649"/>
                    <a:pt x="103606" y="337110"/>
                  </a:cubicBezTo>
                  <a:cubicBezTo>
                    <a:pt x="103302" y="335484"/>
                    <a:pt x="101945" y="334773"/>
                    <a:pt x="99700" y="332970"/>
                  </a:cubicBezTo>
                  <a:cubicBezTo>
                    <a:pt x="95970" y="329960"/>
                    <a:pt x="93548" y="329553"/>
                    <a:pt x="85772" y="330176"/>
                  </a:cubicBezTo>
                  <a:cubicBezTo>
                    <a:pt x="78035" y="330849"/>
                    <a:pt x="83210" y="325540"/>
                    <a:pt x="76018" y="325324"/>
                  </a:cubicBezTo>
                  <a:cubicBezTo>
                    <a:pt x="68877" y="325045"/>
                    <a:pt x="74623" y="329274"/>
                    <a:pt x="71528" y="330277"/>
                  </a:cubicBezTo>
                  <a:cubicBezTo>
                    <a:pt x="68382" y="331217"/>
                    <a:pt x="68610" y="332703"/>
                    <a:pt x="65643" y="332703"/>
                  </a:cubicBezTo>
                  <a:cubicBezTo>
                    <a:pt x="62725" y="332741"/>
                    <a:pt x="61634" y="332474"/>
                    <a:pt x="53415" y="332119"/>
                  </a:cubicBezTo>
                  <a:cubicBezTo>
                    <a:pt x="51233" y="331941"/>
                    <a:pt x="49026" y="332335"/>
                    <a:pt x="47035" y="333236"/>
                  </a:cubicBezTo>
                  <a:cubicBezTo>
                    <a:pt x="45944" y="329591"/>
                    <a:pt x="45132" y="325858"/>
                    <a:pt x="44612" y="322086"/>
                  </a:cubicBezTo>
                  <a:cubicBezTo>
                    <a:pt x="43889" y="316053"/>
                    <a:pt x="48557" y="310199"/>
                    <a:pt x="50764" y="304128"/>
                  </a:cubicBezTo>
                  <a:cubicBezTo>
                    <a:pt x="53009" y="298007"/>
                    <a:pt x="56789" y="289460"/>
                    <a:pt x="58362" y="283249"/>
                  </a:cubicBezTo>
                  <a:cubicBezTo>
                    <a:pt x="59630" y="279388"/>
                    <a:pt x="59630" y="275236"/>
                    <a:pt x="58362" y="271375"/>
                  </a:cubicBezTo>
                  <a:cubicBezTo>
                    <a:pt x="57461" y="266561"/>
                    <a:pt x="55711" y="269432"/>
                    <a:pt x="50764" y="270244"/>
                  </a:cubicBezTo>
                  <a:cubicBezTo>
                    <a:pt x="45868" y="271095"/>
                    <a:pt x="48202" y="269800"/>
                    <a:pt x="43433" y="266968"/>
                  </a:cubicBezTo>
                  <a:cubicBezTo>
                    <a:pt x="38625" y="264085"/>
                    <a:pt x="41771" y="266193"/>
                    <a:pt x="36926" y="267679"/>
                  </a:cubicBezTo>
                  <a:cubicBezTo>
                    <a:pt x="32068" y="269165"/>
                    <a:pt x="35708" y="266917"/>
                    <a:pt x="30266" y="264580"/>
                  </a:cubicBezTo>
                  <a:cubicBezTo>
                    <a:pt x="24875" y="262193"/>
                    <a:pt x="28199" y="265114"/>
                    <a:pt x="22313" y="264580"/>
                  </a:cubicBezTo>
                  <a:cubicBezTo>
                    <a:pt x="16428" y="263996"/>
                    <a:pt x="20334" y="259399"/>
                    <a:pt x="15350" y="254052"/>
                  </a:cubicBezTo>
                  <a:cubicBezTo>
                    <a:pt x="10365" y="248693"/>
                    <a:pt x="15350" y="254052"/>
                    <a:pt x="10276" y="251525"/>
                  </a:cubicBezTo>
                  <a:cubicBezTo>
                    <a:pt x="10137" y="251436"/>
                    <a:pt x="9959" y="251398"/>
                    <a:pt x="9832" y="251309"/>
                  </a:cubicBezTo>
                  <a:cubicBezTo>
                    <a:pt x="11621" y="247702"/>
                    <a:pt x="13561" y="245098"/>
                    <a:pt x="14906" y="242254"/>
                  </a:cubicBezTo>
                  <a:cubicBezTo>
                    <a:pt x="16606" y="238660"/>
                    <a:pt x="14627" y="239739"/>
                    <a:pt x="12521" y="236501"/>
                  </a:cubicBezTo>
                  <a:cubicBezTo>
                    <a:pt x="10454" y="233300"/>
                    <a:pt x="11088" y="235459"/>
                    <a:pt x="7308" y="231865"/>
                  </a:cubicBezTo>
                  <a:cubicBezTo>
                    <a:pt x="5063" y="229706"/>
                    <a:pt x="5824" y="228487"/>
                    <a:pt x="6851" y="226696"/>
                  </a:cubicBezTo>
                  <a:cubicBezTo>
                    <a:pt x="7828" y="225261"/>
                    <a:pt x="8424" y="223597"/>
                    <a:pt x="8564" y="221870"/>
                  </a:cubicBezTo>
                  <a:cubicBezTo>
                    <a:pt x="8932" y="216523"/>
                    <a:pt x="8564" y="221870"/>
                    <a:pt x="11481" y="215088"/>
                  </a:cubicBezTo>
                  <a:cubicBezTo>
                    <a:pt x="14449" y="208281"/>
                    <a:pt x="11747" y="212205"/>
                    <a:pt x="10581" y="208776"/>
                  </a:cubicBezTo>
                  <a:cubicBezTo>
                    <a:pt x="9464" y="205322"/>
                    <a:pt x="7841" y="206490"/>
                    <a:pt x="7308" y="203201"/>
                  </a:cubicBezTo>
                  <a:cubicBezTo>
                    <a:pt x="6763" y="200140"/>
                    <a:pt x="5786" y="200052"/>
                    <a:pt x="2310" y="198159"/>
                  </a:cubicBezTo>
                  <a:cubicBezTo>
                    <a:pt x="3211" y="196330"/>
                    <a:pt x="3845" y="194375"/>
                    <a:pt x="4200" y="192355"/>
                  </a:cubicBezTo>
                  <a:cubicBezTo>
                    <a:pt x="4479" y="189663"/>
                    <a:pt x="1410" y="188266"/>
                    <a:pt x="344" y="186920"/>
                  </a:cubicBezTo>
                  <a:cubicBezTo>
                    <a:pt x="-696" y="185561"/>
                    <a:pt x="344" y="183224"/>
                    <a:pt x="4872" y="178144"/>
                  </a:cubicBezTo>
                  <a:cubicBezTo>
                    <a:pt x="9376" y="173013"/>
                    <a:pt x="6040" y="175756"/>
                    <a:pt x="4657" y="171032"/>
                  </a:cubicBezTo>
                  <a:cubicBezTo>
                    <a:pt x="3211" y="166346"/>
                    <a:pt x="4289" y="165355"/>
                    <a:pt x="4200" y="158205"/>
                  </a:cubicBezTo>
                  <a:cubicBezTo>
                    <a:pt x="4111" y="151042"/>
                    <a:pt x="1055" y="152490"/>
                    <a:pt x="344" y="148439"/>
                  </a:cubicBezTo>
                  <a:cubicBezTo>
                    <a:pt x="-341" y="144349"/>
                    <a:pt x="1422" y="147131"/>
                    <a:pt x="6407" y="146902"/>
                  </a:cubicBezTo>
                  <a:cubicBezTo>
                    <a:pt x="11354" y="146724"/>
                    <a:pt x="14271" y="144248"/>
                    <a:pt x="22313" y="139892"/>
                  </a:cubicBezTo>
                  <a:cubicBezTo>
                    <a:pt x="30355" y="135523"/>
                    <a:pt x="27844" y="127471"/>
                    <a:pt x="29239" y="124779"/>
                  </a:cubicBezTo>
                  <a:cubicBezTo>
                    <a:pt x="30621" y="122080"/>
                    <a:pt x="29645" y="120320"/>
                    <a:pt x="27121" y="118745"/>
                  </a:cubicBezTo>
                  <a:cubicBezTo>
                    <a:pt x="24558" y="117170"/>
                    <a:pt x="24292" y="116000"/>
                    <a:pt x="24292" y="110961"/>
                  </a:cubicBezTo>
                  <a:cubicBezTo>
                    <a:pt x="24292" y="105881"/>
                    <a:pt x="30000" y="109564"/>
                    <a:pt x="30266" y="108891"/>
                  </a:cubicBezTo>
                  <a:cubicBezTo>
                    <a:pt x="30583" y="108217"/>
                    <a:pt x="33552" y="99577"/>
                    <a:pt x="34668" y="95167"/>
                  </a:cubicBezTo>
                  <a:cubicBezTo>
                    <a:pt x="35708" y="90183"/>
                    <a:pt x="36101" y="85087"/>
                    <a:pt x="35835" y="80004"/>
                  </a:cubicBezTo>
                  <a:cubicBezTo>
                    <a:pt x="36596" y="79241"/>
                    <a:pt x="37014" y="77845"/>
                    <a:pt x="37775" y="77259"/>
                  </a:cubicBezTo>
                  <a:cubicBezTo>
                    <a:pt x="13599" y="70645"/>
                    <a:pt x="56104" y="45537"/>
                    <a:pt x="62979" y="65470"/>
                  </a:cubicBezTo>
                  <a:cubicBezTo>
                    <a:pt x="54531" y="75999"/>
                    <a:pt x="74585" y="71544"/>
                    <a:pt x="65097" y="67315"/>
                  </a:cubicBezTo>
                  <a:cubicBezTo>
                    <a:pt x="67393" y="59576"/>
                    <a:pt x="70805" y="63632"/>
                    <a:pt x="72289" y="68754"/>
                  </a:cubicBezTo>
                  <a:cubicBezTo>
                    <a:pt x="70044" y="21149"/>
                    <a:pt x="124142" y="88373"/>
                    <a:pt x="98089" y="52691"/>
                  </a:cubicBezTo>
                  <a:cubicBezTo>
                    <a:pt x="93053" y="50216"/>
                    <a:pt x="74128" y="43916"/>
                    <a:pt x="86800" y="43062"/>
                  </a:cubicBezTo>
                  <a:cubicBezTo>
                    <a:pt x="90440" y="35322"/>
                    <a:pt x="78492" y="40362"/>
                    <a:pt x="82538" y="33252"/>
                  </a:cubicBezTo>
                  <a:cubicBezTo>
                    <a:pt x="94981" y="25153"/>
                    <a:pt x="67659" y="34963"/>
                    <a:pt x="78263" y="27178"/>
                  </a:cubicBezTo>
                  <a:cubicBezTo>
                    <a:pt x="72150" y="23713"/>
                    <a:pt x="84504" y="25828"/>
                    <a:pt x="87028" y="21959"/>
                  </a:cubicBezTo>
                  <a:cubicBezTo>
                    <a:pt x="85531" y="16709"/>
                    <a:pt x="82373" y="12084"/>
                    <a:pt x="78035" y="8776"/>
                  </a:cubicBezTo>
                  <a:cubicBezTo>
                    <a:pt x="77325" y="5909"/>
                    <a:pt x="77046" y="2950"/>
                    <a:pt x="77236" y="1"/>
                  </a:cubicBezTo>
                  <a:cubicBezTo>
                    <a:pt x="78365" y="166"/>
                    <a:pt x="79493" y="406"/>
                    <a:pt x="80597" y="720"/>
                  </a:cubicBezTo>
                  <a:cubicBezTo>
                    <a:pt x="83908" y="1719"/>
                    <a:pt x="87269" y="2545"/>
                    <a:pt x="90668" y="3195"/>
                  </a:cubicBezTo>
                  <a:cubicBezTo>
                    <a:pt x="98089" y="4816"/>
                    <a:pt x="96693" y="2296"/>
                    <a:pt x="101095" y="2611"/>
                  </a:cubicBezTo>
                  <a:cubicBezTo>
                    <a:pt x="100600" y="3285"/>
                    <a:pt x="99966" y="4096"/>
                    <a:pt x="99256" y="5085"/>
                  </a:cubicBezTo>
                  <a:cubicBezTo>
                    <a:pt x="109910" y="226"/>
                    <a:pt x="124954" y="15434"/>
                    <a:pt x="110709" y="21149"/>
                  </a:cubicBezTo>
                  <a:cubicBezTo>
                    <a:pt x="122848" y="19709"/>
                    <a:pt x="126983" y="31228"/>
                    <a:pt x="144145" y="26188"/>
                  </a:cubicBezTo>
                  <a:cubicBezTo>
                    <a:pt x="154711" y="31003"/>
                    <a:pt x="124015" y="47696"/>
                    <a:pt x="153316" y="46572"/>
                  </a:cubicBezTo>
                  <a:cubicBezTo>
                    <a:pt x="157184" y="51525"/>
                    <a:pt x="157273" y="45581"/>
                    <a:pt x="158351" y="42793"/>
                  </a:cubicBezTo>
                  <a:cubicBezTo>
                    <a:pt x="161624" y="39012"/>
                    <a:pt x="174168" y="30868"/>
                    <a:pt x="175196" y="39822"/>
                  </a:cubicBezTo>
                  <a:cubicBezTo>
                    <a:pt x="176857" y="23083"/>
                    <a:pt x="208999" y="17954"/>
                    <a:pt x="183022" y="27854"/>
                  </a:cubicBezTo>
                  <a:cubicBezTo>
                    <a:pt x="181310" y="38967"/>
                    <a:pt x="185939" y="25334"/>
                    <a:pt x="188768" y="26684"/>
                  </a:cubicBezTo>
                  <a:cubicBezTo>
                    <a:pt x="196327" y="20969"/>
                    <a:pt x="204408" y="29924"/>
                    <a:pt x="211777" y="36177"/>
                  </a:cubicBezTo>
                  <a:cubicBezTo>
                    <a:pt x="212728" y="43107"/>
                    <a:pt x="215240" y="36853"/>
                    <a:pt x="220631" y="36403"/>
                  </a:cubicBezTo>
                  <a:cubicBezTo>
                    <a:pt x="221392" y="38382"/>
                    <a:pt x="222520" y="40632"/>
                    <a:pt x="223370" y="42880"/>
                  </a:cubicBezTo>
                  <a:cubicBezTo>
                    <a:pt x="223002" y="43041"/>
                    <a:pt x="222647" y="43223"/>
                    <a:pt x="222292" y="43421"/>
                  </a:cubicBezTo>
                  <a:cubicBezTo>
                    <a:pt x="222749" y="43600"/>
                    <a:pt x="223243" y="43735"/>
                    <a:pt x="223687" y="43871"/>
                  </a:cubicBezTo>
                  <a:cubicBezTo>
                    <a:pt x="224677" y="46192"/>
                    <a:pt x="224512" y="48847"/>
                    <a:pt x="223243" y="51025"/>
                  </a:cubicBezTo>
                  <a:cubicBezTo>
                    <a:pt x="226288" y="54776"/>
                    <a:pt x="230778" y="57063"/>
                    <a:pt x="235598" y="57324"/>
                  </a:cubicBezTo>
                  <a:cubicBezTo>
                    <a:pt x="235002" y="61653"/>
                    <a:pt x="235014" y="66047"/>
                    <a:pt x="235649" y="70373"/>
                  </a:cubicBezTo>
                  <a:cubicBezTo>
                    <a:pt x="236854" y="80588"/>
                    <a:pt x="240088" y="100386"/>
                    <a:pt x="242067" y="108890"/>
                  </a:cubicBezTo>
                  <a:cubicBezTo>
                    <a:pt x="244046" y="117394"/>
                    <a:pt x="248764" y="130710"/>
                    <a:pt x="249842" y="138901"/>
                  </a:cubicBezTo>
                  <a:cubicBezTo>
                    <a:pt x="250920" y="147093"/>
                    <a:pt x="252455" y="174042"/>
                    <a:pt x="252810" y="176341"/>
                  </a:cubicBezTo>
                  <a:cubicBezTo>
                    <a:pt x="252671" y="181687"/>
                    <a:pt x="252214" y="187021"/>
                    <a:pt x="251466" y="192317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9" name="Vrije vorm 308">
              <a:extLst>
                <a:ext uri="{FF2B5EF4-FFF2-40B4-BE49-F238E27FC236}">
                  <a16:creationId xmlns:a16="http://schemas.microsoft.com/office/drawing/2014/main" id="{E2755770-751C-784D-B776-D30CCF5D8BC4}"/>
                </a:ext>
              </a:extLst>
            </p:cNvPr>
            <p:cNvSpPr/>
            <p:nvPr/>
          </p:nvSpPr>
          <p:spPr>
            <a:xfrm>
              <a:off x="6412921" y="2920252"/>
              <a:ext cx="116757" cy="73301"/>
            </a:xfrm>
            <a:custGeom>
              <a:avLst/>
              <a:gdLst>
                <a:gd name="connsiteX0" fmla="*/ 116732 w 116757"/>
                <a:gd name="connsiteY0" fmla="*/ 35812 h 73301"/>
                <a:gd name="connsiteX1" fmla="*/ 82839 w 116757"/>
                <a:gd name="connsiteY1" fmla="*/ 49045 h 73301"/>
                <a:gd name="connsiteX2" fmla="*/ 37950 w 116757"/>
                <a:gd name="connsiteY2" fmla="*/ 73303 h 73301"/>
                <a:gd name="connsiteX3" fmla="*/ 28424 w 116757"/>
                <a:gd name="connsiteY3" fmla="*/ 58088 h 73301"/>
                <a:gd name="connsiteX4" fmla="*/ -26 w 116757"/>
                <a:gd name="connsiteY4" fmla="*/ 35825 h 73301"/>
                <a:gd name="connsiteX5" fmla="*/ 29591 w 116757"/>
                <a:gd name="connsiteY5" fmla="*/ 5535 h 73301"/>
                <a:gd name="connsiteX6" fmla="*/ 23795 w 116757"/>
                <a:gd name="connsiteY6" fmla="*/ 5129 h 73301"/>
                <a:gd name="connsiteX7" fmla="*/ 33460 w 116757"/>
                <a:gd name="connsiteY7" fmla="*/ 176 h 73301"/>
                <a:gd name="connsiteX8" fmla="*/ 43430 w 116757"/>
                <a:gd name="connsiteY8" fmla="*/ 2919 h 73301"/>
                <a:gd name="connsiteX9" fmla="*/ 67073 w 116757"/>
                <a:gd name="connsiteY9" fmla="*/ 20115 h 73301"/>
                <a:gd name="connsiteX10" fmla="*/ 70079 w 116757"/>
                <a:gd name="connsiteY10" fmla="*/ 20750 h 73301"/>
                <a:gd name="connsiteX11" fmla="*/ 116732 w 116757"/>
                <a:gd name="connsiteY11" fmla="*/ 35812 h 73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6757" h="73301">
                  <a:moveTo>
                    <a:pt x="116732" y="35812"/>
                  </a:moveTo>
                  <a:cubicBezTo>
                    <a:pt x="104555" y="61149"/>
                    <a:pt x="85858" y="37654"/>
                    <a:pt x="82839" y="49045"/>
                  </a:cubicBezTo>
                  <a:cubicBezTo>
                    <a:pt x="67390" y="54176"/>
                    <a:pt x="52461" y="68032"/>
                    <a:pt x="37950" y="73303"/>
                  </a:cubicBezTo>
                  <a:cubicBezTo>
                    <a:pt x="15575" y="67181"/>
                    <a:pt x="32065" y="67130"/>
                    <a:pt x="28424" y="58088"/>
                  </a:cubicBezTo>
                  <a:cubicBezTo>
                    <a:pt x="39295" y="42530"/>
                    <a:pt x="11073" y="35228"/>
                    <a:pt x="-26" y="35825"/>
                  </a:cubicBezTo>
                  <a:cubicBezTo>
                    <a:pt x="5910" y="13600"/>
                    <a:pt x="47070" y="20166"/>
                    <a:pt x="29591" y="5535"/>
                  </a:cubicBezTo>
                  <a:cubicBezTo>
                    <a:pt x="26801" y="7974"/>
                    <a:pt x="25456" y="6437"/>
                    <a:pt x="23795" y="5129"/>
                  </a:cubicBezTo>
                  <a:cubicBezTo>
                    <a:pt x="26128" y="2259"/>
                    <a:pt x="29680" y="-764"/>
                    <a:pt x="33460" y="176"/>
                  </a:cubicBezTo>
                  <a:cubicBezTo>
                    <a:pt x="40284" y="1941"/>
                    <a:pt x="36732" y="-269"/>
                    <a:pt x="43430" y="2919"/>
                  </a:cubicBezTo>
                  <a:cubicBezTo>
                    <a:pt x="51712" y="8088"/>
                    <a:pt x="59615" y="13828"/>
                    <a:pt x="67073" y="20115"/>
                  </a:cubicBezTo>
                  <a:lnTo>
                    <a:pt x="70079" y="20750"/>
                  </a:lnTo>
                  <a:cubicBezTo>
                    <a:pt x="81140" y="52957"/>
                    <a:pt x="104999" y="19747"/>
                    <a:pt x="116732" y="35812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0" name="Vrije vorm 309">
              <a:extLst>
                <a:ext uri="{FF2B5EF4-FFF2-40B4-BE49-F238E27FC236}">
                  <a16:creationId xmlns:a16="http://schemas.microsoft.com/office/drawing/2014/main" id="{8420AD36-58C0-6F47-8C91-56C11C833018}"/>
                </a:ext>
              </a:extLst>
            </p:cNvPr>
            <p:cNvSpPr/>
            <p:nvPr/>
          </p:nvSpPr>
          <p:spPr>
            <a:xfrm>
              <a:off x="6066490" y="2835086"/>
              <a:ext cx="267839" cy="187457"/>
            </a:xfrm>
            <a:custGeom>
              <a:avLst/>
              <a:gdLst>
                <a:gd name="connsiteX0" fmla="*/ 267813 w 267839"/>
                <a:gd name="connsiteY0" fmla="*/ 124852 h 187457"/>
                <a:gd name="connsiteX1" fmla="*/ 246643 w 267839"/>
                <a:gd name="connsiteY1" fmla="*/ 146175 h 187457"/>
                <a:gd name="connsiteX2" fmla="*/ 249510 w 267839"/>
                <a:gd name="connsiteY2" fmla="*/ 139660 h 187457"/>
                <a:gd name="connsiteX3" fmla="*/ 246009 w 267839"/>
                <a:gd name="connsiteY3" fmla="*/ 134212 h 187457"/>
                <a:gd name="connsiteX4" fmla="*/ 240669 w 267839"/>
                <a:gd name="connsiteY4" fmla="*/ 147445 h 187457"/>
                <a:gd name="connsiteX5" fmla="*/ 243853 w 267839"/>
                <a:gd name="connsiteY5" fmla="*/ 145960 h 187457"/>
                <a:gd name="connsiteX6" fmla="*/ 239895 w 267839"/>
                <a:gd name="connsiteY6" fmla="*/ 155942 h 187457"/>
                <a:gd name="connsiteX7" fmla="*/ 234060 w 267839"/>
                <a:gd name="connsiteY7" fmla="*/ 185152 h 187457"/>
                <a:gd name="connsiteX8" fmla="*/ 225296 w 267839"/>
                <a:gd name="connsiteY8" fmla="*/ 184059 h 187457"/>
                <a:gd name="connsiteX9" fmla="*/ 215909 w 267839"/>
                <a:gd name="connsiteY9" fmla="*/ 174573 h 187457"/>
                <a:gd name="connsiteX10" fmla="*/ 204050 w 267839"/>
                <a:gd name="connsiteY10" fmla="*/ 172325 h 187457"/>
                <a:gd name="connsiteX11" fmla="*/ 195906 w 267839"/>
                <a:gd name="connsiteY11" fmla="*/ 167372 h 187457"/>
                <a:gd name="connsiteX12" fmla="*/ 184174 w 267839"/>
                <a:gd name="connsiteY12" fmla="*/ 168312 h 187457"/>
                <a:gd name="connsiteX13" fmla="*/ 164006 w 267839"/>
                <a:gd name="connsiteY13" fmla="*/ 174750 h 187457"/>
                <a:gd name="connsiteX14" fmla="*/ 147199 w 267839"/>
                <a:gd name="connsiteY14" fmla="*/ 187260 h 187457"/>
                <a:gd name="connsiteX15" fmla="*/ 126296 w 267839"/>
                <a:gd name="connsiteY15" fmla="*/ 184606 h 187457"/>
                <a:gd name="connsiteX16" fmla="*/ 103286 w 267839"/>
                <a:gd name="connsiteY16" fmla="*/ 182662 h 187457"/>
                <a:gd name="connsiteX17" fmla="*/ 85808 w 267839"/>
                <a:gd name="connsiteY17" fmla="*/ 178802 h 187457"/>
                <a:gd name="connsiteX18" fmla="*/ 74303 w 267839"/>
                <a:gd name="connsiteY18" fmla="*/ 180821 h 187457"/>
                <a:gd name="connsiteX19" fmla="*/ 71246 w 267839"/>
                <a:gd name="connsiteY19" fmla="*/ 169569 h 187457"/>
                <a:gd name="connsiteX20" fmla="*/ 67872 w 267839"/>
                <a:gd name="connsiteY20" fmla="*/ 165340 h 187457"/>
                <a:gd name="connsiteX21" fmla="*/ 62355 w 267839"/>
                <a:gd name="connsiteY21" fmla="*/ 154634 h 187457"/>
                <a:gd name="connsiteX22" fmla="*/ 64143 w 267839"/>
                <a:gd name="connsiteY22" fmla="*/ 147572 h 187457"/>
                <a:gd name="connsiteX23" fmla="*/ 60325 w 267839"/>
                <a:gd name="connsiteY23" fmla="*/ 145274 h 187457"/>
                <a:gd name="connsiteX24" fmla="*/ 49633 w 267839"/>
                <a:gd name="connsiteY24" fmla="*/ 151713 h 187457"/>
                <a:gd name="connsiteX25" fmla="*/ 44153 w 267839"/>
                <a:gd name="connsiteY25" fmla="*/ 146671 h 187457"/>
                <a:gd name="connsiteX26" fmla="*/ 41629 w 267839"/>
                <a:gd name="connsiteY26" fmla="*/ 144423 h 187457"/>
                <a:gd name="connsiteX27" fmla="*/ 39878 w 267839"/>
                <a:gd name="connsiteY27" fmla="*/ 143381 h 187457"/>
                <a:gd name="connsiteX28" fmla="*/ 31075 w 267839"/>
                <a:gd name="connsiteY28" fmla="*/ 139787 h 187457"/>
                <a:gd name="connsiteX29" fmla="*/ 27562 w 267839"/>
                <a:gd name="connsiteY29" fmla="*/ 135647 h 187457"/>
                <a:gd name="connsiteX30" fmla="*/ 30479 w 267839"/>
                <a:gd name="connsiteY30" fmla="*/ 129704 h 187457"/>
                <a:gd name="connsiteX31" fmla="*/ 26167 w 267839"/>
                <a:gd name="connsiteY31" fmla="*/ 124852 h 187457"/>
                <a:gd name="connsiteX32" fmla="*/ 14041 w 267839"/>
                <a:gd name="connsiteY32" fmla="*/ 116839 h 187457"/>
                <a:gd name="connsiteX33" fmla="*/ 13229 w 267839"/>
                <a:gd name="connsiteY33" fmla="*/ 103745 h 187457"/>
                <a:gd name="connsiteX34" fmla="*/ 4236 w 267839"/>
                <a:gd name="connsiteY34" fmla="*/ 96188 h 187457"/>
                <a:gd name="connsiteX35" fmla="*/ -26 w 267839"/>
                <a:gd name="connsiteY35" fmla="*/ 90016 h 187457"/>
                <a:gd name="connsiteX36" fmla="*/ 8726 w 267839"/>
                <a:gd name="connsiteY36" fmla="*/ 88987 h 187457"/>
                <a:gd name="connsiteX37" fmla="*/ 15157 w 267839"/>
                <a:gd name="connsiteY37" fmla="*/ 84809 h 187457"/>
                <a:gd name="connsiteX38" fmla="*/ 24962 w 267839"/>
                <a:gd name="connsiteY38" fmla="*/ 82866 h 187457"/>
                <a:gd name="connsiteX39" fmla="*/ 27562 w 267839"/>
                <a:gd name="connsiteY39" fmla="*/ 74357 h 187457"/>
                <a:gd name="connsiteX40" fmla="*/ 33130 w 267839"/>
                <a:gd name="connsiteY40" fmla="*/ 65759 h 187457"/>
                <a:gd name="connsiteX41" fmla="*/ 53311 w 267839"/>
                <a:gd name="connsiteY41" fmla="*/ 28866 h 187457"/>
                <a:gd name="connsiteX42" fmla="*/ 58702 w 267839"/>
                <a:gd name="connsiteY42" fmla="*/ 22566 h 187457"/>
                <a:gd name="connsiteX43" fmla="*/ 72642 w 267839"/>
                <a:gd name="connsiteY43" fmla="*/ 15277 h 187457"/>
                <a:gd name="connsiteX44" fmla="*/ 74037 w 267839"/>
                <a:gd name="connsiteY44" fmla="*/ 11276 h 187457"/>
                <a:gd name="connsiteX45" fmla="*/ 78616 w 267839"/>
                <a:gd name="connsiteY45" fmla="*/ 8076 h 187457"/>
                <a:gd name="connsiteX46" fmla="*/ 83246 w 267839"/>
                <a:gd name="connsiteY46" fmla="*/ 8076 h 187457"/>
                <a:gd name="connsiteX47" fmla="*/ 89676 w 267839"/>
                <a:gd name="connsiteY47" fmla="*/ 10692 h 187457"/>
                <a:gd name="connsiteX48" fmla="*/ 97756 w 267839"/>
                <a:gd name="connsiteY48" fmla="*/ 10374 h 187457"/>
                <a:gd name="connsiteX49" fmla="*/ 106293 w 267839"/>
                <a:gd name="connsiteY49" fmla="*/ 13880 h 187457"/>
                <a:gd name="connsiteX50" fmla="*/ 117125 w 267839"/>
                <a:gd name="connsiteY50" fmla="*/ 13245 h 187457"/>
                <a:gd name="connsiteX51" fmla="*/ 124279 w 267839"/>
                <a:gd name="connsiteY51" fmla="*/ 18515 h 187457"/>
                <a:gd name="connsiteX52" fmla="*/ 136582 w 267839"/>
                <a:gd name="connsiteY52" fmla="*/ 18515 h 187457"/>
                <a:gd name="connsiteX53" fmla="*/ 158108 w 267839"/>
                <a:gd name="connsiteY53" fmla="*/ 14235 h 187457"/>
                <a:gd name="connsiteX54" fmla="*/ 168039 w 267839"/>
                <a:gd name="connsiteY54" fmla="*/ 9333 h 187457"/>
                <a:gd name="connsiteX55" fmla="*/ 175142 w 267839"/>
                <a:gd name="connsiteY55" fmla="*/ 2767 h 187457"/>
                <a:gd name="connsiteX56" fmla="*/ 180673 w 267839"/>
                <a:gd name="connsiteY56" fmla="*/ 62 h 187457"/>
                <a:gd name="connsiteX57" fmla="*/ 185581 w 267839"/>
                <a:gd name="connsiteY57" fmla="*/ 2983 h 187457"/>
                <a:gd name="connsiteX58" fmla="*/ 196490 w 267839"/>
                <a:gd name="connsiteY58" fmla="*/ 20674 h 187457"/>
                <a:gd name="connsiteX59" fmla="*/ 203593 w 267839"/>
                <a:gd name="connsiteY59" fmla="*/ 33717 h 187457"/>
                <a:gd name="connsiteX60" fmla="*/ 212320 w 267839"/>
                <a:gd name="connsiteY60" fmla="*/ 46404 h 187457"/>
                <a:gd name="connsiteX61" fmla="*/ 222607 w 267839"/>
                <a:gd name="connsiteY61" fmla="*/ 55904 h 187457"/>
                <a:gd name="connsiteX62" fmla="*/ 224446 w 267839"/>
                <a:gd name="connsiteY62" fmla="*/ 78129 h 187457"/>
                <a:gd name="connsiteX63" fmla="*/ 220856 w 267839"/>
                <a:gd name="connsiteY63" fmla="*/ 89470 h 187457"/>
                <a:gd name="connsiteX64" fmla="*/ 222607 w 267839"/>
                <a:gd name="connsiteY64" fmla="*/ 102868 h 187457"/>
                <a:gd name="connsiteX65" fmla="*/ 220412 w 267839"/>
                <a:gd name="connsiteY65" fmla="*/ 113359 h 187457"/>
                <a:gd name="connsiteX66" fmla="*/ 221300 w 267839"/>
                <a:gd name="connsiteY66" fmla="*/ 114210 h 187457"/>
                <a:gd name="connsiteX67" fmla="*/ 232894 w 267839"/>
                <a:gd name="connsiteY67" fmla="*/ 124560 h 187457"/>
                <a:gd name="connsiteX68" fmla="*/ 241569 w 267839"/>
                <a:gd name="connsiteY68" fmla="*/ 124560 h 187457"/>
                <a:gd name="connsiteX69" fmla="*/ 249167 w 267839"/>
                <a:gd name="connsiteY69" fmla="*/ 121550 h 187457"/>
                <a:gd name="connsiteX70" fmla="*/ 258833 w 267839"/>
                <a:gd name="connsiteY70" fmla="*/ 117867 h 187457"/>
                <a:gd name="connsiteX71" fmla="*/ 267014 w 267839"/>
                <a:gd name="connsiteY71" fmla="*/ 124204 h 187457"/>
                <a:gd name="connsiteX72" fmla="*/ 267813 w 267839"/>
                <a:gd name="connsiteY72" fmla="*/ 124852 h 187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</a:cxnLst>
              <a:rect l="l" t="t" r="r" b="b"/>
              <a:pathLst>
                <a:path w="267839" h="187457">
                  <a:moveTo>
                    <a:pt x="267813" y="124852"/>
                  </a:moveTo>
                  <a:cubicBezTo>
                    <a:pt x="266608" y="136041"/>
                    <a:pt x="257818" y="144905"/>
                    <a:pt x="246643" y="146175"/>
                  </a:cubicBezTo>
                  <a:cubicBezTo>
                    <a:pt x="244703" y="143166"/>
                    <a:pt x="254634" y="144067"/>
                    <a:pt x="249510" y="139660"/>
                  </a:cubicBezTo>
                  <a:cubicBezTo>
                    <a:pt x="245781" y="145325"/>
                    <a:pt x="251983" y="132142"/>
                    <a:pt x="246009" y="134212"/>
                  </a:cubicBezTo>
                  <a:cubicBezTo>
                    <a:pt x="238234" y="140283"/>
                    <a:pt x="250499" y="142175"/>
                    <a:pt x="240669" y="147445"/>
                  </a:cubicBezTo>
                  <a:cubicBezTo>
                    <a:pt x="239680" y="150455"/>
                    <a:pt x="245476" y="147661"/>
                    <a:pt x="243853" y="145960"/>
                  </a:cubicBezTo>
                  <a:cubicBezTo>
                    <a:pt x="251311" y="148919"/>
                    <a:pt x="237118" y="145820"/>
                    <a:pt x="239895" y="155942"/>
                  </a:cubicBezTo>
                  <a:cubicBezTo>
                    <a:pt x="246643" y="143343"/>
                    <a:pt x="235811" y="169036"/>
                    <a:pt x="234060" y="185152"/>
                  </a:cubicBezTo>
                  <a:cubicBezTo>
                    <a:pt x="231105" y="185926"/>
                    <a:pt x="227972" y="185545"/>
                    <a:pt x="225296" y="184059"/>
                  </a:cubicBezTo>
                  <a:cubicBezTo>
                    <a:pt x="220032" y="181367"/>
                    <a:pt x="223812" y="176008"/>
                    <a:pt x="215909" y="174573"/>
                  </a:cubicBezTo>
                  <a:cubicBezTo>
                    <a:pt x="207994" y="173176"/>
                    <a:pt x="210925" y="175106"/>
                    <a:pt x="204050" y="172325"/>
                  </a:cubicBezTo>
                  <a:cubicBezTo>
                    <a:pt x="197162" y="169531"/>
                    <a:pt x="200942" y="167372"/>
                    <a:pt x="195906" y="167372"/>
                  </a:cubicBezTo>
                  <a:cubicBezTo>
                    <a:pt x="190833" y="167372"/>
                    <a:pt x="191327" y="165848"/>
                    <a:pt x="184174" y="168312"/>
                  </a:cubicBezTo>
                  <a:cubicBezTo>
                    <a:pt x="177033" y="170788"/>
                    <a:pt x="168813" y="169175"/>
                    <a:pt x="164006" y="174750"/>
                  </a:cubicBezTo>
                  <a:cubicBezTo>
                    <a:pt x="159199" y="180326"/>
                    <a:pt x="156547" y="188873"/>
                    <a:pt x="147199" y="187260"/>
                  </a:cubicBezTo>
                  <a:cubicBezTo>
                    <a:pt x="140337" y="185634"/>
                    <a:pt x="133335" y="184745"/>
                    <a:pt x="126296" y="184606"/>
                  </a:cubicBezTo>
                  <a:cubicBezTo>
                    <a:pt x="118571" y="185114"/>
                    <a:pt x="110821" y="184453"/>
                    <a:pt x="103286" y="182662"/>
                  </a:cubicBezTo>
                  <a:cubicBezTo>
                    <a:pt x="97046" y="180377"/>
                    <a:pt x="93761" y="177049"/>
                    <a:pt x="85808" y="178802"/>
                  </a:cubicBezTo>
                  <a:cubicBezTo>
                    <a:pt x="77893" y="180554"/>
                    <a:pt x="75242" y="186219"/>
                    <a:pt x="74303" y="180821"/>
                  </a:cubicBezTo>
                  <a:cubicBezTo>
                    <a:pt x="73403" y="175474"/>
                    <a:pt x="74658" y="173798"/>
                    <a:pt x="71246" y="169569"/>
                  </a:cubicBezTo>
                  <a:cubicBezTo>
                    <a:pt x="67872" y="165340"/>
                    <a:pt x="73758" y="157466"/>
                    <a:pt x="67872" y="165340"/>
                  </a:cubicBezTo>
                  <a:cubicBezTo>
                    <a:pt x="65665" y="161974"/>
                    <a:pt x="63813" y="158393"/>
                    <a:pt x="62355" y="154634"/>
                  </a:cubicBezTo>
                  <a:cubicBezTo>
                    <a:pt x="60554" y="149503"/>
                    <a:pt x="62355" y="154634"/>
                    <a:pt x="64143" y="147572"/>
                  </a:cubicBezTo>
                  <a:cubicBezTo>
                    <a:pt x="65944" y="140461"/>
                    <a:pt x="60325" y="145274"/>
                    <a:pt x="60325" y="145274"/>
                  </a:cubicBezTo>
                  <a:cubicBezTo>
                    <a:pt x="60325" y="145274"/>
                    <a:pt x="52461" y="154545"/>
                    <a:pt x="49633" y="151713"/>
                  </a:cubicBezTo>
                  <a:cubicBezTo>
                    <a:pt x="46791" y="148881"/>
                    <a:pt x="49633" y="151713"/>
                    <a:pt x="44153" y="146671"/>
                  </a:cubicBezTo>
                  <a:cubicBezTo>
                    <a:pt x="42529" y="145185"/>
                    <a:pt x="41857" y="144563"/>
                    <a:pt x="41629" y="144423"/>
                  </a:cubicBezTo>
                  <a:cubicBezTo>
                    <a:pt x="41768" y="144651"/>
                    <a:pt x="41806" y="144867"/>
                    <a:pt x="39878" y="143381"/>
                  </a:cubicBezTo>
                  <a:cubicBezTo>
                    <a:pt x="35604" y="140054"/>
                    <a:pt x="35693" y="143381"/>
                    <a:pt x="31075" y="139787"/>
                  </a:cubicBezTo>
                  <a:cubicBezTo>
                    <a:pt x="26484" y="136193"/>
                    <a:pt x="31075" y="139787"/>
                    <a:pt x="27562" y="135647"/>
                  </a:cubicBezTo>
                  <a:cubicBezTo>
                    <a:pt x="24061" y="131456"/>
                    <a:pt x="30175" y="133983"/>
                    <a:pt x="30479" y="129704"/>
                  </a:cubicBezTo>
                  <a:cubicBezTo>
                    <a:pt x="30796" y="125436"/>
                    <a:pt x="30302" y="126732"/>
                    <a:pt x="26167" y="124852"/>
                  </a:cubicBezTo>
                  <a:cubicBezTo>
                    <a:pt x="22032" y="122998"/>
                    <a:pt x="23833" y="122465"/>
                    <a:pt x="14041" y="116839"/>
                  </a:cubicBezTo>
                  <a:cubicBezTo>
                    <a:pt x="4286" y="111212"/>
                    <a:pt x="13762" y="112343"/>
                    <a:pt x="13229" y="103745"/>
                  </a:cubicBezTo>
                  <a:cubicBezTo>
                    <a:pt x="12684" y="95147"/>
                    <a:pt x="8916" y="101141"/>
                    <a:pt x="4236" y="96188"/>
                  </a:cubicBezTo>
                  <a:cubicBezTo>
                    <a:pt x="2549" y="94334"/>
                    <a:pt x="1103" y="92264"/>
                    <a:pt x="-26" y="90016"/>
                  </a:cubicBezTo>
                  <a:cubicBezTo>
                    <a:pt x="2917" y="89889"/>
                    <a:pt x="5834" y="89546"/>
                    <a:pt x="8726" y="88987"/>
                  </a:cubicBezTo>
                  <a:cubicBezTo>
                    <a:pt x="12011" y="88314"/>
                    <a:pt x="11884" y="86511"/>
                    <a:pt x="15157" y="84809"/>
                  </a:cubicBezTo>
                  <a:cubicBezTo>
                    <a:pt x="18442" y="83133"/>
                    <a:pt x="20827" y="84809"/>
                    <a:pt x="24962" y="82866"/>
                  </a:cubicBezTo>
                  <a:cubicBezTo>
                    <a:pt x="29084" y="80936"/>
                    <a:pt x="27651" y="78954"/>
                    <a:pt x="27562" y="74357"/>
                  </a:cubicBezTo>
                  <a:cubicBezTo>
                    <a:pt x="27524" y="69772"/>
                    <a:pt x="28818" y="70039"/>
                    <a:pt x="33130" y="65759"/>
                  </a:cubicBezTo>
                  <a:cubicBezTo>
                    <a:pt x="40830" y="54024"/>
                    <a:pt x="47577" y="41693"/>
                    <a:pt x="53311" y="28866"/>
                  </a:cubicBezTo>
                  <a:cubicBezTo>
                    <a:pt x="55061" y="24586"/>
                    <a:pt x="57357" y="22389"/>
                    <a:pt x="58702" y="22566"/>
                  </a:cubicBezTo>
                  <a:cubicBezTo>
                    <a:pt x="63801" y="21119"/>
                    <a:pt x="68545" y="18642"/>
                    <a:pt x="72642" y="15277"/>
                  </a:cubicBezTo>
                  <a:cubicBezTo>
                    <a:pt x="74430" y="13664"/>
                    <a:pt x="74519" y="12394"/>
                    <a:pt x="74037" y="11276"/>
                  </a:cubicBezTo>
                  <a:cubicBezTo>
                    <a:pt x="75521" y="10425"/>
                    <a:pt x="77043" y="8939"/>
                    <a:pt x="78616" y="8076"/>
                  </a:cubicBezTo>
                  <a:cubicBezTo>
                    <a:pt x="80544" y="7085"/>
                    <a:pt x="78159" y="6272"/>
                    <a:pt x="83246" y="8076"/>
                  </a:cubicBezTo>
                  <a:cubicBezTo>
                    <a:pt x="88370" y="9917"/>
                    <a:pt x="83829" y="12495"/>
                    <a:pt x="89676" y="10692"/>
                  </a:cubicBezTo>
                  <a:cubicBezTo>
                    <a:pt x="95511" y="8850"/>
                    <a:pt x="91148" y="7949"/>
                    <a:pt x="97756" y="10374"/>
                  </a:cubicBezTo>
                  <a:cubicBezTo>
                    <a:pt x="104327" y="12851"/>
                    <a:pt x="97807" y="13575"/>
                    <a:pt x="106293" y="13880"/>
                  </a:cubicBezTo>
                  <a:cubicBezTo>
                    <a:pt x="114740" y="14197"/>
                    <a:pt x="111696" y="11136"/>
                    <a:pt x="117125" y="13245"/>
                  </a:cubicBezTo>
                  <a:cubicBezTo>
                    <a:pt x="122516" y="15315"/>
                    <a:pt x="118165" y="13613"/>
                    <a:pt x="124279" y="18515"/>
                  </a:cubicBezTo>
                  <a:cubicBezTo>
                    <a:pt x="130380" y="23468"/>
                    <a:pt x="127552" y="21436"/>
                    <a:pt x="136582" y="18515"/>
                  </a:cubicBezTo>
                  <a:cubicBezTo>
                    <a:pt x="143445" y="15785"/>
                    <a:pt x="150738" y="14337"/>
                    <a:pt x="158108" y="14235"/>
                  </a:cubicBezTo>
                  <a:cubicBezTo>
                    <a:pt x="166568" y="14197"/>
                    <a:pt x="166111" y="13562"/>
                    <a:pt x="168039" y="9333"/>
                  </a:cubicBezTo>
                  <a:cubicBezTo>
                    <a:pt x="169929" y="5142"/>
                    <a:pt x="169029" y="3085"/>
                    <a:pt x="175142" y="2767"/>
                  </a:cubicBezTo>
                  <a:cubicBezTo>
                    <a:pt x="178745" y="2538"/>
                    <a:pt x="179366" y="430"/>
                    <a:pt x="180673" y="62"/>
                  </a:cubicBezTo>
                  <a:cubicBezTo>
                    <a:pt x="181573" y="-205"/>
                    <a:pt x="182791" y="341"/>
                    <a:pt x="185581" y="2983"/>
                  </a:cubicBezTo>
                  <a:cubicBezTo>
                    <a:pt x="192317" y="9371"/>
                    <a:pt x="191010" y="15365"/>
                    <a:pt x="196490" y="20674"/>
                  </a:cubicBezTo>
                  <a:cubicBezTo>
                    <a:pt x="201931" y="26021"/>
                    <a:pt x="200130" y="30567"/>
                    <a:pt x="203593" y="33717"/>
                  </a:cubicBezTo>
                  <a:cubicBezTo>
                    <a:pt x="207056" y="36867"/>
                    <a:pt x="204811" y="43534"/>
                    <a:pt x="212320" y="46404"/>
                  </a:cubicBezTo>
                  <a:cubicBezTo>
                    <a:pt x="219778" y="49236"/>
                    <a:pt x="221389" y="47395"/>
                    <a:pt x="222607" y="55904"/>
                  </a:cubicBezTo>
                  <a:cubicBezTo>
                    <a:pt x="224002" y="63219"/>
                    <a:pt x="224611" y="70674"/>
                    <a:pt x="224446" y="78129"/>
                  </a:cubicBezTo>
                  <a:cubicBezTo>
                    <a:pt x="224091" y="86447"/>
                    <a:pt x="220007" y="81101"/>
                    <a:pt x="220856" y="89470"/>
                  </a:cubicBezTo>
                  <a:cubicBezTo>
                    <a:pt x="221757" y="97877"/>
                    <a:pt x="225029" y="97877"/>
                    <a:pt x="222607" y="102868"/>
                  </a:cubicBezTo>
                  <a:cubicBezTo>
                    <a:pt x="220133" y="107910"/>
                    <a:pt x="214882" y="108495"/>
                    <a:pt x="220412" y="113359"/>
                  </a:cubicBezTo>
                  <a:cubicBezTo>
                    <a:pt x="220729" y="113625"/>
                    <a:pt x="221021" y="113905"/>
                    <a:pt x="221300" y="114210"/>
                  </a:cubicBezTo>
                  <a:cubicBezTo>
                    <a:pt x="226108" y="118756"/>
                    <a:pt x="227553" y="123658"/>
                    <a:pt x="232894" y="124560"/>
                  </a:cubicBezTo>
                  <a:cubicBezTo>
                    <a:pt x="238563" y="125551"/>
                    <a:pt x="238335" y="125690"/>
                    <a:pt x="241569" y="124560"/>
                  </a:cubicBezTo>
                  <a:cubicBezTo>
                    <a:pt x="244804" y="123442"/>
                    <a:pt x="245172" y="125195"/>
                    <a:pt x="249167" y="121550"/>
                  </a:cubicBezTo>
                  <a:cubicBezTo>
                    <a:pt x="253125" y="117905"/>
                    <a:pt x="253531" y="115746"/>
                    <a:pt x="258833" y="117867"/>
                  </a:cubicBezTo>
                  <a:cubicBezTo>
                    <a:pt x="264173" y="119975"/>
                    <a:pt x="260355" y="119391"/>
                    <a:pt x="267014" y="124204"/>
                  </a:cubicBezTo>
                  <a:cubicBezTo>
                    <a:pt x="267280" y="124408"/>
                    <a:pt x="267547" y="124624"/>
                    <a:pt x="267813" y="124852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1" name="Vrije vorm 310">
              <a:extLst>
                <a:ext uri="{FF2B5EF4-FFF2-40B4-BE49-F238E27FC236}">
                  <a16:creationId xmlns:a16="http://schemas.microsoft.com/office/drawing/2014/main" id="{5D1E212F-1E32-794B-BE0A-DFFF84CA5664}"/>
                </a:ext>
              </a:extLst>
            </p:cNvPr>
            <p:cNvSpPr/>
            <p:nvPr/>
          </p:nvSpPr>
          <p:spPr>
            <a:xfrm>
              <a:off x="6118508" y="2652888"/>
              <a:ext cx="511328" cy="307560"/>
            </a:xfrm>
            <a:custGeom>
              <a:avLst/>
              <a:gdLst>
                <a:gd name="connsiteX0" fmla="*/ 509612 w 511328"/>
                <a:gd name="connsiteY0" fmla="*/ 134000 h 307560"/>
                <a:gd name="connsiteX1" fmla="*/ 506326 w 511328"/>
                <a:gd name="connsiteY1" fmla="*/ 146065 h 307560"/>
                <a:gd name="connsiteX2" fmla="*/ 501697 w 511328"/>
                <a:gd name="connsiteY2" fmla="*/ 153075 h 307560"/>
                <a:gd name="connsiteX3" fmla="*/ 496306 w 511328"/>
                <a:gd name="connsiteY3" fmla="*/ 165229 h 307560"/>
                <a:gd name="connsiteX4" fmla="*/ 501697 w 511328"/>
                <a:gd name="connsiteY4" fmla="*/ 178818 h 307560"/>
                <a:gd name="connsiteX5" fmla="*/ 502191 w 511328"/>
                <a:gd name="connsiteY5" fmla="*/ 191950 h 307560"/>
                <a:gd name="connsiteX6" fmla="*/ 498234 w 511328"/>
                <a:gd name="connsiteY6" fmla="*/ 201411 h 307560"/>
                <a:gd name="connsiteX7" fmla="*/ 481567 w 511328"/>
                <a:gd name="connsiteY7" fmla="*/ 200688 h 307560"/>
                <a:gd name="connsiteX8" fmla="*/ 471724 w 511328"/>
                <a:gd name="connsiteY8" fmla="*/ 204015 h 307560"/>
                <a:gd name="connsiteX9" fmla="*/ 466194 w 511328"/>
                <a:gd name="connsiteY9" fmla="*/ 212562 h 307560"/>
                <a:gd name="connsiteX10" fmla="*/ 457201 w 511328"/>
                <a:gd name="connsiteY10" fmla="*/ 218950 h 307560"/>
                <a:gd name="connsiteX11" fmla="*/ 456084 w 511328"/>
                <a:gd name="connsiteY11" fmla="*/ 230507 h 307560"/>
                <a:gd name="connsiteX12" fmla="*/ 417753 w 511328"/>
                <a:gd name="connsiteY12" fmla="*/ 244591 h 307560"/>
                <a:gd name="connsiteX13" fmla="*/ 400857 w 511328"/>
                <a:gd name="connsiteY13" fmla="*/ 250853 h 307560"/>
                <a:gd name="connsiteX14" fmla="*/ 372762 w 511328"/>
                <a:gd name="connsiteY14" fmla="*/ 266016 h 307560"/>
                <a:gd name="connsiteX15" fmla="*/ 370250 w 511328"/>
                <a:gd name="connsiteY15" fmla="*/ 255488 h 307560"/>
                <a:gd name="connsiteX16" fmla="*/ 360357 w 511328"/>
                <a:gd name="connsiteY16" fmla="*/ 267998 h 307560"/>
                <a:gd name="connsiteX17" fmla="*/ 364492 w 511328"/>
                <a:gd name="connsiteY17" fmla="*/ 288102 h 307560"/>
                <a:gd name="connsiteX18" fmla="*/ 361473 w 511328"/>
                <a:gd name="connsiteY18" fmla="*/ 287467 h 307560"/>
                <a:gd name="connsiteX19" fmla="*/ 337842 w 511328"/>
                <a:gd name="connsiteY19" fmla="*/ 270284 h 307560"/>
                <a:gd name="connsiteX20" fmla="*/ 327860 w 511328"/>
                <a:gd name="connsiteY20" fmla="*/ 267540 h 307560"/>
                <a:gd name="connsiteX21" fmla="*/ 318207 w 511328"/>
                <a:gd name="connsiteY21" fmla="*/ 272493 h 307560"/>
                <a:gd name="connsiteX22" fmla="*/ 314288 w 511328"/>
                <a:gd name="connsiteY22" fmla="*/ 271236 h 307560"/>
                <a:gd name="connsiteX23" fmla="*/ 308859 w 511328"/>
                <a:gd name="connsiteY23" fmla="*/ 269522 h 307560"/>
                <a:gd name="connsiteX24" fmla="*/ 281575 w 511328"/>
                <a:gd name="connsiteY24" fmla="*/ 260390 h 307560"/>
                <a:gd name="connsiteX25" fmla="*/ 291951 w 511328"/>
                <a:gd name="connsiteY25" fmla="*/ 256072 h 307560"/>
                <a:gd name="connsiteX26" fmla="*/ 279013 w 511328"/>
                <a:gd name="connsiteY26" fmla="*/ 234647 h 307560"/>
                <a:gd name="connsiteX27" fmla="*/ 275462 w 511328"/>
                <a:gd name="connsiteY27" fmla="*/ 229796 h 307560"/>
                <a:gd name="connsiteX28" fmla="*/ 274345 w 511328"/>
                <a:gd name="connsiteY28" fmla="*/ 227319 h 307560"/>
                <a:gd name="connsiteX29" fmla="*/ 267877 w 511328"/>
                <a:gd name="connsiteY29" fmla="*/ 251170 h 307560"/>
                <a:gd name="connsiteX30" fmla="*/ 265898 w 511328"/>
                <a:gd name="connsiteY30" fmla="*/ 245900 h 307560"/>
                <a:gd name="connsiteX31" fmla="*/ 265809 w 511328"/>
                <a:gd name="connsiteY31" fmla="*/ 246941 h 307560"/>
                <a:gd name="connsiteX32" fmla="*/ 247341 w 511328"/>
                <a:gd name="connsiteY32" fmla="*/ 253824 h 307560"/>
                <a:gd name="connsiteX33" fmla="*/ 215567 w 511328"/>
                <a:gd name="connsiteY33" fmla="*/ 292115 h 307560"/>
                <a:gd name="connsiteX34" fmla="*/ 213816 w 511328"/>
                <a:gd name="connsiteY34" fmla="*/ 297690 h 307560"/>
                <a:gd name="connsiteX35" fmla="*/ 215795 w 511328"/>
                <a:gd name="connsiteY35" fmla="*/ 307050 h 307560"/>
                <a:gd name="connsiteX36" fmla="*/ 214983 w 511328"/>
                <a:gd name="connsiteY36" fmla="*/ 306415 h 307560"/>
                <a:gd name="connsiteX37" fmla="*/ 206802 w 511328"/>
                <a:gd name="connsiteY37" fmla="*/ 300065 h 307560"/>
                <a:gd name="connsiteX38" fmla="*/ 197137 w 511328"/>
                <a:gd name="connsiteY38" fmla="*/ 303761 h 307560"/>
                <a:gd name="connsiteX39" fmla="*/ 189539 w 511328"/>
                <a:gd name="connsiteY39" fmla="*/ 306771 h 307560"/>
                <a:gd name="connsiteX40" fmla="*/ 180876 w 511328"/>
                <a:gd name="connsiteY40" fmla="*/ 306771 h 307560"/>
                <a:gd name="connsiteX41" fmla="*/ 169269 w 511328"/>
                <a:gd name="connsiteY41" fmla="*/ 296420 h 307560"/>
                <a:gd name="connsiteX42" fmla="*/ 174039 w 511328"/>
                <a:gd name="connsiteY42" fmla="*/ 295874 h 307560"/>
                <a:gd name="connsiteX43" fmla="*/ 183032 w 511328"/>
                <a:gd name="connsiteY43" fmla="*/ 291061 h 307560"/>
                <a:gd name="connsiteX44" fmla="*/ 197365 w 511328"/>
                <a:gd name="connsiteY44" fmla="*/ 258041 h 307560"/>
                <a:gd name="connsiteX45" fmla="*/ 202438 w 511328"/>
                <a:gd name="connsiteY45" fmla="*/ 260200 h 307560"/>
                <a:gd name="connsiteX46" fmla="*/ 208945 w 511328"/>
                <a:gd name="connsiteY46" fmla="*/ 258307 h 307560"/>
                <a:gd name="connsiteX47" fmla="*/ 215871 w 511328"/>
                <a:gd name="connsiteY47" fmla="*/ 260784 h 307560"/>
                <a:gd name="connsiteX48" fmla="*/ 222797 w 511328"/>
                <a:gd name="connsiteY48" fmla="*/ 259336 h 307560"/>
                <a:gd name="connsiteX49" fmla="*/ 222480 w 511328"/>
                <a:gd name="connsiteY49" fmla="*/ 250840 h 307560"/>
                <a:gd name="connsiteX50" fmla="*/ 215871 w 511328"/>
                <a:gd name="connsiteY50" fmla="*/ 242280 h 307560"/>
                <a:gd name="connsiteX51" fmla="*/ 211013 w 511328"/>
                <a:gd name="connsiteY51" fmla="*/ 235359 h 307560"/>
                <a:gd name="connsiteX52" fmla="*/ 208857 w 511328"/>
                <a:gd name="connsiteY52" fmla="*/ 224830 h 307560"/>
                <a:gd name="connsiteX53" fmla="*/ 203022 w 511328"/>
                <a:gd name="connsiteY53" fmla="*/ 220106 h 307560"/>
                <a:gd name="connsiteX54" fmla="*/ 197352 w 511328"/>
                <a:gd name="connsiteY54" fmla="*/ 213896 h 307560"/>
                <a:gd name="connsiteX55" fmla="*/ 197352 w 511328"/>
                <a:gd name="connsiteY55" fmla="*/ 200713 h 307560"/>
                <a:gd name="connsiteX56" fmla="*/ 194207 w 511328"/>
                <a:gd name="connsiteY56" fmla="*/ 193918 h 307560"/>
                <a:gd name="connsiteX57" fmla="*/ 182791 w 511328"/>
                <a:gd name="connsiteY57" fmla="*/ 185943 h 307560"/>
                <a:gd name="connsiteX58" fmla="*/ 175383 w 511328"/>
                <a:gd name="connsiteY58" fmla="*/ 184965 h 307560"/>
                <a:gd name="connsiteX59" fmla="*/ 168369 w 511328"/>
                <a:gd name="connsiteY59" fmla="*/ 180329 h 307560"/>
                <a:gd name="connsiteX60" fmla="*/ 161177 w 511328"/>
                <a:gd name="connsiteY60" fmla="*/ 174246 h 307560"/>
                <a:gd name="connsiteX61" fmla="*/ 154569 w 511328"/>
                <a:gd name="connsiteY61" fmla="*/ 172760 h 307560"/>
                <a:gd name="connsiteX62" fmla="*/ 147745 w 511328"/>
                <a:gd name="connsiteY62" fmla="*/ 174881 h 307560"/>
                <a:gd name="connsiteX63" fmla="*/ 139068 w 511328"/>
                <a:gd name="connsiteY63" fmla="*/ 176456 h 307560"/>
                <a:gd name="connsiteX64" fmla="*/ 134895 w 511328"/>
                <a:gd name="connsiteY64" fmla="*/ 177447 h 307560"/>
                <a:gd name="connsiteX65" fmla="*/ 130304 w 511328"/>
                <a:gd name="connsiteY65" fmla="*/ 177624 h 307560"/>
                <a:gd name="connsiteX66" fmla="*/ 128642 w 511328"/>
                <a:gd name="connsiteY66" fmla="*/ 182260 h 307560"/>
                <a:gd name="connsiteX67" fmla="*/ 123112 w 511328"/>
                <a:gd name="connsiteY67" fmla="*/ 184965 h 307560"/>
                <a:gd name="connsiteX68" fmla="*/ 116009 w 511328"/>
                <a:gd name="connsiteY68" fmla="*/ 191531 h 307560"/>
                <a:gd name="connsiteX69" fmla="*/ 106077 w 511328"/>
                <a:gd name="connsiteY69" fmla="*/ 196433 h 307560"/>
                <a:gd name="connsiteX70" fmla="*/ 84552 w 511328"/>
                <a:gd name="connsiteY70" fmla="*/ 200713 h 307560"/>
                <a:gd name="connsiteX71" fmla="*/ 72236 w 511328"/>
                <a:gd name="connsiteY71" fmla="*/ 200713 h 307560"/>
                <a:gd name="connsiteX72" fmla="*/ 65094 w 511328"/>
                <a:gd name="connsiteY72" fmla="*/ 195442 h 307560"/>
                <a:gd name="connsiteX73" fmla="*/ 54262 w 511328"/>
                <a:gd name="connsiteY73" fmla="*/ 196077 h 307560"/>
                <a:gd name="connsiteX74" fmla="*/ 45726 w 511328"/>
                <a:gd name="connsiteY74" fmla="*/ 192572 h 307560"/>
                <a:gd name="connsiteX75" fmla="*/ 37633 w 511328"/>
                <a:gd name="connsiteY75" fmla="*/ 192890 h 307560"/>
                <a:gd name="connsiteX76" fmla="*/ 31215 w 511328"/>
                <a:gd name="connsiteY76" fmla="*/ 190274 h 307560"/>
                <a:gd name="connsiteX77" fmla="*/ 26585 w 511328"/>
                <a:gd name="connsiteY77" fmla="*/ 190274 h 307560"/>
                <a:gd name="connsiteX78" fmla="*/ 21993 w 511328"/>
                <a:gd name="connsiteY78" fmla="*/ 193474 h 307560"/>
                <a:gd name="connsiteX79" fmla="*/ 19165 w 511328"/>
                <a:gd name="connsiteY79" fmla="*/ 189283 h 307560"/>
                <a:gd name="connsiteX80" fmla="*/ 11795 w 511328"/>
                <a:gd name="connsiteY80" fmla="*/ 187429 h 307560"/>
                <a:gd name="connsiteX81" fmla="*/ 5238 w 511328"/>
                <a:gd name="connsiteY81" fmla="*/ 179428 h 307560"/>
                <a:gd name="connsiteX82" fmla="*/ -26 w 511328"/>
                <a:gd name="connsiteY82" fmla="*/ 176227 h 307560"/>
                <a:gd name="connsiteX83" fmla="*/ 4920 w 511328"/>
                <a:gd name="connsiteY83" fmla="*/ 162422 h 307560"/>
                <a:gd name="connsiteX84" fmla="*/ 10539 w 511328"/>
                <a:gd name="connsiteY84" fmla="*/ 146674 h 307560"/>
                <a:gd name="connsiteX85" fmla="*/ 12874 w 511328"/>
                <a:gd name="connsiteY85" fmla="*/ 148833 h 307560"/>
                <a:gd name="connsiteX86" fmla="*/ 18860 w 511328"/>
                <a:gd name="connsiteY86" fmla="*/ 150942 h 307560"/>
                <a:gd name="connsiteX87" fmla="*/ 16210 w 511328"/>
                <a:gd name="connsiteY87" fmla="*/ 143385 h 307560"/>
                <a:gd name="connsiteX88" fmla="*/ 15981 w 511328"/>
                <a:gd name="connsiteY88" fmla="*/ 126240 h 307560"/>
                <a:gd name="connsiteX89" fmla="*/ 42047 w 511328"/>
                <a:gd name="connsiteY89" fmla="*/ 95011 h 307560"/>
                <a:gd name="connsiteX90" fmla="*/ 52296 w 511328"/>
                <a:gd name="connsiteY90" fmla="*/ 83352 h 307560"/>
                <a:gd name="connsiteX91" fmla="*/ 52968 w 511328"/>
                <a:gd name="connsiteY91" fmla="*/ 66118 h 307560"/>
                <a:gd name="connsiteX92" fmla="*/ 40652 w 511328"/>
                <a:gd name="connsiteY92" fmla="*/ 37416 h 307560"/>
                <a:gd name="connsiteX93" fmla="*/ 40335 w 511328"/>
                <a:gd name="connsiteY93" fmla="*/ 31968 h 307560"/>
                <a:gd name="connsiteX94" fmla="*/ 45193 w 511328"/>
                <a:gd name="connsiteY94" fmla="*/ 33327 h 307560"/>
                <a:gd name="connsiteX95" fmla="*/ 58359 w 511328"/>
                <a:gd name="connsiteY95" fmla="*/ 28603 h 307560"/>
                <a:gd name="connsiteX96" fmla="*/ 65640 w 511328"/>
                <a:gd name="connsiteY96" fmla="*/ 21491 h 307560"/>
                <a:gd name="connsiteX97" fmla="*/ 77144 w 511328"/>
                <a:gd name="connsiteY97" fmla="*/ 20094 h 307560"/>
                <a:gd name="connsiteX98" fmla="*/ 86492 w 511328"/>
                <a:gd name="connsiteY98" fmla="*/ 19370 h 307560"/>
                <a:gd name="connsiteX99" fmla="*/ 112685 w 511328"/>
                <a:gd name="connsiteY99" fmla="*/ 24450 h 307560"/>
                <a:gd name="connsiteX100" fmla="*/ 126537 w 511328"/>
                <a:gd name="connsiteY100" fmla="*/ 28590 h 307560"/>
                <a:gd name="connsiteX101" fmla="*/ 139068 w 511328"/>
                <a:gd name="connsiteY101" fmla="*/ 32362 h 307560"/>
                <a:gd name="connsiteX102" fmla="*/ 145588 w 511328"/>
                <a:gd name="connsiteY102" fmla="*/ 35918 h 307560"/>
                <a:gd name="connsiteX103" fmla="*/ 158259 w 511328"/>
                <a:gd name="connsiteY103" fmla="*/ 41595 h 307560"/>
                <a:gd name="connsiteX104" fmla="*/ 162255 w 511328"/>
                <a:gd name="connsiteY104" fmla="*/ 34660 h 307560"/>
                <a:gd name="connsiteX105" fmla="*/ 172326 w 511328"/>
                <a:gd name="connsiteY105" fmla="*/ 32997 h 307560"/>
                <a:gd name="connsiteX106" fmla="*/ 180229 w 511328"/>
                <a:gd name="connsiteY106" fmla="*/ 36642 h 307560"/>
                <a:gd name="connsiteX107" fmla="*/ 185188 w 511328"/>
                <a:gd name="connsiteY107" fmla="*/ 44427 h 307560"/>
                <a:gd name="connsiteX108" fmla="*/ 193179 w 511328"/>
                <a:gd name="connsiteY108" fmla="*/ 36604 h 307560"/>
                <a:gd name="connsiteX109" fmla="*/ 199115 w 511328"/>
                <a:gd name="connsiteY109" fmla="*/ 37950 h 307560"/>
                <a:gd name="connsiteX110" fmla="*/ 203834 w 511328"/>
                <a:gd name="connsiteY110" fmla="*/ 46052 h 307560"/>
                <a:gd name="connsiteX111" fmla="*/ 209948 w 511328"/>
                <a:gd name="connsiteY111" fmla="*/ 41595 h 307560"/>
                <a:gd name="connsiteX112" fmla="*/ 216632 w 511328"/>
                <a:gd name="connsiteY112" fmla="*/ 42941 h 307560"/>
                <a:gd name="connsiteX113" fmla="*/ 220640 w 511328"/>
                <a:gd name="connsiteY113" fmla="*/ 41861 h 307560"/>
                <a:gd name="connsiteX114" fmla="*/ 230522 w 511328"/>
                <a:gd name="connsiteY114" fmla="*/ 45532 h 307560"/>
                <a:gd name="connsiteX115" fmla="*/ 230661 w 511328"/>
                <a:gd name="connsiteY115" fmla="*/ 45862 h 307560"/>
                <a:gd name="connsiteX116" fmla="*/ 237130 w 511328"/>
                <a:gd name="connsiteY116" fmla="*/ 50815 h 307560"/>
                <a:gd name="connsiteX117" fmla="*/ 240275 w 511328"/>
                <a:gd name="connsiteY117" fmla="*/ 41684 h 307560"/>
                <a:gd name="connsiteX118" fmla="*/ 239514 w 511328"/>
                <a:gd name="connsiteY118" fmla="*/ 28590 h 307560"/>
                <a:gd name="connsiteX119" fmla="*/ 248723 w 511328"/>
                <a:gd name="connsiteY119" fmla="*/ 17071 h 307560"/>
                <a:gd name="connsiteX120" fmla="*/ 257983 w 511328"/>
                <a:gd name="connsiteY120" fmla="*/ 15318 h 307560"/>
                <a:gd name="connsiteX121" fmla="*/ 272950 w 511328"/>
                <a:gd name="connsiteY121" fmla="*/ 11635 h 307560"/>
                <a:gd name="connsiteX122" fmla="*/ 277313 w 511328"/>
                <a:gd name="connsiteY122" fmla="*/ 15725 h 307560"/>
                <a:gd name="connsiteX123" fmla="*/ 285178 w 511328"/>
                <a:gd name="connsiteY123" fmla="*/ 11585 h 307560"/>
                <a:gd name="connsiteX124" fmla="*/ 294843 w 511328"/>
                <a:gd name="connsiteY124" fmla="*/ 2453 h 307560"/>
                <a:gd name="connsiteX125" fmla="*/ 305624 w 511328"/>
                <a:gd name="connsiteY125" fmla="*/ 5920 h 307560"/>
                <a:gd name="connsiteX126" fmla="*/ 322647 w 511328"/>
                <a:gd name="connsiteY126" fmla="*/ 3799 h 307560"/>
                <a:gd name="connsiteX127" fmla="*/ 334823 w 511328"/>
                <a:gd name="connsiteY127" fmla="*/ 4930 h 307560"/>
                <a:gd name="connsiteX128" fmla="*/ 342561 w 511328"/>
                <a:gd name="connsiteY128" fmla="*/ 26532 h 307560"/>
                <a:gd name="connsiteX129" fmla="*/ 343550 w 511328"/>
                <a:gd name="connsiteY129" fmla="*/ 34406 h 307560"/>
                <a:gd name="connsiteX130" fmla="*/ 344539 w 511328"/>
                <a:gd name="connsiteY130" fmla="*/ 52352 h 307560"/>
                <a:gd name="connsiteX131" fmla="*/ 357744 w 511328"/>
                <a:gd name="connsiteY131" fmla="*/ 55146 h 307560"/>
                <a:gd name="connsiteX132" fmla="*/ 370783 w 511328"/>
                <a:gd name="connsiteY132" fmla="*/ 60822 h 307560"/>
                <a:gd name="connsiteX133" fmla="*/ 375629 w 511328"/>
                <a:gd name="connsiteY133" fmla="*/ 72151 h 307560"/>
                <a:gd name="connsiteX134" fmla="*/ 379814 w 511328"/>
                <a:gd name="connsiteY134" fmla="*/ 88356 h 307560"/>
                <a:gd name="connsiteX135" fmla="*/ 387133 w 511328"/>
                <a:gd name="connsiteY135" fmla="*/ 89474 h 307560"/>
                <a:gd name="connsiteX136" fmla="*/ 404624 w 511328"/>
                <a:gd name="connsiteY136" fmla="*/ 93525 h 307560"/>
                <a:gd name="connsiteX137" fmla="*/ 415584 w 511328"/>
                <a:gd name="connsiteY137" fmla="*/ 94477 h 307560"/>
                <a:gd name="connsiteX138" fmla="*/ 427849 w 511328"/>
                <a:gd name="connsiteY138" fmla="*/ 90248 h 307560"/>
                <a:gd name="connsiteX139" fmla="*/ 429372 w 511328"/>
                <a:gd name="connsiteY139" fmla="*/ 88445 h 307560"/>
                <a:gd name="connsiteX140" fmla="*/ 433418 w 511328"/>
                <a:gd name="connsiteY140" fmla="*/ 93030 h 307560"/>
                <a:gd name="connsiteX141" fmla="*/ 445734 w 511328"/>
                <a:gd name="connsiteY141" fmla="*/ 106034 h 307560"/>
                <a:gd name="connsiteX142" fmla="*/ 455399 w 511328"/>
                <a:gd name="connsiteY142" fmla="*/ 104333 h 307560"/>
                <a:gd name="connsiteX143" fmla="*/ 464113 w 511328"/>
                <a:gd name="connsiteY143" fmla="*/ 109375 h 307560"/>
                <a:gd name="connsiteX144" fmla="*/ 472701 w 511328"/>
                <a:gd name="connsiteY144" fmla="*/ 111661 h 307560"/>
                <a:gd name="connsiteX145" fmla="*/ 484560 w 511328"/>
                <a:gd name="connsiteY145" fmla="*/ 115979 h 307560"/>
                <a:gd name="connsiteX146" fmla="*/ 487668 w 511328"/>
                <a:gd name="connsiteY146" fmla="*/ 119128 h 307560"/>
                <a:gd name="connsiteX147" fmla="*/ 501874 w 511328"/>
                <a:gd name="connsiteY147" fmla="*/ 127180 h 307560"/>
                <a:gd name="connsiteX148" fmla="*/ 506682 w 511328"/>
                <a:gd name="connsiteY148" fmla="*/ 124259 h 307560"/>
                <a:gd name="connsiteX149" fmla="*/ 509612 w 511328"/>
                <a:gd name="connsiteY149" fmla="*/ 134000 h 307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</a:cxnLst>
              <a:rect l="l" t="t" r="r" b="b"/>
              <a:pathLst>
                <a:path w="511328" h="307560">
                  <a:moveTo>
                    <a:pt x="509612" y="134000"/>
                  </a:moveTo>
                  <a:cubicBezTo>
                    <a:pt x="510652" y="138318"/>
                    <a:pt x="509421" y="142864"/>
                    <a:pt x="506326" y="146065"/>
                  </a:cubicBezTo>
                  <a:cubicBezTo>
                    <a:pt x="503625" y="148897"/>
                    <a:pt x="501697" y="147538"/>
                    <a:pt x="501697" y="153075"/>
                  </a:cubicBezTo>
                  <a:cubicBezTo>
                    <a:pt x="501747" y="158663"/>
                    <a:pt x="490192" y="158295"/>
                    <a:pt x="496306" y="165229"/>
                  </a:cubicBezTo>
                  <a:cubicBezTo>
                    <a:pt x="502369" y="172201"/>
                    <a:pt x="499489" y="171579"/>
                    <a:pt x="501697" y="178818"/>
                  </a:cubicBezTo>
                  <a:cubicBezTo>
                    <a:pt x="503751" y="182920"/>
                    <a:pt x="503929" y="187708"/>
                    <a:pt x="502191" y="191950"/>
                  </a:cubicBezTo>
                  <a:cubicBezTo>
                    <a:pt x="500619" y="197538"/>
                    <a:pt x="509066" y="202847"/>
                    <a:pt x="498234" y="201411"/>
                  </a:cubicBezTo>
                  <a:cubicBezTo>
                    <a:pt x="487452" y="199964"/>
                    <a:pt x="485879" y="201996"/>
                    <a:pt x="481567" y="200688"/>
                  </a:cubicBezTo>
                  <a:cubicBezTo>
                    <a:pt x="477292" y="199379"/>
                    <a:pt x="476036" y="200103"/>
                    <a:pt x="471724" y="204015"/>
                  </a:cubicBezTo>
                  <a:cubicBezTo>
                    <a:pt x="467361" y="207888"/>
                    <a:pt x="470290" y="208333"/>
                    <a:pt x="466194" y="212562"/>
                  </a:cubicBezTo>
                  <a:cubicBezTo>
                    <a:pt x="462059" y="216842"/>
                    <a:pt x="458279" y="210543"/>
                    <a:pt x="457201" y="218950"/>
                  </a:cubicBezTo>
                  <a:cubicBezTo>
                    <a:pt x="456668" y="223179"/>
                    <a:pt x="456313" y="227192"/>
                    <a:pt x="456084" y="230507"/>
                  </a:cubicBezTo>
                  <a:cubicBezTo>
                    <a:pt x="442740" y="233885"/>
                    <a:pt x="429080" y="233619"/>
                    <a:pt x="417753" y="244591"/>
                  </a:cubicBezTo>
                  <a:cubicBezTo>
                    <a:pt x="415102" y="254713"/>
                    <a:pt x="415368" y="235016"/>
                    <a:pt x="400857" y="250853"/>
                  </a:cubicBezTo>
                  <a:cubicBezTo>
                    <a:pt x="394287" y="242432"/>
                    <a:pt x="380905" y="257279"/>
                    <a:pt x="372762" y="266016"/>
                  </a:cubicBezTo>
                  <a:cubicBezTo>
                    <a:pt x="374284" y="262956"/>
                    <a:pt x="372445" y="259349"/>
                    <a:pt x="370250" y="255488"/>
                  </a:cubicBezTo>
                  <a:cubicBezTo>
                    <a:pt x="372318" y="263362"/>
                    <a:pt x="364986" y="266283"/>
                    <a:pt x="360357" y="267998"/>
                  </a:cubicBezTo>
                  <a:cubicBezTo>
                    <a:pt x="361004" y="274830"/>
                    <a:pt x="362386" y="281574"/>
                    <a:pt x="364492" y="288102"/>
                  </a:cubicBezTo>
                  <a:lnTo>
                    <a:pt x="361473" y="287467"/>
                  </a:lnTo>
                  <a:cubicBezTo>
                    <a:pt x="354015" y="281180"/>
                    <a:pt x="346113" y="275440"/>
                    <a:pt x="337842" y="270284"/>
                  </a:cubicBezTo>
                  <a:cubicBezTo>
                    <a:pt x="331145" y="267083"/>
                    <a:pt x="334697" y="269293"/>
                    <a:pt x="327860" y="267540"/>
                  </a:cubicBezTo>
                  <a:cubicBezTo>
                    <a:pt x="324093" y="266588"/>
                    <a:pt x="320541" y="269610"/>
                    <a:pt x="318207" y="272493"/>
                  </a:cubicBezTo>
                  <a:cubicBezTo>
                    <a:pt x="317205" y="271414"/>
                    <a:pt x="315721" y="270931"/>
                    <a:pt x="314288" y="271236"/>
                  </a:cubicBezTo>
                  <a:cubicBezTo>
                    <a:pt x="315911" y="262676"/>
                    <a:pt x="313121" y="274475"/>
                    <a:pt x="308859" y="269522"/>
                  </a:cubicBezTo>
                  <a:cubicBezTo>
                    <a:pt x="302923" y="278297"/>
                    <a:pt x="260050" y="263222"/>
                    <a:pt x="281575" y="260390"/>
                  </a:cubicBezTo>
                  <a:cubicBezTo>
                    <a:pt x="256904" y="248960"/>
                    <a:pt x="273216" y="257063"/>
                    <a:pt x="291951" y="256072"/>
                  </a:cubicBezTo>
                  <a:cubicBezTo>
                    <a:pt x="305079" y="240680"/>
                    <a:pt x="274612" y="270068"/>
                    <a:pt x="279013" y="234647"/>
                  </a:cubicBezTo>
                  <a:cubicBezTo>
                    <a:pt x="273445" y="236006"/>
                    <a:pt x="279115" y="231091"/>
                    <a:pt x="275462" y="229796"/>
                  </a:cubicBezTo>
                  <a:cubicBezTo>
                    <a:pt x="275373" y="225338"/>
                    <a:pt x="268409" y="224348"/>
                    <a:pt x="274345" y="227319"/>
                  </a:cubicBezTo>
                  <a:cubicBezTo>
                    <a:pt x="276502" y="236768"/>
                    <a:pt x="283960" y="250395"/>
                    <a:pt x="267877" y="251170"/>
                  </a:cubicBezTo>
                  <a:cubicBezTo>
                    <a:pt x="260545" y="251703"/>
                    <a:pt x="274117" y="237492"/>
                    <a:pt x="265898" y="245900"/>
                  </a:cubicBezTo>
                  <a:cubicBezTo>
                    <a:pt x="263374" y="242610"/>
                    <a:pt x="263779" y="244680"/>
                    <a:pt x="265809" y="246941"/>
                  </a:cubicBezTo>
                  <a:cubicBezTo>
                    <a:pt x="262663" y="255171"/>
                    <a:pt x="253087" y="248287"/>
                    <a:pt x="247341" y="253824"/>
                  </a:cubicBezTo>
                  <a:cubicBezTo>
                    <a:pt x="240504" y="276049"/>
                    <a:pt x="218256" y="286349"/>
                    <a:pt x="215567" y="292115"/>
                  </a:cubicBezTo>
                  <a:cubicBezTo>
                    <a:pt x="213094" y="271096"/>
                    <a:pt x="209009" y="303672"/>
                    <a:pt x="213816" y="297690"/>
                  </a:cubicBezTo>
                  <a:cubicBezTo>
                    <a:pt x="215503" y="300497"/>
                    <a:pt x="216201" y="303799"/>
                    <a:pt x="215795" y="307050"/>
                  </a:cubicBezTo>
                  <a:cubicBezTo>
                    <a:pt x="215529" y="306821"/>
                    <a:pt x="215262" y="306618"/>
                    <a:pt x="214983" y="306415"/>
                  </a:cubicBezTo>
                  <a:cubicBezTo>
                    <a:pt x="208324" y="301602"/>
                    <a:pt x="212142" y="302186"/>
                    <a:pt x="206802" y="300065"/>
                  </a:cubicBezTo>
                  <a:cubicBezTo>
                    <a:pt x="201500" y="297957"/>
                    <a:pt x="201094" y="300116"/>
                    <a:pt x="197137" y="303761"/>
                  </a:cubicBezTo>
                  <a:cubicBezTo>
                    <a:pt x="193141" y="307406"/>
                    <a:pt x="192786" y="305640"/>
                    <a:pt x="189539" y="306771"/>
                  </a:cubicBezTo>
                  <a:cubicBezTo>
                    <a:pt x="186305" y="307888"/>
                    <a:pt x="186533" y="307761"/>
                    <a:pt x="180876" y="306771"/>
                  </a:cubicBezTo>
                  <a:cubicBezTo>
                    <a:pt x="175523" y="305869"/>
                    <a:pt x="174090" y="300967"/>
                    <a:pt x="169269" y="296420"/>
                  </a:cubicBezTo>
                  <a:cubicBezTo>
                    <a:pt x="169866" y="295874"/>
                    <a:pt x="171160" y="295480"/>
                    <a:pt x="174039" y="295874"/>
                  </a:cubicBezTo>
                  <a:cubicBezTo>
                    <a:pt x="180013" y="296649"/>
                    <a:pt x="179163" y="300103"/>
                    <a:pt x="183032" y="291061"/>
                  </a:cubicBezTo>
                  <a:cubicBezTo>
                    <a:pt x="186583" y="279567"/>
                    <a:pt x="191391" y="268493"/>
                    <a:pt x="197365" y="258041"/>
                  </a:cubicBezTo>
                  <a:cubicBezTo>
                    <a:pt x="200726" y="256517"/>
                    <a:pt x="197137" y="259260"/>
                    <a:pt x="202438" y="260200"/>
                  </a:cubicBezTo>
                  <a:cubicBezTo>
                    <a:pt x="207728" y="261140"/>
                    <a:pt x="203377" y="258041"/>
                    <a:pt x="208945" y="258307"/>
                  </a:cubicBezTo>
                  <a:cubicBezTo>
                    <a:pt x="214527" y="258536"/>
                    <a:pt x="213486" y="258981"/>
                    <a:pt x="215871" y="260784"/>
                  </a:cubicBezTo>
                  <a:cubicBezTo>
                    <a:pt x="218205" y="262587"/>
                    <a:pt x="219601" y="259831"/>
                    <a:pt x="222797" y="259336"/>
                  </a:cubicBezTo>
                  <a:cubicBezTo>
                    <a:pt x="225981" y="258854"/>
                    <a:pt x="224192" y="258663"/>
                    <a:pt x="222480" y="250840"/>
                  </a:cubicBezTo>
                  <a:cubicBezTo>
                    <a:pt x="220767" y="243055"/>
                    <a:pt x="220729" y="246509"/>
                    <a:pt x="215871" y="242280"/>
                  </a:cubicBezTo>
                  <a:cubicBezTo>
                    <a:pt x="211013" y="238089"/>
                    <a:pt x="209935" y="241378"/>
                    <a:pt x="211013" y="235359"/>
                  </a:cubicBezTo>
                  <a:cubicBezTo>
                    <a:pt x="211597" y="231701"/>
                    <a:pt x="210836" y="227954"/>
                    <a:pt x="208857" y="224830"/>
                  </a:cubicBezTo>
                  <a:cubicBezTo>
                    <a:pt x="208058" y="222087"/>
                    <a:pt x="205128" y="223751"/>
                    <a:pt x="203022" y="220106"/>
                  </a:cubicBezTo>
                  <a:cubicBezTo>
                    <a:pt x="200955" y="216499"/>
                    <a:pt x="194980" y="220957"/>
                    <a:pt x="197352" y="213896"/>
                  </a:cubicBezTo>
                  <a:cubicBezTo>
                    <a:pt x="199471" y="209755"/>
                    <a:pt x="199471" y="204840"/>
                    <a:pt x="197352" y="200713"/>
                  </a:cubicBezTo>
                  <a:cubicBezTo>
                    <a:pt x="195602" y="195811"/>
                    <a:pt x="199826" y="198681"/>
                    <a:pt x="194207" y="193918"/>
                  </a:cubicBezTo>
                  <a:cubicBezTo>
                    <a:pt x="188549" y="189105"/>
                    <a:pt x="187522" y="185765"/>
                    <a:pt x="182791" y="185943"/>
                  </a:cubicBezTo>
                  <a:cubicBezTo>
                    <a:pt x="178034" y="186171"/>
                    <a:pt x="179290" y="187429"/>
                    <a:pt x="175383" y="184965"/>
                  </a:cubicBezTo>
                  <a:cubicBezTo>
                    <a:pt x="171426" y="182438"/>
                    <a:pt x="171603" y="182171"/>
                    <a:pt x="168369" y="180329"/>
                  </a:cubicBezTo>
                  <a:cubicBezTo>
                    <a:pt x="165743" y="178590"/>
                    <a:pt x="163333" y="176558"/>
                    <a:pt x="161177" y="174246"/>
                  </a:cubicBezTo>
                  <a:cubicBezTo>
                    <a:pt x="159693" y="172113"/>
                    <a:pt x="156826" y="171478"/>
                    <a:pt x="154569" y="172760"/>
                  </a:cubicBezTo>
                  <a:cubicBezTo>
                    <a:pt x="150624" y="175059"/>
                    <a:pt x="150522" y="175554"/>
                    <a:pt x="147745" y="174881"/>
                  </a:cubicBezTo>
                  <a:cubicBezTo>
                    <a:pt x="144916" y="174246"/>
                    <a:pt x="139335" y="174653"/>
                    <a:pt x="139068" y="176456"/>
                  </a:cubicBezTo>
                  <a:cubicBezTo>
                    <a:pt x="138802" y="178259"/>
                    <a:pt x="136240" y="178209"/>
                    <a:pt x="134895" y="177447"/>
                  </a:cubicBezTo>
                  <a:cubicBezTo>
                    <a:pt x="133538" y="176685"/>
                    <a:pt x="131648" y="175872"/>
                    <a:pt x="130304" y="177624"/>
                  </a:cubicBezTo>
                  <a:cubicBezTo>
                    <a:pt x="129479" y="179059"/>
                    <a:pt x="128908" y="180622"/>
                    <a:pt x="128642" y="182260"/>
                  </a:cubicBezTo>
                  <a:cubicBezTo>
                    <a:pt x="127336" y="182615"/>
                    <a:pt x="126714" y="184736"/>
                    <a:pt x="123112" y="184965"/>
                  </a:cubicBezTo>
                  <a:cubicBezTo>
                    <a:pt x="116998" y="185270"/>
                    <a:pt x="117899" y="187340"/>
                    <a:pt x="116009" y="191531"/>
                  </a:cubicBezTo>
                  <a:cubicBezTo>
                    <a:pt x="114081" y="195760"/>
                    <a:pt x="114524" y="196382"/>
                    <a:pt x="106077" y="196433"/>
                  </a:cubicBezTo>
                  <a:cubicBezTo>
                    <a:pt x="98708" y="196535"/>
                    <a:pt x="91414" y="197982"/>
                    <a:pt x="84552" y="200713"/>
                  </a:cubicBezTo>
                  <a:cubicBezTo>
                    <a:pt x="75521" y="203634"/>
                    <a:pt x="78349" y="205666"/>
                    <a:pt x="72236" y="200713"/>
                  </a:cubicBezTo>
                  <a:cubicBezTo>
                    <a:pt x="66134" y="195811"/>
                    <a:pt x="70485" y="197513"/>
                    <a:pt x="65094" y="195442"/>
                  </a:cubicBezTo>
                  <a:cubicBezTo>
                    <a:pt x="59653" y="193334"/>
                    <a:pt x="62710" y="196382"/>
                    <a:pt x="54262" y="196077"/>
                  </a:cubicBezTo>
                  <a:cubicBezTo>
                    <a:pt x="45764" y="195760"/>
                    <a:pt x="52283" y="195049"/>
                    <a:pt x="45726" y="192572"/>
                  </a:cubicBezTo>
                  <a:cubicBezTo>
                    <a:pt x="39117" y="190134"/>
                    <a:pt x="43481" y="191048"/>
                    <a:pt x="37633" y="192890"/>
                  </a:cubicBezTo>
                  <a:cubicBezTo>
                    <a:pt x="31798" y="194680"/>
                    <a:pt x="36339" y="192128"/>
                    <a:pt x="31215" y="190274"/>
                  </a:cubicBezTo>
                  <a:cubicBezTo>
                    <a:pt x="26141" y="188470"/>
                    <a:pt x="28513" y="189283"/>
                    <a:pt x="26585" y="190274"/>
                  </a:cubicBezTo>
                  <a:cubicBezTo>
                    <a:pt x="25012" y="191124"/>
                    <a:pt x="23478" y="192610"/>
                    <a:pt x="21993" y="193474"/>
                  </a:cubicBezTo>
                  <a:cubicBezTo>
                    <a:pt x="21321" y="192077"/>
                    <a:pt x="19748" y="190820"/>
                    <a:pt x="19165" y="189283"/>
                  </a:cubicBezTo>
                  <a:cubicBezTo>
                    <a:pt x="18137" y="186438"/>
                    <a:pt x="17364" y="188521"/>
                    <a:pt x="11795" y="187429"/>
                  </a:cubicBezTo>
                  <a:cubicBezTo>
                    <a:pt x="6265" y="186400"/>
                    <a:pt x="11478" y="185270"/>
                    <a:pt x="5238" y="179428"/>
                  </a:cubicBezTo>
                  <a:cubicBezTo>
                    <a:pt x="-1016" y="173535"/>
                    <a:pt x="3665" y="176723"/>
                    <a:pt x="-26" y="176227"/>
                  </a:cubicBezTo>
                  <a:cubicBezTo>
                    <a:pt x="1001" y="171427"/>
                    <a:pt x="2663" y="166779"/>
                    <a:pt x="4920" y="162422"/>
                  </a:cubicBezTo>
                  <a:cubicBezTo>
                    <a:pt x="7293" y="157355"/>
                    <a:pt x="9170" y="152085"/>
                    <a:pt x="10539" y="146674"/>
                  </a:cubicBezTo>
                  <a:cubicBezTo>
                    <a:pt x="11390" y="146890"/>
                    <a:pt x="11707" y="147259"/>
                    <a:pt x="12874" y="148833"/>
                  </a:cubicBezTo>
                  <a:cubicBezTo>
                    <a:pt x="15258" y="152072"/>
                    <a:pt x="17186" y="150942"/>
                    <a:pt x="18860" y="150942"/>
                  </a:cubicBezTo>
                  <a:cubicBezTo>
                    <a:pt x="20471" y="150942"/>
                    <a:pt x="17820" y="150446"/>
                    <a:pt x="16210" y="143385"/>
                  </a:cubicBezTo>
                  <a:cubicBezTo>
                    <a:pt x="14408" y="137823"/>
                    <a:pt x="14319" y="131841"/>
                    <a:pt x="15981" y="126240"/>
                  </a:cubicBezTo>
                  <a:cubicBezTo>
                    <a:pt x="23922" y="115229"/>
                    <a:pt x="32635" y="104790"/>
                    <a:pt x="42047" y="95011"/>
                  </a:cubicBezTo>
                  <a:cubicBezTo>
                    <a:pt x="47260" y="90604"/>
                    <a:pt x="50406" y="89067"/>
                    <a:pt x="52296" y="83352"/>
                  </a:cubicBezTo>
                  <a:cubicBezTo>
                    <a:pt x="54148" y="77790"/>
                    <a:pt x="54389" y="71821"/>
                    <a:pt x="52968" y="66118"/>
                  </a:cubicBezTo>
                  <a:cubicBezTo>
                    <a:pt x="47641" y="57127"/>
                    <a:pt x="43506" y="47475"/>
                    <a:pt x="40652" y="37416"/>
                  </a:cubicBezTo>
                  <a:cubicBezTo>
                    <a:pt x="40601" y="35118"/>
                    <a:pt x="40474" y="33416"/>
                    <a:pt x="40335" y="31968"/>
                  </a:cubicBezTo>
                  <a:cubicBezTo>
                    <a:pt x="42047" y="31993"/>
                    <a:pt x="43709" y="32463"/>
                    <a:pt x="45193" y="33327"/>
                  </a:cubicBezTo>
                  <a:cubicBezTo>
                    <a:pt x="50140" y="36197"/>
                    <a:pt x="48922" y="34305"/>
                    <a:pt x="58359" y="28603"/>
                  </a:cubicBezTo>
                  <a:cubicBezTo>
                    <a:pt x="67745" y="22926"/>
                    <a:pt x="61771" y="25631"/>
                    <a:pt x="65640" y="21491"/>
                  </a:cubicBezTo>
                  <a:cubicBezTo>
                    <a:pt x="69458" y="17388"/>
                    <a:pt x="71081" y="22024"/>
                    <a:pt x="77144" y="20094"/>
                  </a:cubicBezTo>
                  <a:cubicBezTo>
                    <a:pt x="80112" y="18912"/>
                    <a:pt x="83372" y="18671"/>
                    <a:pt x="86492" y="19370"/>
                  </a:cubicBezTo>
                  <a:cubicBezTo>
                    <a:pt x="95409" y="19941"/>
                    <a:pt x="104212" y="21643"/>
                    <a:pt x="112685" y="24450"/>
                  </a:cubicBezTo>
                  <a:cubicBezTo>
                    <a:pt x="116288" y="27371"/>
                    <a:pt x="121945" y="25123"/>
                    <a:pt x="126537" y="28590"/>
                  </a:cubicBezTo>
                  <a:cubicBezTo>
                    <a:pt x="131065" y="32095"/>
                    <a:pt x="133728" y="28133"/>
                    <a:pt x="139068" y="32362"/>
                  </a:cubicBezTo>
                  <a:cubicBezTo>
                    <a:pt x="144421" y="36591"/>
                    <a:pt x="139918" y="37277"/>
                    <a:pt x="145588" y="35918"/>
                  </a:cubicBezTo>
                  <a:cubicBezTo>
                    <a:pt x="151296" y="34622"/>
                    <a:pt x="149051" y="35791"/>
                    <a:pt x="158259" y="41595"/>
                  </a:cubicBezTo>
                  <a:cubicBezTo>
                    <a:pt x="167519" y="47348"/>
                    <a:pt x="158259" y="41595"/>
                    <a:pt x="162255" y="34660"/>
                  </a:cubicBezTo>
                  <a:cubicBezTo>
                    <a:pt x="166213" y="27777"/>
                    <a:pt x="162255" y="34660"/>
                    <a:pt x="172326" y="32997"/>
                  </a:cubicBezTo>
                  <a:cubicBezTo>
                    <a:pt x="182436" y="31333"/>
                    <a:pt x="174254" y="35422"/>
                    <a:pt x="180229" y="36642"/>
                  </a:cubicBezTo>
                  <a:cubicBezTo>
                    <a:pt x="186216" y="37861"/>
                    <a:pt x="180634" y="43030"/>
                    <a:pt x="185188" y="44427"/>
                  </a:cubicBezTo>
                  <a:cubicBezTo>
                    <a:pt x="189767" y="45824"/>
                    <a:pt x="185987" y="42496"/>
                    <a:pt x="193179" y="36604"/>
                  </a:cubicBezTo>
                  <a:cubicBezTo>
                    <a:pt x="200320" y="30698"/>
                    <a:pt x="193179" y="36604"/>
                    <a:pt x="199115" y="37950"/>
                  </a:cubicBezTo>
                  <a:cubicBezTo>
                    <a:pt x="205090" y="39258"/>
                    <a:pt x="202121" y="43436"/>
                    <a:pt x="203834" y="46052"/>
                  </a:cubicBezTo>
                  <a:cubicBezTo>
                    <a:pt x="205534" y="48656"/>
                    <a:pt x="206168" y="44655"/>
                    <a:pt x="209948" y="41595"/>
                  </a:cubicBezTo>
                  <a:cubicBezTo>
                    <a:pt x="213766" y="38483"/>
                    <a:pt x="213499" y="40248"/>
                    <a:pt x="216632" y="42941"/>
                  </a:cubicBezTo>
                  <a:cubicBezTo>
                    <a:pt x="219778" y="45646"/>
                    <a:pt x="216632" y="42941"/>
                    <a:pt x="220640" y="41861"/>
                  </a:cubicBezTo>
                  <a:cubicBezTo>
                    <a:pt x="224382" y="40147"/>
                    <a:pt x="228796" y="41785"/>
                    <a:pt x="230522" y="45532"/>
                  </a:cubicBezTo>
                  <a:cubicBezTo>
                    <a:pt x="230572" y="45646"/>
                    <a:pt x="230610" y="45760"/>
                    <a:pt x="230661" y="45862"/>
                  </a:cubicBezTo>
                  <a:cubicBezTo>
                    <a:pt x="233984" y="51132"/>
                    <a:pt x="233984" y="49291"/>
                    <a:pt x="237130" y="50815"/>
                  </a:cubicBezTo>
                  <a:cubicBezTo>
                    <a:pt x="240275" y="52352"/>
                    <a:pt x="240504" y="47487"/>
                    <a:pt x="240275" y="41684"/>
                  </a:cubicBezTo>
                  <a:cubicBezTo>
                    <a:pt x="239388" y="37378"/>
                    <a:pt x="239121" y="32971"/>
                    <a:pt x="239514" y="28590"/>
                  </a:cubicBezTo>
                  <a:cubicBezTo>
                    <a:pt x="240326" y="19954"/>
                    <a:pt x="245222" y="21757"/>
                    <a:pt x="248723" y="17071"/>
                  </a:cubicBezTo>
                  <a:cubicBezTo>
                    <a:pt x="252186" y="12347"/>
                    <a:pt x="248723" y="17071"/>
                    <a:pt x="257983" y="15318"/>
                  </a:cubicBezTo>
                  <a:cubicBezTo>
                    <a:pt x="266798" y="13604"/>
                    <a:pt x="265124" y="11813"/>
                    <a:pt x="272950" y="11635"/>
                  </a:cubicBezTo>
                  <a:cubicBezTo>
                    <a:pt x="274168" y="14785"/>
                    <a:pt x="274523" y="16004"/>
                    <a:pt x="277313" y="15725"/>
                  </a:cubicBezTo>
                  <a:cubicBezTo>
                    <a:pt x="282032" y="15229"/>
                    <a:pt x="281081" y="16893"/>
                    <a:pt x="285178" y="11585"/>
                  </a:cubicBezTo>
                  <a:cubicBezTo>
                    <a:pt x="289262" y="6276"/>
                    <a:pt x="285850" y="-19"/>
                    <a:pt x="294843" y="2453"/>
                  </a:cubicBezTo>
                  <a:cubicBezTo>
                    <a:pt x="303785" y="4968"/>
                    <a:pt x="294703" y="11318"/>
                    <a:pt x="305624" y="5920"/>
                  </a:cubicBezTo>
                  <a:cubicBezTo>
                    <a:pt x="316545" y="565"/>
                    <a:pt x="316317" y="7178"/>
                    <a:pt x="322647" y="3799"/>
                  </a:cubicBezTo>
                  <a:cubicBezTo>
                    <a:pt x="328989" y="386"/>
                    <a:pt x="331411" y="-3169"/>
                    <a:pt x="334823" y="4930"/>
                  </a:cubicBezTo>
                  <a:cubicBezTo>
                    <a:pt x="338248" y="13070"/>
                    <a:pt x="338426" y="22519"/>
                    <a:pt x="342561" y="26532"/>
                  </a:cubicBezTo>
                  <a:cubicBezTo>
                    <a:pt x="346696" y="30571"/>
                    <a:pt x="345707" y="29326"/>
                    <a:pt x="343550" y="34406"/>
                  </a:cubicBezTo>
                  <a:cubicBezTo>
                    <a:pt x="341343" y="39436"/>
                    <a:pt x="336130" y="52809"/>
                    <a:pt x="344539" y="52352"/>
                  </a:cubicBezTo>
                  <a:cubicBezTo>
                    <a:pt x="352937" y="51907"/>
                    <a:pt x="350641" y="56809"/>
                    <a:pt x="357744" y="55146"/>
                  </a:cubicBezTo>
                  <a:cubicBezTo>
                    <a:pt x="364898" y="53444"/>
                    <a:pt x="366648" y="55603"/>
                    <a:pt x="370783" y="60822"/>
                  </a:cubicBezTo>
                  <a:cubicBezTo>
                    <a:pt x="374868" y="66042"/>
                    <a:pt x="374550" y="64010"/>
                    <a:pt x="375629" y="72151"/>
                  </a:cubicBezTo>
                  <a:cubicBezTo>
                    <a:pt x="376707" y="80253"/>
                    <a:pt x="372483" y="87277"/>
                    <a:pt x="379814" y="88356"/>
                  </a:cubicBezTo>
                  <a:cubicBezTo>
                    <a:pt x="387133" y="89474"/>
                    <a:pt x="374639" y="86375"/>
                    <a:pt x="387133" y="89474"/>
                  </a:cubicBezTo>
                  <a:cubicBezTo>
                    <a:pt x="393044" y="90464"/>
                    <a:pt x="398878" y="91810"/>
                    <a:pt x="404624" y="93525"/>
                  </a:cubicBezTo>
                  <a:cubicBezTo>
                    <a:pt x="412400" y="96230"/>
                    <a:pt x="408075" y="96636"/>
                    <a:pt x="415584" y="94477"/>
                  </a:cubicBezTo>
                  <a:cubicBezTo>
                    <a:pt x="419782" y="93411"/>
                    <a:pt x="423892" y="92001"/>
                    <a:pt x="427849" y="90248"/>
                  </a:cubicBezTo>
                  <a:cubicBezTo>
                    <a:pt x="428686" y="90020"/>
                    <a:pt x="429295" y="89309"/>
                    <a:pt x="429372" y="88445"/>
                  </a:cubicBezTo>
                  <a:cubicBezTo>
                    <a:pt x="430234" y="89524"/>
                    <a:pt x="431528" y="91048"/>
                    <a:pt x="433418" y="93030"/>
                  </a:cubicBezTo>
                  <a:cubicBezTo>
                    <a:pt x="445734" y="106034"/>
                    <a:pt x="438098" y="101399"/>
                    <a:pt x="445734" y="106034"/>
                  </a:cubicBezTo>
                  <a:cubicBezTo>
                    <a:pt x="453370" y="110632"/>
                    <a:pt x="450224" y="101043"/>
                    <a:pt x="455399" y="104333"/>
                  </a:cubicBezTo>
                  <a:cubicBezTo>
                    <a:pt x="460524" y="107571"/>
                    <a:pt x="458317" y="107660"/>
                    <a:pt x="464113" y="109375"/>
                  </a:cubicBezTo>
                  <a:cubicBezTo>
                    <a:pt x="469872" y="111076"/>
                    <a:pt x="460828" y="107343"/>
                    <a:pt x="472701" y="111661"/>
                  </a:cubicBezTo>
                  <a:cubicBezTo>
                    <a:pt x="484560" y="115979"/>
                    <a:pt x="481503" y="112880"/>
                    <a:pt x="484560" y="115979"/>
                  </a:cubicBezTo>
                  <a:cubicBezTo>
                    <a:pt x="487668" y="119128"/>
                    <a:pt x="479258" y="115394"/>
                    <a:pt x="487668" y="119128"/>
                  </a:cubicBezTo>
                  <a:cubicBezTo>
                    <a:pt x="496027" y="122862"/>
                    <a:pt x="494137" y="120385"/>
                    <a:pt x="501874" y="127180"/>
                  </a:cubicBezTo>
                  <a:cubicBezTo>
                    <a:pt x="509612" y="133974"/>
                    <a:pt x="497688" y="119001"/>
                    <a:pt x="506682" y="124259"/>
                  </a:cubicBezTo>
                  <a:cubicBezTo>
                    <a:pt x="515624" y="129580"/>
                    <a:pt x="508660" y="128412"/>
                    <a:pt x="509612" y="134000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2" name="Vrije vorm 311">
              <a:extLst>
                <a:ext uri="{FF2B5EF4-FFF2-40B4-BE49-F238E27FC236}">
                  <a16:creationId xmlns:a16="http://schemas.microsoft.com/office/drawing/2014/main" id="{95C564BB-3B6F-3142-86F7-38EAC021B9C6}"/>
                </a:ext>
              </a:extLst>
            </p:cNvPr>
            <p:cNvSpPr/>
            <p:nvPr/>
          </p:nvSpPr>
          <p:spPr>
            <a:xfrm>
              <a:off x="6122827" y="2997064"/>
              <a:ext cx="178498" cy="119073"/>
            </a:xfrm>
            <a:custGeom>
              <a:avLst/>
              <a:gdLst>
                <a:gd name="connsiteX0" fmla="*/ 148284 w 178498"/>
                <a:gd name="connsiteY0" fmla="*/ 73110 h 119073"/>
                <a:gd name="connsiteX1" fmla="*/ 160739 w 178498"/>
                <a:gd name="connsiteY1" fmla="*/ 91017 h 119073"/>
                <a:gd name="connsiteX2" fmla="*/ 147700 w 178498"/>
                <a:gd name="connsiteY2" fmla="*/ 88680 h 119073"/>
                <a:gd name="connsiteX3" fmla="*/ 135029 w 178498"/>
                <a:gd name="connsiteY3" fmla="*/ 86559 h 119073"/>
                <a:gd name="connsiteX4" fmla="*/ 120645 w 178498"/>
                <a:gd name="connsiteY4" fmla="*/ 94535 h 119073"/>
                <a:gd name="connsiteX5" fmla="*/ 115216 w 178498"/>
                <a:gd name="connsiteY5" fmla="*/ 97329 h 119073"/>
                <a:gd name="connsiteX6" fmla="*/ 111348 w 178498"/>
                <a:gd name="connsiteY6" fmla="*/ 99209 h 119073"/>
                <a:gd name="connsiteX7" fmla="*/ 110180 w 178498"/>
                <a:gd name="connsiteY7" fmla="*/ 110956 h 119073"/>
                <a:gd name="connsiteX8" fmla="*/ 99970 w 178498"/>
                <a:gd name="connsiteY8" fmla="*/ 114690 h 119073"/>
                <a:gd name="connsiteX9" fmla="*/ 84432 w 178498"/>
                <a:gd name="connsiteY9" fmla="*/ 118563 h 119073"/>
                <a:gd name="connsiteX10" fmla="*/ 71164 w 178498"/>
                <a:gd name="connsiteY10" fmla="*/ 114461 h 119073"/>
                <a:gd name="connsiteX11" fmla="*/ 57643 w 178498"/>
                <a:gd name="connsiteY11" fmla="*/ 107895 h 119073"/>
                <a:gd name="connsiteX12" fmla="*/ 45643 w 178498"/>
                <a:gd name="connsiteY12" fmla="*/ 110054 h 119073"/>
                <a:gd name="connsiteX13" fmla="*/ 28431 w 178498"/>
                <a:gd name="connsiteY13" fmla="*/ 114372 h 119073"/>
                <a:gd name="connsiteX14" fmla="*/ 17915 w 178498"/>
                <a:gd name="connsiteY14" fmla="*/ 114283 h 119073"/>
                <a:gd name="connsiteX15" fmla="*/ 17649 w 178498"/>
                <a:gd name="connsiteY15" fmla="*/ 106054 h 119073"/>
                <a:gd name="connsiteX16" fmla="*/ 17243 w 178498"/>
                <a:gd name="connsiteY16" fmla="*/ 95652 h 119073"/>
                <a:gd name="connsiteX17" fmla="*/ 6322 w 178498"/>
                <a:gd name="connsiteY17" fmla="*/ 80755 h 119073"/>
                <a:gd name="connsiteX18" fmla="*/ 3126 w 178498"/>
                <a:gd name="connsiteY18" fmla="*/ 77746 h 119073"/>
                <a:gd name="connsiteX19" fmla="*/ 3532 w 178498"/>
                <a:gd name="connsiteY19" fmla="*/ 66138 h 119073"/>
                <a:gd name="connsiteX20" fmla="*/ 7121 w 178498"/>
                <a:gd name="connsiteY20" fmla="*/ 56460 h 119073"/>
                <a:gd name="connsiteX21" fmla="*/ 17243 w 178498"/>
                <a:gd name="connsiteY21" fmla="*/ 46478 h 119073"/>
                <a:gd name="connsiteX22" fmla="*/ 11573 w 178498"/>
                <a:gd name="connsiteY22" fmla="*/ 36039 h 119073"/>
                <a:gd name="connsiteX23" fmla="*/ 4166 w 178498"/>
                <a:gd name="connsiteY23" fmla="*/ 29333 h 119073"/>
                <a:gd name="connsiteX24" fmla="*/ 614 w 178498"/>
                <a:gd name="connsiteY24" fmla="*/ 14347 h 119073"/>
                <a:gd name="connsiteX25" fmla="*/ 11535 w 178498"/>
                <a:gd name="connsiteY25" fmla="*/ 3362 h 119073"/>
                <a:gd name="connsiteX26" fmla="*/ 14897 w 178498"/>
                <a:gd name="connsiteY26" fmla="*/ 7591 h 119073"/>
                <a:gd name="connsiteX27" fmla="*/ 17954 w 178498"/>
                <a:gd name="connsiteY27" fmla="*/ 18843 h 119073"/>
                <a:gd name="connsiteX28" fmla="*/ 29458 w 178498"/>
                <a:gd name="connsiteY28" fmla="*/ 16823 h 119073"/>
                <a:gd name="connsiteX29" fmla="*/ 46950 w 178498"/>
                <a:gd name="connsiteY29" fmla="*/ 20684 h 119073"/>
                <a:gd name="connsiteX30" fmla="*/ 69959 w 178498"/>
                <a:gd name="connsiteY30" fmla="*/ 22627 h 119073"/>
                <a:gd name="connsiteX31" fmla="*/ 90850 w 178498"/>
                <a:gd name="connsiteY31" fmla="*/ 25282 h 119073"/>
                <a:gd name="connsiteX32" fmla="*/ 107656 w 178498"/>
                <a:gd name="connsiteY32" fmla="*/ 12772 h 119073"/>
                <a:gd name="connsiteX33" fmla="*/ 127837 w 178498"/>
                <a:gd name="connsiteY33" fmla="*/ 6333 h 119073"/>
                <a:gd name="connsiteX34" fmla="*/ 139570 w 178498"/>
                <a:gd name="connsiteY34" fmla="*/ 5394 h 119073"/>
                <a:gd name="connsiteX35" fmla="*/ 147700 w 178498"/>
                <a:gd name="connsiteY35" fmla="*/ 10347 h 119073"/>
                <a:gd name="connsiteX36" fmla="*/ 159560 w 178498"/>
                <a:gd name="connsiteY36" fmla="*/ 12594 h 119073"/>
                <a:gd name="connsiteX37" fmla="*/ 168946 w 178498"/>
                <a:gd name="connsiteY37" fmla="*/ 22081 h 119073"/>
                <a:gd name="connsiteX38" fmla="*/ 177711 w 178498"/>
                <a:gd name="connsiteY38" fmla="*/ 23173 h 119073"/>
                <a:gd name="connsiteX39" fmla="*/ 178472 w 178498"/>
                <a:gd name="connsiteY39" fmla="*/ 32711 h 119073"/>
                <a:gd name="connsiteX40" fmla="*/ 148284 w 178498"/>
                <a:gd name="connsiteY40" fmla="*/ 73110 h 119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78498" h="119073">
                  <a:moveTo>
                    <a:pt x="148284" y="73110"/>
                  </a:moveTo>
                  <a:cubicBezTo>
                    <a:pt x="156059" y="72348"/>
                    <a:pt x="158482" y="81886"/>
                    <a:pt x="160739" y="91017"/>
                  </a:cubicBezTo>
                  <a:cubicBezTo>
                    <a:pt x="153230" y="92008"/>
                    <a:pt x="158888" y="90433"/>
                    <a:pt x="147700" y="88680"/>
                  </a:cubicBezTo>
                  <a:cubicBezTo>
                    <a:pt x="135650" y="86788"/>
                    <a:pt x="143210" y="87829"/>
                    <a:pt x="135029" y="86559"/>
                  </a:cubicBezTo>
                  <a:cubicBezTo>
                    <a:pt x="126847" y="85353"/>
                    <a:pt x="131211" y="89848"/>
                    <a:pt x="120645" y="94535"/>
                  </a:cubicBezTo>
                  <a:cubicBezTo>
                    <a:pt x="118742" y="95284"/>
                    <a:pt x="116928" y="96211"/>
                    <a:pt x="115216" y="97329"/>
                  </a:cubicBezTo>
                  <a:cubicBezTo>
                    <a:pt x="114214" y="98129"/>
                    <a:pt x="116294" y="97634"/>
                    <a:pt x="111348" y="99209"/>
                  </a:cubicBezTo>
                  <a:cubicBezTo>
                    <a:pt x="103788" y="101596"/>
                    <a:pt x="109052" y="99843"/>
                    <a:pt x="110180" y="110956"/>
                  </a:cubicBezTo>
                  <a:cubicBezTo>
                    <a:pt x="111296" y="122119"/>
                    <a:pt x="110180" y="110956"/>
                    <a:pt x="99970" y="114690"/>
                  </a:cubicBezTo>
                  <a:cubicBezTo>
                    <a:pt x="95061" y="116900"/>
                    <a:pt x="89797" y="118208"/>
                    <a:pt x="84432" y="118563"/>
                  </a:cubicBezTo>
                  <a:cubicBezTo>
                    <a:pt x="72559" y="120811"/>
                    <a:pt x="79256" y="114956"/>
                    <a:pt x="71164" y="114461"/>
                  </a:cubicBezTo>
                  <a:cubicBezTo>
                    <a:pt x="63033" y="113966"/>
                    <a:pt x="66902" y="111451"/>
                    <a:pt x="57643" y="107895"/>
                  </a:cubicBezTo>
                  <a:cubicBezTo>
                    <a:pt x="48383" y="104390"/>
                    <a:pt x="53457" y="108264"/>
                    <a:pt x="45643" y="110054"/>
                  </a:cubicBezTo>
                  <a:cubicBezTo>
                    <a:pt x="40075" y="112124"/>
                    <a:pt x="34304" y="113572"/>
                    <a:pt x="28431" y="114372"/>
                  </a:cubicBezTo>
                  <a:cubicBezTo>
                    <a:pt x="19933" y="115134"/>
                    <a:pt x="27124" y="112937"/>
                    <a:pt x="17915" y="114283"/>
                  </a:cubicBezTo>
                  <a:cubicBezTo>
                    <a:pt x="18448" y="111553"/>
                    <a:pt x="18359" y="108734"/>
                    <a:pt x="17649" y="106054"/>
                  </a:cubicBezTo>
                  <a:cubicBezTo>
                    <a:pt x="16254" y="104022"/>
                    <a:pt x="19083" y="101456"/>
                    <a:pt x="17243" y="95652"/>
                  </a:cubicBezTo>
                  <a:cubicBezTo>
                    <a:pt x="15353" y="89899"/>
                    <a:pt x="13730" y="88045"/>
                    <a:pt x="6322" y="80755"/>
                  </a:cubicBezTo>
                  <a:cubicBezTo>
                    <a:pt x="5066" y="79498"/>
                    <a:pt x="3988" y="78508"/>
                    <a:pt x="3126" y="77746"/>
                  </a:cubicBezTo>
                  <a:cubicBezTo>
                    <a:pt x="4699" y="74062"/>
                    <a:pt x="4838" y="69922"/>
                    <a:pt x="3532" y="66138"/>
                  </a:cubicBezTo>
                  <a:cubicBezTo>
                    <a:pt x="792" y="61147"/>
                    <a:pt x="-4371" y="63572"/>
                    <a:pt x="7121" y="56460"/>
                  </a:cubicBezTo>
                  <a:cubicBezTo>
                    <a:pt x="18677" y="49310"/>
                    <a:pt x="14948" y="52688"/>
                    <a:pt x="17243" y="46478"/>
                  </a:cubicBezTo>
                  <a:cubicBezTo>
                    <a:pt x="19489" y="40217"/>
                    <a:pt x="14187" y="44992"/>
                    <a:pt x="11573" y="36039"/>
                  </a:cubicBezTo>
                  <a:cubicBezTo>
                    <a:pt x="8923" y="27085"/>
                    <a:pt x="9100" y="34781"/>
                    <a:pt x="4166" y="29333"/>
                  </a:cubicBezTo>
                  <a:cubicBezTo>
                    <a:pt x="-781" y="23936"/>
                    <a:pt x="2314" y="17903"/>
                    <a:pt x="614" y="14347"/>
                  </a:cubicBezTo>
                  <a:cubicBezTo>
                    <a:pt x="-1136" y="10842"/>
                    <a:pt x="5599" y="11197"/>
                    <a:pt x="11535" y="3362"/>
                  </a:cubicBezTo>
                  <a:cubicBezTo>
                    <a:pt x="17421" y="-4512"/>
                    <a:pt x="11535" y="3362"/>
                    <a:pt x="14897" y="7591"/>
                  </a:cubicBezTo>
                  <a:cubicBezTo>
                    <a:pt x="18322" y="11820"/>
                    <a:pt x="17053" y="13496"/>
                    <a:pt x="17954" y="18843"/>
                  </a:cubicBezTo>
                  <a:cubicBezTo>
                    <a:pt x="18905" y="24240"/>
                    <a:pt x="21556" y="18576"/>
                    <a:pt x="29458" y="16823"/>
                  </a:cubicBezTo>
                  <a:cubicBezTo>
                    <a:pt x="37411" y="15071"/>
                    <a:pt x="40697" y="18398"/>
                    <a:pt x="46950" y="20684"/>
                  </a:cubicBezTo>
                  <a:cubicBezTo>
                    <a:pt x="54472" y="22475"/>
                    <a:pt x="62234" y="23135"/>
                    <a:pt x="69959" y="22627"/>
                  </a:cubicBezTo>
                  <a:cubicBezTo>
                    <a:pt x="76999" y="22767"/>
                    <a:pt x="84000" y="23656"/>
                    <a:pt x="90850" y="25282"/>
                  </a:cubicBezTo>
                  <a:cubicBezTo>
                    <a:pt x="100198" y="26895"/>
                    <a:pt x="102849" y="18348"/>
                    <a:pt x="107656" y="12772"/>
                  </a:cubicBezTo>
                  <a:cubicBezTo>
                    <a:pt x="112463" y="7197"/>
                    <a:pt x="120696" y="8810"/>
                    <a:pt x="127837" y="6333"/>
                  </a:cubicBezTo>
                  <a:cubicBezTo>
                    <a:pt x="134978" y="3870"/>
                    <a:pt x="134483" y="5394"/>
                    <a:pt x="139570" y="5394"/>
                  </a:cubicBezTo>
                  <a:cubicBezTo>
                    <a:pt x="144605" y="5394"/>
                    <a:pt x="140825" y="7553"/>
                    <a:pt x="147700" y="10347"/>
                  </a:cubicBezTo>
                  <a:cubicBezTo>
                    <a:pt x="154575" y="13141"/>
                    <a:pt x="151658" y="11197"/>
                    <a:pt x="159560" y="12594"/>
                  </a:cubicBezTo>
                  <a:cubicBezTo>
                    <a:pt x="167475" y="14030"/>
                    <a:pt x="163695" y="19389"/>
                    <a:pt x="168946" y="22081"/>
                  </a:cubicBezTo>
                  <a:cubicBezTo>
                    <a:pt x="171623" y="23567"/>
                    <a:pt x="174756" y="23948"/>
                    <a:pt x="177711" y="23173"/>
                  </a:cubicBezTo>
                  <a:cubicBezTo>
                    <a:pt x="177077" y="26361"/>
                    <a:pt x="177343" y="29663"/>
                    <a:pt x="178472" y="32711"/>
                  </a:cubicBezTo>
                  <a:cubicBezTo>
                    <a:pt x="157721" y="35632"/>
                    <a:pt x="158710" y="62226"/>
                    <a:pt x="148284" y="73110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3" name="Vrije vorm 312">
              <a:extLst>
                <a:ext uri="{FF2B5EF4-FFF2-40B4-BE49-F238E27FC236}">
                  <a16:creationId xmlns:a16="http://schemas.microsoft.com/office/drawing/2014/main" id="{CD74523B-B8F1-B645-B937-604FF9368289}"/>
                </a:ext>
              </a:extLst>
            </p:cNvPr>
            <p:cNvSpPr/>
            <p:nvPr/>
          </p:nvSpPr>
          <p:spPr>
            <a:xfrm>
              <a:off x="6055252" y="3037920"/>
              <a:ext cx="50602" cy="53449"/>
            </a:xfrm>
            <a:custGeom>
              <a:avLst/>
              <a:gdLst>
                <a:gd name="connsiteX0" fmla="*/ 49315 w 50602"/>
                <a:gd name="connsiteY0" fmla="*/ 31086 h 53449"/>
                <a:gd name="connsiteX1" fmla="*/ 43925 w 50602"/>
                <a:gd name="connsiteY1" fmla="*/ 38833 h 53449"/>
                <a:gd name="connsiteX2" fmla="*/ 43468 w 50602"/>
                <a:gd name="connsiteY2" fmla="*/ 39468 h 53449"/>
                <a:gd name="connsiteX3" fmla="*/ 39295 w 50602"/>
                <a:gd name="connsiteY3" fmla="*/ 45488 h 53449"/>
                <a:gd name="connsiteX4" fmla="*/ 25989 w 50602"/>
                <a:gd name="connsiteY4" fmla="*/ 47063 h 53449"/>
                <a:gd name="connsiteX5" fmla="*/ 17275 w 50602"/>
                <a:gd name="connsiteY5" fmla="*/ 53451 h 53449"/>
                <a:gd name="connsiteX6" fmla="*/ 15474 w 50602"/>
                <a:gd name="connsiteY6" fmla="*/ 44904 h 53449"/>
                <a:gd name="connsiteX7" fmla="*/ 9626 w 50602"/>
                <a:gd name="connsiteY7" fmla="*/ 32978 h 53449"/>
                <a:gd name="connsiteX8" fmla="*/ 3880 w 50602"/>
                <a:gd name="connsiteY8" fmla="*/ 27581 h 53449"/>
                <a:gd name="connsiteX9" fmla="*/ -26 w 50602"/>
                <a:gd name="connsiteY9" fmla="*/ 20024 h 53449"/>
                <a:gd name="connsiteX10" fmla="*/ 4920 w 50602"/>
                <a:gd name="connsiteY10" fmla="*/ 19262 h 53449"/>
                <a:gd name="connsiteX11" fmla="*/ 16057 w 50602"/>
                <a:gd name="connsiteY11" fmla="*/ 20697 h 53449"/>
                <a:gd name="connsiteX12" fmla="*/ 12468 w 50602"/>
                <a:gd name="connsiteY12" fmla="*/ 16786 h 53449"/>
                <a:gd name="connsiteX13" fmla="*/ 18708 w 50602"/>
                <a:gd name="connsiteY13" fmla="*/ 10131 h 53449"/>
                <a:gd name="connsiteX14" fmla="*/ 25279 w 50602"/>
                <a:gd name="connsiteY14" fmla="*/ 314 h 53449"/>
                <a:gd name="connsiteX15" fmla="*/ 33232 w 50602"/>
                <a:gd name="connsiteY15" fmla="*/ 9712 h 53449"/>
                <a:gd name="connsiteX16" fmla="*/ 35248 w 50602"/>
                <a:gd name="connsiteY16" fmla="*/ 11426 h 53449"/>
                <a:gd name="connsiteX17" fmla="*/ 35426 w 50602"/>
                <a:gd name="connsiteY17" fmla="*/ 11566 h 53449"/>
                <a:gd name="connsiteX18" fmla="*/ 35515 w 50602"/>
                <a:gd name="connsiteY18" fmla="*/ 11655 h 53449"/>
                <a:gd name="connsiteX19" fmla="*/ 39472 w 50602"/>
                <a:gd name="connsiteY19" fmla="*/ 14982 h 53449"/>
                <a:gd name="connsiteX20" fmla="*/ 48960 w 50602"/>
                <a:gd name="connsiteY20" fmla="*/ 23174 h 53449"/>
                <a:gd name="connsiteX21" fmla="*/ 49315 w 50602"/>
                <a:gd name="connsiteY21" fmla="*/ 31086 h 53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50602" h="53449">
                  <a:moveTo>
                    <a:pt x="49315" y="31086"/>
                  </a:moveTo>
                  <a:cubicBezTo>
                    <a:pt x="47806" y="33855"/>
                    <a:pt x="45992" y="36458"/>
                    <a:pt x="43925" y="38833"/>
                  </a:cubicBezTo>
                  <a:cubicBezTo>
                    <a:pt x="43785" y="39011"/>
                    <a:pt x="43645" y="39227"/>
                    <a:pt x="43468" y="39468"/>
                  </a:cubicBezTo>
                  <a:cubicBezTo>
                    <a:pt x="39295" y="45488"/>
                    <a:pt x="48998" y="47469"/>
                    <a:pt x="39295" y="45488"/>
                  </a:cubicBezTo>
                  <a:cubicBezTo>
                    <a:pt x="29579" y="43468"/>
                    <a:pt x="30974" y="40459"/>
                    <a:pt x="25989" y="47063"/>
                  </a:cubicBezTo>
                  <a:cubicBezTo>
                    <a:pt x="21410" y="53146"/>
                    <a:pt x="21587" y="52600"/>
                    <a:pt x="17275" y="53451"/>
                  </a:cubicBezTo>
                  <a:cubicBezTo>
                    <a:pt x="17275" y="50517"/>
                    <a:pt x="16653" y="47596"/>
                    <a:pt x="15474" y="44904"/>
                  </a:cubicBezTo>
                  <a:cubicBezTo>
                    <a:pt x="12151" y="36090"/>
                    <a:pt x="12468" y="45627"/>
                    <a:pt x="9626" y="32978"/>
                  </a:cubicBezTo>
                  <a:cubicBezTo>
                    <a:pt x="6798" y="20342"/>
                    <a:pt x="7064" y="30019"/>
                    <a:pt x="3880" y="27581"/>
                  </a:cubicBezTo>
                  <a:cubicBezTo>
                    <a:pt x="1940" y="25447"/>
                    <a:pt x="582" y="22844"/>
                    <a:pt x="-26" y="20024"/>
                  </a:cubicBezTo>
                  <a:cubicBezTo>
                    <a:pt x="608" y="19262"/>
                    <a:pt x="2079" y="18894"/>
                    <a:pt x="4920" y="19262"/>
                  </a:cubicBezTo>
                  <a:cubicBezTo>
                    <a:pt x="16057" y="20697"/>
                    <a:pt x="19342" y="24253"/>
                    <a:pt x="16057" y="20697"/>
                  </a:cubicBezTo>
                  <a:cubicBezTo>
                    <a:pt x="16057" y="20697"/>
                    <a:pt x="14269" y="18907"/>
                    <a:pt x="12468" y="16786"/>
                  </a:cubicBezTo>
                  <a:cubicBezTo>
                    <a:pt x="15740" y="16100"/>
                    <a:pt x="18226" y="13446"/>
                    <a:pt x="18708" y="10131"/>
                  </a:cubicBezTo>
                  <a:cubicBezTo>
                    <a:pt x="19926" y="3870"/>
                    <a:pt x="23655" y="-1350"/>
                    <a:pt x="25279" y="314"/>
                  </a:cubicBezTo>
                  <a:cubicBezTo>
                    <a:pt x="27346" y="3895"/>
                    <a:pt x="30048" y="7083"/>
                    <a:pt x="33232" y="9712"/>
                  </a:cubicBezTo>
                  <a:cubicBezTo>
                    <a:pt x="34348" y="10664"/>
                    <a:pt x="34982" y="11198"/>
                    <a:pt x="35248" y="11426"/>
                  </a:cubicBezTo>
                  <a:cubicBezTo>
                    <a:pt x="35312" y="11465"/>
                    <a:pt x="35375" y="11503"/>
                    <a:pt x="35426" y="11566"/>
                  </a:cubicBezTo>
                  <a:lnTo>
                    <a:pt x="35515" y="11655"/>
                  </a:lnTo>
                  <a:cubicBezTo>
                    <a:pt x="36897" y="12696"/>
                    <a:pt x="38216" y="13801"/>
                    <a:pt x="39472" y="14982"/>
                  </a:cubicBezTo>
                  <a:cubicBezTo>
                    <a:pt x="48960" y="23174"/>
                    <a:pt x="48643" y="15211"/>
                    <a:pt x="48960" y="23174"/>
                  </a:cubicBezTo>
                  <a:cubicBezTo>
                    <a:pt x="49315" y="31086"/>
                    <a:pt x="52182" y="25689"/>
                    <a:pt x="49315" y="31086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4" name="Vrije vorm 313">
              <a:extLst>
                <a:ext uri="{FF2B5EF4-FFF2-40B4-BE49-F238E27FC236}">
                  <a16:creationId xmlns:a16="http://schemas.microsoft.com/office/drawing/2014/main" id="{6EDA7188-9CE7-9F46-827E-8B34076188FC}"/>
                </a:ext>
              </a:extLst>
            </p:cNvPr>
            <p:cNvSpPr/>
            <p:nvPr/>
          </p:nvSpPr>
          <p:spPr>
            <a:xfrm>
              <a:off x="6231321" y="3083424"/>
              <a:ext cx="84500" cy="63476"/>
            </a:xfrm>
            <a:custGeom>
              <a:avLst/>
              <a:gdLst>
                <a:gd name="connsiteX0" fmla="*/ 75876 w 84500"/>
                <a:gd name="connsiteY0" fmla="*/ 42465 h 63476"/>
                <a:gd name="connsiteX1" fmla="*/ 61543 w 84500"/>
                <a:gd name="connsiteY1" fmla="*/ 39036 h 63476"/>
                <a:gd name="connsiteX2" fmla="*/ 57180 w 84500"/>
                <a:gd name="connsiteY2" fmla="*/ 39989 h 63476"/>
                <a:gd name="connsiteX3" fmla="*/ 54846 w 84500"/>
                <a:gd name="connsiteY3" fmla="*/ 40662 h 63476"/>
                <a:gd name="connsiteX4" fmla="*/ 26991 w 84500"/>
                <a:gd name="connsiteY4" fmla="*/ 54518 h 63476"/>
                <a:gd name="connsiteX5" fmla="*/ 24645 w 84500"/>
                <a:gd name="connsiteY5" fmla="*/ 56003 h 63476"/>
                <a:gd name="connsiteX6" fmla="*/ 17186 w 84500"/>
                <a:gd name="connsiteY6" fmla="*/ 60956 h 63476"/>
                <a:gd name="connsiteX7" fmla="*/ 15081 w 84500"/>
                <a:gd name="connsiteY7" fmla="*/ 60779 h 63476"/>
                <a:gd name="connsiteX8" fmla="*/ 20383 w 84500"/>
                <a:gd name="connsiteY8" fmla="*/ 56054 h 63476"/>
                <a:gd name="connsiteX9" fmla="*/ -26 w 84500"/>
                <a:gd name="connsiteY9" fmla="*/ 51914 h 63476"/>
                <a:gd name="connsiteX10" fmla="*/ 4426 w 84500"/>
                <a:gd name="connsiteY10" fmla="*/ 44129 h 63476"/>
                <a:gd name="connsiteX11" fmla="*/ 8967 w 84500"/>
                <a:gd name="connsiteY11" fmla="*/ 30896 h 63476"/>
                <a:gd name="connsiteX12" fmla="*/ 13635 w 84500"/>
                <a:gd name="connsiteY12" fmla="*/ 28787 h 63476"/>
                <a:gd name="connsiteX13" fmla="*/ 13724 w 84500"/>
                <a:gd name="connsiteY13" fmla="*/ 18069 h 63476"/>
                <a:gd name="connsiteX14" fmla="*/ 6722 w 84500"/>
                <a:gd name="connsiteY14" fmla="*/ 10957 h 63476"/>
                <a:gd name="connsiteX15" fmla="*/ 12151 w 84500"/>
                <a:gd name="connsiteY15" fmla="*/ 8163 h 63476"/>
                <a:gd name="connsiteX16" fmla="*/ 26534 w 84500"/>
                <a:gd name="connsiteY16" fmla="*/ 200 h 63476"/>
                <a:gd name="connsiteX17" fmla="*/ 39206 w 84500"/>
                <a:gd name="connsiteY17" fmla="*/ 2321 h 63476"/>
                <a:gd name="connsiteX18" fmla="*/ 52245 w 84500"/>
                <a:gd name="connsiteY18" fmla="*/ 4657 h 63476"/>
                <a:gd name="connsiteX19" fmla="*/ 55746 w 84500"/>
                <a:gd name="connsiteY19" fmla="*/ 16037 h 63476"/>
                <a:gd name="connsiteX20" fmla="*/ 75876 w 84500"/>
                <a:gd name="connsiteY20" fmla="*/ 42465 h 63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84500" h="63476">
                  <a:moveTo>
                    <a:pt x="75876" y="42465"/>
                  </a:moveTo>
                  <a:cubicBezTo>
                    <a:pt x="71995" y="38960"/>
                    <a:pt x="66591" y="37665"/>
                    <a:pt x="61543" y="39036"/>
                  </a:cubicBezTo>
                  <a:cubicBezTo>
                    <a:pt x="60072" y="39278"/>
                    <a:pt x="58625" y="39595"/>
                    <a:pt x="57180" y="39989"/>
                  </a:cubicBezTo>
                  <a:cubicBezTo>
                    <a:pt x="56419" y="40166"/>
                    <a:pt x="55658" y="40383"/>
                    <a:pt x="54846" y="40662"/>
                  </a:cubicBezTo>
                  <a:cubicBezTo>
                    <a:pt x="45041" y="44142"/>
                    <a:pt x="35680" y="48790"/>
                    <a:pt x="26991" y="54518"/>
                  </a:cubicBezTo>
                  <a:cubicBezTo>
                    <a:pt x="26179" y="55013"/>
                    <a:pt x="25406" y="55508"/>
                    <a:pt x="24645" y="56003"/>
                  </a:cubicBezTo>
                  <a:cubicBezTo>
                    <a:pt x="21778" y="57845"/>
                    <a:pt x="19254" y="59559"/>
                    <a:pt x="17186" y="60956"/>
                  </a:cubicBezTo>
                  <a:cubicBezTo>
                    <a:pt x="16159" y="61680"/>
                    <a:pt x="8688" y="66354"/>
                    <a:pt x="15081" y="60779"/>
                  </a:cubicBezTo>
                  <a:cubicBezTo>
                    <a:pt x="16654" y="59382"/>
                    <a:pt x="18404" y="57807"/>
                    <a:pt x="20383" y="56054"/>
                  </a:cubicBezTo>
                  <a:cubicBezTo>
                    <a:pt x="13330" y="56537"/>
                    <a:pt x="6278" y="55114"/>
                    <a:pt x="-26" y="51914"/>
                  </a:cubicBezTo>
                  <a:cubicBezTo>
                    <a:pt x="2447" y="50022"/>
                    <a:pt x="4046" y="47215"/>
                    <a:pt x="4426" y="44129"/>
                  </a:cubicBezTo>
                  <a:cubicBezTo>
                    <a:pt x="4768" y="39392"/>
                    <a:pt x="6329" y="34832"/>
                    <a:pt x="8967" y="30896"/>
                  </a:cubicBezTo>
                  <a:cubicBezTo>
                    <a:pt x="11529" y="25181"/>
                    <a:pt x="12151" y="27924"/>
                    <a:pt x="13635" y="28787"/>
                  </a:cubicBezTo>
                  <a:cubicBezTo>
                    <a:pt x="15081" y="29638"/>
                    <a:pt x="14624" y="23923"/>
                    <a:pt x="13724" y="18069"/>
                  </a:cubicBezTo>
                  <a:cubicBezTo>
                    <a:pt x="12924" y="12760"/>
                    <a:pt x="8333" y="12988"/>
                    <a:pt x="6722" y="10957"/>
                  </a:cubicBezTo>
                  <a:cubicBezTo>
                    <a:pt x="8434" y="9852"/>
                    <a:pt x="10261" y="8912"/>
                    <a:pt x="12151" y="8163"/>
                  </a:cubicBezTo>
                  <a:cubicBezTo>
                    <a:pt x="22717" y="3489"/>
                    <a:pt x="18353" y="-1007"/>
                    <a:pt x="26534" y="200"/>
                  </a:cubicBezTo>
                  <a:cubicBezTo>
                    <a:pt x="34716" y="1457"/>
                    <a:pt x="27169" y="428"/>
                    <a:pt x="39206" y="2321"/>
                  </a:cubicBezTo>
                  <a:cubicBezTo>
                    <a:pt x="50394" y="4073"/>
                    <a:pt x="44736" y="5648"/>
                    <a:pt x="52245" y="4657"/>
                  </a:cubicBezTo>
                  <a:cubicBezTo>
                    <a:pt x="53032" y="8556"/>
                    <a:pt x="54199" y="12379"/>
                    <a:pt x="55746" y="16037"/>
                  </a:cubicBezTo>
                  <a:cubicBezTo>
                    <a:pt x="61365" y="29270"/>
                    <a:pt x="101803" y="31924"/>
                    <a:pt x="75876" y="42465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5" name="Vrije vorm 314">
              <a:extLst>
                <a:ext uri="{FF2B5EF4-FFF2-40B4-BE49-F238E27FC236}">
                  <a16:creationId xmlns:a16="http://schemas.microsoft.com/office/drawing/2014/main" id="{9C05CEA9-BCF1-4644-93D2-E538A43EE18C}"/>
                </a:ext>
              </a:extLst>
            </p:cNvPr>
            <p:cNvSpPr/>
            <p:nvPr/>
          </p:nvSpPr>
          <p:spPr>
            <a:xfrm>
              <a:off x="6062748" y="3094379"/>
              <a:ext cx="183158" cy="196233"/>
            </a:xfrm>
            <a:custGeom>
              <a:avLst/>
              <a:gdLst>
                <a:gd name="connsiteX0" fmla="*/ 182208 w 183158"/>
                <a:gd name="connsiteY0" fmla="*/ 17819 h 196233"/>
                <a:gd name="connsiteX1" fmla="*/ 177540 w 183158"/>
                <a:gd name="connsiteY1" fmla="*/ 19940 h 196233"/>
                <a:gd name="connsiteX2" fmla="*/ 172999 w 183158"/>
                <a:gd name="connsiteY2" fmla="*/ 33174 h 196233"/>
                <a:gd name="connsiteX3" fmla="*/ 168547 w 183158"/>
                <a:gd name="connsiteY3" fmla="*/ 40959 h 196233"/>
                <a:gd name="connsiteX4" fmla="*/ 128414 w 183158"/>
                <a:gd name="connsiteY4" fmla="*/ 35421 h 196233"/>
                <a:gd name="connsiteX5" fmla="*/ 114702 w 183158"/>
                <a:gd name="connsiteY5" fmla="*/ 38698 h 196233"/>
                <a:gd name="connsiteX6" fmla="*/ 106255 w 183158"/>
                <a:gd name="connsiteY6" fmla="*/ 47436 h 196233"/>
                <a:gd name="connsiteX7" fmla="*/ 115337 w 183158"/>
                <a:gd name="connsiteY7" fmla="*/ 55665 h 196233"/>
                <a:gd name="connsiteX8" fmla="*/ 106889 w 183158"/>
                <a:gd name="connsiteY8" fmla="*/ 53862 h 196233"/>
                <a:gd name="connsiteX9" fmla="*/ 105811 w 183158"/>
                <a:gd name="connsiteY9" fmla="*/ 68213 h 196233"/>
                <a:gd name="connsiteX10" fmla="*/ 101536 w 183158"/>
                <a:gd name="connsiteY10" fmla="*/ 69965 h 196233"/>
                <a:gd name="connsiteX11" fmla="*/ 90666 w 183158"/>
                <a:gd name="connsiteY11" fmla="*/ 66409 h 196233"/>
                <a:gd name="connsiteX12" fmla="*/ 79707 w 183158"/>
                <a:gd name="connsiteY12" fmla="*/ 46255 h 196233"/>
                <a:gd name="connsiteX13" fmla="*/ 72375 w 183158"/>
                <a:gd name="connsiteY13" fmla="*/ 48464 h 196233"/>
                <a:gd name="connsiteX14" fmla="*/ 70714 w 183158"/>
                <a:gd name="connsiteY14" fmla="*/ 53722 h 196233"/>
                <a:gd name="connsiteX15" fmla="*/ 86125 w 183158"/>
                <a:gd name="connsiteY15" fmla="*/ 100255 h 196233"/>
                <a:gd name="connsiteX16" fmla="*/ 83208 w 183158"/>
                <a:gd name="connsiteY16" fmla="*/ 100255 h 196233"/>
                <a:gd name="connsiteX17" fmla="*/ 76193 w 183158"/>
                <a:gd name="connsiteY17" fmla="*/ 98274 h 196233"/>
                <a:gd name="connsiteX18" fmla="*/ 82396 w 183158"/>
                <a:gd name="connsiteY18" fmla="*/ 102731 h 196233"/>
                <a:gd name="connsiteX19" fmla="*/ 68240 w 183158"/>
                <a:gd name="connsiteY19" fmla="*/ 108980 h 196233"/>
                <a:gd name="connsiteX20" fmla="*/ 88738 w 183158"/>
                <a:gd name="connsiteY20" fmla="*/ 119737 h 196233"/>
                <a:gd name="connsiteX21" fmla="*/ 109629 w 183158"/>
                <a:gd name="connsiteY21" fmla="*/ 152668 h 196233"/>
                <a:gd name="connsiteX22" fmla="*/ 90577 w 183158"/>
                <a:gd name="connsiteY22" fmla="*/ 156363 h 196233"/>
                <a:gd name="connsiteX23" fmla="*/ 91566 w 183158"/>
                <a:gd name="connsiteY23" fmla="*/ 157532 h 196233"/>
                <a:gd name="connsiteX24" fmla="*/ 86848 w 183158"/>
                <a:gd name="connsiteY24" fmla="*/ 162523 h 196233"/>
                <a:gd name="connsiteX25" fmla="*/ 83842 w 183158"/>
                <a:gd name="connsiteY25" fmla="*/ 164326 h 196233"/>
                <a:gd name="connsiteX26" fmla="*/ 81635 w 183158"/>
                <a:gd name="connsiteY26" fmla="*/ 159513 h 196233"/>
                <a:gd name="connsiteX27" fmla="*/ 75711 w 183158"/>
                <a:gd name="connsiteY27" fmla="*/ 186920 h 196233"/>
                <a:gd name="connsiteX28" fmla="*/ 63889 w 183158"/>
                <a:gd name="connsiteY28" fmla="*/ 194425 h 196233"/>
                <a:gd name="connsiteX29" fmla="*/ 43937 w 183158"/>
                <a:gd name="connsiteY29" fmla="*/ 182106 h 196233"/>
                <a:gd name="connsiteX30" fmla="*/ 32649 w 183158"/>
                <a:gd name="connsiteY30" fmla="*/ 153163 h 196233"/>
                <a:gd name="connsiteX31" fmla="*/ 27397 w 183158"/>
                <a:gd name="connsiteY31" fmla="*/ 142140 h 196233"/>
                <a:gd name="connsiteX32" fmla="*/ 86671 w 183158"/>
                <a:gd name="connsiteY32" fmla="*/ 134723 h 196233"/>
                <a:gd name="connsiteX33" fmla="*/ 74849 w 183158"/>
                <a:gd name="connsiteY33" fmla="*/ 132018 h 196233"/>
                <a:gd name="connsiteX34" fmla="*/ 68963 w 183158"/>
                <a:gd name="connsiteY34" fmla="*/ 129008 h 196233"/>
                <a:gd name="connsiteX35" fmla="*/ 40601 w 183158"/>
                <a:gd name="connsiteY35" fmla="*/ 127573 h 196233"/>
                <a:gd name="connsiteX36" fmla="*/ 28552 w 183158"/>
                <a:gd name="connsiteY36" fmla="*/ 129325 h 196233"/>
                <a:gd name="connsiteX37" fmla="*/ 27067 w 183158"/>
                <a:gd name="connsiteY37" fmla="*/ 125401 h 196233"/>
                <a:gd name="connsiteX38" fmla="*/ 27030 w 183158"/>
                <a:gd name="connsiteY38" fmla="*/ 124321 h 196233"/>
                <a:gd name="connsiteX39" fmla="*/ 24378 w 183158"/>
                <a:gd name="connsiteY39" fmla="*/ 106503 h 196233"/>
                <a:gd name="connsiteX40" fmla="*/ 28108 w 183158"/>
                <a:gd name="connsiteY40" fmla="*/ 107316 h 196233"/>
                <a:gd name="connsiteX41" fmla="*/ 23706 w 183158"/>
                <a:gd name="connsiteY41" fmla="*/ 103265 h 196233"/>
                <a:gd name="connsiteX42" fmla="*/ 19660 w 183158"/>
                <a:gd name="connsiteY42" fmla="*/ 102363 h 196233"/>
                <a:gd name="connsiteX43" fmla="*/ 18670 w 183158"/>
                <a:gd name="connsiteY43" fmla="*/ 101512 h 196233"/>
                <a:gd name="connsiteX44" fmla="*/ 16426 w 183158"/>
                <a:gd name="connsiteY44" fmla="*/ 103493 h 196233"/>
                <a:gd name="connsiteX45" fmla="*/ 1547 w 183158"/>
                <a:gd name="connsiteY45" fmla="*/ 85002 h 196233"/>
                <a:gd name="connsiteX46" fmla="*/ -26 w 183158"/>
                <a:gd name="connsiteY46" fmla="*/ 81853 h 196233"/>
                <a:gd name="connsiteX47" fmla="*/ -26 w 183158"/>
                <a:gd name="connsiteY47" fmla="*/ 81802 h 196233"/>
                <a:gd name="connsiteX48" fmla="*/ 3437 w 183158"/>
                <a:gd name="connsiteY48" fmla="*/ 74512 h 196233"/>
                <a:gd name="connsiteX49" fmla="*/ 7521 w 183158"/>
                <a:gd name="connsiteY49" fmla="*/ 65025 h 196233"/>
                <a:gd name="connsiteX50" fmla="*/ 16197 w 183158"/>
                <a:gd name="connsiteY50" fmla="*/ 54801 h 196233"/>
                <a:gd name="connsiteX51" fmla="*/ 22844 w 183158"/>
                <a:gd name="connsiteY51" fmla="*/ 39638 h 196233"/>
                <a:gd name="connsiteX52" fmla="*/ 23440 w 183158"/>
                <a:gd name="connsiteY52" fmla="*/ 35282 h 196233"/>
                <a:gd name="connsiteX53" fmla="*/ 35794 w 183158"/>
                <a:gd name="connsiteY53" fmla="*/ 33618 h 196233"/>
                <a:gd name="connsiteX54" fmla="*/ 44508 w 183158"/>
                <a:gd name="connsiteY54" fmla="*/ 33212 h 196233"/>
                <a:gd name="connsiteX55" fmla="*/ 54897 w 183158"/>
                <a:gd name="connsiteY55" fmla="*/ 25655 h 196233"/>
                <a:gd name="connsiteX56" fmla="*/ 67568 w 183158"/>
                <a:gd name="connsiteY56" fmla="*/ 25744 h 196233"/>
                <a:gd name="connsiteX57" fmla="*/ 75381 w 183158"/>
                <a:gd name="connsiteY57" fmla="*/ 17375 h 196233"/>
                <a:gd name="connsiteX58" fmla="*/ 77994 w 183158"/>
                <a:gd name="connsiteY58" fmla="*/ 16968 h 196233"/>
                <a:gd name="connsiteX59" fmla="*/ 88510 w 183158"/>
                <a:gd name="connsiteY59" fmla="*/ 17057 h 196233"/>
                <a:gd name="connsiteX60" fmla="*/ 105722 w 183158"/>
                <a:gd name="connsiteY60" fmla="*/ 12739 h 196233"/>
                <a:gd name="connsiteX61" fmla="*/ 117721 w 183158"/>
                <a:gd name="connsiteY61" fmla="*/ 10580 h 196233"/>
                <a:gd name="connsiteX62" fmla="*/ 131242 w 183158"/>
                <a:gd name="connsiteY62" fmla="*/ 17146 h 196233"/>
                <a:gd name="connsiteX63" fmla="*/ 144498 w 183158"/>
                <a:gd name="connsiteY63" fmla="*/ 21248 h 196233"/>
                <a:gd name="connsiteX64" fmla="*/ 160049 w 183158"/>
                <a:gd name="connsiteY64" fmla="*/ 17375 h 196233"/>
                <a:gd name="connsiteX65" fmla="*/ 170246 w 183158"/>
                <a:gd name="connsiteY65" fmla="*/ 13641 h 196233"/>
                <a:gd name="connsiteX66" fmla="*/ 171414 w 183158"/>
                <a:gd name="connsiteY66" fmla="*/ 1893 h 196233"/>
                <a:gd name="connsiteX67" fmla="*/ 175282 w 183158"/>
                <a:gd name="connsiteY67" fmla="*/ 1 h 196233"/>
                <a:gd name="connsiteX68" fmla="*/ 182297 w 183158"/>
                <a:gd name="connsiteY68" fmla="*/ 7113 h 196233"/>
                <a:gd name="connsiteX69" fmla="*/ 182208 w 183158"/>
                <a:gd name="connsiteY69" fmla="*/ 17819 h 196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183158" h="196233">
                  <a:moveTo>
                    <a:pt x="182208" y="17819"/>
                  </a:moveTo>
                  <a:cubicBezTo>
                    <a:pt x="180723" y="16968"/>
                    <a:pt x="180089" y="14225"/>
                    <a:pt x="177540" y="19940"/>
                  </a:cubicBezTo>
                  <a:cubicBezTo>
                    <a:pt x="174902" y="23877"/>
                    <a:pt x="173341" y="28436"/>
                    <a:pt x="172999" y="33174"/>
                  </a:cubicBezTo>
                  <a:cubicBezTo>
                    <a:pt x="172619" y="36260"/>
                    <a:pt x="171020" y="39066"/>
                    <a:pt x="168547" y="40959"/>
                  </a:cubicBezTo>
                  <a:cubicBezTo>
                    <a:pt x="155913" y="35370"/>
                    <a:pt x="144637" y="27268"/>
                    <a:pt x="128414" y="35421"/>
                  </a:cubicBezTo>
                  <a:cubicBezTo>
                    <a:pt x="120106" y="28221"/>
                    <a:pt x="120867" y="33618"/>
                    <a:pt x="114702" y="38698"/>
                  </a:cubicBezTo>
                  <a:cubicBezTo>
                    <a:pt x="106534" y="41136"/>
                    <a:pt x="92239" y="37034"/>
                    <a:pt x="106255" y="47436"/>
                  </a:cubicBezTo>
                  <a:cubicBezTo>
                    <a:pt x="99558" y="52566"/>
                    <a:pt x="108602" y="52744"/>
                    <a:pt x="115337" y="55665"/>
                  </a:cubicBezTo>
                  <a:cubicBezTo>
                    <a:pt x="124774" y="68175"/>
                    <a:pt x="113041" y="57875"/>
                    <a:pt x="106889" y="53862"/>
                  </a:cubicBezTo>
                  <a:cubicBezTo>
                    <a:pt x="88243" y="52020"/>
                    <a:pt x="118888" y="69254"/>
                    <a:pt x="105811" y="68213"/>
                  </a:cubicBezTo>
                  <a:cubicBezTo>
                    <a:pt x="95473" y="50128"/>
                    <a:pt x="82535" y="60161"/>
                    <a:pt x="101536" y="69965"/>
                  </a:cubicBezTo>
                  <a:cubicBezTo>
                    <a:pt x="98390" y="71274"/>
                    <a:pt x="90349" y="68441"/>
                    <a:pt x="90666" y="66409"/>
                  </a:cubicBezTo>
                  <a:cubicBezTo>
                    <a:pt x="90805" y="54128"/>
                    <a:pt x="68684" y="54002"/>
                    <a:pt x="79707" y="46255"/>
                  </a:cubicBezTo>
                  <a:cubicBezTo>
                    <a:pt x="77411" y="40184"/>
                    <a:pt x="73593" y="47702"/>
                    <a:pt x="72375" y="48464"/>
                  </a:cubicBezTo>
                  <a:cubicBezTo>
                    <a:pt x="70447" y="47524"/>
                    <a:pt x="66490" y="51068"/>
                    <a:pt x="70714" y="53722"/>
                  </a:cubicBezTo>
                  <a:cubicBezTo>
                    <a:pt x="57547" y="70867"/>
                    <a:pt x="98124" y="89003"/>
                    <a:pt x="86125" y="100255"/>
                  </a:cubicBezTo>
                  <a:cubicBezTo>
                    <a:pt x="78756" y="102147"/>
                    <a:pt x="84375" y="96343"/>
                    <a:pt x="83208" y="100255"/>
                  </a:cubicBezTo>
                  <a:cubicBezTo>
                    <a:pt x="93812" y="94222"/>
                    <a:pt x="71564" y="86120"/>
                    <a:pt x="76193" y="98274"/>
                  </a:cubicBezTo>
                  <a:cubicBezTo>
                    <a:pt x="79339" y="95670"/>
                    <a:pt x="78400" y="104522"/>
                    <a:pt x="82396" y="102731"/>
                  </a:cubicBezTo>
                  <a:cubicBezTo>
                    <a:pt x="79440" y="109564"/>
                    <a:pt x="63801" y="107405"/>
                    <a:pt x="68240" y="108980"/>
                  </a:cubicBezTo>
                  <a:cubicBezTo>
                    <a:pt x="72464" y="111774"/>
                    <a:pt x="88877" y="114745"/>
                    <a:pt x="88738" y="119737"/>
                  </a:cubicBezTo>
                  <a:cubicBezTo>
                    <a:pt x="101676" y="125947"/>
                    <a:pt x="115971" y="134316"/>
                    <a:pt x="109629" y="152668"/>
                  </a:cubicBezTo>
                  <a:cubicBezTo>
                    <a:pt x="96336" y="131929"/>
                    <a:pt x="69864" y="140349"/>
                    <a:pt x="90577" y="156363"/>
                  </a:cubicBezTo>
                  <a:cubicBezTo>
                    <a:pt x="88015" y="149213"/>
                    <a:pt x="93495" y="155868"/>
                    <a:pt x="91566" y="157532"/>
                  </a:cubicBezTo>
                  <a:cubicBezTo>
                    <a:pt x="100775" y="160948"/>
                    <a:pt x="88332" y="160859"/>
                    <a:pt x="86848" y="162523"/>
                  </a:cubicBezTo>
                  <a:cubicBezTo>
                    <a:pt x="89550" y="163069"/>
                    <a:pt x="83969" y="166257"/>
                    <a:pt x="83842" y="164326"/>
                  </a:cubicBezTo>
                  <a:cubicBezTo>
                    <a:pt x="80823" y="163069"/>
                    <a:pt x="87165" y="159653"/>
                    <a:pt x="81635" y="159513"/>
                  </a:cubicBezTo>
                  <a:cubicBezTo>
                    <a:pt x="56292" y="138495"/>
                    <a:pt x="103705" y="220981"/>
                    <a:pt x="75711" y="186920"/>
                  </a:cubicBezTo>
                  <a:cubicBezTo>
                    <a:pt x="65678" y="168911"/>
                    <a:pt x="67086" y="204420"/>
                    <a:pt x="63889" y="194425"/>
                  </a:cubicBezTo>
                  <a:cubicBezTo>
                    <a:pt x="52918" y="154966"/>
                    <a:pt x="51167" y="192050"/>
                    <a:pt x="43937" y="182106"/>
                  </a:cubicBezTo>
                  <a:cubicBezTo>
                    <a:pt x="38356" y="177191"/>
                    <a:pt x="47882" y="152401"/>
                    <a:pt x="32649" y="153163"/>
                  </a:cubicBezTo>
                  <a:cubicBezTo>
                    <a:pt x="34044" y="146369"/>
                    <a:pt x="25051" y="147943"/>
                    <a:pt x="27397" y="142140"/>
                  </a:cubicBezTo>
                  <a:cubicBezTo>
                    <a:pt x="46487" y="114250"/>
                    <a:pt x="71526" y="150204"/>
                    <a:pt x="86671" y="134723"/>
                  </a:cubicBezTo>
                  <a:cubicBezTo>
                    <a:pt x="81508" y="131344"/>
                    <a:pt x="77322" y="133186"/>
                    <a:pt x="74849" y="132018"/>
                  </a:cubicBezTo>
                  <a:cubicBezTo>
                    <a:pt x="73644" y="129947"/>
                    <a:pt x="68786" y="123471"/>
                    <a:pt x="68963" y="129008"/>
                  </a:cubicBezTo>
                  <a:cubicBezTo>
                    <a:pt x="63928" y="124956"/>
                    <a:pt x="53146" y="126391"/>
                    <a:pt x="40601" y="127573"/>
                  </a:cubicBezTo>
                  <a:cubicBezTo>
                    <a:pt x="33498" y="132780"/>
                    <a:pt x="38813" y="117895"/>
                    <a:pt x="28552" y="129325"/>
                  </a:cubicBezTo>
                  <a:cubicBezTo>
                    <a:pt x="24784" y="126887"/>
                    <a:pt x="27664" y="127662"/>
                    <a:pt x="27067" y="125401"/>
                  </a:cubicBezTo>
                  <a:cubicBezTo>
                    <a:pt x="25279" y="125896"/>
                    <a:pt x="26179" y="124461"/>
                    <a:pt x="27030" y="124321"/>
                  </a:cubicBezTo>
                  <a:cubicBezTo>
                    <a:pt x="25862" y="118429"/>
                    <a:pt x="7115" y="103582"/>
                    <a:pt x="24378" y="106503"/>
                  </a:cubicBezTo>
                  <a:cubicBezTo>
                    <a:pt x="24467" y="109615"/>
                    <a:pt x="29325" y="108167"/>
                    <a:pt x="28108" y="107316"/>
                  </a:cubicBezTo>
                  <a:cubicBezTo>
                    <a:pt x="27385" y="100293"/>
                    <a:pt x="26979" y="102731"/>
                    <a:pt x="23706" y="103265"/>
                  </a:cubicBezTo>
                  <a:cubicBezTo>
                    <a:pt x="19926" y="101652"/>
                    <a:pt x="21956" y="100661"/>
                    <a:pt x="19660" y="102363"/>
                  </a:cubicBezTo>
                  <a:cubicBezTo>
                    <a:pt x="19749" y="101779"/>
                    <a:pt x="18937" y="100699"/>
                    <a:pt x="18670" y="101512"/>
                  </a:cubicBezTo>
                  <a:cubicBezTo>
                    <a:pt x="18988" y="97461"/>
                    <a:pt x="16958" y="102909"/>
                    <a:pt x="16426" y="103493"/>
                  </a:cubicBezTo>
                  <a:cubicBezTo>
                    <a:pt x="12785" y="100572"/>
                    <a:pt x="-698" y="89371"/>
                    <a:pt x="1547" y="85002"/>
                  </a:cubicBezTo>
                  <a:cubicBezTo>
                    <a:pt x="1077" y="83923"/>
                    <a:pt x="558" y="82869"/>
                    <a:pt x="-26" y="81853"/>
                  </a:cubicBezTo>
                  <a:lnTo>
                    <a:pt x="-26" y="81802"/>
                  </a:lnTo>
                  <a:cubicBezTo>
                    <a:pt x="418" y="79097"/>
                    <a:pt x="1610" y="76569"/>
                    <a:pt x="3437" y="74512"/>
                  </a:cubicBezTo>
                  <a:cubicBezTo>
                    <a:pt x="10451" y="65470"/>
                    <a:pt x="1407" y="70689"/>
                    <a:pt x="7521" y="65025"/>
                  </a:cubicBezTo>
                  <a:cubicBezTo>
                    <a:pt x="13635" y="59399"/>
                    <a:pt x="13812" y="62866"/>
                    <a:pt x="16197" y="54801"/>
                  </a:cubicBezTo>
                  <a:cubicBezTo>
                    <a:pt x="18620" y="46750"/>
                    <a:pt x="21093" y="50357"/>
                    <a:pt x="22844" y="39638"/>
                  </a:cubicBezTo>
                  <a:cubicBezTo>
                    <a:pt x="23123" y="38203"/>
                    <a:pt x="23325" y="36742"/>
                    <a:pt x="23440" y="35282"/>
                  </a:cubicBezTo>
                  <a:cubicBezTo>
                    <a:pt x="28196" y="35409"/>
                    <a:pt x="27562" y="33973"/>
                    <a:pt x="35794" y="33618"/>
                  </a:cubicBezTo>
                  <a:cubicBezTo>
                    <a:pt x="44508" y="33212"/>
                    <a:pt x="34133" y="40819"/>
                    <a:pt x="44508" y="33212"/>
                  </a:cubicBezTo>
                  <a:cubicBezTo>
                    <a:pt x="54897" y="25655"/>
                    <a:pt x="42263" y="25515"/>
                    <a:pt x="54897" y="25655"/>
                  </a:cubicBezTo>
                  <a:cubicBezTo>
                    <a:pt x="67568" y="25744"/>
                    <a:pt x="55835" y="28716"/>
                    <a:pt x="67568" y="25744"/>
                  </a:cubicBezTo>
                  <a:cubicBezTo>
                    <a:pt x="79250" y="22772"/>
                    <a:pt x="62304" y="19534"/>
                    <a:pt x="75381" y="17375"/>
                  </a:cubicBezTo>
                  <a:cubicBezTo>
                    <a:pt x="76371" y="17197"/>
                    <a:pt x="77272" y="17057"/>
                    <a:pt x="77994" y="16968"/>
                  </a:cubicBezTo>
                  <a:cubicBezTo>
                    <a:pt x="87203" y="15609"/>
                    <a:pt x="80011" y="17819"/>
                    <a:pt x="88510" y="17057"/>
                  </a:cubicBezTo>
                  <a:cubicBezTo>
                    <a:pt x="94383" y="16257"/>
                    <a:pt x="100154" y="14809"/>
                    <a:pt x="105722" y="12739"/>
                  </a:cubicBezTo>
                  <a:cubicBezTo>
                    <a:pt x="113535" y="10936"/>
                    <a:pt x="108462" y="7062"/>
                    <a:pt x="117721" y="10580"/>
                  </a:cubicBezTo>
                  <a:cubicBezTo>
                    <a:pt x="126981" y="14136"/>
                    <a:pt x="123112" y="16651"/>
                    <a:pt x="131242" y="17146"/>
                  </a:cubicBezTo>
                  <a:cubicBezTo>
                    <a:pt x="139335" y="17641"/>
                    <a:pt x="132638" y="23496"/>
                    <a:pt x="144498" y="21248"/>
                  </a:cubicBezTo>
                  <a:cubicBezTo>
                    <a:pt x="149876" y="20892"/>
                    <a:pt x="155140" y="19572"/>
                    <a:pt x="160049" y="17375"/>
                  </a:cubicBezTo>
                  <a:cubicBezTo>
                    <a:pt x="170246" y="13641"/>
                    <a:pt x="171375" y="24804"/>
                    <a:pt x="170246" y="13641"/>
                  </a:cubicBezTo>
                  <a:cubicBezTo>
                    <a:pt x="169131" y="2528"/>
                    <a:pt x="163866" y="4281"/>
                    <a:pt x="171414" y="1893"/>
                  </a:cubicBezTo>
                  <a:cubicBezTo>
                    <a:pt x="176373" y="319"/>
                    <a:pt x="174293" y="814"/>
                    <a:pt x="175282" y="1"/>
                  </a:cubicBezTo>
                  <a:cubicBezTo>
                    <a:pt x="176906" y="2033"/>
                    <a:pt x="181485" y="1805"/>
                    <a:pt x="182297" y="7113"/>
                  </a:cubicBezTo>
                  <a:cubicBezTo>
                    <a:pt x="183197" y="12968"/>
                    <a:pt x="183641" y="18683"/>
                    <a:pt x="182208" y="17819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6" name="Vrije vorm 315">
              <a:extLst>
                <a:ext uri="{FF2B5EF4-FFF2-40B4-BE49-F238E27FC236}">
                  <a16:creationId xmlns:a16="http://schemas.microsoft.com/office/drawing/2014/main" id="{DA8096CE-B8BF-0944-AB86-C29451C44258}"/>
                </a:ext>
              </a:extLst>
            </p:cNvPr>
            <p:cNvSpPr/>
            <p:nvPr/>
          </p:nvSpPr>
          <p:spPr>
            <a:xfrm>
              <a:off x="6037900" y="3057943"/>
              <a:ext cx="48313" cy="118249"/>
            </a:xfrm>
            <a:custGeom>
              <a:avLst/>
              <a:gdLst>
                <a:gd name="connsiteX0" fmla="*/ 48288 w 48313"/>
                <a:gd name="connsiteY0" fmla="*/ 71718 h 118249"/>
                <a:gd name="connsiteX1" fmla="*/ 47704 w 48313"/>
                <a:gd name="connsiteY1" fmla="*/ 76087 h 118249"/>
                <a:gd name="connsiteX2" fmla="*/ 41045 w 48313"/>
                <a:gd name="connsiteY2" fmla="*/ 91251 h 118249"/>
                <a:gd name="connsiteX3" fmla="*/ 32382 w 48313"/>
                <a:gd name="connsiteY3" fmla="*/ 101461 h 118249"/>
                <a:gd name="connsiteX4" fmla="*/ 28285 w 48313"/>
                <a:gd name="connsiteY4" fmla="*/ 110961 h 118249"/>
                <a:gd name="connsiteX5" fmla="*/ 24822 w 48313"/>
                <a:gd name="connsiteY5" fmla="*/ 118251 h 118249"/>
                <a:gd name="connsiteX6" fmla="*/ -26 w 48313"/>
                <a:gd name="connsiteY6" fmla="*/ 88012 h 118249"/>
                <a:gd name="connsiteX7" fmla="*/ 4020 w 48313"/>
                <a:gd name="connsiteY7" fmla="*/ 85091 h 118249"/>
                <a:gd name="connsiteX8" fmla="*/ 3842 w 48313"/>
                <a:gd name="connsiteY8" fmla="*/ 71400 h 118249"/>
                <a:gd name="connsiteX9" fmla="*/ 5771 w 48313"/>
                <a:gd name="connsiteY9" fmla="*/ 66549 h 118249"/>
                <a:gd name="connsiteX10" fmla="*/ 2891 w 48313"/>
                <a:gd name="connsiteY10" fmla="*/ 51068 h 118249"/>
                <a:gd name="connsiteX11" fmla="*/ 4248 w 48313"/>
                <a:gd name="connsiteY11" fmla="*/ 44591 h 118249"/>
                <a:gd name="connsiteX12" fmla="*/ 7572 w 48313"/>
                <a:gd name="connsiteY12" fmla="*/ 41759 h 118249"/>
                <a:gd name="connsiteX13" fmla="*/ 240 w 48313"/>
                <a:gd name="connsiteY13" fmla="*/ 33021 h 118249"/>
                <a:gd name="connsiteX14" fmla="*/ 5415 w 48313"/>
                <a:gd name="connsiteY14" fmla="*/ 16067 h 118249"/>
                <a:gd name="connsiteX15" fmla="*/ 11567 w 48313"/>
                <a:gd name="connsiteY15" fmla="*/ 3824 h 118249"/>
                <a:gd name="connsiteX16" fmla="*/ 17503 w 48313"/>
                <a:gd name="connsiteY16" fmla="*/ 9488 h 118249"/>
                <a:gd name="connsiteX17" fmla="*/ 17326 w 48313"/>
                <a:gd name="connsiteY17" fmla="*/ 1 h 118249"/>
                <a:gd name="connsiteX18" fmla="*/ 21232 w 48313"/>
                <a:gd name="connsiteY18" fmla="*/ 7558 h 118249"/>
                <a:gd name="connsiteX19" fmla="*/ 26978 w 48313"/>
                <a:gd name="connsiteY19" fmla="*/ 12955 h 118249"/>
                <a:gd name="connsiteX20" fmla="*/ 32826 w 48313"/>
                <a:gd name="connsiteY20" fmla="*/ 24880 h 118249"/>
                <a:gd name="connsiteX21" fmla="*/ 34627 w 48313"/>
                <a:gd name="connsiteY21" fmla="*/ 33428 h 118249"/>
                <a:gd name="connsiteX22" fmla="*/ 34170 w 48313"/>
                <a:gd name="connsiteY22" fmla="*/ 46343 h 118249"/>
                <a:gd name="connsiteX23" fmla="*/ 37633 w 48313"/>
                <a:gd name="connsiteY23" fmla="*/ 63539 h 118249"/>
                <a:gd name="connsiteX24" fmla="*/ 48288 w 48313"/>
                <a:gd name="connsiteY24" fmla="*/ 71718 h 118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8313" h="118249">
                  <a:moveTo>
                    <a:pt x="48288" y="71718"/>
                  </a:moveTo>
                  <a:cubicBezTo>
                    <a:pt x="48174" y="73178"/>
                    <a:pt x="47984" y="74639"/>
                    <a:pt x="47704" y="76087"/>
                  </a:cubicBezTo>
                  <a:cubicBezTo>
                    <a:pt x="45941" y="86793"/>
                    <a:pt x="43481" y="83199"/>
                    <a:pt x="41045" y="91251"/>
                  </a:cubicBezTo>
                  <a:cubicBezTo>
                    <a:pt x="38673" y="99302"/>
                    <a:pt x="38483" y="95835"/>
                    <a:pt x="32382" y="101461"/>
                  </a:cubicBezTo>
                  <a:cubicBezTo>
                    <a:pt x="26268" y="107126"/>
                    <a:pt x="35287" y="101906"/>
                    <a:pt x="28285" y="110961"/>
                  </a:cubicBezTo>
                  <a:cubicBezTo>
                    <a:pt x="26471" y="113006"/>
                    <a:pt x="25266" y="115533"/>
                    <a:pt x="24822" y="118251"/>
                  </a:cubicBezTo>
                  <a:cubicBezTo>
                    <a:pt x="17580" y="107354"/>
                    <a:pt x="9259" y="97220"/>
                    <a:pt x="-26" y="88012"/>
                  </a:cubicBezTo>
                  <a:cubicBezTo>
                    <a:pt x="12785" y="97994"/>
                    <a:pt x="113" y="81535"/>
                    <a:pt x="4020" y="85091"/>
                  </a:cubicBezTo>
                  <a:cubicBezTo>
                    <a:pt x="1280" y="82424"/>
                    <a:pt x="786" y="66867"/>
                    <a:pt x="3842" y="71400"/>
                  </a:cubicBezTo>
                  <a:cubicBezTo>
                    <a:pt x="4603" y="70816"/>
                    <a:pt x="8155" y="69788"/>
                    <a:pt x="5771" y="66549"/>
                  </a:cubicBezTo>
                  <a:cubicBezTo>
                    <a:pt x="4553" y="72493"/>
                    <a:pt x="5187" y="53951"/>
                    <a:pt x="2891" y="51068"/>
                  </a:cubicBezTo>
                  <a:cubicBezTo>
                    <a:pt x="5136" y="51881"/>
                    <a:pt x="7699" y="46394"/>
                    <a:pt x="4248" y="44591"/>
                  </a:cubicBezTo>
                  <a:cubicBezTo>
                    <a:pt x="7394" y="45315"/>
                    <a:pt x="10895" y="43562"/>
                    <a:pt x="7572" y="41759"/>
                  </a:cubicBezTo>
                  <a:cubicBezTo>
                    <a:pt x="11035" y="34736"/>
                    <a:pt x="5010" y="34875"/>
                    <a:pt x="240" y="33021"/>
                  </a:cubicBezTo>
                  <a:cubicBezTo>
                    <a:pt x="2308" y="26950"/>
                    <a:pt x="3931" y="21693"/>
                    <a:pt x="5415" y="16067"/>
                  </a:cubicBezTo>
                  <a:cubicBezTo>
                    <a:pt x="7293" y="8866"/>
                    <a:pt x="10222" y="903"/>
                    <a:pt x="11567" y="3824"/>
                  </a:cubicBezTo>
                  <a:cubicBezTo>
                    <a:pt x="12962" y="6707"/>
                    <a:pt x="13723" y="11469"/>
                    <a:pt x="17503" y="9488"/>
                  </a:cubicBezTo>
                  <a:cubicBezTo>
                    <a:pt x="20294" y="8053"/>
                    <a:pt x="15385" y="2300"/>
                    <a:pt x="17326" y="1"/>
                  </a:cubicBezTo>
                  <a:cubicBezTo>
                    <a:pt x="17934" y="2821"/>
                    <a:pt x="19292" y="5424"/>
                    <a:pt x="21232" y="7558"/>
                  </a:cubicBezTo>
                  <a:cubicBezTo>
                    <a:pt x="24416" y="9996"/>
                    <a:pt x="24150" y="319"/>
                    <a:pt x="26978" y="12955"/>
                  </a:cubicBezTo>
                  <a:cubicBezTo>
                    <a:pt x="29820" y="25592"/>
                    <a:pt x="29503" y="16067"/>
                    <a:pt x="32826" y="24880"/>
                  </a:cubicBezTo>
                  <a:cubicBezTo>
                    <a:pt x="34005" y="27573"/>
                    <a:pt x="34627" y="30494"/>
                    <a:pt x="34627" y="33428"/>
                  </a:cubicBezTo>
                  <a:cubicBezTo>
                    <a:pt x="34234" y="37720"/>
                    <a:pt x="34082" y="42038"/>
                    <a:pt x="34170" y="46343"/>
                  </a:cubicBezTo>
                  <a:cubicBezTo>
                    <a:pt x="34627" y="58586"/>
                    <a:pt x="27613" y="50979"/>
                    <a:pt x="37633" y="63539"/>
                  </a:cubicBezTo>
                  <a:cubicBezTo>
                    <a:pt x="45548" y="73433"/>
                    <a:pt x="48288" y="68886"/>
                    <a:pt x="48288" y="71718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7" name="Vrije vorm 316">
              <a:extLst>
                <a:ext uri="{FF2B5EF4-FFF2-40B4-BE49-F238E27FC236}">
                  <a16:creationId xmlns:a16="http://schemas.microsoft.com/office/drawing/2014/main" id="{4A1FC130-87BC-9142-B1C0-85F3D0DA90E7}"/>
                </a:ext>
              </a:extLst>
            </p:cNvPr>
            <p:cNvSpPr/>
            <p:nvPr/>
          </p:nvSpPr>
          <p:spPr>
            <a:xfrm>
              <a:off x="6009982" y="3027920"/>
              <a:ext cx="62560" cy="63042"/>
            </a:xfrm>
            <a:custGeom>
              <a:avLst/>
              <a:gdLst>
                <a:gd name="connsiteX0" fmla="*/ 50178 w 62560"/>
                <a:gd name="connsiteY0" fmla="*/ 29249 h 63042"/>
                <a:gd name="connsiteX1" fmla="*/ 45231 w 62560"/>
                <a:gd name="connsiteY1" fmla="*/ 30011 h 63042"/>
                <a:gd name="connsiteX2" fmla="*/ 45409 w 62560"/>
                <a:gd name="connsiteY2" fmla="*/ 39511 h 63042"/>
                <a:gd name="connsiteX3" fmla="*/ 39485 w 62560"/>
                <a:gd name="connsiteY3" fmla="*/ 33834 h 63042"/>
                <a:gd name="connsiteX4" fmla="*/ 33321 w 62560"/>
                <a:gd name="connsiteY4" fmla="*/ 46077 h 63042"/>
                <a:gd name="connsiteX5" fmla="*/ 28158 w 62560"/>
                <a:gd name="connsiteY5" fmla="*/ 63044 h 63042"/>
                <a:gd name="connsiteX6" fmla="*/ 23706 w 62560"/>
                <a:gd name="connsiteY6" fmla="*/ 59310 h 63042"/>
                <a:gd name="connsiteX7" fmla="*/ 7521 w 62560"/>
                <a:gd name="connsiteY7" fmla="*/ 43689 h 63042"/>
                <a:gd name="connsiteX8" fmla="*/ 11161 w 62560"/>
                <a:gd name="connsiteY8" fmla="*/ 43880 h 63042"/>
                <a:gd name="connsiteX9" fmla="*/ 6316 w 62560"/>
                <a:gd name="connsiteY9" fmla="*/ 43600 h 63042"/>
                <a:gd name="connsiteX10" fmla="*/ 4654 w 62560"/>
                <a:gd name="connsiteY10" fmla="*/ 42076 h 63042"/>
                <a:gd name="connsiteX11" fmla="*/ -26 w 62560"/>
                <a:gd name="connsiteY11" fmla="*/ 38431 h 63042"/>
                <a:gd name="connsiteX12" fmla="*/ 4286 w 62560"/>
                <a:gd name="connsiteY12" fmla="*/ 37085 h 63042"/>
                <a:gd name="connsiteX13" fmla="*/ 3753 w 62560"/>
                <a:gd name="connsiteY13" fmla="*/ 24525 h 63042"/>
                <a:gd name="connsiteX14" fmla="*/ 8244 w 62560"/>
                <a:gd name="connsiteY14" fmla="*/ 19572 h 63042"/>
                <a:gd name="connsiteX15" fmla="*/ 8510 w 62560"/>
                <a:gd name="connsiteY15" fmla="*/ 10301 h 63042"/>
                <a:gd name="connsiteX16" fmla="*/ 15664 w 62560"/>
                <a:gd name="connsiteY16" fmla="*/ 10301 h 63042"/>
                <a:gd name="connsiteX17" fmla="*/ 21182 w 62560"/>
                <a:gd name="connsiteY17" fmla="*/ 814 h 63042"/>
                <a:gd name="connsiteX18" fmla="*/ 21765 w 62560"/>
                <a:gd name="connsiteY18" fmla="*/ 1 h 63042"/>
                <a:gd name="connsiteX19" fmla="*/ 27067 w 62560"/>
                <a:gd name="connsiteY19" fmla="*/ 4548 h 63042"/>
                <a:gd name="connsiteX20" fmla="*/ 39079 w 62560"/>
                <a:gd name="connsiteY20" fmla="*/ 14441 h 63042"/>
                <a:gd name="connsiteX21" fmla="*/ 45637 w 62560"/>
                <a:gd name="connsiteY21" fmla="*/ 15965 h 63042"/>
                <a:gd name="connsiteX22" fmla="*/ 55607 w 62560"/>
                <a:gd name="connsiteY22" fmla="*/ 24156 h 63042"/>
                <a:gd name="connsiteX23" fmla="*/ 57725 w 62560"/>
                <a:gd name="connsiteY23" fmla="*/ 26773 h 63042"/>
                <a:gd name="connsiteX24" fmla="*/ 61315 w 62560"/>
                <a:gd name="connsiteY24" fmla="*/ 30684 h 63042"/>
                <a:gd name="connsiteX25" fmla="*/ 50178 w 62560"/>
                <a:gd name="connsiteY25" fmla="*/ 29249 h 63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62560" h="63042">
                  <a:moveTo>
                    <a:pt x="50178" y="29249"/>
                  </a:moveTo>
                  <a:cubicBezTo>
                    <a:pt x="47349" y="28894"/>
                    <a:pt x="45865" y="29249"/>
                    <a:pt x="45231" y="30011"/>
                  </a:cubicBezTo>
                  <a:cubicBezTo>
                    <a:pt x="43303" y="32310"/>
                    <a:pt x="48199" y="38076"/>
                    <a:pt x="45409" y="39511"/>
                  </a:cubicBezTo>
                  <a:cubicBezTo>
                    <a:pt x="41629" y="41492"/>
                    <a:pt x="40868" y="36717"/>
                    <a:pt x="39485" y="33834"/>
                  </a:cubicBezTo>
                  <a:cubicBezTo>
                    <a:pt x="38128" y="30913"/>
                    <a:pt x="35210" y="38876"/>
                    <a:pt x="33321" y="46077"/>
                  </a:cubicBezTo>
                  <a:cubicBezTo>
                    <a:pt x="31836" y="51703"/>
                    <a:pt x="30225" y="56961"/>
                    <a:pt x="28158" y="63044"/>
                  </a:cubicBezTo>
                  <a:cubicBezTo>
                    <a:pt x="26205" y="62485"/>
                    <a:pt x="24581" y="61126"/>
                    <a:pt x="23706" y="59310"/>
                  </a:cubicBezTo>
                  <a:cubicBezTo>
                    <a:pt x="22361" y="50179"/>
                    <a:pt x="11034" y="47474"/>
                    <a:pt x="7521" y="43689"/>
                  </a:cubicBezTo>
                  <a:cubicBezTo>
                    <a:pt x="4730" y="40895"/>
                    <a:pt x="10362" y="42787"/>
                    <a:pt x="11161" y="43880"/>
                  </a:cubicBezTo>
                  <a:cubicBezTo>
                    <a:pt x="13140" y="39866"/>
                    <a:pt x="3792" y="41124"/>
                    <a:pt x="6316" y="43600"/>
                  </a:cubicBezTo>
                  <a:cubicBezTo>
                    <a:pt x="5821" y="43105"/>
                    <a:pt x="5238" y="42610"/>
                    <a:pt x="4654" y="42076"/>
                  </a:cubicBezTo>
                  <a:cubicBezTo>
                    <a:pt x="3259" y="40870"/>
                    <a:pt x="1635" y="39650"/>
                    <a:pt x="-26" y="38431"/>
                  </a:cubicBezTo>
                  <a:cubicBezTo>
                    <a:pt x="1331" y="37771"/>
                    <a:pt x="2790" y="37314"/>
                    <a:pt x="4286" y="37085"/>
                  </a:cubicBezTo>
                  <a:cubicBezTo>
                    <a:pt x="9550" y="36412"/>
                    <a:pt x="1318" y="30608"/>
                    <a:pt x="3753" y="24525"/>
                  </a:cubicBezTo>
                  <a:cubicBezTo>
                    <a:pt x="6176" y="18454"/>
                    <a:pt x="3753" y="24525"/>
                    <a:pt x="8244" y="19572"/>
                  </a:cubicBezTo>
                  <a:cubicBezTo>
                    <a:pt x="12785" y="14581"/>
                    <a:pt x="9094" y="15381"/>
                    <a:pt x="8510" y="10301"/>
                  </a:cubicBezTo>
                  <a:cubicBezTo>
                    <a:pt x="7977" y="5221"/>
                    <a:pt x="11301" y="10491"/>
                    <a:pt x="15664" y="10301"/>
                  </a:cubicBezTo>
                  <a:cubicBezTo>
                    <a:pt x="20015" y="10123"/>
                    <a:pt x="16780" y="6846"/>
                    <a:pt x="21182" y="814"/>
                  </a:cubicBezTo>
                  <a:cubicBezTo>
                    <a:pt x="21397" y="547"/>
                    <a:pt x="21587" y="281"/>
                    <a:pt x="21765" y="1"/>
                  </a:cubicBezTo>
                  <a:cubicBezTo>
                    <a:pt x="23478" y="1436"/>
                    <a:pt x="25456" y="3151"/>
                    <a:pt x="27067" y="4548"/>
                  </a:cubicBezTo>
                  <a:cubicBezTo>
                    <a:pt x="30619" y="7748"/>
                    <a:pt x="32470" y="12917"/>
                    <a:pt x="39079" y="14441"/>
                  </a:cubicBezTo>
                  <a:cubicBezTo>
                    <a:pt x="45637" y="15965"/>
                    <a:pt x="41134" y="11965"/>
                    <a:pt x="45637" y="15965"/>
                  </a:cubicBezTo>
                  <a:cubicBezTo>
                    <a:pt x="50127" y="19965"/>
                    <a:pt x="53361" y="21096"/>
                    <a:pt x="55607" y="24156"/>
                  </a:cubicBezTo>
                  <a:cubicBezTo>
                    <a:pt x="56241" y="25020"/>
                    <a:pt x="56964" y="25922"/>
                    <a:pt x="57725" y="26773"/>
                  </a:cubicBezTo>
                  <a:cubicBezTo>
                    <a:pt x="59526" y="28881"/>
                    <a:pt x="61315" y="30684"/>
                    <a:pt x="61315" y="30684"/>
                  </a:cubicBezTo>
                  <a:cubicBezTo>
                    <a:pt x="64612" y="34253"/>
                    <a:pt x="61327" y="30697"/>
                    <a:pt x="50178" y="29249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8" name="Vrije vorm 317">
              <a:extLst>
                <a:ext uri="{FF2B5EF4-FFF2-40B4-BE49-F238E27FC236}">
                  <a16:creationId xmlns:a16="http://schemas.microsoft.com/office/drawing/2014/main" id="{D841204C-6B0B-D24E-B7DD-14AAFC3ADF9E}"/>
                </a:ext>
              </a:extLst>
            </p:cNvPr>
            <p:cNvSpPr/>
            <p:nvPr/>
          </p:nvSpPr>
          <p:spPr>
            <a:xfrm>
              <a:off x="5934442" y="2958278"/>
              <a:ext cx="113262" cy="108071"/>
            </a:xfrm>
            <a:custGeom>
              <a:avLst/>
              <a:gdLst>
                <a:gd name="connsiteX0" fmla="*/ 103343 w 113262"/>
                <a:gd name="connsiteY0" fmla="*/ 54479 h 108071"/>
                <a:gd name="connsiteX1" fmla="*/ 110129 w 113262"/>
                <a:gd name="connsiteY1" fmla="*/ 62899 h 108071"/>
                <a:gd name="connsiteX2" fmla="*/ 106844 w 113262"/>
                <a:gd name="connsiteY2" fmla="*/ 69147 h 108071"/>
                <a:gd name="connsiteX3" fmla="*/ 97318 w 113262"/>
                <a:gd name="connsiteY3" fmla="*/ 69643 h 108071"/>
                <a:gd name="connsiteX4" fmla="*/ 96734 w 113262"/>
                <a:gd name="connsiteY4" fmla="*/ 70455 h 108071"/>
                <a:gd name="connsiteX5" fmla="*/ 91204 w 113262"/>
                <a:gd name="connsiteY5" fmla="*/ 79955 h 108071"/>
                <a:gd name="connsiteX6" fmla="*/ 84063 w 113262"/>
                <a:gd name="connsiteY6" fmla="*/ 79955 h 108071"/>
                <a:gd name="connsiteX7" fmla="*/ 83797 w 113262"/>
                <a:gd name="connsiteY7" fmla="*/ 89226 h 108071"/>
                <a:gd name="connsiteX8" fmla="*/ 79294 w 113262"/>
                <a:gd name="connsiteY8" fmla="*/ 94179 h 108071"/>
                <a:gd name="connsiteX9" fmla="*/ 79839 w 113262"/>
                <a:gd name="connsiteY9" fmla="*/ 106727 h 108071"/>
                <a:gd name="connsiteX10" fmla="*/ 75526 w 113262"/>
                <a:gd name="connsiteY10" fmla="*/ 108073 h 108071"/>
                <a:gd name="connsiteX11" fmla="*/ 74309 w 113262"/>
                <a:gd name="connsiteY11" fmla="*/ 107222 h 108071"/>
                <a:gd name="connsiteX12" fmla="*/ 71708 w 113262"/>
                <a:gd name="connsiteY12" fmla="*/ 105469 h 108071"/>
                <a:gd name="connsiteX13" fmla="*/ 54128 w 113262"/>
                <a:gd name="connsiteY13" fmla="*/ 95259 h 108071"/>
                <a:gd name="connsiteX14" fmla="*/ 53951 w 113262"/>
                <a:gd name="connsiteY14" fmla="*/ 94128 h 108071"/>
                <a:gd name="connsiteX15" fmla="*/ 58758 w 113262"/>
                <a:gd name="connsiteY15" fmla="*/ 96160 h 108071"/>
                <a:gd name="connsiteX16" fmla="*/ 53418 w 113262"/>
                <a:gd name="connsiteY16" fmla="*/ 91029 h 108071"/>
                <a:gd name="connsiteX17" fmla="*/ 53367 w 113262"/>
                <a:gd name="connsiteY17" fmla="*/ 90979 h 108071"/>
                <a:gd name="connsiteX18" fmla="*/ 51883 w 113262"/>
                <a:gd name="connsiteY18" fmla="*/ 83155 h 108071"/>
                <a:gd name="connsiteX19" fmla="*/ 37499 w 113262"/>
                <a:gd name="connsiteY19" fmla="*/ 70875 h 108071"/>
                <a:gd name="connsiteX20" fmla="*/ 26223 w 113262"/>
                <a:gd name="connsiteY20" fmla="*/ 55609 h 108071"/>
                <a:gd name="connsiteX21" fmla="*/ 15530 w 113262"/>
                <a:gd name="connsiteY21" fmla="*/ 42884 h 108071"/>
                <a:gd name="connsiteX22" fmla="*/ 12474 w 113262"/>
                <a:gd name="connsiteY22" fmla="*/ 30006 h 108071"/>
                <a:gd name="connsiteX23" fmla="*/ 1781 w 113262"/>
                <a:gd name="connsiteY23" fmla="*/ 15122 h 108071"/>
                <a:gd name="connsiteX24" fmla="*/ 6677 w 113262"/>
                <a:gd name="connsiteY24" fmla="*/ 2739 h 108071"/>
                <a:gd name="connsiteX25" fmla="*/ 11852 w 113262"/>
                <a:gd name="connsiteY25" fmla="*/ 7959 h 108071"/>
                <a:gd name="connsiteX26" fmla="*/ 19754 w 113262"/>
                <a:gd name="connsiteY26" fmla="*/ 4276 h 108071"/>
                <a:gd name="connsiteX27" fmla="*/ 25107 w 113262"/>
                <a:gd name="connsiteY27" fmla="*/ 2574 h 108071"/>
                <a:gd name="connsiteX28" fmla="*/ 31347 w 113262"/>
                <a:gd name="connsiteY28" fmla="*/ 1672 h 108071"/>
                <a:gd name="connsiteX29" fmla="*/ 38717 w 113262"/>
                <a:gd name="connsiteY29" fmla="*/ 2790 h 108071"/>
                <a:gd name="connsiteX30" fmla="*/ 51033 w 113262"/>
                <a:gd name="connsiteY30" fmla="*/ 4949 h 108071"/>
                <a:gd name="connsiteX31" fmla="*/ 56970 w 113262"/>
                <a:gd name="connsiteY31" fmla="*/ 4860 h 108071"/>
                <a:gd name="connsiteX32" fmla="*/ 61916 w 113262"/>
                <a:gd name="connsiteY32" fmla="*/ 4276 h 108071"/>
                <a:gd name="connsiteX33" fmla="*/ 71214 w 113262"/>
                <a:gd name="connsiteY33" fmla="*/ 7565 h 108071"/>
                <a:gd name="connsiteX34" fmla="*/ 82173 w 113262"/>
                <a:gd name="connsiteY34" fmla="*/ 9280 h 108071"/>
                <a:gd name="connsiteX35" fmla="*/ 95707 w 113262"/>
                <a:gd name="connsiteY35" fmla="*/ 14449 h 108071"/>
                <a:gd name="connsiteX36" fmla="*/ 96113 w 113262"/>
                <a:gd name="connsiteY36" fmla="*/ 14537 h 108071"/>
                <a:gd name="connsiteX37" fmla="*/ 101998 w 113262"/>
                <a:gd name="connsiteY37" fmla="*/ 14855 h 108071"/>
                <a:gd name="connsiteX38" fmla="*/ 103254 w 113262"/>
                <a:gd name="connsiteY38" fmla="*/ 20202 h 108071"/>
                <a:gd name="connsiteX39" fmla="*/ 98269 w 113262"/>
                <a:gd name="connsiteY39" fmla="*/ 35099 h 108071"/>
                <a:gd name="connsiteX40" fmla="*/ 104650 w 113262"/>
                <a:gd name="connsiteY40" fmla="*/ 45500 h 108071"/>
                <a:gd name="connsiteX41" fmla="*/ 113237 w 113262"/>
                <a:gd name="connsiteY41" fmla="*/ 48421 h 108071"/>
                <a:gd name="connsiteX42" fmla="*/ 111664 w 113262"/>
                <a:gd name="connsiteY42" fmla="*/ 49132 h 108071"/>
                <a:gd name="connsiteX43" fmla="*/ 103343 w 113262"/>
                <a:gd name="connsiteY43" fmla="*/ 54479 h 108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113262" h="108071">
                  <a:moveTo>
                    <a:pt x="103343" y="54479"/>
                  </a:moveTo>
                  <a:cubicBezTo>
                    <a:pt x="105855" y="57679"/>
                    <a:pt x="110852" y="60016"/>
                    <a:pt x="110129" y="62899"/>
                  </a:cubicBezTo>
                  <a:cubicBezTo>
                    <a:pt x="109457" y="65820"/>
                    <a:pt x="114302" y="69020"/>
                    <a:pt x="106844" y="69147"/>
                  </a:cubicBezTo>
                  <a:cubicBezTo>
                    <a:pt x="99740" y="69236"/>
                    <a:pt x="101047" y="64880"/>
                    <a:pt x="97318" y="69643"/>
                  </a:cubicBezTo>
                  <a:cubicBezTo>
                    <a:pt x="97140" y="69922"/>
                    <a:pt x="96950" y="70201"/>
                    <a:pt x="96734" y="70455"/>
                  </a:cubicBezTo>
                  <a:cubicBezTo>
                    <a:pt x="92333" y="76488"/>
                    <a:pt x="95568" y="79777"/>
                    <a:pt x="91204" y="79955"/>
                  </a:cubicBezTo>
                  <a:cubicBezTo>
                    <a:pt x="86853" y="80133"/>
                    <a:pt x="83517" y="74875"/>
                    <a:pt x="84063" y="79955"/>
                  </a:cubicBezTo>
                  <a:cubicBezTo>
                    <a:pt x="84647" y="85035"/>
                    <a:pt x="88338" y="84222"/>
                    <a:pt x="83797" y="89226"/>
                  </a:cubicBezTo>
                  <a:cubicBezTo>
                    <a:pt x="79294" y="94179"/>
                    <a:pt x="81729" y="88096"/>
                    <a:pt x="79294" y="94179"/>
                  </a:cubicBezTo>
                  <a:cubicBezTo>
                    <a:pt x="76871" y="100250"/>
                    <a:pt x="85090" y="106054"/>
                    <a:pt x="79839" y="106727"/>
                  </a:cubicBezTo>
                  <a:cubicBezTo>
                    <a:pt x="78342" y="106955"/>
                    <a:pt x="76884" y="107413"/>
                    <a:pt x="75526" y="108073"/>
                  </a:cubicBezTo>
                  <a:cubicBezTo>
                    <a:pt x="75121" y="107806"/>
                    <a:pt x="74715" y="107489"/>
                    <a:pt x="74309" y="107222"/>
                  </a:cubicBezTo>
                  <a:cubicBezTo>
                    <a:pt x="73459" y="106638"/>
                    <a:pt x="72609" y="106054"/>
                    <a:pt x="71708" y="105469"/>
                  </a:cubicBezTo>
                  <a:cubicBezTo>
                    <a:pt x="65823" y="101596"/>
                    <a:pt x="59215" y="97951"/>
                    <a:pt x="54128" y="95259"/>
                  </a:cubicBezTo>
                  <a:cubicBezTo>
                    <a:pt x="54090" y="94890"/>
                    <a:pt x="54001" y="94535"/>
                    <a:pt x="53951" y="94128"/>
                  </a:cubicBezTo>
                  <a:cubicBezTo>
                    <a:pt x="55397" y="94713"/>
                    <a:pt x="57008" y="95386"/>
                    <a:pt x="58758" y="96160"/>
                  </a:cubicBezTo>
                  <a:cubicBezTo>
                    <a:pt x="57198" y="94230"/>
                    <a:pt x="55409" y="92503"/>
                    <a:pt x="53418" y="91029"/>
                  </a:cubicBezTo>
                  <a:lnTo>
                    <a:pt x="53367" y="90979"/>
                  </a:lnTo>
                  <a:cubicBezTo>
                    <a:pt x="53050" y="89226"/>
                    <a:pt x="52555" y="86800"/>
                    <a:pt x="51883" y="83155"/>
                  </a:cubicBezTo>
                  <a:cubicBezTo>
                    <a:pt x="49689" y="71052"/>
                    <a:pt x="45186" y="74151"/>
                    <a:pt x="37499" y="70875"/>
                  </a:cubicBezTo>
                  <a:cubicBezTo>
                    <a:pt x="29864" y="67623"/>
                    <a:pt x="34455" y="63305"/>
                    <a:pt x="26223" y="55609"/>
                  </a:cubicBezTo>
                  <a:cubicBezTo>
                    <a:pt x="18004" y="47875"/>
                    <a:pt x="23978" y="52104"/>
                    <a:pt x="15530" y="42884"/>
                  </a:cubicBezTo>
                  <a:cubicBezTo>
                    <a:pt x="7121" y="33702"/>
                    <a:pt x="14046" y="36216"/>
                    <a:pt x="12474" y="30006"/>
                  </a:cubicBezTo>
                  <a:cubicBezTo>
                    <a:pt x="10951" y="23758"/>
                    <a:pt x="6588" y="22450"/>
                    <a:pt x="1781" y="15122"/>
                  </a:cubicBezTo>
                  <a:cubicBezTo>
                    <a:pt x="-3077" y="7832"/>
                    <a:pt x="2998" y="9356"/>
                    <a:pt x="6677" y="2739"/>
                  </a:cubicBezTo>
                  <a:cubicBezTo>
                    <a:pt x="10368" y="-3827"/>
                    <a:pt x="9378" y="2828"/>
                    <a:pt x="11852" y="7959"/>
                  </a:cubicBezTo>
                  <a:cubicBezTo>
                    <a:pt x="14275" y="13140"/>
                    <a:pt x="15847" y="9940"/>
                    <a:pt x="19754" y="4276"/>
                  </a:cubicBezTo>
                  <a:cubicBezTo>
                    <a:pt x="23623" y="-1350"/>
                    <a:pt x="24523" y="2980"/>
                    <a:pt x="25107" y="2574"/>
                  </a:cubicBezTo>
                  <a:cubicBezTo>
                    <a:pt x="25741" y="2117"/>
                    <a:pt x="29102" y="3285"/>
                    <a:pt x="31347" y="1672"/>
                  </a:cubicBezTo>
                  <a:cubicBezTo>
                    <a:pt x="33592" y="47"/>
                    <a:pt x="34988" y="1355"/>
                    <a:pt x="38717" y="2790"/>
                  </a:cubicBezTo>
                  <a:cubicBezTo>
                    <a:pt x="42776" y="3768"/>
                    <a:pt x="46886" y="4479"/>
                    <a:pt x="51033" y="4949"/>
                  </a:cubicBezTo>
                  <a:cubicBezTo>
                    <a:pt x="55980" y="6079"/>
                    <a:pt x="51033" y="4949"/>
                    <a:pt x="56970" y="4860"/>
                  </a:cubicBezTo>
                  <a:cubicBezTo>
                    <a:pt x="62855" y="4733"/>
                    <a:pt x="56970" y="4860"/>
                    <a:pt x="61916" y="4276"/>
                  </a:cubicBezTo>
                  <a:cubicBezTo>
                    <a:pt x="66863" y="3742"/>
                    <a:pt x="62183" y="8873"/>
                    <a:pt x="71214" y="7565"/>
                  </a:cubicBezTo>
                  <a:cubicBezTo>
                    <a:pt x="80207" y="6219"/>
                    <a:pt x="75577" y="5990"/>
                    <a:pt x="82173" y="9280"/>
                  </a:cubicBezTo>
                  <a:cubicBezTo>
                    <a:pt x="86397" y="11693"/>
                    <a:pt x="90963" y="13433"/>
                    <a:pt x="95707" y="14449"/>
                  </a:cubicBezTo>
                  <a:cubicBezTo>
                    <a:pt x="95834" y="14499"/>
                    <a:pt x="95973" y="14525"/>
                    <a:pt x="96113" y="14537"/>
                  </a:cubicBezTo>
                  <a:cubicBezTo>
                    <a:pt x="98016" y="15160"/>
                    <a:pt x="100045" y="15274"/>
                    <a:pt x="101998" y="14855"/>
                  </a:cubicBezTo>
                  <a:cubicBezTo>
                    <a:pt x="103394" y="15490"/>
                    <a:pt x="104155" y="16925"/>
                    <a:pt x="103254" y="20202"/>
                  </a:cubicBezTo>
                  <a:cubicBezTo>
                    <a:pt x="100971" y="28355"/>
                    <a:pt x="97191" y="31416"/>
                    <a:pt x="98269" y="35099"/>
                  </a:cubicBezTo>
                  <a:cubicBezTo>
                    <a:pt x="99385" y="38782"/>
                    <a:pt x="99792" y="38921"/>
                    <a:pt x="104650" y="45500"/>
                  </a:cubicBezTo>
                  <a:cubicBezTo>
                    <a:pt x="106577" y="48230"/>
                    <a:pt x="110040" y="49412"/>
                    <a:pt x="113237" y="48421"/>
                  </a:cubicBezTo>
                  <a:cubicBezTo>
                    <a:pt x="112869" y="48548"/>
                    <a:pt x="112374" y="48777"/>
                    <a:pt x="111664" y="49132"/>
                  </a:cubicBezTo>
                  <a:cubicBezTo>
                    <a:pt x="105550" y="52193"/>
                    <a:pt x="100781" y="51291"/>
                    <a:pt x="103343" y="54479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9" name="Vrije vorm 318">
              <a:extLst>
                <a:ext uri="{FF2B5EF4-FFF2-40B4-BE49-F238E27FC236}">
                  <a16:creationId xmlns:a16="http://schemas.microsoft.com/office/drawing/2014/main" id="{76049DB5-7AE3-CC4E-8DDF-D10EE2BA3B36}"/>
                </a:ext>
              </a:extLst>
            </p:cNvPr>
            <p:cNvSpPr/>
            <p:nvPr/>
          </p:nvSpPr>
          <p:spPr>
            <a:xfrm>
              <a:off x="5873839" y="2907245"/>
              <a:ext cx="168950" cy="142011"/>
            </a:xfrm>
            <a:custGeom>
              <a:avLst/>
              <a:gdLst>
                <a:gd name="connsiteX0" fmla="*/ 168259 w 168950"/>
                <a:gd name="connsiteY0" fmla="*/ 56199 h 142011"/>
                <a:gd name="connsiteX1" fmla="*/ 156311 w 168950"/>
                <a:gd name="connsiteY1" fmla="*/ 65470 h 142011"/>
                <a:gd name="connsiteX2" fmla="*/ 142777 w 168950"/>
                <a:gd name="connsiteY2" fmla="*/ 60301 h 142011"/>
                <a:gd name="connsiteX3" fmla="*/ 131818 w 168950"/>
                <a:gd name="connsiteY3" fmla="*/ 58586 h 142011"/>
                <a:gd name="connsiteX4" fmla="*/ 122508 w 168950"/>
                <a:gd name="connsiteY4" fmla="*/ 55310 h 142011"/>
                <a:gd name="connsiteX5" fmla="*/ 117561 w 168950"/>
                <a:gd name="connsiteY5" fmla="*/ 55894 h 142011"/>
                <a:gd name="connsiteX6" fmla="*/ 111637 w 168950"/>
                <a:gd name="connsiteY6" fmla="*/ 55983 h 142011"/>
                <a:gd name="connsiteX7" fmla="*/ 99321 w 168950"/>
                <a:gd name="connsiteY7" fmla="*/ 53824 h 142011"/>
                <a:gd name="connsiteX8" fmla="*/ 91951 w 168950"/>
                <a:gd name="connsiteY8" fmla="*/ 52693 h 142011"/>
                <a:gd name="connsiteX9" fmla="*/ 85698 w 168950"/>
                <a:gd name="connsiteY9" fmla="*/ 53595 h 142011"/>
                <a:gd name="connsiteX10" fmla="*/ 80358 w 168950"/>
                <a:gd name="connsiteY10" fmla="*/ 55310 h 142011"/>
                <a:gd name="connsiteX11" fmla="*/ 72443 w 168950"/>
                <a:gd name="connsiteY11" fmla="*/ 58993 h 142011"/>
                <a:gd name="connsiteX12" fmla="*/ 67281 w 168950"/>
                <a:gd name="connsiteY12" fmla="*/ 53773 h 142011"/>
                <a:gd name="connsiteX13" fmla="*/ 62372 w 168950"/>
                <a:gd name="connsiteY13" fmla="*/ 66143 h 142011"/>
                <a:gd name="connsiteX14" fmla="*/ 73077 w 168950"/>
                <a:gd name="connsiteY14" fmla="*/ 81040 h 142011"/>
                <a:gd name="connsiteX15" fmla="*/ 76134 w 168950"/>
                <a:gd name="connsiteY15" fmla="*/ 93905 h 142011"/>
                <a:gd name="connsiteX16" fmla="*/ 86827 w 168950"/>
                <a:gd name="connsiteY16" fmla="*/ 106643 h 142011"/>
                <a:gd name="connsiteX17" fmla="*/ 98103 w 168950"/>
                <a:gd name="connsiteY17" fmla="*/ 121896 h 142011"/>
                <a:gd name="connsiteX18" fmla="*/ 112487 w 168950"/>
                <a:gd name="connsiteY18" fmla="*/ 134177 h 142011"/>
                <a:gd name="connsiteX19" fmla="*/ 113971 w 168950"/>
                <a:gd name="connsiteY19" fmla="*/ 142013 h 142011"/>
                <a:gd name="connsiteX20" fmla="*/ 95680 w 168950"/>
                <a:gd name="connsiteY20" fmla="*/ 125401 h 142011"/>
                <a:gd name="connsiteX21" fmla="*/ 68980 w 168950"/>
                <a:gd name="connsiteY21" fmla="*/ 114060 h 142011"/>
                <a:gd name="connsiteX22" fmla="*/ 53797 w 168950"/>
                <a:gd name="connsiteY22" fmla="*/ 90565 h 142011"/>
                <a:gd name="connsiteX23" fmla="*/ 18472 w 168950"/>
                <a:gd name="connsiteY23" fmla="*/ 60339 h 142011"/>
                <a:gd name="connsiteX24" fmla="*/ 16353 w 168950"/>
                <a:gd name="connsiteY24" fmla="*/ 63031 h 142011"/>
                <a:gd name="connsiteX25" fmla="*/ 13614 w 168950"/>
                <a:gd name="connsiteY25" fmla="*/ 67222 h 142011"/>
                <a:gd name="connsiteX26" fmla="*/ 3276 w 168950"/>
                <a:gd name="connsiteY26" fmla="*/ 59577 h 142011"/>
                <a:gd name="connsiteX27" fmla="*/ 815 w 168950"/>
                <a:gd name="connsiteY27" fmla="*/ 42965 h 142011"/>
                <a:gd name="connsiteX28" fmla="*/ 5927 w 168950"/>
                <a:gd name="connsiteY28" fmla="*/ 44858 h 142011"/>
                <a:gd name="connsiteX29" fmla="*/ 13119 w 168950"/>
                <a:gd name="connsiteY29" fmla="*/ 43156 h 142011"/>
                <a:gd name="connsiteX30" fmla="*/ 19588 w 168950"/>
                <a:gd name="connsiteY30" fmla="*/ 44324 h 142011"/>
                <a:gd name="connsiteX31" fmla="*/ 26564 w 168950"/>
                <a:gd name="connsiteY31" fmla="*/ 41213 h 142011"/>
                <a:gd name="connsiteX32" fmla="*/ 30471 w 168950"/>
                <a:gd name="connsiteY32" fmla="*/ 35587 h 142011"/>
                <a:gd name="connsiteX33" fmla="*/ 33921 w 168950"/>
                <a:gd name="connsiteY33" fmla="*/ 42572 h 142011"/>
                <a:gd name="connsiteX34" fmla="*/ 42470 w 168950"/>
                <a:gd name="connsiteY34" fmla="*/ 42292 h 142011"/>
                <a:gd name="connsiteX35" fmla="*/ 50056 w 168950"/>
                <a:gd name="connsiteY35" fmla="*/ 45493 h 142011"/>
                <a:gd name="connsiteX36" fmla="*/ 50601 w 168950"/>
                <a:gd name="connsiteY36" fmla="*/ 35091 h 142011"/>
                <a:gd name="connsiteX37" fmla="*/ 51730 w 168950"/>
                <a:gd name="connsiteY37" fmla="*/ 34913 h 142011"/>
                <a:gd name="connsiteX38" fmla="*/ 53341 w 168950"/>
                <a:gd name="connsiteY38" fmla="*/ 31904 h 142011"/>
                <a:gd name="connsiteX39" fmla="*/ 61116 w 168950"/>
                <a:gd name="connsiteY39" fmla="*/ 25960 h 142011"/>
                <a:gd name="connsiteX40" fmla="*/ 57247 w 168950"/>
                <a:gd name="connsiteY40" fmla="*/ 17680 h 142011"/>
                <a:gd name="connsiteX41" fmla="*/ 63627 w 168950"/>
                <a:gd name="connsiteY41" fmla="*/ 13501 h 142011"/>
                <a:gd name="connsiteX42" fmla="*/ 69792 w 168950"/>
                <a:gd name="connsiteY42" fmla="*/ 10072 h 142011"/>
                <a:gd name="connsiteX43" fmla="*/ 75677 w 168950"/>
                <a:gd name="connsiteY43" fmla="*/ 8726 h 142011"/>
                <a:gd name="connsiteX44" fmla="*/ 78151 w 168950"/>
                <a:gd name="connsiteY44" fmla="*/ 3684 h 142011"/>
                <a:gd name="connsiteX45" fmla="*/ 81918 w 168950"/>
                <a:gd name="connsiteY45" fmla="*/ 1 h 142011"/>
                <a:gd name="connsiteX46" fmla="*/ 87588 w 168950"/>
                <a:gd name="connsiteY46" fmla="*/ 2351 h 142011"/>
                <a:gd name="connsiteX47" fmla="*/ 92535 w 168950"/>
                <a:gd name="connsiteY47" fmla="*/ 5907 h 142011"/>
                <a:gd name="connsiteX48" fmla="*/ 99181 w 168950"/>
                <a:gd name="connsiteY48" fmla="*/ 11838 h 142011"/>
                <a:gd name="connsiteX49" fmla="*/ 106411 w 168950"/>
                <a:gd name="connsiteY49" fmla="*/ 20296 h 142011"/>
                <a:gd name="connsiteX50" fmla="*/ 113147 w 168950"/>
                <a:gd name="connsiteY50" fmla="*/ 23268 h 142011"/>
                <a:gd name="connsiteX51" fmla="*/ 119349 w 168950"/>
                <a:gd name="connsiteY51" fmla="*/ 29300 h 142011"/>
                <a:gd name="connsiteX52" fmla="*/ 131310 w 168950"/>
                <a:gd name="connsiteY52" fmla="*/ 30964 h 142011"/>
                <a:gd name="connsiteX53" fmla="*/ 143842 w 168950"/>
                <a:gd name="connsiteY53" fmla="*/ 29834 h 142011"/>
                <a:gd name="connsiteX54" fmla="*/ 146544 w 168950"/>
                <a:gd name="connsiteY54" fmla="*/ 25744 h 142011"/>
                <a:gd name="connsiteX55" fmla="*/ 150184 w 168950"/>
                <a:gd name="connsiteY55" fmla="*/ 25109 h 142011"/>
                <a:gd name="connsiteX56" fmla="*/ 151085 w 168950"/>
                <a:gd name="connsiteY56" fmla="*/ 33123 h 142011"/>
                <a:gd name="connsiteX57" fmla="*/ 156298 w 168950"/>
                <a:gd name="connsiteY57" fmla="*/ 39689 h 142011"/>
                <a:gd name="connsiteX58" fmla="*/ 154142 w 168950"/>
                <a:gd name="connsiteY58" fmla="*/ 45454 h 142011"/>
                <a:gd name="connsiteX59" fmla="*/ 159178 w 168950"/>
                <a:gd name="connsiteY59" fmla="*/ 49899 h 142011"/>
                <a:gd name="connsiteX60" fmla="*/ 168259 w 168950"/>
                <a:gd name="connsiteY60" fmla="*/ 56199 h 142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168950" h="142011">
                  <a:moveTo>
                    <a:pt x="168259" y="56199"/>
                  </a:moveTo>
                  <a:cubicBezTo>
                    <a:pt x="164619" y="60428"/>
                    <a:pt x="154954" y="64657"/>
                    <a:pt x="156311" y="65470"/>
                  </a:cubicBezTo>
                  <a:cubicBezTo>
                    <a:pt x="151554" y="64454"/>
                    <a:pt x="146988" y="62714"/>
                    <a:pt x="142777" y="60301"/>
                  </a:cubicBezTo>
                  <a:cubicBezTo>
                    <a:pt x="136168" y="57012"/>
                    <a:pt x="140798" y="57240"/>
                    <a:pt x="131818" y="58586"/>
                  </a:cubicBezTo>
                  <a:cubicBezTo>
                    <a:pt x="122774" y="59894"/>
                    <a:pt x="127454" y="54764"/>
                    <a:pt x="122508" y="55310"/>
                  </a:cubicBezTo>
                  <a:cubicBezTo>
                    <a:pt x="117561" y="55894"/>
                    <a:pt x="123459" y="55754"/>
                    <a:pt x="117561" y="55894"/>
                  </a:cubicBezTo>
                  <a:cubicBezTo>
                    <a:pt x="111637" y="55983"/>
                    <a:pt x="116571" y="57100"/>
                    <a:pt x="111637" y="55983"/>
                  </a:cubicBezTo>
                  <a:cubicBezTo>
                    <a:pt x="107489" y="55513"/>
                    <a:pt x="103380" y="54789"/>
                    <a:pt x="99321" y="53824"/>
                  </a:cubicBezTo>
                  <a:cubicBezTo>
                    <a:pt x="95592" y="52376"/>
                    <a:pt x="94196" y="51081"/>
                    <a:pt x="91951" y="52693"/>
                  </a:cubicBezTo>
                  <a:cubicBezTo>
                    <a:pt x="89694" y="54319"/>
                    <a:pt x="86332" y="53151"/>
                    <a:pt x="85698" y="53595"/>
                  </a:cubicBezTo>
                  <a:cubicBezTo>
                    <a:pt x="85114" y="54002"/>
                    <a:pt x="84214" y="49684"/>
                    <a:pt x="80358" y="55310"/>
                  </a:cubicBezTo>
                  <a:cubicBezTo>
                    <a:pt x="76438" y="60974"/>
                    <a:pt x="74866" y="64174"/>
                    <a:pt x="72443" y="58993"/>
                  </a:cubicBezTo>
                  <a:cubicBezTo>
                    <a:pt x="69969" y="53862"/>
                    <a:pt x="70959" y="47194"/>
                    <a:pt x="67281" y="53773"/>
                  </a:cubicBezTo>
                  <a:cubicBezTo>
                    <a:pt x="63589" y="60390"/>
                    <a:pt x="57526" y="58853"/>
                    <a:pt x="62372" y="66143"/>
                  </a:cubicBezTo>
                  <a:cubicBezTo>
                    <a:pt x="67192" y="73483"/>
                    <a:pt x="71543" y="74779"/>
                    <a:pt x="73077" y="81040"/>
                  </a:cubicBezTo>
                  <a:cubicBezTo>
                    <a:pt x="74650" y="87250"/>
                    <a:pt x="67725" y="84723"/>
                    <a:pt x="76134" y="93905"/>
                  </a:cubicBezTo>
                  <a:cubicBezTo>
                    <a:pt x="84582" y="103125"/>
                    <a:pt x="78595" y="98896"/>
                    <a:pt x="86827" y="106643"/>
                  </a:cubicBezTo>
                  <a:cubicBezTo>
                    <a:pt x="95046" y="114339"/>
                    <a:pt x="90467" y="118657"/>
                    <a:pt x="98103" y="121896"/>
                  </a:cubicBezTo>
                  <a:cubicBezTo>
                    <a:pt x="105790" y="125172"/>
                    <a:pt x="110280" y="122074"/>
                    <a:pt x="112487" y="134177"/>
                  </a:cubicBezTo>
                  <a:cubicBezTo>
                    <a:pt x="113159" y="137822"/>
                    <a:pt x="113654" y="140247"/>
                    <a:pt x="113971" y="142013"/>
                  </a:cubicBezTo>
                  <a:cubicBezTo>
                    <a:pt x="107375" y="137047"/>
                    <a:pt x="101249" y="131497"/>
                    <a:pt x="95680" y="125401"/>
                  </a:cubicBezTo>
                  <a:cubicBezTo>
                    <a:pt x="70248" y="113653"/>
                    <a:pt x="70781" y="130265"/>
                    <a:pt x="68980" y="114060"/>
                  </a:cubicBezTo>
                  <a:cubicBezTo>
                    <a:pt x="57970" y="111596"/>
                    <a:pt x="36712" y="85091"/>
                    <a:pt x="53797" y="90565"/>
                  </a:cubicBezTo>
                  <a:cubicBezTo>
                    <a:pt x="37790" y="80900"/>
                    <a:pt x="31410" y="25909"/>
                    <a:pt x="18472" y="60339"/>
                  </a:cubicBezTo>
                  <a:cubicBezTo>
                    <a:pt x="19144" y="61507"/>
                    <a:pt x="15909" y="66143"/>
                    <a:pt x="16353" y="63031"/>
                  </a:cubicBezTo>
                  <a:cubicBezTo>
                    <a:pt x="13931" y="58307"/>
                    <a:pt x="16670" y="66676"/>
                    <a:pt x="13614" y="67222"/>
                  </a:cubicBezTo>
                  <a:cubicBezTo>
                    <a:pt x="11191" y="75769"/>
                    <a:pt x="10607" y="66498"/>
                    <a:pt x="3276" y="59577"/>
                  </a:cubicBezTo>
                  <a:cubicBezTo>
                    <a:pt x="6295" y="57278"/>
                    <a:pt x="-2736" y="45988"/>
                    <a:pt x="815" y="42965"/>
                  </a:cubicBezTo>
                  <a:cubicBezTo>
                    <a:pt x="2591" y="43359"/>
                    <a:pt x="4316" y="44007"/>
                    <a:pt x="5927" y="44858"/>
                  </a:cubicBezTo>
                  <a:cubicBezTo>
                    <a:pt x="9529" y="46928"/>
                    <a:pt x="8540" y="44769"/>
                    <a:pt x="13119" y="43156"/>
                  </a:cubicBezTo>
                  <a:cubicBezTo>
                    <a:pt x="17711" y="41530"/>
                    <a:pt x="13119" y="43156"/>
                    <a:pt x="19588" y="44324"/>
                  </a:cubicBezTo>
                  <a:cubicBezTo>
                    <a:pt x="26057" y="45493"/>
                    <a:pt x="23279" y="43423"/>
                    <a:pt x="26564" y="41213"/>
                  </a:cubicBezTo>
                  <a:cubicBezTo>
                    <a:pt x="29888" y="39016"/>
                    <a:pt x="28581" y="38114"/>
                    <a:pt x="30471" y="35587"/>
                  </a:cubicBezTo>
                  <a:cubicBezTo>
                    <a:pt x="32361" y="33123"/>
                    <a:pt x="32488" y="40006"/>
                    <a:pt x="33921" y="42572"/>
                  </a:cubicBezTo>
                  <a:cubicBezTo>
                    <a:pt x="35367" y="45175"/>
                    <a:pt x="37790" y="44057"/>
                    <a:pt x="42470" y="42292"/>
                  </a:cubicBezTo>
                  <a:cubicBezTo>
                    <a:pt x="47138" y="40590"/>
                    <a:pt x="44221" y="46839"/>
                    <a:pt x="50056" y="45493"/>
                  </a:cubicBezTo>
                  <a:cubicBezTo>
                    <a:pt x="55954" y="44096"/>
                    <a:pt x="51134" y="41352"/>
                    <a:pt x="50601" y="35091"/>
                  </a:cubicBezTo>
                  <a:cubicBezTo>
                    <a:pt x="50017" y="28843"/>
                    <a:pt x="50601" y="35091"/>
                    <a:pt x="51730" y="34913"/>
                  </a:cubicBezTo>
                  <a:cubicBezTo>
                    <a:pt x="52897" y="34736"/>
                    <a:pt x="51730" y="34913"/>
                    <a:pt x="53341" y="31904"/>
                  </a:cubicBezTo>
                  <a:cubicBezTo>
                    <a:pt x="55002" y="28894"/>
                    <a:pt x="59010" y="29478"/>
                    <a:pt x="61116" y="25960"/>
                  </a:cubicBezTo>
                  <a:cubicBezTo>
                    <a:pt x="63184" y="22455"/>
                    <a:pt x="60850" y="21375"/>
                    <a:pt x="57247" y="17680"/>
                  </a:cubicBezTo>
                  <a:cubicBezTo>
                    <a:pt x="53696" y="14035"/>
                    <a:pt x="59632" y="15609"/>
                    <a:pt x="63627" y="13501"/>
                  </a:cubicBezTo>
                  <a:cubicBezTo>
                    <a:pt x="67585" y="11380"/>
                    <a:pt x="66685" y="13590"/>
                    <a:pt x="69792" y="10072"/>
                  </a:cubicBezTo>
                  <a:cubicBezTo>
                    <a:pt x="72849" y="6618"/>
                    <a:pt x="71897" y="9221"/>
                    <a:pt x="75677" y="8726"/>
                  </a:cubicBezTo>
                  <a:cubicBezTo>
                    <a:pt x="79495" y="8282"/>
                    <a:pt x="77796" y="8599"/>
                    <a:pt x="78151" y="3684"/>
                  </a:cubicBezTo>
                  <a:cubicBezTo>
                    <a:pt x="78506" y="-1167"/>
                    <a:pt x="79939" y="2516"/>
                    <a:pt x="81918" y="1"/>
                  </a:cubicBezTo>
                  <a:cubicBezTo>
                    <a:pt x="83745" y="941"/>
                    <a:pt x="85635" y="1728"/>
                    <a:pt x="87588" y="2351"/>
                  </a:cubicBezTo>
                  <a:cubicBezTo>
                    <a:pt x="91672" y="3786"/>
                    <a:pt x="90011" y="3875"/>
                    <a:pt x="92535" y="5907"/>
                  </a:cubicBezTo>
                  <a:cubicBezTo>
                    <a:pt x="95046" y="7977"/>
                    <a:pt x="96797" y="11126"/>
                    <a:pt x="99181" y="11838"/>
                  </a:cubicBezTo>
                  <a:cubicBezTo>
                    <a:pt x="101515" y="12562"/>
                    <a:pt x="104483" y="18315"/>
                    <a:pt x="106411" y="20296"/>
                  </a:cubicBezTo>
                  <a:cubicBezTo>
                    <a:pt x="107971" y="22417"/>
                    <a:pt x="110534" y="23547"/>
                    <a:pt x="113147" y="23268"/>
                  </a:cubicBezTo>
                  <a:cubicBezTo>
                    <a:pt x="116166" y="22912"/>
                    <a:pt x="117104" y="26151"/>
                    <a:pt x="119349" y="29300"/>
                  </a:cubicBezTo>
                  <a:cubicBezTo>
                    <a:pt x="121607" y="32450"/>
                    <a:pt x="126731" y="30557"/>
                    <a:pt x="131310" y="30964"/>
                  </a:cubicBezTo>
                  <a:cubicBezTo>
                    <a:pt x="135483" y="32170"/>
                    <a:pt x="139948" y="31764"/>
                    <a:pt x="143842" y="29834"/>
                  </a:cubicBezTo>
                  <a:cubicBezTo>
                    <a:pt x="148967" y="27040"/>
                    <a:pt x="145238" y="26874"/>
                    <a:pt x="146544" y="25744"/>
                  </a:cubicBezTo>
                  <a:cubicBezTo>
                    <a:pt x="147267" y="25109"/>
                    <a:pt x="148434" y="25249"/>
                    <a:pt x="150184" y="25109"/>
                  </a:cubicBezTo>
                  <a:cubicBezTo>
                    <a:pt x="149956" y="26151"/>
                    <a:pt x="148929" y="30875"/>
                    <a:pt x="151085" y="33123"/>
                  </a:cubicBezTo>
                  <a:cubicBezTo>
                    <a:pt x="153469" y="35637"/>
                    <a:pt x="156565" y="36895"/>
                    <a:pt x="156298" y="39689"/>
                  </a:cubicBezTo>
                  <a:cubicBezTo>
                    <a:pt x="156070" y="42432"/>
                    <a:pt x="149106" y="40997"/>
                    <a:pt x="154142" y="45454"/>
                  </a:cubicBezTo>
                  <a:cubicBezTo>
                    <a:pt x="159178" y="49899"/>
                    <a:pt x="159266" y="43016"/>
                    <a:pt x="159178" y="49899"/>
                  </a:cubicBezTo>
                  <a:cubicBezTo>
                    <a:pt x="159076" y="56783"/>
                    <a:pt x="171950" y="51931"/>
                    <a:pt x="168259" y="56199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0" name="Vrije vorm 319">
              <a:extLst>
                <a:ext uri="{FF2B5EF4-FFF2-40B4-BE49-F238E27FC236}">
                  <a16:creationId xmlns:a16="http://schemas.microsoft.com/office/drawing/2014/main" id="{3C6D5460-CF9D-804A-973E-72DF6829D153}"/>
                </a:ext>
              </a:extLst>
            </p:cNvPr>
            <p:cNvSpPr/>
            <p:nvPr/>
          </p:nvSpPr>
          <p:spPr>
            <a:xfrm>
              <a:off x="5870488" y="2893403"/>
              <a:ext cx="86078" cy="59548"/>
            </a:xfrm>
            <a:custGeom>
              <a:avLst/>
              <a:gdLst>
                <a:gd name="connsiteX0" fmla="*/ 85282 w 86078"/>
                <a:gd name="connsiteY0" fmla="*/ 13843 h 59548"/>
                <a:gd name="connsiteX1" fmla="*/ 81502 w 86078"/>
                <a:gd name="connsiteY1" fmla="*/ 17526 h 59548"/>
                <a:gd name="connsiteX2" fmla="*/ 79041 w 86078"/>
                <a:gd name="connsiteY2" fmla="*/ 22568 h 59548"/>
                <a:gd name="connsiteX3" fmla="*/ 73143 w 86078"/>
                <a:gd name="connsiteY3" fmla="*/ 23914 h 59548"/>
                <a:gd name="connsiteX4" fmla="*/ 66991 w 86078"/>
                <a:gd name="connsiteY4" fmla="*/ 27330 h 59548"/>
                <a:gd name="connsiteX5" fmla="*/ 60611 w 86078"/>
                <a:gd name="connsiteY5" fmla="*/ 31522 h 59548"/>
                <a:gd name="connsiteX6" fmla="*/ 64479 w 86078"/>
                <a:gd name="connsiteY6" fmla="*/ 39802 h 59548"/>
                <a:gd name="connsiteX7" fmla="*/ 56704 w 86078"/>
                <a:gd name="connsiteY7" fmla="*/ 45745 h 59548"/>
                <a:gd name="connsiteX8" fmla="*/ 55080 w 86078"/>
                <a:gd name="connsiteY8" fmla="*/ 48755 h 59548"/>
                <a:gd name="connsiteX9" fmla="*/ 53964 w 86078"/>
                <a:gd name="connsiteY9" fmla="*/ 48933 h 59548"/>
                <a:gd name="connsiteX10" fmla="*/ 53419 w 86078"/>
                <a:gd name="connsiteY10" fmla="*/ 59334 h 59548"/>
                <a:gd name="connsiteX11" fmla="*/ 45821 w 86078"/>
                <a:gd name="connsiteY11" fmla="*/ 56134 h 59548"/>
                <a:gd name="connsiteX12" fmla="*/ 37285 w 86078"/>
                <a:gd name="connsiteY12" fmla="*/ 56401 h 59548"/>
                <a:gd name="connsiteX13" fmla="*/ 33822 w 86078"/>
                <a:gd name="connsiteY13" fmla="*/ 49428 h 59548"/>
                <a:gd name="connsiteX14" fmla="*/ 29915 w 86078"/>
                <a:gd name="connsiteY14" fmla="*/ 55055 h 59548"/>
                <a:gd name="connsiteX15" fmla="*/ 22952 w 86078"/>
                <a:gd name="connsiteY15" fmla="*/ 58153 h 59548"/>
                <a:gd name="connsiteX16" fmla="*/ 16482 w 86078"/>
                <a:gd name="connsiteY16" fmla="*/ 56985 h 59548"/>
                <a:gd name="connsiteX17" fmla="*/ 9291 w 86078"/>
                <a:gd name="connsiteY17" fmla="*/ 58700 h 59548"/>
                <a:gd name="connsiteX18" fmla="*/ 4166 w 86078"/>
                <a:gd name="connsiteY18" fmla="*/ 56807 h 59548"/>
                <a:gd name="connsiteX19" fmla="*/ 5688 w 86078"/>
                <a:gd name="connsiteY19" fmla="*/ 56172 h 59548"/>
                <a:gd name="connsiteX20" fmla="*/ 10001 w 86078"/>
                <a:gd name="connsiteY20" fmla="*/ 51448 h 59548"/>
                <a:gd name="connsiteX21" fmla="*/ 6817 w 86078"/>
                <a:gd name="connsiteY21" fmla="*/ 44564 h 59548"/>
                <a:gd name="connsiteX22" fmla="*/ 1693 w 86078"/>
                <a:gd name="connsiteY22" fmla="*/ 36373 h 59548"/>
                <a:gd name="connsiteX23" fmla="*/ 4610 w 86078"/>
                <a:gd name="connsiteY23" fmla="*/ 29172 h 59548"/>
                <a:gd name="connsiteX24" fmla="*/ 196 w 86078"/>
                <a:gd name="connsiteY24" fmla="*/ 24536 h 59548"/>
                <a:gd name="connsiteX25" fmla="*/ 5726 w 86078"/>
                <a:gd name="connsiteY25" fmla="*/ 16713 h 59548"/>
                <a:gd name="connsiteX26" fmla="*/ 5955 w 86078"/>
                <a:gd name="connsiteY26" fmla="*/ 14554 h 59548"/>
                <a:gd name="connsiteX27" fmla="*/ 13375 w 86078"/>
                <a:gd name="connsiteY27" fmla="*/ 14872 h 59548"/>
                <a:gd name="connsiteX28" fmla="*/ 25057 w 86078"/>
                <a:gd name="connsiteY28" fmla="*/ 18110 h 59548"/>
                <a:gd name="connsiteX29" fmla="*/ 31577 w 86078"/>
                <a:gd name="connsiteY29" fmla="*/ 16713 h 59548"/>
                <a:gd name="connsiteX30" fmla="*/ 42231 w 86078"/>
                <a:gd name="connsiteY30" fmla="*/ 11227 h 59548"/>
                <a:gd name="connsiteX31" fmla="*/ 53685 w 86078"/>
                <a:gd name="connsiteY31" fmla="*/ 9830 h 59548"/>
                <a:gd name="connsiteX32" fmla="*/ 68919 w 86078"/>
                <a:gd name="connsiteY32" fmla="*/ 4966 h 59548"/>
                <a:gd name="connsiteX33" fmla="*/ 73675 w 86078"/>
                <a:gd name="connsiteY33" fmla="*/ 6185 h 59548"/>
                <a:gd name="connsiteX34" fmla="*/ 77912 w 86078"/>
                <a:gd name="connsiteY34" fmla="*/ 775 h 59548"/>
                <a:gd name="connsiteX35" fmla="*/ 82897 w 86078"/>
                <a:gd name="connsiteY35" fmla="*/ 3480 h 59548"/>
                <a:gd name="connsiteX36" fmla="*/ 85282 w 86078"/>
                <a:gd name="connsiteY36" fmla="*/ 13843 h 59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86078" h="59548">
                  <a:moveTo>
                    <a:pt x="85282" y="13843"/>
                  </a:moveTo>
                  <a:cubicBezTo>
                    <a:pt x="83303" y="16358"/>
                    <a:pt x="81869" y="12675"/>
                    <a:pt x="81502" y="17526"/>
                  </a:cubicBezTo>
                  <a:cubicBezTo>
                    <a:pt x="81146" y="22428"/>
                    <a:pt x="82859" y="22123"/>
                    <a:pt x="79041" y="22568"/>
                  </a:cubicBezTo>
                  <a:cubicBezTo>
                    <a:pt x="75261" y="23063"/>
                    <a:pt x="76200" y="20447"/>
                    <a:pt x="73143" y="23914"/>
                  </a:cubicBezTo>
                  <a:cubicBezTo>
                    <a:pt x="70048" y="27432"/>
                    <a:pt x="70948" y="25222"/>
                    <a:pt x="66991" y="27330"/>
                  </a:cubicBezTo>
                  <a:cubicBezTo>
                    <a:pt x="62995" y="29451"/>
                    <a:pt x="57059" y="27877"/>
                    <a:pt x="60611" y="31522"/>
                  </a:cubicBezTo>
                  <a:cubicBezTo>
                    <a:pt x="64200" y="35204"/>
                    <a:pt x="66547" y="36284"/>
                    <a:pt x="64479" y="39802"/>
                  </a:cubicBezTo>
                  <a:cubicBezTo>
                    <a:pt x="62361" y="43307"/>
                    <a:pt x="58366" y="42723"/>
                    <a:pt x="56704" y="45745"/>
                  </a:cubicBezTo>
                  <a:cubicBezTo>
                    <a:pt x="55080" y="48755"/>
                    <a:pt x="56247" y="48578"/>
                    <a:pt x="55080" y="48755"/>
                  </a:cubicBezTo>
                  <a:cubicBezTo>
                    <a:pt x="53964" y="48933"/>
                    <a:pt x="53381" y="42685"/>
                    <a:pt x="53964" y="48933"/>
                  </a:cubicBezTo>
                  <a:cubicBezTo>
                    <a:pt x="54497" y="55194"/>
                    <a:pt x="59304" y="57937"/>
                    <a:pt x="53419" y="59334"/>
                  </a:cubicBezTo>
                  <a:cubicBezTo>
                    <a:pt x="47584" y="60681"/>
                    <a:pt x="50502" y="54420"/>
                    <a:pt x="45821" y="56134"/>
                  </a:cubicBezTo>
                  <a:cubicBezTo>
                    <a:pt x="41153" y="57887"/>
                    <a:pt x="38718" y="59017"/>
                    <a:pt x="37285" y="56401"/>
                  </a:cubicBezTo>
                  <a:cubicBezTo>
                    <a:pt x="35851" y="53835"/>
                    <a:pt x="35712" y="46952"/>
                    <a:pt x="33822" y="49428"/>
                  </a:cubicBezTo>
                  <a:cubicBezTo>
                    <a:pt x="31944" y="51956"/>
                    <a:pt x="33238" y="52845"/>
                    <a:pt x="29915" y="55055"/>
                  </a:cubicBezTo>
                  <a:cubicBezTo>
                    <a:pt x="26630" y="57264"/>
                    <a:pt x="29420" y="59334"/>
                    <a:pt x="22952" y="58153"/>
                  </a:cubicBezTo>
                  <a:cubicBezTo>
                    <a:pt x="16482" y="56985"/>
                    <a:pt x="21061" y="55359"/>
                    <a:pt x="16482" y="56985"/>
                  </a:cubicBezTo>
                  <a:cubicBezTo>
                    <a:pt x="11904" y="58611"/>
                    <a:pt x="12880" y="60770"/>
                    <a:pt x="9291" y="58700"/>
                  </a:cubicBezTo>
                  <a:cubicBezTo>
                    <a:pt x="7680" y="57836"/>
                    <a:pt x="5955" y="57201"/>
                    <a:pt x="4166" y="56807"/>
                  </a:cubicBezTo>
                  <a:cubicBezTo>
                    <a:pt x="4610" y="56464"/>
                    <a:pt x="5130" y="56248"/>
                    <a:pt x="5688" y="56172"/>
                  </a:cubicBezTo>
                  <a:cubicBezTo>
                    <a:pt x="7933" y="55588"/>
                    <a:pt x="9621" y="53734"/>
                    <a:pt x="10001" y="51448"/>
                  </a:cubicBezTo>
                  <a:cubicBezTo>
                    <a:pt x="14948" y="49022"/>
                    <a:pt x="10407" y="47447"/>
                    <a:pt x="6817" y="44564"/>
                  </a:cubicBezTo>
                  <a:cubicBezTo>
                    <a:pt x="3215" y="41732"/>
                    <a:pt x="5777" y="39573"/>
                    <a:pt x="1693" y="36373"/>
                  </a:cubicBezTo>
                  <a:cubicBezTo>
                    <a:pt x="-2442" y="33185"/>
                    <a:pt x="4699" y="32411"/>
                    <a:pt x="4610" y="29172"/>
                  </a:cubicBezTo>
                  <a:cubicBezTo>
                    <a:pt x="4509" y="25933"/>
                    <a:pt x="1502" y="27775"/>
                    <a:pt x="196" y="24536"/>
                  </a:cubicBezTo>
                  <a:cubicBezTo>
                    <a:pt x="-1148" y="21349"/>
                    <a:pt x="3976" y="19901"/>
                    <a:pt x="5726" y="16713"/>
                  </a:cubicBezTo>
                  <a:cubicBezTo>
                    <a:pt x="6310" y="15583"/>
                    <a:pt x="6360" y="14961"/>
                    <a:pt x="5955" y="14554"/>
                  </a:cubicBezTo>
                  <a:cubicBezTo>
                    <a:pt x="8403" y="13932"/>
                    <a:pt x="10978" y="14034"/>
                    <a:pt x="13375" y="14872"/>
                  </a:cubicBezTo>
                  <a:cubicBezTo>
                    <a:pt x="17129" y="16370"/>
                    <a:pt x="21049" y="17450"/>
                    <a:pt x="25057" y="18110"/>
                  </a:cubicBezTo>
                  <a:cubicBezTo>
                    <a:pt x="30587" y="19050"/>
                    <a:pt x="25362" y="17742"/>
                    <a:pt x="31577" y="16713"/>
                  </a:cubicBezTo>
                  <a:cubicBezTo>
                    <a:pt x="37817" y="15634"/>
                    <a:pt x="35027" y="12891"/>
                    <a:pt x="42231" y="11227"/>
                  </a:cubicBezTo>
                  <a:cubicBezTo>
                    <a:pt x="45923" y="10046"/>
                    <a:pt x="49816" y="9576"/>
                    <a:pt x="53685" y="9830"/>
                  </a:cubicBezTo>
                  <a:cubicBezTo>
                    <a:pt x="60420" y="9550"/>
                    <a:pt x="64150" y="3747"/>
                    <a:pt x="68919" y="4966"/>
                  </a:cubicBezTo>
                  <a:cubicBezTo>
                    <a:pt x="73688" y="6172"/>
                    <a:pt x="69769" y="7480"/>
                    <a:pt x="73675" y="6185"/>
                  </a:cubicBezTo>
                  <a:cubicBezTo>
                    <a:pt x="77544" y="4877"/>
                    <a:pt x="74043" y="1143"/>
                    <a:pt x="77912" y="775"/>
                  </a:cubicBezTo>
                  <a:cubicBezTo>
                    <a:pt x="81768" y="470"/>
                    <a:pt x="80779" y="-1880"/>
                    <a:pt x="82897" y="3480"/>
                  </a:cubicBezTo>
                  <a:cubicBezTo>
                    <a:pt x="85053" y="8852"/>
                    <a:pt x="87260" y="11328"/>
                    <a:pt x="85282" y="13843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1" name="Vrije vorm 320">
              <a:extLst>
                <a:ext uri="{FF2B5EF4-FFF2-40B4-BE49-F238E27FC236}">
                  <a16:creationId xmlns:a16="http://schemas.microsoft.com/office/drawing/2014/main" id="{256562BE-0EB1-7D4F-AD3B-0DEDF0F9E62B}"/>
                </a:ext>
              </a:extLst>
            </p:cNvPr>
            <p:cNvSpPr/>
            <p:nvPr/>
          </p:nvSpPr>
          <p:spPr>
            <a:xfrm>
              <a:off x="5560150" y="2693633"/>
              <a:ext cx="111844" cy="88249"/>
            </a:xfrm>
            <a:custGeom>
              <a:avLst/>
              <a:gdLst>
                <a:gd name="connsiteX0" fmla="*/ 110479 w 111844"/>
                <a:gd name="connsiteY0" fmla="*/ 52704 h 88249"/>
                <a:gd name="connsiteX1" fmla="*/ 107561 w 111844"/>
                <a:gd name="connsiteY1" fmla="*/ 59498 h 88249"/>
                <a:gd name="connsiteX2" fmla="*/ 105849 w 111844"/>
                <a:gd name="connsiteY2" fmla="*/ 64324 h 88249"/>
                <a:gd name="connsiteX3" fmla="*/ 100724 w 111844"/>
                <a:gd name="connsiteY3" fmla="*/ 58647 h 88249"/>
                <a:gd name="connsiteX4" fmla="*/ 92594 w 111844"/>
                <a:gd name="connsiteY4" fmla="*/ 68096 h 88249"/>
                <a:gd name="connsiteX5" fmla="*/ 93583 w 111844"/>
                <a:gd name="connsiteY5" fmla="*/ 78891 h 88249"/>
                <a:gd name="connsiteX6" fmla="*/ 95334 w 111844"/>
                <a:gd name="connsiteY6" fmla="*/ 85952 h 88249"/>
                <a:gd name="connsiteX7" fmla="*/ 94839 w 111844"/>
                <a:gd name="connsiteY7" fmla="*/ 86638 h 88249"/>
                <a:gd name="connsiteX8" fmla="*/ 93634 w 111844"/>
                <a:gd name="connsiteY8" fmla="*/ 88251 h 88249"/>
                <a:gd name="connsiteX9" fmla="*/ 87469 w 111844"/>
                <a:gd name="connsiteY9" fmla="*/ 87489 h 88249"/>
                <a:gd name="connsiteX10" fmla="*/ 81356 w 111844"/>
                <a:gd name="connsiteY10" fmla="*/ 83806 h 88249"/>
                <a:gd name="connsiteX11" fmla="*/ 74760 w 111844"/>
                <a:gd name="connsiteY11" fmla="*/ 77189 h 88249"/>
                <a:gd name="connsiteX12" fmla="*/ 68684 w 111844"/>
                <a:gd name="connsiteY12" fmla="*/ 70217 h 88249"/>
                <a:gd name="connsiteX13" fmla="*/ 66173 w 111844"/>
                <a:gd name="connsiteY13" fmla="*/ 61263 h 88249"/>
                <a:gd name="connsiteX14" fmla="*/ 60199 w 111844"/>
                <a:gd name="connsiteY14" fmla="*/ 68413 h 88249"/>
                <a:gd name="connsiteX15" fmla="*/ 50356 w 111844"/>
                <a:gd name="connsiteY15" fmla="*/ 68731 h 88249"/>
                <a:gd name="connsiteX16" fmla="*/ 47920 w 111844"/>
                <a:gd name="connsiteY16" fmla="*/ 61898 h 88249"/>
                <a:gd name="connsiteX17" fmla="*/ 47616 w 111844"/>
                <a:gd name="connsiteY17" fmla="*/ 54786 h 88249"/>
                <a:gd name="connsiteX18" fmla="*/ 41819 w 111844"/>
                <a:gd name="connsiteY18" fmla="*/ 51904 h 88249"/>
                <a:gd name="connsiteX19" fmla="*/ 34665 w 111844"/>
                <a:gd name="connsiteY19" fmla="*/ 50913 h 88249"/>
                <a:gd name="connsiteX20" fmla="*/ 30809 w 111844"/>
                <a:gd name="connsiteY20" fmla="*/ 44830 h 88249"/>
                <a:gd name="connsiteX21" fmla="*/ 24023 w 111844"/>
                <a:gd name="connsiteY21" fmla="*/ 43255 h 88249"/>
                <a:gd name="connsiteX22" fmla="*/ 21588 w 111844"/>
                <a:gd name="connsiteY22" fmla="*/ 34758 h 88249"/>
                <a:gd name="connsiteX23" fmla="*/ 15563 w 111844"/>
                <a:gd name="connsiteY23" fmla="*/ 33044 h 88249"/>
                <a:gd name="connsiteX24" fmla="*/ 9411 w 111844"/>
                <a:gd name="connsiteY24" fmla="*/ 34797 h 88249"/>
                <a:gd name="connsiteX25" fmla="*/ 3437 w 111844"/>
                <a:gd name="connsiteY25" fmla="*/ 27062 h 88249"/>
                <a:gd name="connsiteX26" fmla="*/ 2130 w 111844"/>
                <a:gd name="connsiteY26" fmla="*/ 20179 h 88249"/>
                <a:gd name="connsiteX27" fmla="*/ -26 w 111844"/>
                <a:gd name="connsiteY27" fmla="*/ 16496 h 88249"/>
                <a:gd name="connsiteX28" fmla="*/ 24239 w 111844"/>
                <a:gd name="connsiteY28" fmla="*/ 6730 h 88249"/>
                <a:gd name="connsiteX29" fmla="*/ 25634 w 111844"/>
                <a:gd name="connsiteY29" fmla="*/ 8711 h 88249"/>
                <a:gd name="connsiteX30" fmla="*/ 31748 w 111844"/>
                <a:gd name="connsiteY30" fmla="*/ 8711 h 88249"/>
                <a:gd name="connsiteX31" fmla="*/ 41134 w 111844"/>
                <a:gd name="connsiteY31" fmla="*/ 12572 h 88249"/>
                <a:gd name="connsiteX32" fmla="*/ 48681 w 111844"/>
                <a:gd name="connsiteY32" fmla="*/ 8431 h 88249"/>
                <a:gd name="connsiteX33" fmla="*/ 51155 w 111844"/>
                <a:gd name="connsiteY33" fmla="*/ 6361 h 88249"/>
                <a:gd name="connsiteX34" fmla="*/ 52195 w 111844"/>
                <a:gd name="connsiteY34" fmla="*/ 7492 h 88249"/>
                <a:gd name="connsiteX35" fmla="*/ 51789 w 111844"/>
                <a:gd name="connsiteY35" fmla="*/ 6183 h 88249"/>
                <a:gd name="connsiteX36" fmla="*/ 54174 w 111844"/>
                <a:gd name="connsiteY36" fmla="*/ 5155 h 88249"/>
                <a:gd name="connsiteX37" fmla="*/ 58613 w 111844"/>
                <a:gd name="connsiteY37" fmla="*/ 240 h 88249"/>
                <a:gd name="connsiteX38" fmla="*/ 66173 w 111844"/>
                <a:gd name="connsiteY38" fmla="*/ 1548 h 88249"/>
                <a:gd name="connsiteX39" fmla="*/ 67657 w 111844"/>
                <a:gd name="connsiteY39" fmla="*/ 1637 h 88249"/>
                <a:gd name="connsiteX40" fmla="*/ 67746 w 111844"/>
                <a:gd name="connsiteY40" fmla="*/ 1637 h 88249"/>
                <a:gd name="connsiteX41" fmla="*/ 70396 w 111844"/>
                <a:gd name="connsiteY41" fmla="*/ 1916 h 88249"/>
                <a:gd name="connsiteX42" fmla="*/ 76409 w 111844"/>
                <a:gd name="connsiteY42" fmla="*/ 8660 h 88249"/>
                <a:gd name="connsiteX43" fmla="*/ 84007 w 111844"/>
                <a:gd name="connsiteY43" fmla="*/ 9917 h 88249"/>
                <a:gd name="connsiteX44" fmla="*/ 90793 w 111844"/>
                <a:gd name="connsiteY44" fmla="*/ 13524 h 88249"/>
                <a:gd name="connsiteX45" fmla="*/ 95422 w 111844"/>
                <a:gd name="connsiteY45" fmla="*/ 17029 h 88249"/>
                <a:gd name="connsiteX46" fmla="*/ 91960 w 111844"/>
                <a:gd name="connsiteY46" fmla="*/ 25399 h 88249"/>
                <a:gd name="connsiteX47" fmla="*/ 92594 w 111844"/>
                <a:gd name="connsiteY47" fmla="*/ 33323 h 88249"/>
                <a:gd name="connsiteX48" fmla="*/ 100737 w 111844"/>
                <a:gd name="connsiteY48" fmla="*/ 35432 h 88249"/>
                <a:gd name="connsiteX49" fmla="*/ 101321 w 111844"/>
                <a:gd name="connsiteY49" fmla="*/ 35787 h 88249"/>
                <a:gd name="connsiteX50" fmla="*/ 106305 w 111844"/>
                <a:gd name="connsiteY50" fmla="*/ 40829 h 88249"/>
                <a:gd name="connsiteX51" fmla="*/ 109591 w 111844"/>
                <a:gd name="connsiteY51" fmla="*/ 46417 h 88249"/>
                <a:gd name="connsiteX52" fmla="*/ 110479 w 111844"/>
                <a:gd name="connsiteY52" fmla="*/ 52704 h 88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111844" h="88249">
                  <a:moveTo>
                    <a:pt x="110479" y="52704"/>
                  </a:moveTo>
                  <a:cubicBezTo>
                    <a:pt x="107561" y="59498"/>
                    <a:pt x="107916" y="54151"/>
                    <a:pt x="107561" y="59498"/>
                  </a:cubicBezTo>
                  <a:cubicBezTo>
                    <a:pt x="107409" y="61225"/>
                    <a:pt x="106826" y="62889"/>
                    <a:pt x="105849" y="64324"/>
                  </a:cubicBezTo>
                  <a:cubicBezTo>
                    <a:pt x="104910" y="61759"/>
                    <a:pt x="102614" y="56488"/>
                    <a:pt x="100724" y="58647"/>
                  </a:cubicBezTo>
                  <a:cubicBezTo>
                    <a:pt x="98302" y="61441"/>
                    <a:pt x="91973" y="63689"/>
                    <a:pt x="92594" y="68096"/>
                  </a:cubicBezTo>
                  <a:cubicBezTo>
                    <a:pt x="93177" y="72503"/>
                    <a:pt x="90260" y="76148"/>
                    <a:pt x="93583" y="78891"/>
                  </a:cubicBezTo>
                  <a:cubicBezTo>
                    <a:pt x="96019" y="80364"/>
                    <a:pt x="96792" y="83527"/>
                    <a:pt x="95334" y="85952"/>
                  </a:cubicBezTo>
                  <a:cubicBezTo>
                    <a:pt x="95181" y="86194"/>
                    <a:pt x="95017" y="86422"/>
                    <a:pt x="94839" y="86638"/>
                  </a:cubicBezTo>
                  <a:cubicBezTo>
                    <a:pt x="94370" y="87121"/>
                    <a:pt x="93964" y="87667"/>
                    <a:pt x="93634" y="88251"/>
                  </a:cubicBezTo>
                  <a:cubicBezTo>
                    <a:pt x="91630" y="87705"/>
                    <a:pt x="89550" y="87438"/>
                    <a:pt x="87469" y="87489"/>
                  </a:cubicBezTo>
                  <a:cubicBezTo>
                    <a:pt x="82041" y="87222"/>
                    <a:pt x="86125" y="86676"/>
                    <a:pt x="81356" y="83806"/>
                  </a:cubicBezTo>
                  <a:cubicBezTo>
                    <a:pt x="76599" y="80974"/>
                    <a:pt x="80062" y="81291"/>
                    <a:pt x="74760" y="77189"/>
                  </a:cubicBezTo>
                  <a:cubicBezTo>
                    <a:pt x="69458" y="73049"/>
                    <a:pt x="70042" y="75208"/>
                    <a:pt x="68684" y="70217"/>
                  </a:cubicBezTo>
                  <a:cubicBezTo>
                    <a:pt x="67289" y="65175"/>
                    <a:pt x="68646" y="63422"/>
                    <a:pt x="66173" y="61263"/>
                  </a:cubicBezTo>
                  <a:cubicBezTo>
                    <a:pt x="63699" y="59104"/>
                    <a:pt x="63966" y="65581"/>
                    <a:pt x="60199" y="68413"/>
                  </a:cubicBezTo>
                  <a:cubicBezTo>
                    <a:pt x="56368" y="71296"/>
                    <a:pt x="54351" y="69137"/>
                    <a:pt x="50356" y="68731"/>
                  </a:cubicBezTo>
                  <a:cubicBezTo>
                    <a:pt x="46347" y="68325"/>
                    <a:pt x="48643" y="66661"/>
                    <a:pt x="47920" y="61898"/>
                  </a:cubicBezTo>
                  <a:cubicBezTo>
                    <a:pt x="47641" y="59536"/>
                    <a:pt x="47540" y="57161"/>
                    <a:pt x="47616" y="54786"/>
                  </a:cubicBezTo>
                  <a:cubicBezTo>
                    <a:pt x="47299" y="51497"/>
                    <a:pt x="45409" y="52716"/>
                    <a:pt x="41819" y="51904"/>
                  </a:cubicBezTo>
                  <a:cubicBezTo>
                    <a:pt x="38217" y="51141"/>
                    <a:pt x="37900" y="53072"/>
                    <a:pt x="34665" y="50913"/>
                  </a:cubicBezTo>
                  <a:cubicBezTo>
                    <a:pt x="31431" y="48792"/>
                    <a:pt x="33270" y="47674"/>
                    <a:pt x="30809" y="44830"/>
                  </a:cubicBezTo>
                  <a:cubicBezTo>
                    <a:pt x="28285" y="41997"/>
                    <a:pt x="28640" y="44474"/>
                    <a:pt x="24023" y="43255"/>
                  </a:cubicBezTo>
                  <a:cubicBezTo>
                    <a:pt x="19431" y="42048"/>
                    <a:pt x="23262" y="39127"/>
                    <a:pt x="21588" y="34758"/>
                  </a:cubicBezTo>
                  <a:cubicBezTo>
                    <a:pt x="19926" y="30428"/>
                    <a:pt x="18265" y="33044"/>
                    <a:pt x="15563" y="33044"/>
                  </a:cubicBezTo>
                  <a:cubicBezTo>
                    <a:pt x="12874" y="33044"/>
                    <a:pt x="12557" y="36232"/>
                    <a:pt x="9411" y="34797"/>
                  </a:cubicBezTo>
                  <a:cubicBezTo>
                    <a:pt x="6265" y="33361"/>
                    <a:pt x="6849" y="31241"/>
                    <a:pt x="3437" y="27062"/>
                  </a:cubicBezTo>
                  <a:cubicBezTo>
                    <a:pt x="25" y="22833"/>
                    <a:pt x="4692" y="25538"/>
                    <a:pt x="2130" y="20179"/>
                  </a:cubicBezTo>
                  <a:cubicBezTo>
                    <a:pt x="1521" y="18883"/>
                    <a:pt x="798" y="17652"/>
                    <a:pt x="-26" y="16496"/>
                  </a:cubicBezTo>
                  <a:cubicBezTo>
                    <a:pt x="7775" y="12572"/>
                    <a:pt x="15893" y="9295"/>
                    <a:pt x="24239" y="6730"/>
                  </a:cubicBezTo>
                  <a:cubicBezTo>
                    <a:pt x="24302" y="7593"/>
                    <a:pt x="24835" y="8355"/>
                    <a:pt x="25634" y="8711"/>
                  </a:cubicBezTo>
                  <a:cubicBezTo>
                    <a:pt x="29008" y="10146"/>
                    <a:pt x="27702" y="7669"/>
                    <a:pt x="31748" y="8711"/>
                  </a:cubicBezTo>
                  <a:cubicBezTo>
                    <a:pt x="35794" y="9790"/>
                    <a:pt x="36821" y="13613"/>
                    <a:pt x="41134" y="12572"/>
                  </a:cubicBezTo>
                  <a:cubicBezTo>
                    <a:pt x="45409" y="11581"/>
                    <a:pt x="45853" y="11670"/>
                    <a:pt x="48681" y="8431"/>
                  </a:cubicBezTo>
                  <a:cubicBezTo>
                    <a:pt x="50165" y="6730"/>
                    <a:pt x="50571" y="6501"/>
                    <a:pt x="51155" y="6361"/>
                  </a:cubicBezTo>
                  <a:cubicBezTo>
                    <a:pt x="51561" y="6679"/>
                    <a:pt x="51916" y="7060"/>
                    <a:pt x="52195" y="7492"/>
                  </a:cubicBezTo>
                  <a:cubicBezTo>
                    <a:pt x="52106" y="7174"/>
                    <a:pt x="51966" y="6730"/>
                    <a:pt x="51789" y="6183"/>
                  </a:cubicBezTo>
                  <a:cubicBezTo>
                    <a:pt x="52626" y="5980"/>
                    <a:pt x="53438" y="5625"/>
                    <a:pt x="54174" y="5155"/>
                  </a:cubicBezTo>
                  <a:cubicBezTo>
                    <a:pt x="57903" y="2996"/>
                    <a:pt x="53222" y="-1017"/>
                    <a:pt x="58613" y="240"/>
                  </a:cubicBezTo>
                  <a:cubicBezTo>
                    <a:pt x="61061" y="1053"/>
                    <a:pt x="63598" y="1497"/>
                    <a:pt x="66173" y="1548"/>
                  </a:cubicBezTo>
                  <a:cubicBezTo>
                    <a:pt x="67111" y="1637"/>
                    <a:pt x="67517" y="1637"/>
                    <a:pt x="67657" y="1637"/>
                  </a:cubicBezTo>
                  <a:lnTo>
                    <a:pt x="67746" y="1637"/>
                  </a:lnTo>
                  <a:cubicBezTo>
                    <a:pt x="68151" y="1688"/>
                    <a:pt x="68951" y="1726"/>
                    <a:pt x="70396" y="1916"/>
                  </a:cubicBezTo>
                  <a:cubicBezTo>
                    <a:pt x="76815" y="2627"/>
                    <a:pt x="71690" y="6818"/>
                    <a:pt x="76409" y="8660"/>
                  </a:cubicBezTo>
                  <a:cubicBezTo>
                    <a:pt x="78768" y="9828"/>
                    <a:pt x="81406" y="10260"/>
                    <a:pt x="84007" y="9917"/>
                  </a:cubicBezTo>
                  <a:cubicBezTo>
                    <a:pt x="87913" y="10146"/>
                    <a:pt x="86924" y="11492"/>
                    <a:pt x="90793" y="13524"/>
                  </a:cubicBezTo>
                  <a:cubicBezTo>
                    <a:pt x="94700" y="15505"/>
                    <a:pt x="97223" y="11721"/>
                    <a:pt x="95422" y="17029"/>
                  </a:cubicBezTo>
                  <a:cubicBezTo>
                    <a:pt x="93621" y="22300"/>
                    <a:pt x="92416" y="18464"/>
                    <a:pt x="91960" y="25399"/>
                  </a:cubicBezTo>
                  <a:cubicBezTo>
                    <a:pt x="91465" y="32333"/>
                    <a:pt x="87964" y="32193"/>
                    <a:pt x="92594" y="33323"/>
                  </a:cubicBezTo>
                  <a:cubicBezTo>
                    <a:pt x="97185" y="34441"/>
                    <a:pt x="96780" y="33222"/>
                    <a:pt x="100737" y="35432"/>
                  </a:cubicBezTo>
                  <a:cubicBezTo>
                    <a:pt x="100927" y="35546"/>
                    <a:pt x="101130" y="35660"/>
                    <a:pt x="101321" y="35787"/>
                  </a:cubicBezTo>
                  <a:cubicBezTo>
                    <a:pt x="104783" y="37680"/>
                    <a:pt x="105760" y="37768"/>
                    <a:pt x="106305" y="40829"/>
                  </a:cubicBezTo>
                  <a:cubicBezTo>
                    <a:pt x="106838" y="44118"/>
                    <a:pt x="108462" y="42950"/>
                    <a:pt x="109591" y="46417"/>
                  </a:cubicBezTo>
                  <a:cubicBezTo>
                    <a:pt x="110745" y="49833"/>
                    <a:pt x="113434" y="45909"/>
                    <a:pt x="110479" y="52704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322" name="Graphic 5">
              <a:extLst>
                <a:ext uri="{FF2B5EF4-FFF2-40B4-BE49-F238E27FC236}">
                  <a16:creationId xmlns:a16="http://schemas.microsoft.com/office/drawing/2014/main" id="{4C235AE1-D18B-1148-8DB8-90CA86E81436}"/>
                </a:ext>
              </a:extLst>
            </p:cNvPr>
            <p:cNvGrpSpPr/>
            <p:nvPr/>
          </p:nvGrpSpPr>
          <p:grpSpPr>
            <a:xfrm>
              <a:off x="5680272" y="2885706"/>
              <a:ext cx="334974" cy="394068"/>
              <a:chOff x="5680272" y="2885706"/>
              <a:chExt cx="334974" cy="394068"/>
            </a:xfrm>
            <a:solidFill>
              <a:schemeClr val="bg2"/>
            </a:solidFill>
          </p:grpSpPr>
          <p:sp>
            <p:nvSpPr>
              <p:cNvPr id="549" name="Vrije vorm 548">
                <a:extLst>
                  <a:ext uri="{FF2B5EF4-FFF2-40B4-BE49-F238E27FC236}">
                    <a16:creationId xmlns:a16="http://schemas.microsoft.com/office/drawing/2014/main" id="{9B9C314A-2FB9-A041-9C8B-EA317E550170}"/>
                  </a:ext>
                </a:extLst>
              </p:cNvPr>
              <p:cNvSpPr/>
              <p:nvPr/>
            </p:nvSpPr>
            <p:spPr>
              <a:xfrm>
                <a:off x="5722705" y="3114724"/>
                <a:ext cx="45821" cy="87970"/>
              </a:xfrm>
              <a:custGeom>
                <a:avLst/>
                <a:gdLst>
                  <a:gd name="connsiteX0" fmla="*/ 45795 w 45821"/>
                  <a:gd name="connsiteY0" fmla="*/ 26405 h 87970"/>
                  <a:gd name="connsiteX1" fmla="*/ 24042 w 45821"/>
                  <a:gd name="connsiteY1" fmla="*/ 74372 h 87970"/>
                  <a:gd name="connsiteX2" fmla="*/ 9671 w 45821"/>
                  <a:gd name="connsiteY2" fmla="*/ 55792 h 87970"/>
                  <a:gd name="connsiteX3" fmla="*/ 8097 w 45821"/>
                  <a:gd name="connsiteY3" fmla="*/ 41035 h 87970"/>
                  <a:gd name="connsiteX4" fmla="*/ 322 w 45821"/>
                  <a:gd name="connsiteY4" fmla="*/ 21820 h 87970"/>
                  <a:gd name="connsiteX5" fmla="*/ 29838 w 45821"/>
                  <a:gd name="connsiteY5" fmla="*/ 1 h 87970"/>
                  <a:gd name="connsiteX6" fmla="*/ 38692 w 45821"/>
                  <a:gd name="connsiteY6" fmla="*/ 8459 h 87970"/>
                  <a:gd name="connsiteX7" fmla="*/ 45795 w 45821"/>
                  <a:gd name="connsiteY7" fmla="*/ 26417 h 879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5821" h="87970">
                    <a:moveTo>
                      <a:pt x="45795" y="26405"/>
                    </a:moveTo>
                    <a:cubicBezTo>
                      <a:pt x="38159" y="43829"/>
                      <a:pt x="50653" y="92686"/>
                      <a:pt x="24042" y="74372"/>
                    </a:cubicBezTo>
                    <a:cubicBezTo>
                      <a:pt x="23953" y="106961"/>
                      <a:pt x="-4079" y="72937"/>
                      <a:pt x="9671" y="55792"/>
                    </a:cubicBezTo>
                    <a:cubicBezTo>
                      <a:pt x="11332" y="46979"/>
                      <a:pt x="2795" y="53811"/>
                      <a:pt x="8097" y="41035"/>
                    </a:cubicBezTo>
                    <a:cubicBezTo>
                      <a:pt x="10292" y="29605"/>
                      <a:pt x="-1339" y="26633"/>
                      <a:pt x="322" y="21820"/>
                    </a:cubicBezTo>
                    <a:cubicBezTo>
                      <a:pt x="-3090" y="9450"/>
                      <a:pt x="19425" y="19927"/>
                      <a:pt x="29838" y="1"/>
                    </a:cubicBezTo>
                    <a:cubicBezTo>
                      <a:pt x="34290" y="5577"/>
                      <a:pt x="40176" y="3062"/>
                      <a:pt x="38692" y="8459"/>
                    </a:cubicBezTo>
                    <a:cubicBezTo>
                      <a:pt x="41546" y="14238"/>
                      <a:pt x="43930" y="20245"/>
                      <a:pt x="45795" y="2641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0" name="Vrije vorm 549">
                <a:extLst>
                  <a:ext uri="{FF2B5EF4-FFF2-40B4-BE49-F238E27FC236}">
                    <a16:creationId xmlns:a16="http://schemas.microsoft.com/office/drawing/2014/main" id="{410ED5A9-467D-FA47-AA42-AC921C0F761D}"/>
                  </a:ext>
                </a:extLst>
              </p:cNvPr>
              <p:cNvSpPr/>
              <p:nvPr/>
            </p:nvSpPr>
            <p:spPr>
              <a:xfrm>
                <a:off x="5843354" y="3223703"/>
                <a:ext cx="88034" cy="56071"/>
              </a:xfrm>
              <a:custGeom>
                <a:avLst/>
                <a:gdLst>
                  <a:gd name="connsiteX0" fmla="*/ 81137 w 88034"/>
                  <a:gd name="connsiteY0" fmla="*/ 45035 h 56071"/>
                  <a:gd name="connsiteX1" fmla="*/ 23969 w 88034"/>
                  <a:gd name="connsiteY1" fmla="*/ 32526 h 56071"/>
                  <a:gd name="connsiteX2" fmla="*/ 8329 w 88034"/>
                  <a:gd name="connsiteY2" fmla="*/ 6351 h 56071"/>
                  <a:gd name="connsiteX3" fmla="*/ 17677 w 88034"/>
                  <a:gd name="connsiteY3" fmla="*/ 5754 h 56071"/>
                  <a:gd name="connsiteX4" fmla="*/ 44695 w 88034"/>
                  <a:gd name="connsiteY4" fmla="*/ 9501 h 56071"/>
                  <a:gd name="connsiteX5" fmla="*/ 87834 w 88034"/>
                  <a:gd name="connsiteY5" fmla="*/ 1 h 56071"/>
                  <a:gd name="connsiteX6" fmla="*/ 81137 w 88034"/>
                  <a:gd name="connsiteY6" fmla="*/ 45035 h 56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8034" h="56071">
                    <a:moveTo>
                      <a:pt x="81137" y="45035"/>
                    </a:moveTo>
                    <a:cubicBezTo>
                      <a:pt x="73412" y="72899"/>
                      <a:pt x="46763" y="40133"/>
                      <a:pt x="23969" y="32526"/>
                    </a:cubicBezTo>
                    <a:cubicBezTo>
                      <a:pt x="13238" y="25414"/>
                      <a:pt x="-13551" y="20207"/>
                      <a:pt x="8329" y="6351"/>
                    </a:cubicBezTo>
                    <a:cubicBezTo>
                      <a:pt x="6896" y="-88"/>
                      <a:pt x="16599" y="17464"/>
                      <a:pt x="17677" y="5754"/>
                    </a:cubicBezTo>
                    <a:cubicBezTo>
                      <a:pt x="26493" y="-2615"/>
                      <a:pt x="32328" y="17464"/>
                      <a:pt x="44695" y="9501"/>
                    </a:cubicBezTo>
                    <a:cubicBezTo>
                      <a:pt x="59599" y="9590"/>
                      <a:pt x="74338" y="6338"/>
                      <a:pt x="87834" y="1"/>
                    </a:cubicBezTo>
                    <a:cubicBezTo>
                      <a:pt x="90256" y="9539"/>
                      <a:pt x="66486" y="33339"/>
                      <a:pt x="81137" y="45035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1" name="Vrije vorm 550">
                <a:extLst>
                  <a:ext uri="{FF2B5EF4-FFF2-40B4-BE49-F238E27FC236}">
                    <a16:creationId xmlns:a16="http://schemas.microsoft.com/office/drawing/2014/main" id="{D4454A88-B61E-E449-8DA2-54ACC9DE0607}"/>
                  </a:ext>
                </a:extLst>
              </p:cNvPr>
              <p:cNvSpPr/>
              <p:nvPr/>
            </p:nvSpPr>
            <p:spPr>
              <a:xfrm>
                <a:off x="5680272" y="2885706"/>
                <a:ext cx="334974" cy="352908"/>
              </a:xfrm>
              <a:custGeom>
                <a:avLst/>
                <a:gdLst>
                  <a:gd name="connsiteX0" fmla="*/ 334948 w 334974"/>
                  <a:gd name="connsiteY0" fmla="*/ 272936 h 352908"/>
                  <a:gd name="connsiteX1" fmla="*/ 318142 w 334974"/>
                  <a:gd name="connsiteY1" fmla="*/ 266866 h 352908"/>
                  <a:gd name="connsiteX2" fmla="*/ 299673 w 334974"/>
                  <a:gd name="connsiteY2" fmla="*/ 258268 h 352908"/>
                  <a:gd name="connsiteX3" fmla="*/ 300079 w 334974"/>
                  <a:gd name="connsiteY3" fmla="*/ 257950 h 352908"/>
                  <a:gd name="connsiteX4" fmla="*/ 298507 w 334974"/>
                  <a:gd name="connsiteY4" fmla="*/ 311671 h 352908"/>
                  <a:gd name="connsiteX5" fmla="*/ 268572 w 334974"/>
                  <a:gd name="connsiteY5" fmla="*/ 344882 h 352908"/>
                  <a:gd name="connsiteX6" fmla="*/ 268622 w 334974"/>
                  <a:gd name="connsiteY6" fmla="*/ 322517 h 352908"/>
                  <a:gd name="connsiteX7" fmla="*/ 233386 w 334974"/>
                  <a:gd name="connsiteY7" fmla="*/ 267120 h 352908"/>
                  <a:gd name="connsiteX8" fmla="*/ 225293 w 334974"/>
                  <a:gd name="connsiteY8" fmla="*/ 252007 h 352908"/>
                  <a:gd name="connsiteX9" fmla="*/ 212267 w 334974"/>
                  <a:gd name="connsiteY9" fmla="*/ 245758 h 352908"/>
                  <a:gd name="connsiteX10" fmla="*/ 180442 w 334974"/>
                  <a:gd name="connsiteY10" fmla="*/ 230328 h 352908"/>
                  <a:gd name="connsiteX11" fmla="*/ 109398 w 334974"/>
                  <a:gd name="connsiteY11" fmla="*/ 164669 h 352908"/>
                  <a:gd name="connsiteX12" fmla="*/ 82381 w 334974"/>
                  <a:gd name="connsiteY12" fmla="*/ 116701 h 352908"/>
                  <a:gd name="connsiteX13" fmla="*/ 29894 w 334974"/>
                  <a:gd name="connsiteY13" fmla="*/ 131649 h 352908"/>
                  <a:gd name="connsiteX14" fmla="*/ 23780 w 334974"/>
                  <a:gd name="connsiteY14" fmla="*/ 132957 h 352908"/>
                  <a:gd name="connsiteX15" fmla="*/ 24275 w 334974"/>
                  <a:gd name="connsiteY15" fmla="*/ 127280 h 352908"/>
                  <a:gd name="connsiteX16" fmla="*/ 27065 w 334974"/>
                  <a:gd name="connsiteY16" fmla="*/ 117691 h 352908"/>
                  <a:gd name="connsiteX17" fmla="*/ 21091 w 334974"/>
                  <a:gd name="connsiteY17" fmla="*/ 118454 h 352908"/>
                  <a:gd name="connsiteX18" fmla="*/ 11971 w 334974"/>
                  <a:gd name="connsiteY18" fmla="*/ 115583 h 352908"/>
                  <a:gd name="connsiteX19" fmla="*/ 4829 w 334974"/>
                  <a:gd name="connsiteY19" fmla="*/ 101182 h 352908"/>
                  <a:gd name="connsiteX20" fmla="*/ 9548 w 334974"/>
                  <a:gd name="connsiteY20" fmla="*/ 96140 h 352908"/>
                  <a:gd name="connsiteX21" fmla="*/ 3155 w 334974"/>
                  <a:gd name="connsiteY21" fmla="*/ 85751 h 352908"/>
                  <a:gd name="connsiteX22" fmla="*/ 2077 w 334974"/>
                  <a:gd name="connsiteY22" fmla="*/ 78779 h 352908"/>
                  <a:gd name="connsiteX23" fmla="*/ 9941 w 334974"/>
                  <a:gd name="connsiteY23" fmla="*/ 73597 h 352908"/>
                  <a:gd name="connsiteX24" fmla="*/ 7430 w 334974"/>
                  <a:gd name="connsiteY24" fmla="*/ 62078 h 352908"/>
                  <a:gd name="connsiteX25" fmla="*/ 5629 w 334974"/>
                  <a:gd name="connsiteY25" fmla="*/ 48807 h 352908"/>
                  <a:gd name="connsiteX26" fmla="*/ 9358 w 334974"/>
                  <a:gd name="connsiteY26" fmla="*/ 47003 h 352908"/>
                  <a:gd name="connsiteX27" fmla="*/ 13772 w 334974"/>
                  <a:gd name="connsiteY27" fmla="*/ 46648 h 352908"/>
                  <a:gd name="connsiteX28" fmla="*/ 31479 w 334974"/>
                  <a:gd name="connsiteY28" fmla="*/ 45835 h 352908"/>
                  <a:gd name="connsiteX29" fmla="*/ 44506 w 334974"/>
                  <a:gd name="connsiteY29" fmla="*/ 27344 h 352908"/>
                  <a:gd name="connsiteX30" fmla="*/ 50391 w 334974"/>
                  <a:gd name="connsiteY30" fmla="*/ 28334 h 352908"/>
                  <a:gd name="connsiteX31" fmla="*/ 58484 w 334974"/>
                  <a:gd name="connsiteY31" fmla="*/ 44806 h 352908"/>
                  <a:gd name="connsiteX32" fmla="*/ 66208 w 334974"/>
                  <a:gd name="connsiteY32" fmla="*/ 47283 h 352908"/>
                  <a:gd name="connsiteX33" fmla="*/ 69494 w 334974"/>
                  <a:gd name="connsiteY33" fmla="*/ 37339 h 352908"/>
                  <a:gd name="connsiteX34" fmla="*/ 72411 w 334974"/>
                  <a:gd name="connsiteY34" fmla="*/ 27521 h 352908"/>
                  <a:gd name="connsiteX35" fmla="*/ 75100 w 334974"/>
                  <a:gd name="connsiteY35" fmla="*/ 23470 h 352908"/>
                  <a:gd name="connsiteX36" fmla="*/ 82482 w 334974"/>
                  <a:gd name="connsiteY36" fmla="*/ 30265 h 352908"/>
                  <a:gd name="connsiteX37" fmla="*/ 92186 w 334974"/>
                  <a:gd name="connsiteY37" fmla="*/ 29731 h 352908"/>
                  <a:gd name="connsiteX38" fmla="*/ 97437 w 334974"/>
                  <a:gd name="connsiteY38" fmla="*/ 34189 h 352908"/>
                  <a:gd name="connsiteX39" fmla="*/ 96359 w 334974"/>
                  <a:gd name="connsiteY39" fmla="*/ 20460 h 352908"/>
                  <a:gd name="connsiteX40" fmla="*/ 104717 w 334974"/>
                  <a:gd name="connsiteY40" fmla="*/ 19203 h 352908"/>
                  <a:gd name="connsiteX41" fmla="*/ 106075 w 334974"/>
                  <a:gd name="connsiteY41" fmla="*/ 9030 h 352908"/>
                  <a:gd name="connsiteX42" fmla="*/ 108447 w 334974"/>
                  <a:gd name="connsiteY42" fmla="*/ 7989 h 352908"/>
                  <a:gd name="connsiteX43" fmla="*/ 116856 w 334974"/>
                  <a:gd name="connsiteY43" fmla="*/ 9792 h 352908"/>
                  <a:gd name="connsiteX44" fmla="*/ 124860 w 334974"/>
                  <a:gd name="connsiteY44" fmla="*/ 7227 h 352908"/>
                  <a:gd name="connsiteX45" fmla="*/ 138115 w 334974"/>
                  <a:gd name="connsiteY45" fmla="*/ 4217 h 352908"/>
                  <a:gd name="connsiteX46" fmla="*/ 155543 w 334974"/>
                  <a:gd name="connsiteY46" fmla="*/ 344 h 352908"/>
                  <a:gd name="connsiteX47" fmla="*/ 158384 w 334974"/>
                  <a:gd name="connsiteY47" fmla="*/ 9792 h 352908"/>
                  <a:gd name="connsiteX48" fmla="*/ 172134 w 334974"/>
                  <a:gd name="connsiteY48" fmla="*/ 18301 h 352908"/>
                  <a:gd name="connsiteX49" fmla="*/ 190285 w 334974"/>
                  <a:gd name="connsiteY49" fmla="*/ 20549 h 352908"/>
                  <a:gd name="connsiteX50" fmla="*/ 196171 w 334974"/>
                  <a:gd name="connsiteY50" fmla="*/ 22264 h 352908"/>
                  <a:gd name="connsiteX51" fmla="*/ 195942 w 334974"/>
                  <a:gd name="connsiteY51" fmla="*/ 24423 h 352908"/>
                  <a:gd name="connsiteX52" fmla="*/ 190425 w 334974"/>
                  <a:gd name="connsiteY52" fmla="*/ 32259 h 352908"/>
                  <a:gd name="connsiteX53" fmla="*/ 194826 w 334974"/>
                  <a:gd name="connsiteY53" fmla="*/ 36881 h 352908"/>
                  <a:gd name="connsiteX54" fmla="*/ 191909 w 334974"/>
                  <a:gd name="connsiteY54" fmla="*/ 44082 h 352908"/>
                  <a:gd name="connsiteX55" fmla="*/ 197033 w 334974"/>
                  <a:gd name="connsiteY55" fmla="*/ 52274 h 352908"/>
                  <a:gd name="connsiteX56" fmla="*/ 200217 w 334974"/>
                  <a:gd name="connsiteY56" fmla="*/ 59157 h 352908"/>
                  <a:gd name="connsiteX57" fmla="*/ 193621 w 334974"/>
                  <a:gd name="connsiteY57" fmla="*/ 55246 h 352908"/>
                  <a:gd name="connsiteX58" fmla="*/ 183994 w 334974"/>
                  <a:gd name="connsiteY58" fmla="*/ 53036 h 352908"/>
                  <a:gd name="connsiteX59" fmla="*/ 162469 w 334974"/>
                  <a:gd name="connsiteY59" fmla="*/ 66498 h 352908"/>
                  <a:gd name="connsiteX60" fmla="*/ 158029 w 334974"/>
                  <a:gd name="connsiteY60" fmla="*/ 66765 h 352908"/>
                  <a:gd name="connsiteX61" fmla="*/ 157395 w 334974"/>
                  <a:gd name="connsiteY61" fmla="*/ 75858 h 352908"/>
                  <a:gd name="connsiteX62" fmla="*/ 159551 w 334974"/>
                  <a:gd name="connsiteY62" fmla="*/ 80887 h 352908"/>
                  <a:gd name="connsiteX63" fmla="*/ 161302 w 334974"/>
                  <a:gd name="connsiteY63" fmla="*/ 81382 h 352908"/>
                  <a:gd name="connsiteX64" fmla="*/ 163280 w 334974"/>
                  <a:gd name="connsiteY64" fmla="*/ 87999 h 352908"/>
                  <a:gd name="connsiteX65" fmla="*/ 193976 w 334974"/>
                  <a:gd name="connsiteY65" fmla="*/ 138494 h 352908"/>
                  <a:gd name="connsiteX66" fmla="*/ 334948 w 334974"/>
                  <a:gd name="connsiteY66" fmla="*/ 272936 h 352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334974" h="352908">
                    <a:moveTo>
                      <a:pt x="334948" y="272936"/>
                    </a:moveTo>
                    <a:cubicBezTo>
                      <a:pt x="330052" y="291783"/>
                      <a:pt x="321199" y="277839"/>
                      <a:pt x="318142" y="266866"/>
                    </a:cubicBezTo>
                    <a:cubicBezTo>
                      <a:pt x="316163" y="263399"/>
                      <a:pt x="295221" y="265774"/>
                      <a:pt x="299673" y="258268"/>
                    </a:cubicBezTo>
                    <a:cubicBezTo>
                      <a:pt x="301196" y="258852"/>
                      <a:pt x="303048" y="257049"/>
                      <a:pt x="300079" y="257950"/>
                    </a:cubicBezTo>
                    <a:cubicBezTo>
                      <a:pt x="264133" y="263437"/>
                      <a:pt x="289831" y="294399"/>
                      <a:pt x="298507" y="311671"/>
                    </a:cubicBezTo>
                    <a:cubicBezTo>
                      <a:pt x="264894" y="324676"/>
                      <a:pt x="293649" y="322111"/>
                      <a:pt x="268572" y="344882"/>
                    </a:cubicBezTo>
                    <a:cubicBezTo>
                      <a:pt x="249787" y="372238"/>
                      <a:pt x="254733" y="320764"/>
                      <a:pt x="268622" y="322517"/>
                    </a:cubicBezTo>
                    <a:cubicBezTo>
                      <a:pt x="271134" y="298108"/>
                      <a:pt x="256535" y="275172"/>
                      <a:pt x="233386" y="267120"/>
                    </a:cubicBezTo>
                    <a:cubicBezTo>
                      <a:pt x="237115" y="262167"/>
                      <a:pt x="233919" y="248946"/>
                      <a:pt x="225293" y="252007"/>
                    </a:cubicBezTo>
                    <a:cubicBezTo>
                      <a:pt x="208170" y="258357"/>
                      <a:pt x="230468" y="245403"/>
                      <a:pt x="212267" y="245758"/>
                    </a:cubicBezTo>
                    <a:cubicBezTo>
                      <a:pt x="204707" y="240716"/>
                      <a:pt x="197211" y="220473"/>
                      <a:pt x="180442" y="230328"/>
                    </a:cubicBezTo>
                    <a:cubicBezTo>
                      <a:pt x="153298" y="204267"/>
                      <a:pt x="129705" y="181585"/>
                      <a:pt x="109398" y="164669"/>
                    </a:cubicBezTo>
                    <a:cubicBezTo>
                      <a:pt x="106291" y="144108"/>
                      <a:pt x="103551" y="122289"/>
                      <a:pt x="82381" y="116701"/>
                    </a:cubicBezTo>
                    <a:cubicBezTo>
                      <a:pt x="49579" y="92457"/>
                      <a:pt x="55427" y="120130"/>
                      <a:pt x="29894" y="131649"/>
                    </a:cubicBezTo>
                    <a:cubicBezTo>
                      <a:pt x="27826" y="131890"/>
                      <a:pt x="25771" y="132322"/>
                      <a:pt x="23780" y="132957"/>
                    </a:cubicBezTo>
                    <a:cubicBezTo>
                      <a:pt x="23577" y="131052"/>
                      <a:pt x="23742" y="129121"/>
                      <a:pt x="24275" y="127280"/>
                    </a:cubicBezTo>
                    <a:cubicBezTo>
                      <a:pt x="25264" y="123813"/>
                      <a:pt x="31339" y="120892"/>
                      <a:pt x="27065" y="117691"/>
                    </a:cubicBezTo>
                    <a:cubicBezTo>
                      <a:pt x="22803" y="114504"/>
                      <a:pt x="25492" y="118454"/>
                      <a:pt x="21091" y="118454"/>
                    </a:cubicBezTo>
                    <a:cubicBezTo>
                      <a:pt x="17805" y="118619"/>
                      <a:pt x="14571" y="117603"/>
                      <a:pt x="11971" y="115583"/>
                    </a:cubicBezTo>
                    <a:cubicBezTo>
                      <a:pt x="9586" y="113780"/>
                      <a:pt x="3257" y="103252"/>
                      <a:pt x="4829" y="101182"/>
                    </a:cubicBezTo>
                    <a:cubicBezTo>
                      <a:pt x="6339" y="99111"/>
                      <a:pt x="10981" y="100635"/>
                      <a:pt x="9548" y="96140"/>
                    </a:cubicBezTo>
                    <a:cubicBezTo>
                      <a:pt x="8140" y="91644"/>
                      <a:pt x="5324" y="90196"/>
                      <a:pt x="3155" y="85751"/>
                    </a:cubicBezTo>
                    <a:cubicBezTo>
                      <a:pt x="999" y="81243"/>
                      <a:pt x="-2185" y="81293"/>
                      <a:pt x="2077" y="78779"/>
                    </a:cubicBezTo>
                    <a:cubicBezTo>
                      <a:pt x="4906" y="77369"/>
                      <a:pt x="7544" y="75629"/>
                      <a:pt x="9941" y="73597"/>
                    </a:cubicBezTo>
                    <a:cubicBezTo>
                      <a:pt x="10981" y="72289"/>
                      <a:pt x="8825" y="68339"/>
                      <a:pt x="7430" y="62078"/>
                    </a:cubicBezTo>
                    <a:cubicBezTo>
                      <a:pt x="5997" y="55868"/>
                      <a:pt x="3155" y="49975"/>
                      <a:pt x="5629" y="48807"/>
                    </a:cubicBezTo>
                    <a:cubicBezTo>
                      <a:pt x="7519" y="47905"/>
                      <a:pt x="6491" y="47372"/>
                      <a:pt x="9358" y="47003"/>
                    </a:cubicBezTo>
                    <a:cubicBezTo>
                      <a:pt x="10817" y="46787"/>
                      <a:pt x="12288" y="46673"/>
                      <a:pt x="13772" y="46648"/>
                    </a:cubicBezTo>
                    <a:cubicBezTo>
                      <a:pt x="22080" y="46191"/>
                      <a:pt x="26266" y="48667"/>
                      <a:pt x="31479" y="45835"/>
                    </a:cubicBezTo>
                    <a:cubicBezTo>
                      <a:pt x="36730" y="43003"/>
                      <a:pt x="42666" y="28512"/>
                      <a:pt x="44506" y="27344"/>
                    </a:cubicBezTo>
                    <a:cubicBezTo>
                      <a:pt x="46345" y="26175"/>
                      <a:pt x="47651" y="24016"/>
                      <a:pt x="50391" y="28334"/>
                    </a:cubicBezTo>
                    <a:cubicBezTo>
                      <a:pt x="53131" y="32614"/>
                      <a:pt x="53499" y="41923"/>
                      <a:pt x="58484" y="44806"/>
                    </a:cubicBezTo>
                    <a:cubicBezTo>
                      <a:pt x="63519" y="47638"/>
                      <a:pt x="65003" y="53391"/>
                      <a:pt x="66208" y="47283"/>
                    </a:cubicBezTo>
                    <a:cubicBezTo>
                      <a:pt x="66462" y="43739"/>
                      <a:pt x="67591" y="40323"/>
                      <a:pt x="69494" y="37339"/>
                    </a:cubicBezTo>
                    <a:cubicBezTo>
                      <a:pt x="70889" y="34202"/>
                      <a:pt x="71865" y="30900"/>
                      <a:pt x="72411" y="27521"/>
                    </a:cubicBezTo>
                    <a:cubicBezTo>
                      <a:pt x="73489" y="24372"/>
                      <a:pt x="70610" y="19648"/>
                      <a:pt x="75100" y="23470"/>
                    </a:cubicBezTo>
                    <a:cubicBezTo>
                      <a:pt x="79552" y="27255"/>
                      <a:pt x="74707" y="30443"/>
                      <a:pt x="82482" y="30265"/>
                    </a:cubicBezTo>
                    <a:cubicBezTo>
                      <a:pt x="90296" y="30138"/>
                      <a:pt x="88723" y="27877"/>
                      <a:pt x="92186" y="29731"/>
                    </a:cubicBezTo>
                    <a:cubicBezTo>
                      <a:pt x="95648" y="31522"/>
                      <a:pt x="95331" y="36475"/>
                      <a:pt x="97437" y="34189"/>
                    </a:cubicBezTo>
                    <a:cubicBezTo>
                      <a:pt x="99555" y="31890"/>
                      <a:pt x="91057" y="21895"/>
                      <a:pt x="96359" y="20460"/>
                    </a:cubicBezTo>
                    <a:cubicBezTo>
                      <a:pt x="101711" y="19025"/>
                      <a:pt x="102701" y="24727"/>
                      <a:pt x="104717" y="19203"/>
                    </a:cubicBezTo>
                    <a:cubicBezTo>
                      <a:pt x="105605" y="15876"/>
                      <a:pt x="106062" y="12459"/>
                      <a:pt x="106075" y="9030"/>
                    </a:cubicBezTo>
                    <a:cubicBezTo>
                      <a:pt x="106341" y="8446"/>
                      <a:pt x="107191" y="8091"/>
                      <a:pt x="108447" y="7989"/>
                    </a:cubicBezTo>
                    <a:cubicBezTo>
                      <a:pt x="111351" y="7938"/>
                      <a:pt x="114231" y="8548"/>
                      <a:pt x="116856" y="9792"/>
                    </a:cubicBezTo>
                    <a:cubicBezTo>
                      <a:pt x="122793" y="12218"/>
                      <a:pt x="121219" y="10465"/>
                      <a:pt x="124860" y="7227"/>
                    </a:cubicBezTo>
                    <a:cubicBezTo>
                      <a:pt x="128576" y="4242"/>
                      <a:pt x="133460" y="3125"/>
                      <a:pt x="138115" y="4217"/>
                    </a:cubicBezTo>
                    <a:cubicBezTo>
                      <a:pt x="144229" y="4712"/>
                      <a:pt x="153298" y="-1498"/>
                      <a:pt x="155543" y="344"/>
                    </a:cubicBezTo>
                    <a:cubicBezTo>
                      <a:pt x="157801" y="2236"/>
                      <a:pt x="155416" y="7316"/>
                      <a:pt x="158384" y="9792"/>
                    </a:cubicBezTo>
                    <a:cubicBezTo>
                      <a:pt x="161340" y="12218"/>
                      <a:pt x="161530" y="16854"/>
                      <a:pt x="172134" y="18301"/>
                    </a:cubicBezTo>
                    <a:cubicBezTo>
                      <a:pt x="178222" y="18733"/>
                      <a:pt x="184273" y="19482"/>
                      <a:pt x="190285" y="20549"/>
                    </a:cubicBezTo>
                    <a:cubicBezTo>
                      <a:pt x="193342" y="21451"/>
                      <a:pt x="195549" y="21451"/>
                      <a:pt x="196171" y="22264"/>
                    </a:cubicBezTo>
                    <a:cubicBezTo>
                      <a:pt x="196576" y="22670"/>
                      <a:pt x="196538" y="23305"/>
                      <a:pt x="195942" y="24423"/>
                    </a:cubicBezTo>
                    <a:cubicBezTo>
                      <a:pt x="194192" y="27623"/>
                      <a:pt x="189080" y="29058"/>
                      <a:pt x="190425" y="32259"/>
                    </a:cubicBezTo>
                    <a:cubicBezTo>
                      <a:pt x="191718" y="35497"/>
                      <a:pt x="194737" y="33656"/>
                      <a:pt x="194826" y="36881"/>
                    </a:cubicBezTo>
                    <a:cubicBezTo>
                      <a:pt x="194915" y="40120"/>
                      <a:pt x="187773" y="40895"/>
                      <a:pt x="191909" y="44082"/>
                    </a:cubicBezTo>
                    <a:cubicBezTo>
                      <a:pt x="195993" y="47283"/>
                      <a:pt x="193431" y="49442"/>
                      <a:pt x="197033" y="52274"/>
                    </a:cubicBezTo>
                    <a:cubicBezTo>
                      <a:pt x="200623" y="55157"/>
                      <a:pt x="205164" y="56732"/>
                      <a:pt x="200217" y="59157"/>
                    </a:cubicBezTo>
                    <a:cubicBezTo>
                      <a:pt x="200978" y="54611"/>
                      <a:pt x="196399" y="49759"/>
                      <a:pt x="193621" y="55246"/>
                    </a:cubicBezTo>
                    <a:cubicBezTo>
                      <a:pt x="188180" y="58624"/>
                      <a:pt x="192352" y="51867"/>
                      <a:pt x="183994" y="53036"/>
                    </a:cubicBezTo>
                    <a:cubicBezTo>
                      <a:pt x="178400" y="59652"/>
                      <a:pt x="170865" y="64364"/>
                      <a:pt x="162469" y="66498"/>
                    </a:cubicBezTo>
                    <a:cubicBezTo>
                      <a:pt x="171233" y="59030"/>
                      <a:pt x="160947" y="61278"/>
                      <a:pt x="158029" y="66765"/>
                    </a:cubicBezTo>
                    <a:cubicBezTo>
                      <a:pt x="157217" y="73737"/>
                      <a:pt x="154072" y="70321"/>
                      <a:pt x="157395" y="75858"/>
                    </a:cubicBezTo>
                    <a:cubicBezTo>
                      <a:pt x="161530" y="74143"/>
                      <a:pt x="159234" y="79630"/>
                      <a:pt x="159551" y="80887"/>
                    </a:cubicBezTo>
                    <a:cubicBezTo>
                      <a:pt x="161162" y="79096"/>
                      <a:pt x="161974" y="86653"/>
                      <a:pt x="161302" y="81382"/>
                    </a:cubicBezTo>
                    <a:cubicBezTo>
                      <a:pt x="167682" y="83186"/>
                      <a:pt x="163775" y="95162"/>
                      <a:pt x="163280" y="87999"/>
                    </a:cubicBezTo>
                    <a:cubicBezTo>
                      <a:pt x="145167" y="101410"/>
                      <a:pt x="174734" y="132690"/>
                      <a:pt x="193976" y="138494"/>
                    </a:cubicBezTo>
                    <a:cubicBezTo>
                      <a:pt x="216630" y="222174"/>
                      <a:pt x="291720" y="208230"/>
                      <a:pt x="334948" y="272936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323" name="Graphic 5">
              <a:extLst>
                <a:ext uri="{FF2B5EF4-FFF2-40B4-BE49-F238E27FC236}">
                  <a16:creationId xmlns:a16="http://schemas.microsoft.com/office/drawing/2014/main" id="{F7C65896-A560-DF40-90B4-B78D922BA4CA}"/>
                </a:ext>
              </a:extLst>
            </p:cNvPr>
            <p:cNvGrpSpPr/>
            <p:nvPr/>
          </p:nvGrpSpPr>
          <p:grpSpPr>
            <a:xfrm>
              <a:off x="5355271" y="2710128"/>
              <a:ext cx="405368" cy="399705"/>
              <a:chOff x="5355271" y="2710128"/>
              <a:chExt cx="405368" cy="399705"/>
            </a:xfrm>
            <a:solidFill>
              <a:schemeClr val="bg2"/>
            </a:solidFill>
          </p:grpSpPr>
          <p:sp>
            <p:nvSpPr>
              <p:cNvPr id="547" name="Vrije vorm 546">
                <a:extLst>
                  <a:ext uri="{FF2B5EF4-FFF2-40B4-BE49-F238E27FC236}">
                    <a16:creationId xmlns:a16="http://schemas.microsoft.com/office/drawing/2014/main" id="{451DC929-053C-E041-8AA3-F4F5251588C4}"/>
                  </a:ext>
                </a:extLst>
              </p:cNvPr>
              <p:cNvSpPr/>
              <p:nvPr/>
            </p:nvSpPr>
            <p:spPr>
              <a:xfrm>
                <a:off x="5733746" y="3049073"/>
                <a:ext cx="26893" cy="60760"/>
              </a:xfrm>
              <a:custGeom>
                <a:avLst/>
                <a:gdLst>
                  <a:gd name="connsiteX0" fmla="*/ 13191 w 26893"/>
                  <a:gd name="connsiteY0" fmla="*/ 57867 h 60760"/>
                  <a:gd name="connsiteX1" fmla="*/ 6177 w 26893"/>
                  <a:gd name="connsiteY1" fmla="*/ 47517 h 60760"/>
                  <a:gd name="connsiteX2" fmla="*/ 1318 w 26893"/>
                  <a:gd name="connsiteY2" fmla="*/ 41484 h 60760"/>
                  <a:gd name="connsiteX3" fmla="*/ -26 w 26893"/>
                  <a:gd name="connsiteY3" fmla="*/ 29788 h 60760"/>
                  <a:gd name="connsiteX4" fmla="*/ 22488 w 26893"/>
                  <a:gd name="connsiteY4" fmla="*/ 1302 h 60760"/>
                  <a:gd name="connsiteX5" fmla="*/ 20192 w 26893"/>
                  <a:gd name="connsiteY5" fmla="*/ 52965 h 60760"/>
                  <a:gd name="connsiteX6" fmla="*/ 13191 w 26893"/>
                  <a:gd name="connsiteY6" fmla="*/ 57867 h 60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893" h="60760">
                    <a:moveTo>
                      <a:pt x="13191" y="57867"/>
                    </a:moveTo>
                    <a:cubicBezTo>
                      <a:pt x="-1904" y="52292"/>
                      <a:pt x="14041" y="52470"/>
                      <a:pt x="6177" y="47517"/>
                    </a:cubicBezTo>
                    <a:cubicBezTo>
                      <a:pt x="-2449" y="50489"/>
                      <a:pt x="14446" y="37128"/>
                      <a:pt x="1318" y="41484"/>
                    </a:cubicBezTo>
                    <a:cubicBezTo>
                      <a:pt x="4058" y="35325"/>
                      <a:pt x="3969" y="34741"/>
                      <a:pt x="-26" y="29788"/>
                    </a:cubicBezTo>
                    <a:cubicBezTo>
                      <a:pt x="2358" y="4540"/>
                      <a:pt x="21322" y="19437"/>
                      <a:pt x="22488" y="1302"/>
                    </a:cubicBezTo>
                    <a:cubicBezTo>
                      <a:pt x="28285" y="-9404"/>
                      <a:pt x="29097" y="49409"/>
                      <a:pt x="20192" y="52965"/>
                    </a:cubicBezTo>
                    <a:cubicBezTo>
                      <a:pt x="23249" y="52914"/>
                      <a:pt x="18226" y="66554"/>
                      <a:pt x="13191" y="57867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48" name="Vrije vorm 547">
                <a:extLst>
                  <a:ext uri="{FF2B5EF4-FFF2-40B4-BE49-F238E27FC236}">
                    <a16:creationId xmlns:a16="http://schemas.microsoft.com/office/drawing/2014/main" id="{766B9F24-1872-6947-AB4F-3F211C1EE87A}"/>
                  </a:ext>
                </a:extLst>
              </p:cNvPr>
              <p:cNvSpPr/>
              <p:nvPr/>
            </p:nvSpPr>
            <p:spPr>
              <a:xfrm>
                <a:off x="5355271" y="2710128"/>
                <a:ext cx="363203" cy="363821"/>
              </a:xfrm>
              <a:custGeom>
                <a:avLst/>
                <a:gdLst>
                  <a:gd name="connsiteX0" fmla="*/ 362226 w 363203"/>
                  <a:gd name="connsiteY0" fmla="*/ 104382 h 363821"/>
                  <a:gd name="connsiteX1" fmla="*/ 354628 w 363203"/>
                  <a:gd name="connsiteY1" fmla="*/ 125261 h 363821"/>
                  <a:gd name="connsiteX2" fmla="*/ 348476 w 363203"/>
                  <a:gd name="connsiteY2" fmla="*/ 143219 h 363821"/>
                  <a:gd name="connsiteX3" fmla="*/ 350899 w 363203"/>
                  <a:gd name="connsiteY3" fmla="*/ 154370 h 363821"/>
                  <a:gd name="connsiteX4" fmla="*/ 342806 w 363203"/>
                  <a:gd name="connsiteY4" fmla="*/ 160085 h 363821"/>
                  <a:gd name="connsiteX5" fmla="*/ 336299 w 363203"/>
                  <a:gd name="connsiteY5" fmla="*/ 155944 h 363821"/>
                  <a:gd name="connsiteX6" fmla="*/ 330997 w 363203"/>
                  <a:gd name="connsiteY6" fmla="*/ 159234 h 363821"/>
                  <a:gd name="connsiteX7" fmla="*/ 330769 w 363203"/>
                  <a:gd name="connsiteY7" fmla="*/ 168771 h 363821"/>
                  <a:gd name="connsiteX8" fmla="*/ 319226 w 363203"/>
                  <a:gd name="connsiteY8" fmla="*/ 183173 h 363821"/>
                  <a:gd name="connsiteX9" fmla="*/ 305971 w 363203"/>
                  <a:gd name="connsiteY9" fmla="*/ 202109 h 363821"/>
                  <a:gd name="connsiteX10" fmla="*/ 303853 w 363203"/>
                  <a:gd name="connsiteY10" fmla="*/ 211786 h 363821"/>
                  <a:gd name="connsiteX11" fmla="*/ 310106 w 363203"/>
                  <a:gd name="connsiteY11" fmla="*/ 211469 h 363821"/>
                  <a:gd name="connsiteX12" fmla="*/ 310284 w 363203"/>
                  <a:gd name="connsiteY12" fmla="*/ 205843 h 363821"/>
                  <a:gd name="connsiteX13" fmla="*/ 316398 w 363203"/>
                  <a:gd name="connsiteY13" fmla="*/ 201029 h 363821"/>
                  <a:gd name="connsiteX14" fmla="*/ 327090 w 363203"/>
                  <a:gd name="connsiteY14" fmla="*/ 201398 h 363821"/>
                  <a:gd name="connsiteX15" fmla="*/ 329107 w 363203"/>
                  <a:gd name="connsiteY15" fmla="*/ 211786 h 363821"/>
                  <a:gd name="connsiteX16" fmla="*/ 331720 w 363203"/>
                  <a:gd name="connsiteY16" fmla="*/ 218454 h 363821"/>
                  <a:gd name="connsiteX17" fmla="*/ 334371 w 363203"/>
                  <a:gd name="connsiteY17" fmla="*/ 222581 h 363821"/>
                  <a:gd name="connsiteX18" fmla="*/ 330642 w 363203"/>
                  <a:gd name="connsiteY18" fmla="*/ 224385 h 363821"/>
                  <a:gd name="connsiteX19" fmla="*/ 332431 w 363203"/>
                  <a:gd name="connsiteY19" fmla="*/ 237656 h 363821"/>
                  <a:gd name="connsiteX20" fmla="*/ 334955 w 363203"/>
                  <a:gd name="connsiteY20" fmla="*/ 249175 h 363821"/>
                  <a:gd name="connsiteX21" fmla="*/ 327090 w 363203"/>
                  <a:gd name="connsiteY21" fmla="*/ 254357 h 363821"/>
                  <a:gd name="connsiteX22" fmla="*/ 328169 w 363203"/>
                  <a:gd name="connsiteY22" fmla="*/ 261329 h 363821"/>
                  <a:gd name="connsiteX23" fmla="*/ 334549 w 363203"/>
                  <a:gd name="connsiteY23" fmla="*/ 271718 h 363821"/>
                  <a:gd name="connsiteX24" fmla="*/ 329830 w 363203"/>
                  <a:gd name="connsiteY24" fmla="*/ 276760 h 363821"/>
                  <a:gd name="connsiteX25" fmla="*/ 336972 w 363203"/>
                  <a:gd name="connsiteY25" fmla="*/ 291161 h 363821"/>
                  <a:gd name="connsiteX26" fmla="*/ 346104 w 363203"/>
                  <a:gd name="connsiteY26" fmla="*/ 294044 h 363821"/>
                  <a:gd name="connsiteX27" fmla="*/ 352078 w 363203"/>
                  <a:gd name="connsiteY27" fmla="*/ 293282 h 363821"/>
                  <a:gd name="connsiteX28" fmla="*/ 349288 w 363203"/>
                  <a:gd name="connsiteY28" fmla="*/ 302858 h 363821"/>
                  <a:gd name="connsiteX29" fmla="*/ 348793 w 363203"/>
                  <a:gd name="connsiteY29" fmla="*/ 308535 h 363821"/>
                  <a:gd name="connsiteX30" fmla="*/ 322588 w 363203"/>
                  <a:gd name="connsiteY30" fmla="*/ 327293 h 363821"/>
                  <a:gd name="connsiteX31" fmla="*/ 314901 w 363203"/>
                  <a:gd name="connsiteY31" fmla="*/ 334265 h 363821"/>
                  <a:gd name="connsiteX32" fmla="*/ 308166 w 363203"/>
                  <a:gd name="connsiteY32" fmla="*/ 336970 h 363821"/>
                  <a:gd name="connsiteX33" fmla="*/ 301608 w 363203"/>
                  <a:gd name="connsiteY33" fmla="*/ 336526 h 363821"/>
                  <a:gd name="connsiteX34" fmla="*/ 300390 w 363203"/>
                  <a:gd name="connsiteY34" fmla="*/ 335256 h 363821"/>
                  <a:gd name="connsiteX35" fmla="*/ 294682 w 363203"/>
                  <a:gd name="connsiteY35" fmla="*/ 331204 h 363821"/>
                  <a:gd name="connsiteX36" fmla="*/ 277470 w 363203"/>
                  <a:gd name="connsiteY36" fmla="*/ 323470 h 363821"/>
                  <a:gd name="connsiteX37" fmla="*/ 278726 w 363203"/>
                  <a:gd name="connsiteY37" fmla="*/ 319787 h 363821"/>
                  <a:gd name="connsiteX38" fmla="*/ 272307 w 363203"/>
                  <a:gd name="connsiteY38" fmla="*/ 324067 h 363821"/>
                  <a:gd name="connsiteX39" fmla="*/ 226010 w 363203"/>
                  <a:gd name="connsiteY39" fmla="*/ 359602 h 363821"/>
                  <a:gd name="connsiteX40" fmla="*/ 221926 w 363203"/>
                  <a:gd name="connsiteY40" fmla="*/ 359106 h 363821"/>
                  <a:gd name="connsiteX41" fmla="*/ 206058 w 363203"/>
                  <a:gd name="connsiteY41" fmla="*/ 363793 h 363821"/>
                  <a:gd name="connsiteX42" fmla="*/ 196088 w 363203"/>
                  <a:gd name="connsiteY42" fmla="*/ 361049 h 363821"/>
                  <a:gd name="connsiteX43" fmla="*/ 186917 w 363203"/>
                  <a:gd name="connsiteY43" fmla="*/ 356503 h 363821"/>
                  <a:gd name="connsiteX44" fmla="*/ 184089 w 363203"/>
                  <a:gd name="connsiteY44" fmla="*/ 354344 h 363821"/>
                  <a:gd name="connsiteX45" fmla="*/ 177569 w 363203"/>
                  <a:gd name="connsiteY45" fmla="*/ 350559 h 363821"/>
                  <a:gd name="connsiteX46" fmla="*/ 175641 w 363203"/>
                  <a:gd name="connsiteY46" fmla="*/ 349480 h 363821"/>
                  <a:gd name="connsiteX47" fmla="*/ 169439 w 363203"/>
                  <a:gd name="connsiteY47" fmla="*/ 348362 h 363821"/>
                  <a:gd name="connsiteX48" fmla="*/ 157528 w 363203"/>
                  <a:gd name="connsiteY48" fmla="*/ 343092 h 363821"/>
                  <a:gd name="connsiteX49" fmla="*/ 149207 w 363203"/>
                  <a:gd name="connsiteY49" fmla="*/ 349530 h 363821"/>
                  <a:gd name="connsiteX50" fmla="*/ 138603 w 363203"/>
                  <a:gd name="connsiteY50" fmla="*/ 349353 h 363821"/>
                  <a:gd name="connsiteX51" fmla="*/ 128050 w 363203"/>
                  <a:gd name="connsiteY51" fmla="*/ 345708 h 363821"/>
                  <a:gd name="connsiteX52" fmla="*/ 114110 w 363203"/>
                  <a:gd name="connsiteY52" fmla="*/ 342507 h 363821"/>
                  <a:gd name="connsiteX53" fmla="*/ 103963 w 363203"/>
                  <a:gd name="connsiteY53" fmla="*/ 337199 h 363821"/>
                  <a:gd name="connsiteX54" fmla="*/ 94970 w 363203"/>
                  <a:gd name="connsiteY54" fmla="*/ 332563 h 363821"/>
                  <a:gd name="connsiteX55" fmla="*/ 88767 w 363203"/>
                  <a:gd name="connsiteY55" fmla="*/ 326493 h 363821"/>
                  <a:gd name="connsiteX56" fmla="*/ 83237 w 363203"/>
                  <a:gd name="connsiteY56" fmla="*/ 323381 h 363821"/>
                  <a:gd name="connsiteX57" fmla="*/ 88412 w 363203"/>
                  <a:gd name="connsiteY57" fmla="*/ 322797 h 363821"/>
                  <a:gd name="connsiteX58" fmla="*/ 119691 w 363203"/>
                  <a:gd name="connsiteY58" fmla="*/ 262332 h 363821"/>
                  <a:gd name="connsiteX59" fmla="*/ 100640 w 363203"/>
                  <a:gd name="connsiteY59" fmla="*/ 231230 h 363821"/>
                  <a:gd name="connsiteX60" fmla="*/ 105751 w 363203"/>
                  <a:gd name="connsiteY60" fmla="*/ 229617 h 363821"/>
                  <a:gd name="connsiteX61" fmla="*/ 101439 w 363203"/>
                  <a:gd name="connsiteY61" fmla="*/ 212739 h 363821"/>
                  <a:gd name="connsiteX62" fmla="*/ 103379 w 363203"/>
                  <a:gd name="connsiteY62" fmla="*/ 205995 h 363821"/>
                  <a:gd name="connsiteX63" fmla="*/ 84772 w 363203"/>
                  <a:gd name="connsiteY63" fmla="*/ 168733 h 363821"/>
                  <a:gd name="connsiteX64" fmla="*/ 63424 w 363203"/>
                  <a:gd name="connsiteY64" fmla="*/ 165635 h 363821"/>
                  <a:gd name="connsiteX65" fmla="*/ 66342 w 363203"/>
                  <a:gd name="connsiteY65" fmla="*/ 161037 h 363821"/>
                  <a:gd name="connsiteX66" fmla="*/ 65124 w 363203"/>
                  <a:gd name="connsiteY66" fmla="*/ 158167 h 363821"/>
                  <a:gd name="connsiteX67" fmla="*/ 58338 w 363203"/>
                  <a:gd name="connsiteY67" fmla="*/ 154700 h 363821"/>
                  <a:gd name="connsiteX68" fmla="*/ 51336 w 363203"/>
                  <a:gd name="connsiteY68" fmla="*/ 150382 h 363821"/>
                  <a:gd name="connsiteX69" fmla="*/ 47239 w 363203"/>
                  <a:gd name="connsiteY69" fmla="*/ 153125 h 363821"/>
                  <a:gd name="connsiteX70" fmla="*/ 47062 w 363203"/>
                  <a:gd name="connsiteY70" fmla="*/ 147499 h 363821"/>
                  <a:gd name="connsiteX71" fmla="*/ 44956 w 363203"/>
                  <a:gd name="connsiteY71" fmla="*/ 146915 h 363821"/>
                  <a:gd name="connsiteX72" fmla="*/ 19385 w 363203"/>
                  <a:gd name="connsiteY72" fmla="*/ 141466 h 363821"/>
                  <a:gd name="connsiteX73" fmla="*/ 11520 w 363203"/>
                  <a:gd name="connsiteY73" fmla="*/ 144349 h 363821"/>
                  <a:gd name="connsiteX74" fmla="*/ 2172 w 363203"/>
                  <a:gd name="connsiteY74" fmla="*/ 133059 h 363821"/>
                  <a:gd name="connsiteX75" fmla="*/ 7018 w 363203"/>
                  <a:gd name="connsiteY75" fmla="*/ 121718 h 363821"/>
                  <a:gd name="connsiteX76" fmla="*/ 13804 w 363203"/>
                  <a:gd name="connsiteY76" fmla="*/ 123737 h 363821"/>
                  <a:gd name="connsiteX77" fmla="*/ 14438 w 363203"/>
                  <a:gd name="connsiteY77" fmla="*/ 120816 h 363821"/>
                  <a:gd name="connsiteX78" fmla="*/ 13855 w 363203"/>
                  <a:gd name="connsiteY78" fmla="*/ 117895 h 363821"/>
                  <a:gd name="connsiteX79" fmla="*/ 16556 w 363203"/>
                  <a:gd name="connsiteY79" fmla="*/ 108535 h 363821"/>
                  <a:gd name="connsiteX80" fmla="*/ 26488 w 363203"/>
                  <a:gd name="connsiteY80" fmla="*/ 109119 h 363821"/>
                  <a:gd name="connsiteX81" fmla="*/ 33946 w 363203"/>
                  <a:gd name="connsiteY81" fmla="*/ 104992 h 363821"/>
                  <a:gd name="connsiteX82" fmla="*/ 43066 w 363203"/>
                  <a:gd name="connsiteY82" fmla="*/ 100026 h 363821"/>
                  <a:gd name="connsiteX83" fmla="*/ 44322 w 363203"/>
                  <a:gd name="connsiteY83" fmla="*/ 99226 h 363821"/>
                  <a:gd name="connsiteX84" fmla="*/ 44461 w 363203"/>
                  <a:gd name="connsiteY84" fmla="*/ 99353 h 363821"/>
                  <a:gd name="connsiteX85" fmla="*/ 44195 w 363203"/>
                  <a:gd name="connsiteY85" fmla="*/ 101296 h 363821"/>
                  <a:gd name="connsiteX86" fmla="*/ 45134 w 363203"/>
                  <a:gd name="connsiteY86" fmla="*/ 100128 h 363821"/>
                  <a:gd name="connsiteX87" fmla="*/ 45857 w 363203"/>
                  <a:gd name="connsiteY87" fmla="*/ 99722 h 363821"/>
                  <a:gd name="connsiteX88" fmla="*/ 46529 w 363203"/>
                  <a:gd name="connsiteY88" fmla="*/ 99582 h 363821"/>
                  <a:gd name="connsiteX89" fmla="*/ 51742 w 363203"/>
                  <a:gd name="connsiteY89" fmla="*/ 102909 h 363821"/>
                  <a:gd name="connsiteX90" fmla="*/ 54038 w 363203"/>
                  <a:gd name="connsiteY90" fmla="*/ 105881 h 363821"/>
                  <a:gd name="connsiteX91" fmla="*/ 55471 w 363203"/>
                  <a:gd name="connsiteY91" fmla="*/ 108269 h 363821"/>
                  <a:gd name="connsiteX92" fmla="*/ 56143 w 363203"/>
                  <a:gd name="connsiteY92" fmla="*/ 109526 h 363821"/>
                  <a:gd name="connsiteX93" fmla="*/ 57399 w 363203"/>
                  <a:gd name="connsiteY93" fmla="*/ 112142 h 363821"/>
                  <a:gd name="connsiteX94" fmla="*/ 57945 w 363203"/>
                  <a:gd name="connsiteY94" fmla="*/ 113488 h 363821"/>
                  <a:gd name="connsiteX95" fmla="*/ 72735 w 363203"/>
                  <a:gd name="connsiteY95" fmla="*/ 111456 h 363821"/>
                  <a:gd name="connsiteX96" fmla="*/ 77313 w 363203"/>
                  <a:gd name="connsiteY96" fmla="*/ 108535 h 363821"/>
                  <a:gd name="connsiteX97" fmla="*/ 80497 w 363203"/>
                  <a:gd name="connsiteY97" fmla="*/ 113488 h 363821"/>
                  <a:gd name="connsiteX98" fmla="*/ 83199 w 363203"/>
                  <a:gd name="connsiteY98" fmla="*/ 105881 h 363821"/>
                  <a:gd name="connsiteX99" fmla="*/ 97037 w 363203"/>
                  <a:gd name="connsiteY99" fmla="*/ 108802 h 363821"/>
                  <a:gd name="connsiteX100" fmla="*/ 84277 w 363203"/>
                  <a:gd name="connsiteY100" fmla="*/ 77166 h 363821"/>
                  <a:gd name="connsiteX101" fmla="*/ 83339 w 363203"/>
                  <a:gd name="connsiteY101" fmla="*/ 62371 h 363821"/>
                  <a:gd name="connsiteX102" fmla="*/ 98610 w 363203"/>
                  <a:gd name="connsiteY102" fmla="*/ 68213 h 363821"/>
                  <a:gd name="connsiteX103" fmla="*/ 103646 w 363203"/>
                  <a:gd name="connsiteY103" fmla="*/ 78525 h 363821"/>
                  <a:gd name="connsiteX104" fmla="*/ 138122 w 363203"/>
                  <a:gd name="connsiteY104" fmla="*/ 71362 h 363821"/>
                  <a:gd name="connsiteX105" fmla="*/ 180322 w 363203"/>
                  <a:gd name="connsiteY105" fmla="*/ 11253 h 363821"/>
                  <a:gd name="connsiteX106" fmla="*/ 204853 w 363203"/>
                  <a:gd name="connsiteY106" fmla="*/ 1 h 363821"/>
                  <a:gd name="connsiteX107" fmla="*/ 207009 w 363203"/>
                  <a:gd name="connsiteY107" fmla="*/ 3684 h 363821"/>
                  <a:gd name="connsiteX108" fmla="*/ 208316 w 363203"/>
                  <a:gd name="connsiteY108" fmla="*/ 10568 h 363821"/>
                  <a:gd name="connsiteX109" fmla="*/ 214290 w 363203"/>
                  <a:gd name="connsiteY109" fmla="*/ 18315 h 363821"/>
                  <a:gd name="connsiteX110" fmla="*/ 220442 w 363203"/>
                  <a:gd name="connsiteY110" fmla="*/ 16549 h 363821"/>
                  <a:gd name="connsiteX111" fmla="*/ 226467 w 363203"/>
                  <a:gd name="connsiteY111" fmla="*/ 18264 h 363821"/>
                  <a:gd name="connsiteX112" fmla="*/ 228902 w 363203"/>
                  <a:gd name="connsiteY112" fmla="*/ 26773 h 363821"/>
                  <a:gd name="connsiteX113" fmla="*/ 235675 w 363203"/>
                  <a:gd name="connsiteY113" fmla="*/ 28348 h 363821"/>
                  <a:gd name="connsiteX114" fmla="*/ 239544 w 363203"/>
                  <a:gd name="connsiteY114" fmla="*/ 34418 h 363821"/>
                  <a:gd name="connsiteX115" fmla="*/ 246685 w 363203"/>
                  <a:gd name="connsiteY115" fmla="*/ 35409 h 363821"/>
                  <a:gd name="connsiteX116" fmla="*/ 252482 w 363203"/>
                  <a:gd name="connsiteY116" fmla="*/ 38292 h 363821"/>
                  <a:gd name="connsiteX117" fmla="*/ 252799 w 363203"/>
                  <a:gd name="connsiteY117" fmla="*/ 45404 h 363821"/>
                  <a:gd name="connsiteX118" fmla="*/ 255235 w 363203"/>
                  <a:gd name="connsiteY118" fmla="*/ 52249 h 363821"/>
                  <a:gd name="connsiteX119" fmla="*/ 265078 w 363203"/>
                  <a:gd name="connsiteY119" fmla="*/ 51931 h 363821"/>
                  <a:gd name="connsiteX120" fmla="*/ 271052 w 363203"/>
                  <a:gd name="connsiteY120" fmla="*/ 44769 h 363821"/>
                  <a:gd name="connsiteX121" fmla="*/ 273563 w 363203"/>
                  <a:gd name="connsiteY121" fmla="*/ 53735 h 363821"/>
                  <a:gd name="connsiteX122" fmla="*/ 279639 w 363203"/>
                  <a:gd name="connsiteY122" fmla="*/ 60707 h 363821"/>
                  <a:gd name="connsiteX123" fmla="*/ 286235 w 363203"/>
                  <a:gd name="connsiteY123" fmla="*/ 67324 h 363821"/>
                  <a:gd name="connsiteX124" fmla="*/ 292348 w 363203"/>
                  <a:gd name="connsiteY124" fmla="*/ 71007 h 363821"/>
                  <a:gd name="connsiteX125" fmla="*/ 298513 w 363203"/>
                  <a:gd name="connsiteY125" fmla="*/ 71769 h 363821"/>
                  <a:gd name="connsiteX126" fmla="*/ 299591 w 363203"/>
                  <a:gd name="connsiteY126" fmla="*/ 71985 h 363821"/>
                  <a:gd name="connsiteX127" fmla="*/ 307760 w 363203"/>
                  <a:gd name="connsiteY127" fmla="*/ 73737 h 363821"/>
                  <a:gd name="connsiteX128" fmla="*/ 313696 w 363203"/>
                  <a:gd name="connsiteY128" fmla="*/ 72442 h 363821"/>
                  <a:gd name="connsiteX129" fmla="*/ 314153 w 363203"/>
                  <a:gd name="connsiteY129" fmla="*/ 72658 h 363821"/>
                  <a:gd name="connsiteX130" fmla="*/ 319226 w 363203"/>
                  <a:gd name="connsiteY130" fmla="*/ 75185 h 363821"/>
                  <a:gd name="connsiteX131" fmla="*/ 326190 w 363203"/>
                  <a:gd name="connsiteY131" fmla="*/ 85713 h 363821"/>
                  <a:gd name="connsiteX132" fmla="*/ 334143 w 363203"/>
                  <a:gd name="connsiteY132" fmla="*/ 85713 h 363821"/>
                  <a:gd name="connsiteX133" fmla="*/ 340789 w 363203"/>
                  <a:gd name="connsiteY133" fmla="*/ 88812 h 363821"/>
                  <a:gd name="connsiteX134" fmla="*/ 347309 w 363203"/>
                  <a:gd name="connsiteY134" fmla="*/ 88101 h 363821"/>
                  <a:gd name="connsiteX135" fmla="*/ 354628 w 363203"/>
                  <a:gd name="connsiteY135" fmla="*/ 91378 h 363821"/>
                  <a:gd name="connsiteX136" fmla="*/ 362226 w 363203"/>
                  <a:gd name="connsiteY136" fmla="*/ 92508 h 363821"/>
                  <a:gd name="connsiteX137" fmla="*/ 362226 w 363203"/>
                  <a:gd name="connsiteY137" fmla="*/ 104382 h 3638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</a:cxnLst>
                <a:rect l="l" t="t" r="r" b="b"/>
                <a:pathLst>
                  <a:path w="363203" h="363821">
                    <a:moveTo>
                      <a:pt x="362226" y="104382"/>
                    </a:moveTo>
                    <a:cubicBezTo>
                      <a:pt x="360653" y="110593"/>
                      <a:pt x="356873" y="119140"/>
                      <a:pt x="354628" y="125261"/>
                    </a:cubicBezTo>
                    <a:cubicBezTo>
                      <a:pt x="352433" y="131332"/>
                      <a:pt x="347753" y="137187"/>
                      <a:pt x="348476" y="143219"/>
                    </a:cubicBezTo>
                    <a:cubicBezTo>
                      <a:pt x="349009" y="146991"/>
                      <a:pt x="349821" y="150725"/>
                      <a:pt x="350899" y="154370"/>
                    </a:cubicBezTo>
                    <a:cubicBezTo>
                      <a:pt x="347575" y="155944"/>
                      <a:pt x="345825" y="158688"/>
                      <a:pt x="342806" y="160085"/>
                    </a:cubicBezTo>
                    <a:cubicBezTo>
                      <a:pt x="338316" y="162117"/>
                      <a:pt x="340650" y="157075"/>
                      <a:pt x="336299" y="155944"/>
                    </a:cubicBezTo>
                    <a:cubicBezTo>
                      <a:pt x="331936" y="154827"/>
                      <a:pt x="334320" y="157291"/>
                      <a:pt x="330997" y="159234"/>
                    </a:cubicBezTo>
                    <a:cubicBezTo>
                      <a:pt x="327661" y="161215"/>
                      <a:pt x="332431" y="166155"/>
                      <a:pt x="330769" y="168771"/>
                    </a:cubicBezTo>
                    <a:cubicBezTo>
                      <a:pt x="329107" y="171426"/>
                      <a:pt x="322321" y="179477"/>
                      <a:pt x="319226" y="183173"/>
                    </a:cubicBezTo>
                    <a:cubicBezTo>
                      <a:pt x="316131" y="186856"/>
                      <a:pt x="309523" y="197880"/>
                      <a:pt x="305971" y="202109"/>
                    </a:cubicBezTo>
                    <a:cubicBezTo>
                      <a:pt x="303105" y="204458"/>
                      <a:pt x="302229" y="208459"/>
                      <a:pt x="303853" y="211786"/>
                    </a:cubicBezTo>
                    <a:cubicBezTo>
                      <a:pt x="304931" y="216066"/>
                      <a:pt x="306466" y="213221"/>
                      <a:pt x="310106" y="211469"/>
                    </a:cubicBezTo>
                    <a:cubicBezTo>
                      <a:pt x="313747" y="209716"/>
                      <a:pt x="312846" y="208599"/>
                      <a:pt x="310284" y="205843"/>
                    </a:cubicBezTo>
                    <a:cubicBezTo>
                      <a:pt x="307722" y="203100"/>
                      <a:pt x="313556" y="203823"/>
                      <a:pt x="316398" y="201029"/>
                    </a:cubicBezTo>
                    <a:cubicBezTo>
                      <a:pt x="319226" y="198248"/>
                      <a:pt x="323133" y="200585"/>
                      <a:pt x="327090" y="201398"/>
                    </a:cubicBezTo>
                    <a:cubicBezTo>
                      <a:pt x="331048" y="202211"/>
                      <a:pt x="328308" y="206440"/>
                      <a:pt x="329107" y="211786"/>
                    </a:cubicBezTo>
                    <a:cubicBezTo>
                      <a:pt x="329868" y="217146"/>
                      <a:pt x="328930" y="214796"/>
                      <a:pt x="331720" y="218454"/>
                    </a:cubicBezTo>
                    <a:cubicBezTo>
                      <a:pt x="332722" y="219737"/>
                      <a:pt x="333610" y="221134"/>
                      <a:pt x="334371" y="222581"/>
                    </a:cubicBezTo>
                    <a:cubicBezTo>
                      <a:pt x="331492" y="222950"/>
                      <a:pt x="332532" y="223483"/>
                      <a:pt x="330642" y="224385"/>
                    </a:cubicBezTo>
                    <a:cubicBezTo>
                      <a:pt x="328169" y="225553"/>
                      <a:pt x="330997" y="231446"/>
                      <a:pt x="332431" y="237656"/>
                    </a:cubicBezTo>
                    <a:cubicBezTo>
                      <a:pt x="333838" y="243917"/>
                      <a:pt x="335982" y="247880"/>
                      <a:pt x="334955" y="249175"/>
                    </a:cubicBezTo>
                    <a:cubicBezTo>
                      <a:pt x="332545" y="251220"/>
                      <a:pt x="329906" y="252947"/>
                      <a:pt x="327090" y="254357"/>
                    </a:cubicBezTo>
                    <a:cubicBezTo>
                      <a:pt x="322816" y="256871"/>
                      <a:pt x="326012" y="256833"/>
                      <a:pt x="328169" y="261329"/>
                    </a:cubicBezTo>
                    <a:cubicBezTo>
                      <a:pt x="330325" y="265787"/>
                      <a:pt x="333154" y="267222"/>
                      <a:pt x="334549" y="271718"/>
                    </a:cubicBezTo>
                    <a:cubicBezTo>
                      <a:pt x="335982" y="276226"/>
                      <a:pt x="331365" y="274689"/>
                      <a:pt x="329830" y="276760"/>
                    </a:cubicBezTo>
                    <a:cubicBezTo>
                      <a:pt x="328257" y="278830"/>
                      <a:pt x="334599" y="289358"/>
                      <a:pt x="336972" y="291161"/>
                    </a:cubicBezTo>
                    <a:cubicBezTo>
                      <a:pt x="339572" y="293181"/>
                      <a:pt x="342806" y="294209"/>
                      <a:pt x="346104" y="294044"/>
                    </a:cubicBezTo>
                    <a:cubicBezTo>
                      <a:pt x="350505" y="294044"/>
                      <a:pt x="347804" y="290082"/>
                      <a:pt x="352078" y="293282"/>
                    </a:cubicBezTo>
                    <a:cubicBezTo>
                      <a:pt x="356340" y="296470"/>
                      <a:pt x="350277" y="299404"/>
                      <a:pt x="349288" y="302858"/>
                    </a:cubicBezTo>
                    <a:cubicBezTo>
                      <a:pt x="348755" y="304700"/>
                      <a:pt x="348590" y="306630"/>
                      <a:pt x="348793" y="308535"/>
                    </a:cubicBezTo>
                    <a:cubicBezTo>
                      <a:pt x="337060" y="312040"/>
                      <a:pt x="331758" y="320498"/>
                      <a:pt x="322588" y="327293"/>
                    </a:cubicBezTo>
                    <a:cubicBezTo>
                      <a:pt x="328968" y="328957"/>
                      <a:pt x="320393" y="332690"/>
                      <a:pt x="314901" y="334265"/>
                    </a:cubicBezTo>
                    <a:cubicBezTo>
                      <a:pt x="309104" y="331255"/>
                      <a:pt x="311628" y="338405"/>
                      <a:pt x="308166" y="336970"/>
                    </a:cubicBezTo>
                    <a:cubicBezTo>
                      <a:pt x="309739" y="332970"/>
                      <a:pt x="301608" y="333554"/>
                      <a:pt x="301608" y="336526"/>
                    </a:cubicBezTo>
                    <a:cubicBezTo>
                      <a:pt x="301202" y="336069"/>
                      <a:pt x="300796" y="335662"/>
                      <a:pt x="300390" y="335256"/>
                    </a:cubicBezTo>
                    <a:cubicBezTo>
                      <a:pt x="298703" y="333630"/>
                      <a:pt x="296775" y="332258"/>
                      <a:pt x="294682" y="331204"/>
                    </a:cubicBezTo>
                    <a:cubicBezTo>
                      <a:pt x="288810" y="328957"/>
                      <a:pt x="283064" y="326366"/>
                      <a:pt x="277470" y="323470"/>
                    </a:cubicBezTo>
                    <a:cubicBezTo>
                      <a:pt x="291765" y="319825"/>
                      <a:pt x="273474" y="314517"/>
                      <a:pt x="278726" y="319787"/>
                    </a:cubicBezTo>
                    <a:cubicBezTo>
                      <a:pt x="275808" y="329998"/>
                      <a:pt x="262642" y="308903"/>
                      <a:pt x="272307" y="324067"/>
                    </a:cubicBezTo>
                    <a:cubicBezTo>
                      <a:pt x="251226" y="310199"/>
                      <a:pt x="208087" y="331535"/>
                      <a:pt x="226010" y="359602"/>
                    </a:cubicBezTo>
                    <a:cubicBezTo>
                      <a:pt x="224640" y="359513"/>
                      <a:pt x="223283" y="359348"/>
                      <a:pt x="221926" y="359106"/>
                    </a:cubicBezTo>
                    <a:cubicBezTo>
                      <a:pt x="213161" y="357455"/>
                      <a:pt x="216763" y="363475"/>
                      <a:pt x="206058" y="363793"/>
                    </a:cubicBezTo>
                    <a:cubicBezTo>
                      <a:pt x="195315" y="364110"/>
                      <a:pt x="206058" y="361862"/>
                      <a:pt x="196088" y="361049"/>
                    </a:cubicBezTo>
                    <a:cubicBezTo>
                      <a:pt x="188757" y="360465"/>
                      <a:pt x="188630" y="358522"/>
                      <a:pt x="186917" y="356503"/>
                    </a:cubicBezTo>
                    <a:cubicBezTo>
                      <a:pt x="186131" y="355601"/>
                      <a:pt x="185167" y="354864"/>
                      <a:pt x="184089" y="354344"/>
                    </a:cubicBezTo>
                    <a:cubicBezTo>
                      <a:pt x="181819" y="353252"/>
                      <a:pt x="179637" y="351994"/>
                      <a:pt x="177569" y="350559"/>
                    </a:cubicBezTo>
                    <a:cubicBezTo>
                      <a:pt x="176757" y="350115"/>
                      <a:pt x="176136" y="349759"/>
                      <a:pt x="175641" y="349480"/>
                    </a:cubicBezTo>
                    <a:cubicBezTo>
                      <a:pt x="171950" y="347498"/>
                      <a:pt x="174779" y="349848"/>
                      <a:pt x="169439" y="348362"/>
                    </a:cubicBezTo>
                    <a:cubicBezTo>
                      <a:pt x="165215" y="347257"/>
                      <a:pt x="161194" y="345479"/>
                      <a:pt x="157528" y="343092"/>
                    </a:cubicBezTo>
                    <a:cubicBezTo>
                      <a:pt x="150248" y="339320"/>
                      <a:pt x="154611" y="346330"/>
                      <a:pt x="149207" y="349530"/>
                    </a:cubicBezTo>
                    <a:cubicBezTo>
                      <a:pt x="143817" y="352731"/>
                      <a:pt x="147635" y="348984"/>
                      <a:pt x="138603" y="349353"/>
                    </a:cubicBezTo>
                    <a:cubicBezTo>
                      <a:pt x="129572" y="349708"/>
                      <a:pt x="134786" y="347905"/>
                      <a:pt x="128050" y="345708"/>
                    </a:cubicBezTo>
                    <a:cubicBezTo>
                      <a:pt x="121302" y="343549"/>
                      <a:pt x="124626" y="345251"/>
                      <a:pt x="114110" y="342507"/>
                    </a:cubicBezTo>
                    <a:cubicBezTo>
                      <a:pt x="103646" y="339815"/>
                      <a:pt x="109075" y="338824"/>
                      <a:pt x="103963" y="337199"/>
                    </a:cubicBezTo>
                    <a:cubicBezTo>
                      <a:pt x="98838" y="335535"/>
                      <a:pt x="101046" y="336119"/>
                      <a:pt x="94970" y="332563"/>
                    </a:cubicBezTo>
                    <a:cubicBezTo>
                      <a:pt x="88945" y="328969"/>
                      <a:pt x="95148" y="327521"/>
                      <a:pt x="88767" y="326493"/>
                    </a:cubicBezTo>
                    <a:cubicBezTo>
                      <a:pt x="86585" y="326226"/>
                      <a:pt x="84607" y="325108"/>
                      <a:pt x="83237" y="323381"/>
                    </a:cubicBezTo>
                    <a:cubicBezTo>
                      <a:pt x="84949" y="323254"/>
                      <a:pt x="86662" y="323026"/>
                      <a:pt x="88412" y="322797"/>
                    </a:cubicBezTo>
                    <a:cubicBezTo>
                      <a:pt x="112360" y="288024"/>
                      <a:pt x="90835" y="194425"/>
                      <a:pt x="119691" y="262332"/>
                    </a:cubicBezTo>
                    <a:cubicBezTo>
                      <a:pt x="117256" y="255449"/>
                      <a:pt x="115467" y="235421"/>
                      <a:pt x="100640" y="231230"/>
                    </a:cubicBezTo>
                    <a:cubicBezTo>
                      <a:pt x="99777" y="225655"/>
                      <a:pt x="102656" y="227547"/>
                      <a:pt x="105751" y="229617"/>
                    </a:cubicBezTo>
                    <a:cubicBezTo>
                      <a:pt x="99828" y="224715"/>
                      <a:pt x="109848" y="217285"/>
                      <a:pt x="101439" y="212739"/>
                    </a:cubicBezTo>
                    <a:cubicBezTo>
                      <a:pt x="100323" y="209996"/>
                      <a:pt x="106031" y="209094"/>
                      <a:pt x="103379" y="205995"/>
                    </a:cubicBezTo>
                    <a:cubicBezTo>
                      <a:pt x="82209" y="211164"/>
                      <a:pt x="61408" y="154738"/>
                      <a:pt x="84772" y="168733"/>
                    </a:cubicBezTo>
                    <a:cubicBezTo>
                      <a:pt x="78163" y="160008"/>
                      <a:pt x="69944" y="170715"/>
                      <a:pt x="63424" y="165635"/>
                    </a:cubicBezTo>
                    <a:cubicBezTo>
                      <a:pt x="71555" y="166892"/>
                      <a:pt x="58211" y="161088"/>
                      <a:pt x="66342" y="161037"/>
                    </a:cubicBezTo>
                    <a:cubicBezTo>
                      <a:pt x="68181" y="161710"/>
                      <a:pt x="65669" y="159691"/>
                      <a:pt x="65124" y="158167"/>
                    </a:cubicBezTo>
                    <a:cubicBezTo>
                      <a:pt x="75741" y="154154"/>
                      <a:pt x="41620" y="158561"/>
                      <a:pt x="58338" y="154700"/>
                    </a:cubicBezTo>
                    <a:cubicBezTo>
                      <a:pt x="62435" y="147727"/>
                      <a:pt x="52630" y="156541"/>
                      <a:pt x="51336" y="150382"/>
                    </a:cubicBezTo>
                    <a:cubicBezTo>
                      <a:pt x="51692" y="155106"/>
                      <a:pt x="52326" y="154471"/>
                      <a:pt x="47239" y="153125"/>
                    </a:cubicBezTo>
                    <a:cubicBezTo>
                      <a:pt x="48140" y="164377"/>
                      <a:pt x="43789" y="150509"/>
                      <a:pt x="47062" y="147499"/>
                    </a:cubicBezTo>
                    <a:cubicBezTo>
                      <a:pt x="45629" y="147727"/>
                      <a:pt x="46973" y="146419"/>
                      <a:pt x="44956" y="146915"/>
                    </a:cubicBezTo>
                    <a:cubicBezTo>
                      <a:pt x="48508" y="155284"/>
                      <a:pt x="29672" y="142101"/>
                      <a:pt x="19385" y="141466"/>
                    </a:cubicBezTo>
                    <a:cubicBezTo>
                      <a:pt x="16417" y="138088"/>
                      <a:pt x="20019" y="146686"/>
                      <a:pt x="11520" y="144349"/>
                    </a:cubicBezTo>
                    <a:cubicBezTo>
                      <a:pt x="16467" y="136247"/>
                      <a:pt x="1221" y="136298"/>
                      <a:pt x="2172" y="133059"/>
                    </a:cubicBezTo>
                    <a:cubicBezTo>
                      <a:pt x="30750" y="129135"/>
                      <a:pt x="-3904" y="127649"/>
                      <a:pt x="7018" y="121718"/>
                    </a:cubicBezTo>
                    <a:cubicBezTo>
                      <a:pt x="4823" y="125541"/>
                      <a:pt x="15516" y="122797"/>
                      <a:pt x="13804" y="123737"/>
                    </a:cubicBezTo>
                    <a:cubicBezTo>
                      <a:pt x="20907" y="123610"/>
                      <a:pt x="10163" y="123559"/>
                      <a:pt x="14438" y="120816"/>
                    </a:cubicBezTo>
                    <a:cubicBezTo>
                      <a:pt x="9314" y="122759"/>
                      <a:pt x="8641" y="121223"/>
                      <a:pt x="13855" y="117895"/>
                    </a:cubicBezTo>
                    <a:cubicBezTo>
                      <a:pt x="-12161" y="130176"/>
                      <a:pt x="4100" y="104001"/>
                      <a:pt x="16556" y="108535"/>
                    </a:cubicBezTo>
                    <a:cubicBezTo>
                      <a:pt x="18751" y="103811"/>
                      <a:pt x="22619" y="106110"/>
                      <a:pt x="26488" y="109119"/>
                    </a:cubicBezTo>
                    <a:cubicBezTo>
                      <a:pt x="23698" y="102008"/>
                      <a:pt x="34124" y="109755"/>
                      <a:pt x="33946" y="104992"/>
                    </a:cubicBezTo>
                    <a:cubicBezTo>
                      <a:pt x="35468" y="98058"/>
                      <a:pt x="35963" y="102820"/>
                      <a:pt x="43066" y="100026"/>
                    </a:cubicBezTo>
                    <a:cubicBezTo>
                      <a:pt x="43700" y="99264"/>
                      <a:pt x="44106" y="99087"/>
                      <a:pt x="44322" y="99226"/>
                    </a:cubicBezTo>
                    <a:lnTo>
                      <a:pt x="44461" y="99353"/>
                    </a:lnTo>
                    <a:cubicBezTo>
                      <a:pt x="44601" y="100014"/>
                      <a:pt x="44499" y="100699"/>
                      <a:pt x="44195" y="101296"/>
                    </a:cubicBezTo>
                    <a:cubicBezTo>
                      <a:pt x="44436" y="100852"/>
                      <a:pt x="44753" y="100445"/>
                      <a:pt x="45134" y="100128"/>
                    </a:cubicBezTo>
                    <a:cubicBezTo>
                      <a:pt x="45349" y="99950"/>
                      <a:pt x="45590" y="99810"/>
                      <a:pt x="45857" y="99722"/>
                    </a:cubicBezTo>
                    <a:cubicBezTo>
                      <a:pt x="46072" y="99633"/>
                      <a:pt x="46301" y="99582"/>
                      <a:pt x="46529" y="99582"/>
                    </a:cubicBezTo>
                    <a:cubicBezTo>
                      <a:pt x="48647" y="99937"/>
                      <a:pt x="50524" y="101144"/>
                      <a:pt x="51742" y="102909"/>
                    </a:cubicBezTo>
                    <a:cubicBezTo>
                      <a:pt x="52592" y="103836"/>
                      <a:pt x="53353" y="104827"/>
                      <a:pt x="54038" y="105881"/>
                    </a:cubicBezTo>
                    <a:cubicBezTo>
                      <a:pt x="54533" y="106643"/>
                      <a:pt x="55028" y="107456"/>
                      <a:pt x="55471" y="108269"/>
                    </a:cubicBezTo>
                    <a:cubicBezTo>
                      <a:pt x="55699" y="108675"/>
                      <a:pt x="55928" y="109081"/>
                      <a:pt x="56143" y="109526"/>
                    </a:cubicBezTo>
                    <a:cubicBezTo>
                      <a:pt x="56600" y="110377"/>
                      <a:pt x="56994" y="111240"/>
                      <a:pt x="57399" y="112142"/>
                    </a:cubicBezTo>
                    <a:lnTo>
                      <a:pt x="57945" y="113488"/>
                    </a:lnTo>
                    <a:cubicBezTo>
                      <a:pt x="64185" y="113082"/>
                      <a:pt x="70033" y="102198"/>
                      <a:pt x="72735" y="111456"/>
                    </a:cubicBezTo>
                    <a:cubicBezTo>
                      <a:pt x="75652" y="111101"/>
                      <a:pt x="72684" y="108942"/>
                      <a:pt x="77313" y="108535"/>
                    </a:cubicBezTo>
                    <a:cubicBezTo>
                      <a:pt x="78442" y="110059"/>
                      <a:pt x="78975" y="115330"/>
                      <a:pt x="80497" y="113488"/>
                    </a:cubicBezTo>
                    <a:cubicBezTo>
                      <a:pt x="77986" y="111012"/>
                      <a:pt x="76946" y="106199"/>
                      <a:pt x="83199" y="105881"/>
                    </a:cubicBezTo>
                    <a:cubicBezTo>
                      <a:pt x="80903" y="114301"/>
                      <a:pt x="92725" y="107138"/>
                      <a:pt x="97037" y="108802"/>
                    </a:cubicBezTo>
                    <a:cubicBezTo>
                      <a:pt x="82476" y="98858"/>
                      <a:pt x="98166" y="84139"/>
                      <a:pt x="84277" y="77166"/>
                    </a:cubicBezTo>
                    <a:cubicBezTo>
                      <a:pt x="84772" y="71820"/>
                      <a:pt x="78163" y="60885"/>
                      <a:pt x="83339" y="62371"/>
                    </a:cubicBezTo>
                    <a:cubicBezTo>
                      <a:pt x="85989" y="67895"/>
                      <a:pt x="106386" y="57685"/>
                      <a:pt x="98610" y="68213"/>
                    </a:cubicBezTo>
                    <a:cubicBezTo>
                      <a:pt x="99562" y="71959"/>
                      <a:pt x="101274" y="75477"/>
                      <a:pt x="103646" y="78525"/>
                    </a:cubicBezTo>
                    <a:cubicBezTo>
                      <a:pt x="108009" y="76366"/>
                      <a:pt x="165037" y="80595"/>
                      <a:pt x="138122" y="71362"/>
                    </a:cubicBezTo>
                    <a:cubicBezTo>
                      <a:pt x="154788" y="43245"/>
                      <a:pt x="192942" y="54586"/>
                      <a:pt x="180322" y="11253"/>
                    </a:cubicBezTo>
                    <a:cubicBezTo>
                      <a:pt x="188135" y="8142"/>
                      <a:pt x="196443" y="3963"/>
                      <a:pt x="204853" y="1"/>
                    </a:cubicBezTo>
                    <a:cubicBezTo>
                      <a:pt x="205677" y="1169"/>
                      <a:pt x="206400" y="2401"/>
                      <a:pt x="207009" y="3684"/>
                    </a:cubicBezTo>
                    <a:cubicBezTo>
                      <a:pt x="209571" y="9044"/>
                      <a:pt x="204904" y="6338"/>
                      <a:pt x="208316" y="10568"/>
                    </a:cubicBezTo>
                    <a:cubicBezTo>
                      <a:pt x="211728" y="14759"/>
                      <a:pt x="211144" y="16867"/>
                      <a:pt x="214290" y="18315"/>
                    </a:cubicBezTo>
                    <a:cubicBezTo>
                      <a:pt x="217436" y="19750"/>
                      <a:pt x="217753" y="16549"/>
                      <a:pt x="220442" y="16549"/>
                    </a:cubicBezTo>
                    <a:cubicBezTo>
                      <a:pt x="223144" y="16549"/>
                      <a:pt x="224805" y="13946"/>
                      <a:pt x="226467" y="18264"/>
                    </a:cubicBezTo>
                    <a:cubicBezTo>
                      <a:pt x="228129" y="22633"/>
                      <a:pt x="224310" y="25554"/>
                      <a:pt x="228902" y="26773"/>
                    </a:cubicBezTo>
                    <a:cubicBezTo>
                      <a:pt x="233519" y="27992"/>
                      <a:pt x="233164" y="25515"/>
                      <a:pt x="235675" y="28348"/>
                    </a:cubicBezTo>
                    <a:cubicBezTo>
                      <a:pt x="238149" y="31180"/>
                      <a:pt x="236310" y="32310"/>
                      <a:pt x="239544" y="34418"/>
                    </a:cubicBezTo>
                    <a:cubicBezTo>
                      <a:pt x="242779" y="36577"/>
                      <a:pt x="243096" y="34647"/>
                      <a:pt x="246685" y="35409"/>
                    </a:cubicBezTo>
                    <a:cubicBezTo>
                      <a:pt x="250288" y="36222"/>
                      <a:pt x="252178" y="35015"/>
                      <a:pt x="252482" y="38292"/>
                    </a:cubicBezTo>
                    <a:cubicBezTo>
                      <a:pt x="252419" y="40666"/>
                      <a:pt x="252520" y="43041"/>
                      <a:pt x="252799" y="45404"/>
                    </a:cubicBezTo>
                    <a:cubicBezTo>
                      <a:pt x="253522" y="50179"/>
                      <a:pt x="251226" y="51843"/>
                      <a:pt x="255235" y="52249"/>
                    </a:cubicBezTo>
                    <a:cubicBezTo>
                      <a:pt x="259230" y="52655"/>
                      <a:pt x="261247" y="54814"/>
                      <a:pt x="265078" y="51931"/>
                    </a:cubicBezTo>
                    <a:cubicBezTo>
                      <a:pt x="268845" y="49099"/>
                      <a:pt x="268578" y="42622"/>
                      <a:pt x="271052" y="44769"/>
                    </a:cubicBezTo>
                    <a:cubicBezTo>
                      <a:pt x="273525" y="46928"/>
                      <a:pt x="272168" y="48693"/>
                      <a:pt x="273563" y="53735"/>
                    </a:cubicBezTo>
                    <a:cubicBezTo>
                      <a:pt x="274908" y="58726"/>
                      <a:pt x="274324" y="56567"/>
                      <a:pt x="279639" y="60707"/>
                    </a:cubicBezTo>
                    <a:cubicBezTo>
                      <a:pt x="284941" y="64797"/>
                      <a:pt x="281478" y="64479"/>
                      <a:pt x="286235" y="67324"/>
                    </a:cubicBezTo>
                    <a:cubicBezTo>
                      <a:pt x="291004" y="70194"/>
                      <a:pt x="286920" y="70740"/>
                      <a:pt x="292348" y="71007"/>
                    </a:cubicBezTo>
                    <a:cubicBezTo>
                      <a:pt x="294429" y="70956"/>
                      <a:pt x="296509" y="71210"/>
                      <a:pt x="298513" y="71769"/>
                    </a:cubicBezTo>
                    <a:cubicBezTo>
                      <a:pt x="298868" y="71858"/>
                      <a:pt x="299223" y="71934"/>
                      <a:pt x="299591" y="71985"/>
                    </a:cubicBezTo>
                    <a:cubicBezTo>
                      <a:pt x="303143" y="72658"/>
                      <a:pt x="303447" y="75185"/>
                      <a:pt x="307760" y="73737"/>
                    </a:cubicBezTo>
                    <a:cubicBezTo>
                      <a:pt x="311945" y="72353"/>
                      <a:pt x="309282" y="70321"/>
                      <a:pt x="313696" y="72442"/>
                    </a:cubicBezTo>
                    <a:cubicBezTo>
                      <a:pt x="313836" y="72531"/>
                      <a:pt x="314013" y="72569"/>
                      <a:pt x="314153" y="72658"/>
                    </a:cubicBezTo>
                    <a:cubicBezTo>
                      <a:pt x="319226" y="75185"/>
                      <a:pt x="314241" y="69826"/>
                      <a:pt x="319226" y="75185"/>
                    </a:cubicBezTo>
                    <a:cubicBezTo>
                      <a:pt x="324198" y="80544"/>
                      <a:pt x="320292" y="85129"/>
                      <a:pt x="326190" y="85713"/>
                    </a:cubicBezTo>
                    <a:cubicBezTo>
                      <a:pt x="332075" y="86247"/>
                      <a:pt x="328752" y="83326"/>
                      <a:pt x="334143" y="85713"/>
                    </a:cubicBezTo>
                    <a:cubicBezTo>
                      <a:pt x="339572" y="88050"/>
                      <a:pt x="335931" y="90298"/>
                      <a:pt x="340789" y="88812"/>
                    </a:cubicBezTo>
                    <a:cubicBezTo>
                      <a:pt x="345647" y="87326"/>
                      <a:pt x="342502" y="85218"/>
                      <a:pt x="347309" y="88101"/>
                    </a:cubicBezTo>
                    <a:cubicBezTo>
                      <a:pt x="352066" y="90933"/>
                      <a:pt x="349732" y="92241"/>
                      <a:pt x="354628" y="91378"/>
                    </a:cubicBezTo>
                    <a:cubicBezTo>
                      <a:pt x="359575" y="90577"/>
                      <a:pt x="361325" y="87695"/>
                      <a:pt x="362226" y="92508"/>
                    </a:cubicBezTo>
                    <a:cubicBezTo>
                      <a:pt x="363494" y="96369"/>
                      <a:pt x="363494" y="100522"/>
                      <a:pt x="362226" y="104382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324" name="Graphic 5">
              <a:extLst>
                <a:ext uri="{FF2B5EF4-FFF2-40B4-BE49-F238E27FC236}">
                  <a16:creationId xmlns:a16="http://schemas.microsoft.com/office/drawing/2014/main" id="{D6E41491-F549-A14C-8E23-8DFB5B7A524B}"/>
                </a:ext>
              </a:extLst>
            </p:cNvPr>
            <p:cNvGrpSpPr/>
            <p:nvPr/>
          </p:nvGrpSpPr>
          <p:grpSpPr>
            <a:xfrm>
              <a:off x="5227787" y="3017531"/>
              <a:ext cx="359618" cy="284507"/>
              <a:chOff x="5227787" y="3017531"/>
              <a:chExt cx="359618" cy="284507"/>
            </a:xfrm>
            <a:solidFill>
              <a:schemeClr val="bg2"/>
            </a:solidFill>
          </p:grpSpPr>
          <p:sp>
            <p:nvSpPr>
              <p:cNvPr id="545" name="Vrije vorm 544">
                <a:extLst>
                  <a:ext uri="{FF2B5EF4-FFF2-40B4-BE49-F238E27FC236}">
                    <a16:creationId xmlns:a16="http://schemas.microsoft.com/office/drawing/2014/main" id="{EB7AD7BE-BC91-B341-BDC8-88CC2AA0FFDA}"/>
                  </a:ext>
                </a:extLst>
              </p:cNvPr>
              <p:cNvSpPr/>
              <p:nvPr/>
            </p:nvSpPr>
            <p:spPr>
              <a:xfrm>
                <a:off x="5558121" y="3163454"/>
                <a:ext cx="29283" cy="21151"/>
              </a:xfrm>
              <a:custGeom>
                <a:avLst/>
                <a:gdLst>
                  <a:gd name="connsiteX0" fmla="*/ -26 w 29283"/>
                  <a:gd name="connsiteY0" fmla="*/ 14987 h 21151"/>
                  <a:gd name="connsiteX1" fmla="*/ 23795 w 29283"/>
                  <a:gd name="connsiteY1" fmla="*/ 1 h 21151"/>
                  <a:gd name="connsiteX2" fmla="*/ 27791 w 29283"/>
                  <a:gd name="connsiteY2" fmla="*/ 6250 h 21151"/>
                  <a:gd name="connsiteX3" fmla="*/ -26 w 29283"/>
                  <a:gd name="connsiteY3" fmla="*/ 14987 h 21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9283" h="21151">
                    <a:moveTo>
                      <a:pt x="-26" y="14987"/>
                    </a:moveTo>
                    <a:cubicBezTo>
                      <a:pt x="1103" y="8142"/>
                      <a:pt x="16514" y="90"/>
                      <a:pt x="23795" y="1"/>
                    </a:cubicBezTo>
                    <a:cubicBezTo>
                      <a:pt x="19660" y="712"/>
                      <a:pt x="21004" y="10707"/>
                      <a:pt x="27791" y="6250"/>
                    </a:cubicBezTo>
                    <a:cubicBezTo>
                      <a:pt x="35705" y="29605"/>
                      <a:pt x="9462" y="19712"/>
                      <a:pt x="-26" y="14987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46" name="Vrije vorm 545">
                <a:extLst>
                  <a:ext uri="{FF2B5EF4-FFF2-40B4-BE49-F238E27FC236}">
                    <a16:creationId xmlns:a16="http://schemas.microsoft.com/office/drawing/2014/main" id="{6FF16DA3-71C7-764D-9211-290B483A5FAC}"/>
                  </a:ext>
                </a:extLst>
              </p:cNvPr>
              <p:cNvSpPr/>
              <p:nvPr/>
            </p:nvSpPr>
            <p:spPr>
              <a:xfrm>
                <a:off x="5227787" y="3017531"/>
                <a:ext cx="357338" cy="284507"/>
              </a:xfrm>
              <a:custGeom>
                <a:avLst/>
                <a:gdLst>
                  <a:gd name="connsiteX0" fmla="*/ 286852 w 357338"/>
                  <a:gd name="connsiteY0" fmla="*/ 117083 h 284507"/>
                  <a:gd name="connsiteX1" fmla="*/ 265276 w 357338"/>
                  <a:gd name="connsiteY1" fmla="*/ 194299 h 284507"/>
                  <a:gd name="connsiteX2" fmla="*/ 241595 w 357338"/>
                  <a:gd name="connsiteY2" fmla="*/ 231192 h 284507"/>
                  <a:gd name="connsiteX3" fmla="*/ 164348 w 357338"/>
                  <a:gd name="connsiteY3" fmla="*/ 263412 h 284507"/>
                  <a:gd name="connsiteX4" fmla="*/ 84755 w 357338"/>
                  <a:gd name="connsiteY4" fmla="*/ 255309 h 284507"/>
                  <a:gd name="connsiteX5" fmla="*/ 66109 w 357338"/>
                  <a:gd name="connsiteY5" fmla="*/ 246623 h 284507"/>
                  <a:gd name="connsiteX6" fmla="*/ 51954 w 357338"/>
                  <a:gd name="connsiteY6" fmla="*/ 247118 h 284507"/>
                  <a:gd name="connsiteX7" fmla="*/ 50114 w 357338"/>
                  <a:gd name="connsiteY7" fmla="*/ 232945 h 284507"/>
                  <a:gd name="connsiteX8" fmla="*/ 55467 w 357338"/>
                  <a:gd name="connsiteY8" fmla="*/ 221654 h 284507"/>
                  <a:gd name="connsiteX9" fmla="*/ 64676 w 357338"/>
                  <a:gd name="connsiteY9" fmla="*/ 212967 h 284507"/>
                  <a:gd name="connsiteX10" fmla="*/ 57307 w 357338"/>
                  <a:gd name="connsiteY10" fmla="*/ 204687 h 284507"/>
                  <a:gd name="connsiteX11" fmla="*/ 57307 w 357338"/>
                  <a:gd name="connsiteY11" fmla="*/ 190514 h 284507"/>
                  <a:gd name="connsiteX12" fmla="*/ 64727 w 357338"/>
                  <a:gd name="connsiteY12" fmla="*/ 178766 h 284507"/>
                  <a:gd name="connsiteX13" fmla="*/ 58118 w 357338"/>
                  <a:gd name="connsiteY13" fmla="*/ 176696 h 284507"/>
                  <a:gd name="connsiteX14" fmla="*/ 49493 w 357338"/>
                  <a:gd name="connsiteY14" fmla="*/ 157265 h 284507"/>
                  <a:gd name="connsiteX15" fmla="*/ 60325 w 357338"/>
                  <a:gd name="connsiteY15" fmla="*/ 155779 h 284507"/>
                  <a:gd name="connsiteX16" fmla="*/ 65221 w 357338"/>
                  <a:gd name="connsiteY16" fmla="*/ 141606 h 284507"/>
                  <a:gd name="connsiteX17" fmla="*/ 68139 w 357338"/>
                  <a:gd name="connsiteY17" fmla="*/ 133097 h 284507"/>
                  <a:gd name="connsiteX18" fmla="*/ 67961 w 357338"/>
                  <a:gd name="connsiteY18" fmla="*/ 111456 h 284507"/>
                  <a:gd name="connsiteX19" fmla="*/ 70790 w 357338"/>
                  <a:gd name="connsiteY19" fmla="*/ 102185 h 284507"/>
                  <a:gd name="connsiteX20" fmla="*/ 85174 w 357338"/>
                  <a:gd name="connsiteY20" fmla="*/ 88774 h 284507"/>
                  <a:gd name="connsiteX21" fmla="*/ 79009 w 357338"/>
                  <a:gd name="connsiteY21" fmla="*/ 82513 h 284507"/>
                  <a:gd name="connsiteX22" fmla="*/ 73847 w 357338"/>
                  <a:gd name="connsiteY22" fmla="*/ 71896 h 284507"/>
                  <a:gd name="connsiteX23" fmla="*/ 61670 w 357338"/>
                  <a:gd name="connsiteY23" fmla="*/ 71083 h 284507"/>
                  <a:gd name="connsiteX24" fmla="*/ 53755 w 357338"/>
                  <a:gd name="connsiteY24" fmla="*/ 76620 h 284507"/>
                  <a:gd name="connsiteX25" fmla="*/ 41629 w 357338"/>
                  <a:gd name="connsiteY25" fmla="*/ 73877 h 284507"/>
                  <a:gd name="connsiteX26" fmla="*/ 31418 w 357338"/>
                  <a:gd name="connsiteY26" fmla="*/ 75452 h 284507"/>
                  <a:gd name="connsiteX27" fmla="*/ 30657 w 357338"/>
                  <a:gd name="connsiteY27" fmla="*/ 69381 h 284507"/>
                  <a:gd name="connsiteX28" fmla="*/ 30353 w 357338"/>
                  <a:gd name="connsiteY28" fmla="*/ 65736 h 284507"/>
                  <a:gd name="connsiteX29" fmla="*/ 25850 w 357338"/>
                  <a:gd name="connsiteY29" fmla="*/ 65152 h 284507"/>
                  <a:gd name="connsiteX30" fmla="*/ 10172 w 357338"/>
                  <a:gd name="connsiteY30" fmla="*/ 72302 h 284507"/>
                  <a:gd name="connsiteX31" fmla="*/ 11022 w 357338"/>
                  <a:gd name="connsiteY31" fmla="*/ 64479 h 284507"/>
                  <a:gd name="connsiteX32" fmla="*/ 16501 w 357338"/>
                  <a:gd name="connsiteY32" fmla="*/ 53176 h 284507"/>
                  <a:gd name="connsiteX33" fmla="*/ 11694 w 357338"/>
                  <a:gd name="connsiteY33" fmla="*/ 50750 h 284507"/>
                  <a:gd name="connsiteX34" fmla="*/ 13724 w 357338"/>
                  <a:gd name="connsiteY34" fmla="*/ 46610 h 284507"/>
                  <a:gd name="connsiteX35" fmla="*/ 12278 w 357338"/>
                  <a:gd name="connsiteY35" fmla="*/ 43143 h 284507"/>
                  <a:gd name="connsiteX36" fmla="*/ 10616 w 357338"/>
                  <a:gd name="connsiteY36" fmla="*/ 38914 h 284507"/>
                  <a:gd name="connsiteX37" fmla="*/ 6354 w 357338"/>
                  <a:gd name="connsiteY37" fmla="*/ 38825 h 284507"/>
                  <a:gd name="connsiteX38" fmla="*/ -26 w 357338"/>
                  <a:gd name="connsiteY38" fmla="*/ 35002 h 284507"/>
                  <a:gd name="connsiteX39" fmla="*/ 12557 w 357338"/>
                  <a:gd name="connsiteY39" fmla="*/ 17629 h 284507"/>
                  <a:gd name="connsiteX40" fmla="*/ 26712 w 357338"/>
                  <a:gd name="connsiteY40" fmla="*/ 15165 h 284507"/>
                  <a:gd name="connsiteX41" fmla="*/ 29363 w 357338"/>
                  <a:gd name="connsiteY41" fmla="*/ 12993 h 284507"/>
                  <a:gd name="connsiteX42" fmla="*/ 29630 w 357338"/>
                  <a:gd name="connsiteY42" fmla="*/ 12498 h 284507"/>
                  <a:gd name="connsiteX43" fmla="*/ 29947 w 357338"/>
                  <a:gd name="connsiteY43" fmla="*/ 12231 h 284507"/>
                  <a:gd name="connsiteX44" fmla="*/ 30074 w 357338"/>
                  <a:gd name="connsiteY44" fmla="*/ 12104 h 284507"/>
                  <a:gd name="connsiteX45" fmla="*/ 29401 w 357338"/>
                  <a:gd name="connsiteY45" fmla="*/ 12231 h 284507"/>
                  <a:gd name="connsiteX46" fmla="*/ 28767 w 357338"/>
                  <a:gd name="connsiteY46" fmla="*/ 12371 h 284507"/>
                  <a:gd name="connsiteX47" fmla="*/ 27245 w 357338"/>
                  <a:gd name="connsiteY47" fmla="*/ 12409 h 284507"/>
                  <a:gd name="connsiteX48" fmla="*/ 27118 w 357338"/>
                  <a:gd name="connsiteY48" fmla="*/ 12371 h 284507"/>
                  <a:gd name="connsiteX49" fmla="*/ 27055 w 357338"/>
                  <a:gd name="connsiteY49" fmla="*/ 12371 h 284507"/>
                  <a:gd name="connsiteX50" fmla="*/ 26699 w 357338"/>
                  <a:gd name="connsiteY50" fmla="*/ 12104 h 284507"/>
                  <a:gd name="connsiteX51" fmla="*/ 28044 w 357338"/>
                  <a:gd name="connsiteY51" fmla="*/ 9666 h 284507"/>
                  <a:gd name="connsiteX52" fmla="*/ 28590 w 357338"/>
                  <a:gd name="connsiteY52" fmla="*/ 9133 h 284507"/>
                  <a:gd name="connsiteX53" fmla="*/ 31634 w 357338"/>
                  <a:gd name="connsiteY53" fmla="*/ 6745 h 284507"/>
                  <a:gd name="connsiteX54" fmla="*/ 34246 w 357338"/>
                  <a:gd name="connsiteY54" fmla="*/ 5665 h 284507"/>
                  <a:gd name="connsiteX55" fmla="*/ 45028 w 357338"/>
                  <a:gd name="connsiteY55" fmla="*/ 1 h 284507"/>
                  <a:gd name="connsiteX56" fmla="*/ 54009 w 357338"/>
                  <a:gd name="connsiteY56" fmla="*/ 4446 h 284507"/>
                  <a:gd name="connsiteX57" fmla="*/ 62190 w 357338"/>
                  <a:gd name="connsiteY57" fmla="*/ 8764 h 284507"/>
                  <a:gd name="connsiteX58" fmla="*/ 63763 w 357338"/>
                  <a:gd name="connsiteY58" fmla="*/ 10479 h 284507"/>
                  <a:gd name="connsiteX59" fmla="*/ 210722 w 357338"/>
                  <a:gd name="connsiteY59" fmla="*/ 15965 h 284507"/>
                  <a:gd name="connsiteX60" fmla="*/ 216252 w 357338"/>
                  <a:gd name="connsiteY60" fmla="*/ 19077 h 284507"/>
                  <a:gd name="connsiteX61" fmla="*/ 222455 w 357338"/>
                  <a:gd name="connsiteY61" fmla="*/ 25147 h 284507"/>
                  <a:gd name="connsiteX62" fmla="*/ 231435 w 357338"/>
                  <a:gd name="connsiteY62" fmla="*/ 29783 h 284507"/>
                  <a:gd name="connsiteX63" fmla="*/ 241595 w 357338"/>
                  <a:gd name="connsiteY63" fmla="*/ 35091 h 284507"/>
                  <a:gd name="connsiteX64" fmla="*/ 255522 w 357338"/>
                  <a:gd name="connsiteY64" fmla="*/ 38292 h 284507"/>
                  <a:gd name="connsiteX65" fmla="*/ 266088 w 357338"/>
                  <a:gd name="connsiteY65" fmla="*/ 41924 h 284507"/>
                  <a:gd name="connsiteX66" fmla="*/ 276692 w 357338"/>
                  <a:gd name="connsiteY66" fmla="*/ 42114 h 284507"/>
                  <a:gd name="connsiteX67" fmla="*/ 285000 w 357338"/>
                  <a:gd name="connsiteY67" fmla="*/ 35676 h 284507"/>
                  <a:gd name="connsiteX68" fmla="*/ 296911 w 357338"/>
                  <a:gd name="connsiteY68" fmla="*/ 40946 h 284507"/>
                  <a:gd name="connsiteX69" fmla="*/ 303113 w 357338"/>
                  <a:gd name="connsiteY69" fmla="*/ 42064 h 284507"/>
                  <a:gd name="connsiteX70" fmla="*/ 303202 w 357338"/>
                  <a:gd name="connsiteY70" fmla="*/ 51690 h 284507"/>
                  <a:gd name="connsiteX71" fmla="*/ 308694 w 357338"/>
                  <a:gd name="connsiteY71" fmla="*/ 52909 h 284507"/>
                  <a:gd name="connsiteX72" fmla="*/ 314402 w 357338"/>
                  <a:gd name="connsiteY72" fmla="*/ 49087 h 284507"/>
                  <a:gd name="connsiteX73" fmla="*/ 323560 w 357338"/>
                  <a:gd name="connsiteY73" fmla="*/ 53633 h 284507"/>
                  <a:gd name="connsiteX74" fmla="*/ 333543 w 357338"/>
                  <a:gd name="connsiteY74" fmla="*/ 56377 h 284507"/>
                  <a:gd name="connsiteX75" fmla="*/ 349411 w 357338"/>
                  <a:gd name="connsiteY75" fmla="*/ 51690 h 284507"/>
                  <a:gd name="connsiteX76" fmla="*/ 353495 w 357338"/>
                  <a:gd name="connsiteY76" fmla="*/ 52186 h 284507"/>
                  <a:gd name="connsiteX77" fmla="*/ 357046 w 357338"/>
                  <a:gd name="connsiteY77" fmla="*/ 56910 h 284507"/>
                  <a:gd name="connsiteX78" fmla="*/ 286852 w 357338"/>
                  <a:gd name="connsiteY78" fmla="*/ 117083 h 284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</a:cxnLst>
                <a:rect l="l" t="t" r="r" b="b"/>
                <a:pathLst>
                  <a:path w="357338" h="284507">
                    <a:moveTo>
                      <a:pt x="286852" y="117083"/>
                    </a:moveTo>
                    <a:cubicBezTo>
                      <a:pt x="264921" y="138139"/>
                      <a:pt x="245781" y="158523"/>
                      <a:pt x="265276" y="194299"/>
                    </a:cubicBezTo>
                    <a:cubicBezTo>
                      <a:pt x="247658" y="199112"/>
                      <a:pt x="238043" y="224169"/>
                      <a:pt x="241595" y="231192"/>
                    </a:cubicBezTo>
                    <a:cubicBezTo>
                      <a:pt x="190047" y="242266"/>
                      <a:pt x="225055" y="267095"/>
                      <a:pt x="164348" y="263412"/>
                    </a:cubicBezTo>
                    <a:cubicBezTo>
                      <a:pt x="122021" y="251258"/>
                      <a:pt x="87368" y="322353"/>
                      <a:pt x="84755" y="255309"/>
                    </a:cubicBezTo>
                    <a:cubicBezTo>
                      <a:pt x="81216" y="266422"/>
                      <a:pt x="64727" y="235421"/>
                      <a:pt x="66109" y="246623"/>
                    </a:cubicBezTo>
                    <a:cubicBezTo>
                      <a:pt x="61404" y="246064"/>
                      <a:pt x="56621" y="246229"/>
                      <a:pt x="51954" y="247118"/>
                    </a:cubicBezTo>
                    <a:cubicBezTo>
                      <a:pt x="51332" y="242444"/>
                      <a:pt x="50470" y="236145"/>
                      <a:pt x="50114" y="232945"/>
                    </a:cubicBezTo>
                    <a:cubicBezTo>
                      <a:pt x="49531" y="227458"/>
                      <a:pt x="54972" y="227192"/>
                      <a:pt x="55467" y="221654"/>
                    </a:cubicBezTo>
                    <a:cubicBezTo>
                      <a:pt x="55962" y="216117"/>
                      <a:pt x="61936" y="216968"/>
                      <a:pt x="64676" y="212967"/>
                    </a:cubicBezTo>
                    <a:cubicBezTo>
                      <a:pt x="67416" y="208967"/>
                      <a:pt x="60313" y="208421"/>
                      <a:pt x="57307" y="204687"/>
                    </a:cubicBezTo>
                    <a:cubicBezTo>
                      <a:pt x="54250" y="201004"/>
                      <a:pt x="56584" y="195505"/>
                      <a:pt x="57307" y="190514"/>
                    </a:cubicBezTo>
                    <a:cubicBezTo>
                      <a:pt x="57979" y="185472"/>
                      <a:pt x="57624" y="185878"/>
                      <a:pt x="64727" y="178766"/>
                    </a:cubicBezTo>
                    <a:cubicBezTo>
                      <a:pt x="71779" y="171654"/>
                      <a:pt x="61936" y="176747"/>
                      <a:pt x="58118" y="176696"/>
                    </a:cubicBezTo>
                    <a:cubicBezTo>
                      <a:pt x="54338" y="176696"/>
                      <a:pt x="50698" y="161723"/>
                      <a:pt x="49493" y="157265"/>
                    </a:cubicBezTo>
                    <a:cubicBezTo>
                      <a:pt x="48326" y="152808"/>
                      <a:pt x="53349" y="155817"/>
                      <a:pt x="60325" y="155779"/>
                    </a:cubicBezTo>
                    <a:cubicBezTo>
                      <a:pt x="67327" y="155779"/>
                      <a:pt x="65133" y="147766"/>
                      <a:pt x="65221" y="141606"/>
                    </a:cubicBezTo>
                    <a:cubicBezTo>
                      <a:pt x="65310" y="135396"/>
                      <a:pt x="65133" y="136526"/>
                      <a:pt x="68139" y="133097"/>
                    </a:cubicBezTo>
                    <a:cubicBezTo>
                      <a:pt x="71107" y="129681"/>
                      <a:pt x="69445" y="117209"/>
                      <a:pt x="67961" y="111456"/>
                    </a:cubicBezTo>
                    <a:cubicBezTo>
                      <a:pt x="66515" y="105691"/>
                      <a:pt x="71056" y="105970"/>
                      <a:pt x="70790" y="102185"/>
                    </a:cubicBezTo>
                    <a:cubicBezTo>
                      <a:pt x="70561" y="98452"/>
                      <a:pt x="82294" y="93626"/>
                      <a:pt x="85174" y="88774"/>
                    </a:cubicBezTo>
                    <a:cubicBezTo>
                      <a:pt x="88040" y="83910"/>
                      <a:pt x="85478" y="84494"/>
                      <a:pt x="79009" y="82513"/>
                    </a:cubicBezTo>
                    <a:cubicBezTo>
                      <a:pt x="72489" y="80545"/>
                      <a:pt x="76409" y="76989"/>
                      <a:pt x="73847" y="71896"/>
                    </a:cubicBezTo>
                    <a:cubicBezTo>
                      <a:pt x="71322" y="66816"/>
                      <a:pt x="69978" y="72175"/>
                      <a:pt x="61670" y="71083"/>
                    </a:cubicBezTo>
                    <a:cubicBezTo>
                      <a:pt x="53349" y="69965"/>
                      <a:pt x="59247" y="73242"/>
                      <a:pt x="53755" y="76620"/>
                    </a:cubicBezTo>
                    <a:cubicBezTo>
                      <a:pt x="48275" y="79999"/>
                      <a:pt x="48542" y="75909"/>
                      <a:pt x="41629" y="73877"/>
                    </a:cubicBezTo>
                    <a:cubicBezTo>
                      <a:pt x="34703" y="71896"/>
                      <a:pt x="37265" y="74283"/>
                      <a:pt x="31418" y="75452"/>
                    </a:cubicBezTo>
                    <a:cubicBezTo>
                      <a:pt x="25583" y="76582"/>
                      <a:pt x="31380" y="72175"/>
                      <a:pt x="30657" y="69381"/>
                    </a:cubicBezTo>
                    <a:cubicBezTo>
                      <a:pt x="29947" y="66587"/>
                      <a:pt x="31380" y="72175"/>
                      <a:pt x="30353" y="65736"/>
                    </a:cubicBezTo>
                    <a:cubicBezTo>
                      <a:pt x="29262" y="59298"/>
                      <a:pt x="30353" y="65736"/>
                      <a:pt x="25850" y="65152"/>
                    </a:cubicBezTo>
                    <a:cubicBezTo>
                      <a:pt x="20205" y="66486"/>
                      <a:pt x="14878" y="68924"/>
                      <a:pt x="10172" y="72302"/>
                    </a:cubicBezTo>
                    <a:cubicBezTo>
                      <a:pt x="10159" y="69673"/>
                      <a:pt x="10451" y="67045"/>
                      <a:pt x="11022" y="64479"/>
                    </a:cubicBezTo>
                    <a:cubicBezTo>
                      <a:pt x="27017" y="52998"/>
                      <a:pt x="3830" y="63527"/>
                      <a:pt x="16501" y="53176"/>
                    </a:cubicBezTo>
                    <a:cubicBezTo>
                      <a:pt x="13407" y="54891"/>
                      <a:pt x="6532" y="50382"/>
                      <a:pt x="11694" y="50750"/>
                    </a:cubicBezTo>
                    <a:cubicBezTo>
                      <a:pt x="13990" y="54535"/>
                      <a:pt x="11339" y="46966"/>
                      <a:pt x="13724" y="46610"/>
                    </a:cubicBezTo>
                    <a:cubicBezTo>
                      <a:pt x="17948" y="40171"/>
                      <a:pt x="13495" y="47245"/>
                      <a:pt x="12278" y="43143"/>
                    </a:cubicBezTo>
                    <a:cubicBezTo>
                      <a:pt x="5491" y="53583"/>
                      <a:pt x="5086" y="43461"/>
                      <a:pt x="10616" y="38914"/>
                    </a:cubicBezTo>
                    <a:cubicBezTo>
                      <a:pt x="11656" y="35587"/>
                      <a:pt x="8954" y="39905"/>
                      <a:pt x="6354" y="38825"/>
                    </a:cubicBezTo>
                    <a:cubicBezTo>
                      <a:pt x="2891" y="43727"/>
                      <a:pt x="4502" y="27179"/>
                      <a:pt x="-26" y="35002"/>
                    </a:cubicBezTo>
                    <a:cubicBezTo>
                      <a:pt x="1268" y="22810"/>
                      <a:pt x="2346" y="25909"/>
                      <a:pt x="12557" y="17629"/>
                    </a:cubicBezTo>
                    <a:cubicBezTo>
                      <a:pt x="16184" y="21731"/>
                      <a:pt x="26306" y="16194"/>
                      <a:pt x="26712" y="15165"/>
                    </a:cubicBezTo>
                    <a:cubicBezTo>
                      <a:pt x="33625" y="19610"/>
                      <a:pt x="28501" y="15381"/>
                      <a:pt x="29363" y="12993"/>
                    </a:cubicBezTo>
                    <a:cubicBezTo>
                      <a:pt x="29401" y="12815"/>
                      <a:pt x="29490" y="12638"/>
                      <a:pt x="29630" y="12498"/>
                    </a:cubicBezTo>
                    <a:cubicBezTo>
                      <a:pt x="29718" y="12409"/>
                      <a:pt x="29832" y="12308"/>
                      <a:pt x="29947" y="12231"/>
                    </a:cubicBezTo>
                    <a:cubicBezTo>
                      <a:pt x="29985" y="12193"/>
                      <a:pt x="30035" y="12193"/>
                      <a:pt x="30074" y="12104"/>
                    </a:cubicBezTo>
                    <a:cubicBezTo>
                      <a:pt x="29858" y="12168"/>
                      <a:pt x="29630" y="12206"/>
                      <a:pt x="29401" y="12231"/>
                    </a:cubicBezTo>
                    <a:cubicBezTo>
                      <a:pt x="29198" y="12295"/>
                      <a:pt x="28983" y="12346"/>
                      <a:pt x="28767" y="12371"/>
                    </a:cubicBezTo>
                    <a:cubicBezTo>
                      <a:pt x="28272" y="12498"/>
                      <a:pt x="27752" y="12511"/>
                      <a:pt x="27245" y="12409"/>
                    </a:cubicBezTo>
                    <a:cubicBezTo>
                      <a:pt x="27156" y="12409"/>
                      <a:pt x="27156" y="12371"/>
                      <a:pt x="27118" y="12371"/>
                    </a:cubicBezTo>
                    <a:lnTo>
                      <a:pt x="27055" y="12371"/>
                    </a:lnTo>
                    <a:cubicBezTo>
                      <a:pt x="26915" y="12308"/>
                      <a:pt x="26801" y="12206"/>
                      <a:pt x="26699" y="12104"/>
                    </a:cubicBezTo>
                    <a:cubicBezTo>
                      <a:pt x="26421" y="11609"/>
                      <a:pt x="27055" y="10656"/>
                      <a:pt x="28044" y="9666"/>
                    </a:cubicBezTo>
                    <a:lnTo>
                      <a:pt x="28590" y="9133"/>
                    </a:lnTo>
                    <a:cubicBezTo>
                      <a:pt x="29528" y="8243"/>
                      <a:pt x="30556" y="7443"/>
                      <a:pt x="31634" y="6745"/>
                    </a:cubicBezTo>
                    <a:cubicBezTo>
                      <a:pt x="32407" y="6173"/>
                      <a:pt x="33295" y="5805"/>
                      <a:pt x="34246" y="5665"/>
                    </a:cubicBezTo>
                    <a:cubicBezTo>
                      <a:pt x="40043" y="-4457"/>
                      <a:pt x="38115" y="9628"/>
                      <a:pt x="45028" y="1"/>
                    </a:cubicBezTo>
                    <a:cubicBezTo>
                      <a:pt x="44673" y="4764"/>
                      <a:pt x="48669" y="979"/>
                      <a:pt x="54009" y="4446"/>
                    </a:cubicBezTo>
                    <a:cubicBezTo>
                      <a:pt x="56266" y="8409"/>
                      <a:pt x="57522" y="10034"/>
                      <a:pt x="62190" y="8764"/>
                    </a:cubicBezTo>
                    <a:cubicBezTo>
                      <a:pt x="64169" y="8586"/>
                      <a:pt x="62558" y="15025"/>
                      <a:pt x="63763" y="10479"/>
                    </a:cubicBezTo>
                    <a:cubicBezTo>
                      <a:pt x="121970" y="3329"/>
                      <a:pt x="157068" y="21769"/>
                      <a:pt x="210722" y="15965"/>
                    </a:cubicBezTo>
                    <a:cubicBezTo>
                      <a:pt x="212079" y="17692"/>
                      <a:pt x="214070" y="18810"/>
                      <a:pt x="216252" y="19077"/>
                    </a:cubicBezTo>
                    <a:cubicBezTo>
                      <a:pt x="222632" y="20105"/>
                      <a:pt x="216429" y="21540"/>
                      <a:pt x="222455" y="25147"/>
                    </a:cubicBezTo>
                    <a:cubicBezTo>
                      <a:pt x="228518" y="28703"/>
                      <a:pt x="226311" y="28119"/>
                      <a:pt x="231435" y="29783"/>
                    </a:cubicBezTo>
                    <a:cubicBezTo>
                      <a:pt x="236559" y="31396"/>
                      <a:pt x="231118" y="32386"/>
                      <a:pt x="241595" y="35091"/>
                    </a:cubicBezTo>
                    <a:cubicBezTo>
                      <a:pt x="252110" y="37834"/>
                      <a:pt x="248787" y="36120"/>
                      <a:pt x="255522" y="38292"/>
                    </a:cubicBezTo>
                    <a:cubicBezTo>
                      <a:pt x="262270" y="40489"/>
                      <a:pt x="257044" y="42292"/>
                      <a:pt x="266088" y="41924"/>
                    </a:cubicBezTo>
                    <a:cubicBezTo>
                      <a:pt x="275119" y="41568"/>
                      <a:pt x="271302" y="45302"/>
                      <a:pt x="276692" y="42114"/>
                    </a:cubicBezTo>
                    <a:cubicBezTo>
                      <a:pt x="282083" y="38914"/>
                      <a:pt x="277732" y="31891"/>
                      <a:pt x="285000" y="35676"/>
                    </a:cubicBezTo>
                    <a:cubicBezTo>
                      <a:pt x="288666" y="38063"/>
                      <a:pt x="292687" y="39841"/>
                      <a:pt x="296911" y="40946"/>
                    </a:cubicBezTo>
                    <a:cubicBezTo>
                      <a:pt x="302263" y="42419"/>
                      <a:pt x="299435" y="40082"/>
                      <a:pt x="303113" y="42064"/>
                    </a:cubicBezTo>
                    <a:cubicBezTo>
                      <a:pt x="302707" y="43283"/>
                      <a:pt x="300462" y="49938"/>
                      <a:pt x="303202" y="51690"/>
                    </a:cubicBezTo>
                    <a:cubicBezTo>
                      <a:pt x="306170" y="53671"/>
                      <a:pt x="305993" y="53049"/>
                      <a:pt x="308694" y="52909"/>
                    </a:cubicBezTo>
                    <a:cubicBezTo>
                      <a:pt x="310927" y="52224"/>
                      <a:pt x="312906" y="50890"/>
                      <a:pt x="314402" y="49087"/>
                    </a:cubicBezTo>
                    <a:cubicBezTo>
                      <a:pt x="316102" y="51119"/>
                      <a:pt x="316242" y="53049"/>
                      <a:pt x="323560" y="53633"/>
                    </a:cubicBezTo>
                    <a:cubicBezTo>
                      <a:pt x="333543" y="54433"/>
                      <a:pt x="322799" y="56694"/>
                      <a:pt x="333543" y="56377"/>
                    </a:cubicBezTo>
                    <a:cubicBezTo>
                      <a:pt x="344236" y="56059"/>
                      <a:pt x="340646" y="50027"/>
                      <a:pt x="349411" y="51690"/>
                    </a:cubicBezTo>
                    <a:cubicBezTo>
                      <a:pt x="350755" y="51931"/>
                      <a:pt x="352125" y="52097"/>
                      <a:pt x="353495" y="52186"/>
                    </a:cubicBezTo>
                    <a:cubicBezTo>
                      <a:pt x="354548" y="53862"/>
                      <a:pt x="355740" y="55437"/>
                      <a:pt x="357046" y="56910"/>
                    </a:cubicBezTo>
                    <a:cubicBezTo>
                      <a:pt x="362437" y="89549"/>
                      <a:pt x="284112" y="96877"/>
                      <a:pt x="286852" y="117083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325" name="Vrije vorm 324">
              <a:extLst>
                <a:ext uri="{FF2B5EF4-FFF2-40B4-BE49-F238E27FC236}">
                  <a16:creationId xmlns:a16="http://schemas.microsoft.com/office/drawing/2014/main" id="{2C28C3E9-721B-F448-A961-297892EB4B82}"/>
                </a:ext>
              </a:extLst>
            </p:cNvPr>
            <p:cNvSpPr/>
            <p:nvPr/>
          </p:nvSpPr>
          <p:spPr>
            <a:xfrm>
              <a:off x="5223087" y="3080395"/>
              <a:ext cx="91059" cy="188395"/>
            </a:xfrm>
            <a:custGeom>
              <a:avLst/>
              <a:gdLst>
                <a:gd name="connsiteX0" fmla="*/ 89860 w 91059"/>
                <a:gd name="connsiteY0" fmla="*/ 25910 h 188395"/>
                <a:gd name="connsiteX1" fmla="*/ 75476 w 91059"/>
                <a:gd name="connsiteY1" fmla="*/ 39321 h 188395"/>
                <a:gd name="connsiteX2" fmla="*/ 72648 w 91059"/>
                <a:gd name="connsiteY2" fmla="*/ 48592 h 188395"/>
                <a:gd name="connsiteX3" fmla="*/ 72826 w 91059"/>
                <a:gd name="connsiteY3" fmla="*/ 70233 h 188395"/>
                <a:gd name="connsiteX4" fmla="*/ 69908 w 91059"/>
                <a:gd name="connsiteY4" fmla="*/ 78742 h 188395"/>
                <a:gd name="connsiteX5" fmla="*/ 65012 w 91059"/>
                <a:gd name="connsiteY5" fmla="*/ 92915 h 188395"/>
                <a:gd name="connsiteX6" fmla="*/ 54180 w 91059"/>
                <a:gd name="connsiteY6" fmla="*/ 94401 h 188395"/>
                <a:gd name="connsiteX7" fmla="*/ 62805 w 91059"/>
                <a:gd name="connsiteY7" fmla="*/ 113845 h 188395"/>
                <a:gd name="connsiteX8" fmla="*/ 69413 w 91059"/>
                <a:gd name="connsiteY8" fmla="*/ 115915 h 188395"/>
                <a:gd name="connsiteX9" fmla="*/ 61993 w 91059"/>
                <a:gd name="connsiteY9" fmla="*/ 127662 h 188395"/>
                <a:gd name="connsiteX10" fmla="*/ 61993 w 91059"/>
                <a:gd name="connsiteY10" fmla="*/ 141836 h 188395"/>
                <a:gd name="connsiteX11" fmla="*/ 69375 w 91059"/>
                <a:gd name="connsiteY11" fmla="*/ 150103 h 188395"/>
                <a:gd name="connsiteX12" fmla="*/ 60154 w 91059"/>
                <a:gd name="connsiteY12" fmla="*/ 158790 h 188395"/>
                <a:gd name="connsiteX13" fmla="*/ 54814 w 91059"/>
                <a:gd name="connsiteY13" fmla="*/ 170093 h 188395"/>
                <a:gd name="connsiteX14" fmla="*/ 56653 w 91059"/>
                <a:gd name="connsiteY14" fmla="*/ 184266 h 188395"/>
                <a:gd name="connsiteX15" fmla="*/ 14859 w 91059"/>
                <a:gd name="connsiteY15" fmla="*/ 183809 h 188395"/>
                <a:gd name="connsiteX16" fmla="*/ 21823 w 91059"/>
                <a:gd name="connsiteY16" fmla="*/ 138864 h 188395"/>
                <a:gd name="connsiteX17" fmla="*/ 18322 w 91059"/>
                <a:gd name="connsiteY17" fmla="*/ 134940 h 188395"/>
                <a:gd name="connsiteX18" fmla="*/ 5282 w 91059"/>
                <a:gd name="connsiteY18" fmla="*/ 130177 h 188395"/>
                <a:gd name="connsiteX19" fmla="*/ 12068 w 91059"/>
                <a:gd name="connsiteY19" fmla="*/ 121224 h 188395"/>
                <a:gd name="connsiteX20" fmla="*/ 12880 w 91059"/>
                <a:gd name="connsiteY20" fmla="*/ 120182 h 188395"/>
                <a:gd name="connsiteX21" fmla="*/ 10762 w 91059"/>
                <a:gd name="connsiteY21" fmla="*/ 122710 h 188395"/>
                <a:gd name="connsiteX22" fmla="*/ 6183 w 91059"/>
                <a:gd name="connsiteY22" fmla="*/ 127790 h 188395"/>
                <a:gd name="connsiteX23" fmla="*/ 5548 w 91059"/>
                <a:gd name="connsiteY23" fmla="*/ 128425 h 188395"/>
                <a:gd name="connsiteX24" fmla="*/ 5320 w 91059"/>
                <a:gd name="connsiteY24" fmla="*/ 128602 h 188395"/>
                <a:gd name="connsiteX25" fmla="*/ 4470 w 91059"/>
                <a:gd name="connsiteY25" fmla="*/ 129326 h 188395"/>
                <a:gd name="connsiteX26" fmla="*/ 3925 w 91059"/>
                <a:gd name="connsiteY26" fmla="*/ 129771 h 188395"/>
                <a:gd name="connsiteX27" fmla="*/ 3342 w 91059"/>
                <a:gd name="connsiteY27" fmla="*/ 129999 h 188395"/>
                <a:gd name="connsiteX28" fmla="*/ 3303 w 91059"/>
                <a:gd name="connsiteY28" fmla="*/ 129999 h 188395"/>
                <a:gd name="connsiteX29" fmla="*/ 21645 w 91059"/>
                <a:gd name="connsiteY29" fmla="*/ 50764 h 188395"/>
                <a:gd name="connsiteX30" fmla="*/ 22406 w 91059"/>
                <a:gd name="connsiteY30" fmla="*/ 38470 h 188395"/>
                <a:gd name="connsiteX31" fmla="*/ 14846 w 91059"/>
                <a:gd name="connsiteY31" fmla="*/ 9502 h 188395"/>
                <a:gd name="connsiteX32" fmla="*/ 14846 w 91059"/>
                <a:gd name="connsiteY32" fmla="*/ 9451 h 188395"/>
                <a:gd name="connsiteX33" fmla="*/ 30536 w 91059"/>
                <a:gd name="connsiteY33" fmla="*/ 2301 h 188395"/>
                <a:gd name="connsiteX34" fmla="*/ 35027 w 91059"/>
                <a:gd name="connsiteY34" fmla="*/ 2885 h 188395"/>
                <a:gd name="connsiteX35" fmla="*/ 35344 w 91059"/>
                <a:gd name="connsiteY35" fmla="*/ 6530 h 188395"/>
                <a:gd name="connsiteX36" fmla="*/ 36105 w 91059"/>
                <a:gd name="connsiteY36" fmla="*/ 12601 h 188395"/>
                <a:gd name="connsiteX37" fmla="*/ 46303 w 91059"/>
                <a:gd name="connsiteY37" fmla="*/ 11026 h 188395"/>
                <a:gd name="connsiteX38" fmla="*/ 58442 w 91059"/>
                <a:gd name="connsiteY38" fmla="*/ 13769 h 188395"/>
                <a:gd name="connsiteX39" fmla="*/ 66344 w 91059"/>
                <a:gd name="connsiteY39" fmla="*/ 8244 h 188395"/>
                <a:gd name="connsiteX40" fmla="*/ 78521 w 91059"/>
                <a:gd name="connsiteY40" fmla="*/ 9045 h 188395"/>
                <a:gd name="connsiteX41" fmla="*/ 83696 w 91059"/>
                <a:gd name="connsiteY41" fmla="*/ 19662 h 188395"/>
                <a:gd name="connsiteX42" fmla="*/ 89860 w 91059"/>
                <a:gd name="connsiteY42" fmla="*/ 25910 h 188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91059" h="188395">
                  <a:moveTo>
                    <a:pt x="89860" y="25910"/>
                  </a:moveTo>
                  <a:cubicBezTo>
                    <a:pt x="86981" y="30774"/>
                    <a:pt x="75261" y="35587"/>
                    <a:pt x="75476" y="39321"/>
                  </a:cubicBezTo>
                  <a:cubicBezTo>
                    <a:pt x="75756" y="43106"/>
                    <a:pt x="71215" y="42827"/>
                    <a:pt x="72648" y="48592"/>
                  </a:cubicBezTo>
                  <a:cubicBezTo>
                    <a:pt x="74132" y="54358"/>
                    <a:pt x="75793" y="66817"/>
                    <a:pt x="72826" y="70233"/>
                  </a:cubicBezTo>
                  <a:cubicBezTo>
                    <a:pt x="69819" y="73662"/>
                    <a:pt x="69997" y="72532"/>
                    <a:pt x="69908" y="78742"/>
                  </a:cubicBezTo>
                  <a:cubicBezTo>
                    <a:pt x="69819" y="84914"/>
                    <a:pt x="72026" y="92915"/>
                    <a:pt x="65012" y="92915"/>
                  </a:cubicBezTo>
                  <a:cubicBezTo>
                    <a:pt x="58048" y="92966"/>
                    <a:pt x="53013" y="89943"/>
                    <a:pt x="54180" y="94401"/>
                  </a:cubicBezTo>
                  <a:cubicBezTo>
                    <a:pt x="55398" y="98859"/>
                    <a:pt x="59038" y="113845"/>
                    <a:pt x="62805" y="113845"/>
                  </a:cubicBezTo>
                  <a:cubicBezTo>
                    <a:pt x="66623" y="113883"/>
                    <a:pt x="76466" y="108803"/>
                    <a:pt x="69413" y="115915"/>
                  </a:cubicBezTo>
                  <a:cubicBezTo>
                    <a:pt x="62310" y="123027"/>
                    <a:pt x="62678" y="122621"/>
                    <a:pt x="61993" y="127662"/>
                  </a:cubicBezTo>
                  <a:cubicBezTo>
                    <a:pt x="61283" y="132654"/>
                    <a:pt x="58936" y="138140"/>
                    <a:pt x="61993" y="141836"/>
                  </a:cubicBezTo>
                  <a:cubicBezTo>
                    <a:pt x="65012" y="145570"/>
                    <a:pt x="72115" y="146103"/>
                    <a:pt x="69375" y="150103"/>
                  </a:cubicBezTo>
                  <a:cubicBezTo>
                    <a:pt x="66623" y="154117"/>
                    <a:pt x="60649" y="153253"/>
                    <a:pt x="60154" y="158790"/>
                  </a:cubicBezTo>
                  <a:cubicBezTo>
                    <a:pt x="59660" y="164328"/>
                    <a:pt x="54231" y="164594"/>
                    <a:pt x="54814" y="170093"/>
                  </a:cubicBezTo>
                  <a:cubicBezTo>
                    <a:pt x="55169" y="173281"/>
                    <a:pt x="56019" y="179580"/>
                    <a:pt x="56653" y="184266"/>
                  </a:cubicBezTo>
                  <a:cubicBezTo>
                    <a:pt x="38680" y="186603"/>
                    <a:pt x="12791" y="192496"/>
                    <a:pt x="14859" y="183809"/>
                  </a:cubicBezTo>
                  <a:cubicBezTo>
                    <a:pt x="26947" y="167972"/>
                    <a:pt x="5828" y="136654"/>
                    <a:pt x="21823" y="138864"/>
                  </a:cubicBezTo>
                  <a:cubicBezTo>
                    <a:pt x="19438" y="137594"/>
                    <a:pt x="19222" y="132654"/>
                    <a:pt x="18322" y="134940"/>
                  </a:cubicBezTo>
                  <a:cubicBezTo>
                    <a:pt x="13781" y="137467"/>
                    <a:pt x="6500" y="142458"/>
                    <a:pt x="5282" y="130177"/>
                  </a:cubicBezTo>
                  <a:cubicBezTo>
                    <a:pt x="10813" y="129822"/>
                    <a:pt x="15848" y="127345"/>
                    <a:pt x="12068" y="121224"/>
                  </a:cubicBezTo>
                  <a:cubicBezTo>
                    <a:pt x="12347" y="120868"/>
                    <a:pt x="12614" y="120500"/>
                    <a:pt x="12880" y="120182"/>
                  </a:cubicBezTo>
                  <a:cubicBezTo>
                    <a:pt x="12208" y="120995"/>
                    <a:pt x="11485" y="121859"/>
                    <a:pt x="10762" y="122710"/>
                  </a:cubicBezTo>
                  <a:cubicBezTo>
                    <a:pt x="9151" y="124551"/>
                    <a:pt x="7489" y="126393"/>
                    <a:pt x="6183" y="127790"/>
                  </a:cubicBezTo>
                  <a:cubicBezTo>
                    <a:pt x="5955" y="127980"/>
                    <a:pt x="5739" y="128183"/>
                    <a:pt x="5548" y="128425"/>
                  </a:cubicBezTo>
                  <a:cubicBezTo>
                    <a:pt x="5460" y="128450"/>
                    <a:pt x="5384" y="128513"/>
                    <a:pt x="5320" y="128602"/>
                  </a:cubicBezTo>
                  <a:cubicBezTo>
                    <a:pt x="5054" y="128856"/>
                    <a:pt x="4762" y="129098"/>
                    <a:pt x="4470" y="129326"/>
                  </a:cubicBezTo>
                  <a:cubicBezTo>
                    <a:pt x="4242" y="129504"/>
                    <a:pt x="4064" y="129631"/>
                    <a:pt x="3925" y="129771"/>
                  </a:cubicBezTo>
                  <a:cubicBezTo>
                    <a:pt x="3760" y="129885"/>
                    <a:pt x="3557" y="129961"/>
                    <a:pt x="3342" y="129999"/>
                  </a:cubicBezTo>
                  <a:lnTo>
                    <a:pt x="3303" y="129999"/>
                  </a:lnTo>
                  <a:cubicBezTo>
                    <a:pt x="-11398" y="117757"/>
                    <a:pt x="27708" y="64658"/>
                    <a:pt x="21645" y="50764"/>
                  </a:cubicBezTo>
                  <a:cubicBezTo>
                    <a:pt x="17687" y="66423"/>
                    <a:pt x="22533" y="42395"/>
                    <a:pt x="22406" y="38470"/>
                  </a:cubicBezTo>
                  <a:cubicBezTo>
                    <a:pt x="19083" y="29047"/>
                    <a:pt x="16559" y="19357"/>
                    <a:pt x="14846" y="9502"/>
                  </a:cubicBezTo>
                  <a:lnTo>
                    <a:pt x="14846" y="9451"/>
                  </a:lnTo>
                  <a:cubicBezTo>
                    <a:pt x="19565" y="6073"/>
                    <a:pt x="24892" y="3634"/>
                    <a:pt x="30536" y="2301"/>
                  </a:cubicBezTo>
                  <a:cubicBezTo>
                    <a:pt x="35027" y="2885"/>
                    <a:pt x="33949" y="-3554"/>
                    <a:pt x="35027" y="2885"/>
                  </a:cubicBezTo>
                  <a:cubicBezTo>
                    <a:pt x="36067" y="9311"/>
                    <a:pt x="34621" y="3736"/>
                    <a:pt x="35344" y="6530"/>
                  </a:cubicBezTo>
                  <a:cubicBezTo>
                    <a:pt x="36067" y="9311"/>
                    <a:pt x="30270" y="13731"/>
                    <a:pt x="36105" y="12601"/>
                  </a:cubicBezTo>
                  <a:cubicBezTo>
                    <a:pt x="41940" y="11432"/>
                    <a:pt x="39390" y="9045"/>
                    <a:pt x="46303" y="11026"/>
                  </a:cubicBezTo>
                  <a:cubicBezTo>
                    <a:pt x="53228" y="13058"/>
                    <a:pt x="52962" y="17147"/>
                    <a:pt x="58442" y="13769"/>
                  </a:cubicBezTo>
                  <a:cubicBezTo>
                    <a:pt x="63921" y="10403"/>
                    <a:pt x="58036" y="7114"/>
                    <a:pt x="66344" y="8244"/>
                  </a:cubicBezTo>
                  <a:cubicBezTo>
                    <a:pt x="74665" y="9311"/>
                    <a:pt x="76009" y="3965"/>
                    <a:pt x="78521" y="9045"/>
                  </a:cubicBezTo>
                  <a:cubicBezTo>
                    <a:pt x="81083" y="14125"/>
                    <a:pt x="77176" y="17681"/>
                    <a:pt x="83696" y="19662"/>
                  </a:cubicBezTo>
                  <a:cubicBezTo>
                    <a:pt x="90177" y="21643"/>
                    <a:pt x="92740" y="21059"/>
                    <a:pt x="89860" y="25910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6" name="Vrije vorm 325">
              <a:extLst>
                <a:ext uri="{FF2B5EF4-FFF2-40B4-BE49-F238E27FC236}">
                  <a16:creationId xmlns:a16="http://schemas.microsoft.com/office/drawing/2014/main" id="{6B1511F8-A24B-814D-83AE-CAB5D64CA2E8}"/>
                </a:ext>
              </a:extLst>
            </p:cNvPr>
            <p:cNvSpPr/>
            <p:nvPr/>
          </p:nvSpPr>
          <p:spPr>
            <a:xfrm>
              <a:off x="5760396" y="3406698"/>
              <a:ext cx="441752" cy="428993"/>
            </a:xfrm>
            <a:custGeom>
              <a:avLst/>
              <a:gdLst>
                <a:gd name="connsiteX0" fmla="*/ 438403 w 441752"/>
                <a:gd name="connsiteY0" fmla="*/ 256478 h 428993"/>
                <a:gd name="connsiteX1" fmla="*/ 439481 w 441752"/>
                <a:gd name="connsiteY1" fmla="*/ 340171 h 428993"/>
                <a:gd name="connsiteX2" fmla="*/ 438580 w 441752"/>
                <a:gd name="connsiteY2" fmla="*/ 355195 h 428993"/>
                <a:gd name="connsiteX3" fmla="*/ 438403 w 441752"/>
                <a:gd name="connsiteY3" fmla="*/ 412027 h 428993"/>
                <a:gd name="connsiteX4" fmla="*/ 410535 w 441752"/>
                <a:gd name="connsiteY4" fmla="*/ 415266 h 428993"/>
                <a:gd name="connsiteX5" fmla="*/ 410003 w 441752"/>
                <a:gd name="connsiteY5" fmla="*/ 428995 h 428993"/>
                <a:gd name="connsiteX6" fmla="*/ 181256 w 441752"/>
                <a:gd name="connsiteY6" fmla="*/ 308002 h 428993"/>
                <a:gd name="connsiteX7" fmla="*/ 156230 w 441752"/>
                <a:gd name="connsiteY7" fmla="*/ 322797 h 428993"/>
                <a:gd name="connsiteX8" fmla="*/ 134109 w 441752"/>
                <a:gd name="connsiteY8" fmla="*/ 335853 h 428993"/>
                <a:gd name="connsiteX9" fmla="*/ 111595 w 441752"/>
                <a:gd name="connsiteY9" fmla="*/ 319787 h 428993"/>
                <a:gd name="connsiteX10" fmla="*/ 76282 w 441752"/>
                <a:gd name="connsiteY10" fmla="*/ 309030 h 428993"/>
                <a:gd name="connsiteX11" fmla="*/ 69534 w 441752"/>
                <a:gd name="connsiteY11" fmla="*/ 309399 h 428993"/>
                <a:gd name="connsiteX12" fmla="*/ 60185 w 441752"/>
                <a:gd name="connsiteY12" fmla="*/ 287618 h 428993"/>
                <a:gd name="connsiteX13" fmla="*/ 35566 w 441752"/>
                <a:gd name="connsiteY13" fmla="*/ 275782 h 428993"/>
                <a:gd name="connsiteX14" fmla="*/ 15207 w 441752"/>
                <a:gd name="connsiteY14" fmla="*/ 265075 h 428993"/>
                <a:gd name="connsiteX15" fmla="*/ 3386 w 441752"/>
                <a:gd name="connsiteY15" fmla="*/ 238253 h 428993"/>
                <a:gd name="connsiteX16" fmla="*/ 6620 w 441752"/>
                <a:gd name="connsiteY16" fmla="*/ 207113 h 428993"/>
                <a:gd name="connsiteX17" fmla="*/ 5542 w 441752"/>
                <a:gd name="connsiteY17" fmla="*/ 134177 h 428993"/>
                <a:gd name="connsiteX18" fmla="*/ -26 w 441752"/>
                <a:gd name="connsiteY18" fmla="*/ 93638 h 428993"/>
                <a:gd name="connsiteX19" fmla="*/ 18937 w 441752"/>
                <a:gd name="connsiteY19" fmla="*/ 77890 h 428993"/>
                <a:gd name="connsiteX20" fmla="*/ 17313 w 441752"/>
                <a:gd name="connsiteY20" fmla="*/ 55881 h 428993"/>
                <a:gd name="connsiteX21" fmla="*/ 26978 w 441752"/>
                <a:gd name="connsiteY21" fmla="*/ 46216 h 428993"/>
                <a:gd name="connsiteX22" fmla="*/ 31240 w 441752"/>
                <a:gd name="connsiteY22" fmla="*/ 36577 h 428993"/>
                <a:gd name="connsiteX23" fmla="*/ 51066 w 441752"/>
                <a:gd name="connsiteY23" fmla="*/ 25287 h 428993"/>
                <a:gd name="connsiteX24" fmla="*/ 55924 w 441752"/>
                <a:gd name="connsiteY24" fmla="*/ 8142 h 428993"/>
                <a:gd name="connsiteX25" fmla="*/ 56507 w 441752"/>
                <a:gd name="connsiteY25" fmla="*/ 1 h 428993"/>
                <a:gd name="connsiteX26" fmla="*/ 97439 w 441752"/>
                <a:gd name="connsiteY26" fmla="*/ 6440 h 428993"/>
                <a:gd name="connsiteX27" fmla="*/ 103642 w 441752"/>
                <a:gd name="connsiteY27" fmla="*/ 4814 h 428993"/>
                <a:gd name="connsiteX28" fmla="*/ 131242 w 441752"/>
                <a:gd name="connsiteY28" fmla="*/ 9717 h 428993"/>
                <a:gd name="connsiteX29" fmla="*/ 163777 w 441752"/>
                <a:gd name="connsiteY29" fmla="*/ 23217 h 428993"/>
                <a:gd name="connsiteX30" fmla="*/ 167506 w 441752"/>
                <a:gd name="connsiteY30" fmla="*/ 38419 h 428993"/>
                <a:gd name="connsiteX31" fmla="*/ 208984 w 441752"/>
                <a:gd name="connsiteY31" fmla="*/ 61380 h 428993"/>
                <a:gd name="connsiteX32" fmla="*/ 209516 w 441752"/>
                <a:gd name="connsiteY32" fmla="*/ 61469 h 428993"/>
                <a:gd name="connsiteX33" fmla="*/ 256308 w 441752"/>
                <a:gd name="connsiteY33" fmla="*/ 82564 h 428993"/>
                <a:gd name="connsiteX34" fmla="*/ 261699 w 441752"/>
                <a:gd name="connsiteY34" fmla="*/ 85675 h 428993"/>
                <a:gd name="connsiteX35" fmla="*/ 279356 w 441752"/>
                <a:gd name="connsiteY35" fmla="*/ 89536 h 428993"/>
                <a:gd name="connsiteX36" fmla="*/ 287220 w 441752"/>
                <a:gd name="connsiteY36" fmla="*/ 85942 h 428993"/>
                <a:gd name="connsiteX37" fmla="*/ 293245 w 441752"/>
                <a:gd name="connsiteY37" fmla="*/ 81167 h 428993"/>
                <a:gd name="connsiteX38" fmla="*/ 293245 w 441752"/>
                <a:gd name="connsiteY38" fmla="*/ 81129 h 428993"/>
                <a:gd name="connsiteX39" fmla="*/ 301160 w 441752"/>
                <a:gd name="connsiteY39" fmla="*/ 53100 h 428993"/>
                <a:gd name="connsiteX40" fmla="*/ 299536 w 441752"/>
                <a:gd name="connsiteY40" fmla="*/ 37479 h 428993"/>
                <a:gd name="connsiteX41" fmla="*/ 319755 w 441752"/>
                <a:gd name="connsiteY41" fmla="*/ 13006 h 428993"/>
                <a:gd name="connsiteX42" fmla="*/ 374499 w 441752"/>
                <a:gd name="connsiteY42" fmla="*/ 7964 h 428993"/>
                <a:gd name="connsiteX43" fmla="*/ 383264 w 441752"/>
                <a:gd name="connsiteY43" fmla="*/ 12828 h 428993"/>
                <a:gd name="connsiteX44" fmla="*/ 383658 w 441752"/>
                <a:gd name="connsiteY44" fmla="*/ 14670 h 428993"/>
                <a:gd name="connsiteX45" fmla="*/ 383708 w 441752"/>
                <a:gd name="connsiteY45" fmla="*/ 14708 h 428993"/>
                <a:gd name="connsiteX46" fmla="*/ 387438 w 441752"/>
                <a:gd name="connsiteY46" fmla="*/ 22137 h 428993"/>
                <a:gd name="connsiteX47" fmla="*/ 387488 w 441752"/>
                <a:gd name="connsiteY47" fmla="*/ 22226 h 428993"/>
                <a:gd name="connsiteX48" fmla="*/ 414049 w 441752"/>
                <a:gd name="connsiteY48" fmla="*/ 31548 h 428993"/>
                <a:gd name="connsiteX49" fmla="*/ 415711 w 441752"/>
                <a:gd name="connsiteY49" fmla="*/ 32043 h 428993"/>
                <a:gd name="connsiteX50" fmla="*/ 427304 w 441752"/>
                <a:gd name="connsiteY50" fmla="*/ 33974 h 428993"/>
                <a:gd name="connsiteX51" fmla="*/ 441726 w 441752"/>
                <a:gd name="connsiteY51" fmla="*/ 39016 h 428993"/>
                <a:gd name="connsiteX52" fmla="*/ 434090 w 441752"/>
                <a:gd name="connsiteY52" fmla="*/ 132056 h 428993"/>
                <a:gd name="connsiteX53" fmla="*/ 438403 w 441752"/>
                <a:gd name="connsiteY53" fmla="*/ 256478 h 428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441752" h="428993">
                  <a:moveTo>
                    <a:pt x="438403" y="256478"/>
                  </a:moveTo>
                  <a:cubicBezTo>
                    <a:pt x="438403" y="283300"/>
                    <a:pt x="441599" y="325147"/>
                    <a:pt x="439481" y="340171"/>
                  </a:cubicBezTo>
                  <a:cubicBezTo>
                    <a:pt x="438910" y="345162"/>
                    <a:pt x="438606" y="350178"/>
                    <a:pt x="438580" y="355195"/>
                  </a:cubicBezTo>
                  <a:cubicBezTo>
                    <a:pt x="438136" y="376798"/>
                    <a:pt x="439252" y="409551"/>
                    <a:pt x="438403" y="412027"/>
                  </a:cubicBezTo>
                  <a:cubicBezTo>
                    <a:pt x="437324" y="415266"/>
                    <a:pt x="412692" y="408840"/>
                    <a:pt x="410535" y="415266"/>
                  </a:cubicBezTo>
                  <a:cubicBezTo>
                    <a:pt x="409990" y="419825"/>
                    <a:pt x="409812" y="424410"/>
                    <a:pt x="410003" y="428995"/>
                  </a:cubicBezTo>
                  <a:lnTo>
                    <a:pt x="181256" y="308002"/>
                  </a:lnTo>
                  <a:lnTo>
                    <a:pt x="156230" y="322797"/>
                  </a:lnTo>
                  <a:lnTo>
                    <a:pt x="134109" y="335853"/>
                  </a:lnTo>
                  <a:cubicBezTo>
                    <a:pt x="128947" y="327801"/>
                    <a:pt x="120879" y="322048"/>
                    <a:pt x="111595" y="319787"/>
                  </a:cubicBezTo>
                  <a:cubicBezTo>
                    <a:pt x="95562" y="315469"/>
                    <a:pt x="89131" y="308002"/>
                    <a:pt x="76282" y="309030"/>
                  </a:cubicBezTo>
                  <a:cubicBezTo>
                    <a:pt x="73897" y="309208"/>
                    <a:pt x="71652" y="309297"/>
                    <a:pt x="69534" y="309399"/>
                  </a:cubicBezTo>
                  <a:cubicBezTo>
                    <a:pt x="66794" y="301982"/>
                    <a:pt x="63674" y="294717"/>
                    <a:pt x="60185" y="287618"/>
                  </a:cubicBezTo>
                  <a:cubicBezTo>
                    <a:pt x="54845" y="276861"/>
                    <a:pt x="51611" y="280100"/>
                    <a:pt x="35566" y="275782"/>
                  </a:cubicBezTo>
                  <a:cubicBezTo>
                    <a:pt x="19469" y="271502"/>
                    <a:pt x="24822" y="273661"/>
                    <a:pt x="15207" y="265075"/>
                  </a:cubicBezTo>
                  <a:cubicBezTo>
                    <a:pt x="5542" y="256478"/>
                    <a:pt x="7698" y="247880"/>
                    <a:pt x="3386" y="238253"/>
                  </a:cubicBezTo>
                  <a:cubicBezTo>
                    <a:pt x="1077" y="227801"/>
                    <a:pt x="2219" y="216879"/>
                    <a:pt x="6620" y="207113"/>
                  </a:cubicBezTo>
                  <a:cubicBezTo>
                    <a:pt x="7800" y="182805"/>
                    <a:pt x="7432" y="158446"/>
                    <a:pt x="5542" y="134177"/>
                  </a:cubicBezTo>
                  <a:cubicBezTo>
                    <a:pt x="4502" y="120562"/>
                    <a:pt x="2650" y="107024"/>
                    <a:pt x="-26" y="93638"/>
                  </a:cubicBezTo>
                  <a:cubicBezTo>
                    <a:pt x="7064" y="89396"/>
                    <a:pt x="13457" y="84088"/>
                    <a:pt x="18937" y="77890"/>
                  </a:cubicBezTo>
                  <a:cubicBezTo>
                    <a:pt x="24277" y="70372"/>
                    <a:pt x="17859" y="64479"/>
                    <a:pt x="17313" y="55881"/>
                  </a:cubicBezTo>
                  <a:cubicBezTo>
                    <a:pt x="16780" y="47296"/>
                    <a:pt x="17859" y="47296"/>
                    <a:pt x="26978" y="46216"/>
                  </a:cubicBezTo>
                  <a:cubicBezTo>
                    <a:pt x="36060" y="45137"/>
                    <a:pt x="29629" y="43016"/>
                    <a:pt x="31240" y="36577"/>
                  </a:cubicBezTo>
                  <a:cubicBezTo>
                    <a:pt x="32864" y="30151"/>
                    <a:pt x="40906" y="30151"/>
                    <a:pt x="51066" y="25287"/>
                  </a:cubicBezTo>
                  <a:cubicBezTo>
                    <a:pt x="61264" y="20474"/>
                    <a:pt x="54845" y="16194"/>
                    <a:pt x="55924" y="8142"/>
                  </a:cubicBezTo>
                  <a:cubicBezTo>
                    <a:pt x="56253" y="5437"/>
                    <a:pt x="56444" y="2719"/>
                    <a:pt x="56507" y="1"/>
                  </a:cubicBezTo>
                  <a:cubicBezTo>
                    <a:pt x="69090" y="6529"/>
                    <a:pt x="83461" y="8777"/>
                    <a:pt x="97439" y="6440"/>
                  </a:cubicBezTo>
                  <a:cubicBezTo>
                    <a:pt x="99532" y="5996"/>
                    <a:pt x="101612" y="5462"/>
                    <a:pt x="103642" y="4814"/>
                  </a:cubicBezTo>
                  <a:cubicBezTo>
                    <a:pt x="113117" y="3900"/>
                    <a:pt x="122655" y="5589"/>
                    <a:pt x="131242" y="9717"/>
                  </a:cubicBezTo>
                  <a:cubicBezTo>
                    <a:pt x="141897" y="13095"/>
                    <a:pt x="151956" y="18226"/>
                    <a:pt x="163777" y="23217"/>
                  </a:cubicBezTo>
                  <a:cubicBezTo>
                    <a:pt x="164158" y="28462"/>
                    <a:pt x="165426" y="33605"/>
                    <a:pt x="167506" y="38419"/>
                  </a:cubicBezTo>
                  <a:cubicBezTo>
                    <a:pt x="174204" y="53316"/>
                    <a:pt x="188854" y="59081"/>
                    <a:pt x="208984" y="61380"/>
                  </a:cubicBezTo>
                  <a:cubicBezTo>
                    <a:pt x="209161" y="61431"/>
                    <a:pt x="209339" y="61456"/>
                    <a:pt x="209516" y="61469"/>
                  </a:cubicBezTo>
                  <a:cubicBezTo>
                    <a:pt x="226374" y="65279"/>
                    <a:pt x="242280" y="72455"/>
                    <a:pt x="256308" y="82564"/>
                  </a:cubicBezTo>
                  <a:cubicBezTo>
                    <a:pt x="258148" y="83643"/>
                    <a:pt x="259949" y="84723"/>
                    <a:pt x="261699" y="85675"/>
                  </a:cubicBezTo>
                  <a:cubicBezTo>
                    <a:pt x="266887" y="89142"/>
                    <a:pt x="273191" y="90527"/>
                    <a:pt x="279356" y="89536"/>
                  </a:cubicBezTo>
                  <a:cubicBezTo>
                    <a:pt x="282184" y="88850"/>
                    <a:pt x="284848" y="87631"/>
                    <a:pt x="287220" y="85942"/>
                  </a:cubicBezTo>
                  <a:cubicBezTo>
                    <a:pt x="289351" y="84520"/>
                    <a:pt x="291368" y="82920"/>
                    <a:pt x="293245" y="81167"/>
                  </a:cubicBezTo>
                  <a:lnTo>
                    <a:pt x="293245" y="81129"/>
                  </a:lnTo>
                  <a:cubicBezTo>
                    <a:pt x="300957" y="74029"/>
                    <a:pt x="304014" y="63184"/>
                    <a:pt x="301160" y="53100"/>
                  </a:cubicBezTo>
                  <a:cubicBezTo>
                    <a:pt x="299968" y="47982"/>
                    <a:pt x="299422" y="42737"/>
                    <a:pt x="299536" y="37479"/>
                  </a:cubicBezTo>
                  <a:cubicBezTo>
                    <a:pt x="300069" y="26366"/>
                    <a:pt x="305827" y="19750"/>
                    <a:pt x="319755" y="13006"/>
                  </a:cubicBezTo>
                  <a:cubicBezTo>
                    <a:pt x="337107" y="4637"/>
                    <a:pt x="355169" y="-2387"/>
                    <a:pt x="374499" y="7964"/>
                  </a:cubicBezTo>
                  <a:cubicBezTo>
                    <a:pt x="377506" y="9590"/>
                    <a:pt x="382858" y="10707"/>
                    <a:pt x="383264" y="12828"/>
                  </a:cubicBezTo>
                  <a:cubicBezTo>
                    <a:pt x="383391" y="13463"/>
                    <a:pt x="383531" y="14085"/>
                    <a:pt x="383658" y="14670"/>
                  </a:cubicBezTo>
                  <a:lnTo>
                    <a:pt x="383708" y="14708"/>
                  </a:lnTo>
                  <a:cubicBezTo>
                    <a:pt x="384342" y="17451"/>
                    <a:pt x="385624" y="19991"/>
                    <a:pt x="387438" y="22137"/>
                  </a:cubicBezTo>
                  <a:lnTo>
                    <a:pt x="387488" y="22226"/>
                  </a:lnTo>
                  <a:cubicBezTo>
                    <a:pt x="393995" y="29567"/>
                    <a:pt x="405500" y="28398"/>
                    <a:pt x="414049" y="31548"/>
                  </a:cubicBezTo>
                  <a:cubicBezTo>
                    <a:pt x="414582" y="31726"/>
                    <a:pt x="415127" y="31903"/>
                    <a:pt x="415711" y="32043"/>
                  </a:cubicBezTo>
                  <a:cubicBezTo>
                    <a:pt x="419516" y="33008"/>
                    <a:pt x="423384" y="33656"/>
                    <a:pt x="427304" y="33974"/>
                  </a:cubicBezTo>
                  <a:cubicBezTo>
                    <a:pt x="432492" y="34215"/>
                    <a:pt x="437515" y="35968"/>
                    <a:pt x="441726" y="39016"/>
                  </a:cubicBezTo>
                  <a:cubicBezTo>
                    <a:pt x="441726" y="39016"/>
                    <a:pt x="437324" y="96648"/>
                    <a:pt x="434090" y="132056"/>
                  </a:cubicBezTo>
                  <a:cubicBezTo>
                    <a:pt x="430906" y="167438"/>
                    <a:pt x="438403" y="229668"/>
                    <a:pt x="438403" y="256478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7" name="Vrije vorm 326">
              <a:extLst>
                <a:ext uri="{FF2B5EF4-FFF2-40B4-BE49-F238E27FC236}">
                  <a16:creationId xmlns:a16="http://schemas.microsoft.com/office/drawing/2014/main" id="{B43F14B5-7152-F046-BA19-376C535DF1AB}"/>
                </a:ext>
              </a:extLst>
            </p:cNvPr>
            <p:cNvSpPr/>
            <p:nvPr/>
          </p:nvSpPr>
          <p:spPr>
            <a:xfrm>
              <a:off x="5704764" y="3263251"/>
              <a:ext cx="112600" cy="237083"/>
            </a:xfrm>
            <a:custGeom>
              <a:avLst/>
              <a:gdLst>
                <a:gd name="connsiteX0" fmla="*/ 106697 w 112600"/>
                <a:gd name="connsiteY0" fmla="*/ 168733 h 237083"/>
                <a:gd name="connsiteX1" fmla="*/ 86885 w 112600"/>
                <a:gd name="connsiteY1" fmla="*/ 180036 h 237083"/>
                <a:gd name="connsiteX2" fmla="*/ 82610 w 112600"/>
                <a:gd name="connsiteY2" fmla="*/ 189663 h 237083"/>
                <a:gd name="connsiteX3" fmla="*/ 72957 w 112600"/>
                <a:gd name="connsiteY3" fmla="*/ 199340 h 237083"/>
                <a:gd name="connsiteX4" fmla="*/ 74568 w 112600"/>
                <a:gd name="connsiteY4" fmla="*/ 221337 h 237083"/>
                <a:gd name="connsiteX5" fmla="*/ 55606 w 112600"/>
                <a:gd name="connsiteY5" fmla="*/ 237085 h 237083"/>
                <a:gd name="connsiteX6" fmla="*/ 47247 w 112600"/>
                <a:gd name="connsiteY6" fmla="*/ 192901 h 237083"/>
                <a:gd name="connsiteX7" fmla="*/ 11883 w 112600"/>
                <a:gd name="connsiteY7" fmla="*/ 142457 h 237083"/>
                <a:gd name="connsiteX8" fmla="*/ 3334 w 112600"/>
                <a:gd name="connsiteY8" fmla="*/ 109208 h 237083"/>
                <a:gd name="connsiteX9" fmla="*/ 19379 w 112600"/>
                <a:gd name="connsiteY9" fmla="*/ 80278 h 237083"/>
                <a:gd name="connsiteX10" fmla="*/ 20458 w 112600"/>
                <a:gd name="connsiteY10" fmla="*/ 56656 h 237083"/>
                <a:gd name="connsiteX11" fmla="*/ 22614 w 112600"/>
                <a:gd name="connsiteY11" fmla="*/ 21235 h 237083"/>
                <a:gd name="connsiteX12" fmla="*/ 24770 w 112600"/>
                <a:gd name="connsiteY12" fmla="*/ 12282 h 237083"/>
                <a:gd name="connsiteX13" fmla="*/ 35387 w 112600"/>
                <a:gd name="connsiteY13" fmla="*/ 11609 h 237083"/>
                <a:gd name="connsiteX14" fmla="*/ 64142 w 112600"/>
                <a:gd name="connsiteY14" fmla="*/ 1 h 237083"/>
                <a:gd name="connsiteX15" fmla="*/ 65854 w 112600"/>
                <a:gd name="connsiteY15" fmla="*/ 179 h 237083"/>
                <a:gd name="connsiteX16" fmla="*/ 75329 w 112600"/>
                <a:gd name="connsiteY16" fmla="*/ 5310 h 237083"/>
                <a:gd name="connsiteX17" fmla="*/ 75380 w 112600"/>
                <a:gd name="connsiteY17" fmla="*/ 5399 h 237083"/>
                <a:gd name="connsiteX18" fmla="*/ 82382 w 112600"/>
                <a:gd name="connsiteY18" fmla="*/ 13057 h 237083"/>
                <a:gd name="connsiteX19" fmla="*/ 93620 w 112600"/>
                <a:gd name="connsiteY19" fmla="*/ 7977 h 237083"/>
                <a:gd name="connsiteX20" fmla="*/ 96499 w 112600"/>
                <a:gd name="connsiteY20" fmla="*/ 6669 h 237083"/>
                <a:gd name="connsiteX21" fmla="*/ 98922 w 112600"/>
                <a:gd name="connsiteY21" fmla="*/ 5589 h 237083"/>
                <a:gd name="connsiteX22" fmla="*/ 98161 w 112600"/>
                <a:gd name="connsiteY22" fmla="*/ 7888 h 237083"/>
                <a:gd name="connsiteX23" fmla="*/ 94127 w 112600"/>
                <a:gd name="connsiteY23" fmla="*/ 18226 h 237083"/>
                <a:gd name="connsiteX24" fmla="*/ 85401 w 112600"/>
                <a:gd name="connsiteY24" fmla="*/ 37758 h 237083"/>
                <a:gd name="connsiteX25" fmla="*/ 93671 w 112600"/>
                <a:gd name="connsiteY25" fmla="*/ 49595 h 237083"/>
                <a:gd name="connsiteX26" fmla="*/ 97450 w 112600"/>
                <a:gd name="connsiteY26" fmla="*/ 55538 h 237083"/>
                <a:gd name="connsiteX27" fmla="*/ 95472 w 112600"/>
                <a:gd name="connsiteY27" fmla="*/ 75820 h 237083"/>
                <a:gd name="connsiteX28" fmla="*/ 81900 w 112600"/>
                <a:gd name="connsiteY28" fmla="*/ 91479 h 237083"/>
                <a:gd name="connsiteX29" fmla="*/ 71879 w 112600"/>
                <a:gd name="connsiteY29" fmla="*/ 108497 h 237083"/>
                <a:gd name="connsiteX30" fmla="*/ 84056 w 112600"/>
                <a:gd name="connsiteY30" fmla="*/ 120422 h 237083"/>
                <a:gd name="connsiteX31" fmla="*/ 86479 w 112600"/>
                <a:gd name="connsiteY31" fmla="*/ 121769 h 237083"/>
                <a:gd name="connsiteX32" fmla="*/ 89624 w 112600"/>
                <a:gd name="connsiteY32" fmla="*/ 124106 h 237083"/>
                <a:gd name="connsiteX33" fmla="*/ 92948 w 112600"/>
                <a:gd name="connsiteY33" fmla="*/ 127344 h 237083"/>
                <a:gd name="connsiteX34" fmla="*/ 109348 w 112600"/>
                <a:gd name="connsiteY34" fmla="*/ 142508 h 237083"/>
                <a:gd name="connsiteX35" fmla="*/ 112139 w 112600"/>
                <a:gd name="connsiteY35" fmla="*/ 143460 h 237083"/>
                <a:gd name="connsiteX36" fmla="*/ 111555 w 112600"/>
                <a:gd name="connsiteY36" fmla="*/ 151601 h 237083"/>
                <a:gd name="connsiteX37" fmla="*/ 106697 w 112600"/>
                <a:gd name="connsiteY37" fmla="*/ 168733 h 237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12600" h="237083">
                  <a:moveTo>
                    <a:pt x="106697" y="168733"/>
                  </a:moveTo>
                  <a:cubicBezTo>
                    <a:pt x="96550" y="173597"/>
                    <a:pt x="88495" y="173597"/>
                    <a:pt x="86885" y="180036"/>
                  </a:cubicBezTo>
                  <a:cubicBezTo>
                    <a:pt x="85261" y="186462"/>
                    <a:pt x="91692" y="188583"/>
                    <a:pt x="82610" y="189663"/>
                  </a:cubicBezTo>
                  <a:cubicBezTo>
                    <a:pt x="73490" y="190742"/>
                    <a:pt x="72412" y="190742"/>
                    <a:pt x="72957" y="199340"/>
                  </a:cubicBezTo>
                  <a:cubicBezTo>
                    <a:pt x="73490" y="207925"/>
                    <a:pt x="79921" y="213831"/>
                    <a:pt x="74568" y="221337"/>
                  </a:cubicBezTo>
                  <a:cubicBezTo>
                    <a:pt x="69101" y="227534"/>
                    <a:pt x="62696" y="232856"/>
                    <a:pt x="55606" y="237085"/>
                  </a:cubicBezTo>
                  <a:cubicBezTo>
                    <a:pt x="51965" y="217285"/>
                    <a:pt x="47881" y="198439"/>
                    <a:pt x="47247" y="192901"/>
                  </a:cubicBezTo>
                  <a:cubicBezTo>
                    <a:pt x="46168" y="183224"/>
                    <a:pt x="30123" y="162840"/>
                    <a:pt x="11883" y="142457"/>
                  </a:cubicBezTo>
                  <a:cubicBezTo>
                    <a:pt x="-6319" y="122074"/>
                    <a:pt x="1190" y="124233"/>
                    <a:pt x="3334" y="109208"/>
                  </a:cubicBezTo>
                  <a:cubicBezTo>
                    <a:pt x="5452" y="94184"/>
                    <a:pt x="14039" y="88825"/>
                    <a:pt x="19379" y="80278"/>
                  </a:cubicBezTo>
                  <a:cubicBezTo>
                    <a:pt x="24732" y="71680"/>
                    <a:pt x="22614" y="66333"/>
                    <a:pt x="20458" y="56656"/>
                  </a:cubicBezTo>
                  <a:cubicBezTo>
                    <a:pt x="19709" y="44807"/>
                    <a:pt x="20432" y="32907"/>
                    <a:pt x="22614" y="21235"/>
                  </a:cubicBezTo>
                  <a:cubicBezTo>
                    <a:pt x="22487" y="18111"/>
                    <a:pt x="23235" y="15012"/>
                    <a:pt x="24770" y="12282"/>
                  </a:cubicBezTo>
                  <a:cubicBezTo>
                    <a:pt x="28271" y="13400"/>
                    <a:pt x="32051" y="13158"/>
                    <a:pt x="35387" y="11609"/>
                  </a:cubicBezTo>
                  <a:cubicBezTo>
                    <a:pt x="44189" y="6034"/>
                    <a:pt x="53931" y="2109"/>
                    <a:pt x="64142" y="1"/>
                  </a:cubicBezTo>
                  <a:cubicBezTo>
                    <a:pt x="64725" y="52"/>
                    <a:pt x="65271" y="90"/>
                    <a:pt x="65854" y="179"/>
                  </a:cubicBezTo>
                  <a:cubicBezTo>
                    <a:pt x="69444" y="928"/>
                    <a:pt x="72742" y="2719"/>
                    <a:pt x="75329" y="5310"/>
                  </a:cubicBezTo>
                  <a:lnTo>
                    <a:pt x="75380" y="5399"/>
                  </a:lnTo>
                  <a:cubicBezTo>
                    <a:pt x="77942" y="7735"/>
                    <a:pt x="80289" y="10301"/>
                    <a:pt x="82382" y="13057"/>
                  </a:cubicBezTo>
                  <a:cubicBezTo>
                    <a:pt x="85756" y="11520"/>
                    <a:pt x="89219" y="9945"/>
                    <a:pt x="93620" y="7977"/>
                  </a:cubicBezTo>
                  <a:cubicBezTo>
                    <a:pt x="94571" y="7570"/>
                    <a:pt x="95510" y="7113"/>
                    <a:pt x="96499" y="6669"/>
                  </a:cubicBezTo>
                  <a:cubicBezTo>
                    <a:pt x="97311" y="6313"/>
                    <a:pt x="98072" y="5945"/>
                    <a:pt x="98922" y="5589"/>
                  </a:cubicBezTo>
                  <a:cubicBezTo>
                    <a:pt x="98655" y="6402"/>
                    <a:pt x="98389" y="7164"/>
                    <a:pt x="98161" y="7888"/>
                  </a:cubicBezTo>
                  <a:cubicBezTo>
                    <a:pt x="97362" y="11520"/>
                    <a:pt x="95992" y="15012"/>
                    <a:pt x="94127" y="18226"/>
                  </a:cubicBezTo>
                  <a:cubicBezTo>
                    <a:pt x="86352" y="28576"/>
                    <a:pt x="83295" y="32412"/>
                    <a:pt x="85401" y="37758"/>
                  </a:cubicBezTo>
                  <a:cubicBezTo>
                    <a:pt x="87582" y="42076"/>
                    <a:pt x="90360" y="46064"/>
                    <a:pt x="93671" y="49595"/>
                  </a:cubicBezTo>
                  <a:cubicBezTo>
                    <a:pt x="95180" y="51398"/>
                    <a:pt x="96449" y="53405"/>
                    <a:pt x="97450" y="55538"/>
                  </a:cubicBezTo>
                  <a:cubicBezTo>
                    <a:pt x="100558" y="62155"/>
                    <a:pt x="99797" y="69940"/>
                    <a:pt x="95472" y="75820"/>
                  </a:cubicBezTo>
                  <a:cubicBezTo>
                    <a:pt x="91603" y="81586"/>
                    <a:pt x="87050" y="86844"/>
                    <a:pt x="81900" y="91479"/>
                  </a:cubicBezTo>
                  <a:cubicBezTo>
                    <a:pt x="74302" y="98680"/>
                    <a:pt x="70890" y="103862"/>
                    <a:pt x="71879" y="108497"/>
                  </a:cubicBezTo>
                  <a:cubicBezTo>
                    <a:pt x="72640" y="112498"/>
                    <a:pt x="76636" y="116143"/>
                    <a:pt x="84056" y="120422"/>
                  </a:cubicBezTo>
                  <a:cubicBezTo>
                    <a:pt x="84817" y="120829"/>
                    <a:pt x="85629" y="121312"/>
                    <a:pt x="86479" y="121769"/>
                  </a:cubicBezTo>
                  <a:cubicBezTo>
                    <a:pt x="87608" y="122429"/>
                    <a:pt x="88660" y="123216"/>
                    <a:pt x="89624" y="124106"/>
                  </a:cubicBezTo>
                  <a:cubicBezTo>
                    <a:pt x="90804" y="125122"/>
                    <a:pt x="91908" y="126201"/>
                    <a:pt x="92948" y="127344"/>
                  </a:cubicBezTo>
                  <a:cubicBezTo>
                    <a:pt x="98440" y="133059"/>
                    <a:pt x="104503" y="140844"/>
                    <a:pt x="109348" y="142508"/>
                  </a:cubicBezTo>
                  <a:cubicBezTo>
                    <a:pt x="110300" y="142825"/>
                    <a:pt x="111238" y="143181"/>
                    <a:pt x="112139" y="143460"/>
                  </a:cubicBezTo>
                  <a:cubicBezTo>
                    <a:pt x="112088" y="146178"/>
                    <a:pt x="111898" y="148896"/>
                    <a:pt x="111555" y="151601"/>
                  </a:cubicBezTo>
                  <a:cubicBezTo>
                    <a:pt x="110477" y="159653"/>
                    <a:pt x="116908" y="163920"/>
                    <a:pt x="106697" y="168733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8" name="Vrije vorm 327">
              <a:extLst>
                <a:ext uri="{FF2B5EF4-FFF2-40B4-BE49-F238E27FC236}">
                  <a16:creationId xmlns:a16="http://schemas.microsoft.com/office/drawing/2014/main" id="{B0E9E982-FAA4-FB47-9A4C-0E3A702A204D}"/>
                </a:ext>
              </a:extLst>
            </p:cNvPr>
            <p:cNvSpPr/>
            <p:nvPr/>
          </p:nvSpPr>
          <p:spPr>
            <a:xfrm>
              <a:off x="5011699" y="3595267"/>
              <a:ext cx="334760" cy="380477"/>
            </a:xfrm>
            <a:custGeom>
              <a:avLst/>
              <a:gdLst>
                <a:gd name="connsiteX0" fmla="*/ 318194 w 334760"/>
                <a:gd name="connsiteY0" fmla="*/ 274943 h 380477"/>
                <a:gd name="connsiteX1" fmla="*/ 323002 w 334760"/>
                <a:gd name="connsiteY1" fmla="*/ 357011 h 380477"/>
                <a:gd name="connsiteX2" fmla="*/ 304800 w 334760"/>
                <a:gd name="connsiteY2" fmla="*/ 358637 h 380477"/>
                <a:gd name="connsiteX3" fmla="*/ 224446 w 334760"/>
                <a:gd name="connsiteY3" fmla="*/ 359716 h 380477"/>
                <a:gd name="connsiteX4" fmla="*/ 212091 w 334760"/>
                <a:gd name="connsiteY4" fmla="*/ 352731 h 380477"/>
                <a:gd name="connsiteX5" fmla="*/ 204633 w 334760"/>
                <a:gd name="connsiteY5" fmla="*/ 359716 h 380477"/>
                <a:gd name="connsiteX6" fmla="*/ 179417 w 334760"/>
                <a:gd name="connsiteY6" fmla="*/ 360796 h 380477"/>
                <a:gd name="connsiteX7" fmla="*/ 169802 w 334760"/>
                <a:gd name="connsiteY7" fmla="*/ 369876 h 380477"/>
                <a:gd name="connsiteX8" fmla="*/ 164944 w 334760"/>
                <a:gd name="connsiteY8" fmla="*/ 363983 h 380477"/>
                <a:gd name="connsiteX9" fmla="*/ 152628 w 334760"/>
                <a:gd name="connsiteY9" fmla="*/ 353811 h 380477"/>
                <a:gd name="connsiteX10" fmla="*/ 144586 w 334760"/>
                <a:gd name="connsiteY10" fmla="*/ 361875 h 380477"/>
                <a:gd name="connsiteX11" fmla="*/ 141402 w 334760"/>
                <a:gd name="connsiteY11" fmla="*/ 376315 h 380477"/>
                <a:gd name="connsiteX12" fmla="*/ 131509 w 334760"/>
                <a:gd name="connsiteY12" fmla="*/ 379604 h 380477"/>
                <a:gd name="connsiteX13" fmla="*/ 127463 w 334760"/>
                <a:gd name="connsiteY13" fmla="*/ 374194 h 380477"/>
                <a:gd name="connsiteX14" fmla="*/ 116770 w 334760"/>
                <a:gd name="connsiteY14" fmla="*/ 366688 h 380477"/>
                <a:gd name="connsiteX15" fmla="*/ 105494 w 334760"/>
                <a:gd name="connsiteY15" fmla="*/ 354357 h 380477"/>
                <a:gd name="connsiteX16" fmla="*/ 97452 w 334760"/>
                <a:gd name="connsiteY16" fmla="*/ 340412 h 380477"/>
                <a:gd name="connsiteX17" fmla="*/ 85668 w 334760"/>
                <a:gd name="connsiteY17" fmla="*/ 337174 h 380477"/>
                <a:gd name="connsiteX18" fmla="*/ 76599 w 334760"/>
                <a:gd name="connsiteY18" fmla="*/ 327534 h 380477"/>
                <a:gd name="connsiteX19" fmla="*/ 54084 w 334760"/>
                <a:gd name="connsiteY19" fmla="*/ 322137 h 380477"/>
                <a:gd name="connsiteX20" fmla="*/ 31557 w 334760"/>
                <a:gd name="connsiteY20" fmla="*/ 326455 h 380477"/>
                <a:gd name="connsiteX21" fmla="*/ 14307 w 334760"/>
                <a:gd name="connsiteY21" fmla="*/ 327852 h 380477"/>
                <a:gd name="connsiteX22" fmla="*/ 14040 w 334760"/>
                <a:gd name="connsiteY22" fmla="*/ 306351 h 380477"/>
                <a:gd name="connsiteX23" fmla="*/ 23655 w 334760"/>
                <a:gd name="connsiteY23" fmla="*/ 272327 h 380477"/>
                <a:gd name="connsiteX24" fmla="*/ 23566 w 334760"/>
                <a:gd name="connsiteY24" fmla="*/ 269990 h 380477"/>
                <a:gd name="connsiteX25" fmla="*/ 17097 w 334760"/>
                <a:gd name="connsiteY25" fmla="*/ 233186 h 380477"/>
                <a:gd name="connsiteX26" fmla="*/ 17097 w 334760"/>
                <a:gd name="connsiteY26" fmla="*/ 228284 h 380477"/>
                <a:gd name="connsiteX27" fmla="*/ 17097 w 334760"/>
                <a:gd name="connsiteY27" fmla="*/ 227738 h 380477"/>
                <a:gd name="connsiteX28" fmla="*/ 18125 w 334760"/>
                <a:gd name="connsiteY28" fmla="*/ 219457 h 380477"/>
                <a:gd name="connsiteX29" fmla="*/ 18214 w 334760"/>
                <a:gd name="connsiteY29" fmla="*/ 219051 h 380477"/>
                <a:gd name="connsiteX30" fmla="*/ 7698 w 334760"/>
                <a:gd name="connsiteY30" fmla="*/ 199658 h 380477"/>
                <a:gd name="connsiteX31" fmla="*/ -26 w 334760"/>
                <a:gd name="connsiteY31" fmla="*/ 187237 h 380477"/>
                <a:gd name="connsiteX32" fmla="*/ 21410 w 334760"/>
                <a:gd name="connsiteY32" fmla="*/ 181611 h 380477"/>
                <a:gd name="connsiteX33" fmla="*/ 60008 w 334760"/>
                <a:gd name="connsiteY33" fmla="*/ 181929 h 380477"/>
                <a:gd name="connsiteX34" fmla="*/ 93177 w 334760"/>
                <a:gd name="connsiteY34" fmla="*/ 187009 h 380477"/>
                <a:gd name="connsiteX35" fmla="*/ 106026 w 334760"/>
                <a:gd name="connsiteY35" fmla="*/ 163387 h 380477"/>
                <a:gd name="connsiteX36" fmla="*/ 114613 w 334760"/>
                <a:gd name="connsiteY36" fmla="*/ 132297 h 380477"/>
                <a:gd name="connsiteX37" fmla="*/ 137128 w 334760"/>
                <a:gd name="connsiteY37" fmla="*/ 109755 h 380477"/>
                <a:gd name="connsiteX38" fmla="*/ 137128 w 334760"/>
                <a:gd name="connsiteY38" fmla="*/ 61469 h 380477"/>
                <a:gd name="connsiteX39" fmla="*/ 157486 w 334760"/>
                <a:gd name="connsiteY39" fmla="*/ 41086 h 380477"/>
                <a:gd name="connsiteX40" fmla="*/ 194968 w 334760"/>
                <a:gd name="connsiteY40" fmla="*/ 43245 h 380477"/>
                <a:gd name="connsiteX41" fmla="*/ 228175 w 334760"/>
                <a:gd name="connsiteY41" fmla="*/ 34659 h 380477"/>
                <a:gd name="connsiteX42" fmla="*/ 232450 w 334760"/>
                <a:gd name="connsiteY42" fmla="*/ 5678 h 380477"/>
                <a:gd name="connsiteX43" fmla="*/ 232716 w 334760"/>
                <a:gd name="connsiteY43" fmla="*/ 1 h 380477"/>
                <a:gd name="connsiteX44" fmla="*/ 334735 w 334760"/>
                <a:gd name="connsiteY44" fmla="*/ 67857 h 380477"/>
                <a:gd name="connsiteX45" fmla="*/ 299460 w 334760"/>
                <a:gd name="connsiteY45" fmla="*/ 86666 h 380477"/>
                <a:gd name="connsiteX46" fmla="*/ 298369 w 334760"/>
                <a:gd name="connsiteY46" fmla="*/ 170905 h 380477"/>
                <a:gd name="connsiteX47" fmla="*/ 318194 w 334760"/>
                <a:gd name="connsiteY47" fmla="*/ 274943 h 380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334760" h="380477">
                  <a:moveTo>
                    <a:pt x="318194" y="274943"/>
                  </a:moveTo>
                  <a:cubicBezTo>
                    <a:pt x="320529" y="286678"/>
                    <a:pt x="329648" y="341530"/>
                    <a:pt x="323002" y="357011"/>
                  </a:cubicBezTo>
                  <a:cubicBezTo>
                    <a:pt x="322051" y="359221"/>
                    <a:pt x="310686" y="358091"/>
                    <a:pt x="304800" y="358637"/>
                  </a:cubicBezTo>
                  <a:cubicBezTo>
                    <a:pt x="297164" y="359348"/>
                    <a:pt x="234060" y="359716"/>
                    <a:pt x="224446" y="359716"/>
                  </a:cubicBezTo>
                  <a:cubicBezTo>
                    <a:pt x="214780" y="359716"/>
                    <a:pt x="216404" y="351652"/>
                    <a:pt x="212091" y="352731"/>
                  </a:cubicBezTo>
                  <a:cubicBezTo>
                    <a:pt x="207817" y="353811"/>
                    <a:pt x="212624" y="357544"/>
                    <a:pt x="204633" y="359716"/>
                  </a:cubicBezTo>
                  <a:cubicBezTo>
                    <a:pt x="196579" y="361875"/>
                    <a:pt x="199230" y="359716"/>
                    <a:pt x="179417" y="360796"/>
                  </a:cubicBezTo>
                  <a:cubicBezTo>
                    <a:pt x="159604" y="361875"/>
                    <a:pt x="175688" y="362904"/>
                    <a:pt x="169802" y="369876"/>
                  </a:cubicBezTo>
                  <a:cubicBezTo>
                    <a:pt x="163917" y="376861"/>
                    <a:pt x="167646" y="367222"/>
                    <a:pt x="164944" y="363983"/>
                  </a:cubicBezTo>
                  <a:cubicBezTo>
                    <a:pt x="162255" y="359170"/>
                    <a:pt x="157867" y="355538"/>
                    <a:pt x="152628" y="353811"/>
                  </a:cubicBezTo>
                  <a:cubicBezTo>
                    <a:pt x="145664" y="352198"/>
                    <a:pt x="147288" y="354357"/>
                    <a:pt x="144586" y="361875"/>
                  </a:cubicBezTo>
                  <a:cubicBezTo>
                    <a:pt x="141935" y="369343"/>
                    <a:pt x="146210" y="369343"/>
                    <a:pt x="141402" y="376315"/>
                  </a:cubicBezTo>
                  <a:cubicBezTo>
                    <a:pt x="137268" y="382297"/>
                    <a:pt x="132727" y="380277"/>
                    <a:pt x="131509" y="379604"/>
                  </a:cubicBezTo>
                  <a:cubicBezTo>
                    <a:pt x="130596" y="377509"/>
                    <a:pt x="129213" y="375667"/>
                    <a:pt x="127463" y="374194"/>
                  </a:cubicBezTo>
                  <a:cubicBezTo>
                    <a:pt x="121044" y="368847"/>
                    <a:pt x="125851" y="375820"/>
                    <a:pt x="116770" y="366688"/>
                  </a:cubicBezTo>
                  <a:cubicBezTo>
                    <a:pt x="107650" y="357544"/>
                    <a:pt x="111379" y="360250"/>
                    <a:pt x="105494" y="354357"/>
                  </a:cubicBezTo>
                  <a:cubicBezTo>
                    <a:pt x="99608" y="348464"/>
                    <a:pt x="102297" y="344146"/>
                    <a:pt x="97452" y="340412"/>
                  </a:cubicBezTo>
                  <a:cubicBezTo>
                    <a:pt x="92632" y="336628"/>
                    <a:pt x="89448" y="340945"/>
                    <a:pt x="85668" y="337174"/>
                  </a:cubicBezTo>
                  <a:cubicBezTo>
                    <a:pt x="81939" y="333427"/>
                    <a:pt x="85668" y="331814"/>
                    <a:pt x="76599" y="327534"/>
                  </a:cubicBezTo>
                  <a:cubicBezTo>
                    <a:pt x="69952" y="323140"/>
                    <a:pt x="61987" y="321235"/>
                    <a:pt x="54084" y="322137"/>
                  </a:cubicBezTo>
                  <a:cubicBezTo>
                    <a:pt x="41768" y="322683"/>
                    <a:pt x="41768" y="326455"/>
                    <a:pt x="31557" y="326455"/>
                  </a:cubicBezTo>
                  <a:cubicBezTo>
                    <a:pt x="21410" y="326455"/>
                    <a:pt x="20738" y="320333"/>
                    <a:pt x="14307" y="327852"/>
                  </a:cubicBezTo>
                  <a:cubicBezTo>
                    <a:pt x="14446" y="321870"/>
                    <a:pt x="14358" y="314809"/>
                    <a:pt x="14040" y="306351"/>
                  </a:cubicBezTo>
                  <a:cubicBezTo>
                    <a:pt x="18695" y="295467"/>
                    <a:pt x="21917" y="284037"/>
                    <a:pt x="23655" y="272327"/>
                  </a:cubicBezTo>
                  <a:cubicBezTo>
                    <a:pt x="23693" y="271553"/>
                    <a:pt x="23668" y="270765"/>
                    <a:pt x="23566" y="269990"/>
                  </a:cubicBezTo>
                  <a:cubicBezTo>
                    <a:pt x="20573" y="257888"/>
                    <a:pt x="18416" y="245581"/>
                    <a:pt x="17097" y="233186"/>
                  </a:cubicBezTo>
                  <a:cubicBezTo>
                    <a:pt x="17009" y="231548"/>
                    <a:pt x="17009" y="229909"/>
                    <a:pt x="17097" y="228284"/>
                  </a:cubicBezTo>
                  <a:lnTo>
                    <a:pt x="17097" y="227738"/>
                  </a:lnTo>
                  <a:cubicBezTo>
                    <a:pt x="17224" y="224956"/>
                    <a:pt x="17567" y="222188"/>
                    <a:pt x="18125" y="219457"/>
                  </a:cubicBezTo>
                  <a:cubicBezTo>
                    <a:pt x="18176" y="219318"/>
                    <a:pt x="18176" y="219190"/>
                    <a:pt x="18214" y="219051"/>
                  </a:cubicBezTo>
                  <a:cubicBezTo>
                    <a:pt x="19393" y="213514"/>
                    <a:pt x="12290" y="205513"/>
                    <a:pt x="7698" y="199658"/>
                  </a:cubicBezTo>
                  <a:cubicBezTo>
                    <a:pt x="4603" y="195873"/>
                    <a:pt x="2003" y="191695"/>
                    <a:pt x="-26" y="187237"/>
                  </a:cubicBezTo>
                  <a:cubicBezTo>
                    <a:pt x="-26" y="187237"/>
                    <a:pt x="5327" y="185942"/>
                    <a:pt x="21410" y="181611"/>
                  </a:cubicBezTo>
                  <a:cubicBezTo>
                    <a:pt x="34209" y="179643"/>
                    <a:pt x="47248" y="179757"/>
                    <a:pt x="60008" y="181929"/>
                  </a:cubicBezTo>
                  <a:cubicBezTo>
                    <a:pt x="72286" y="183415"/>
                    <a:pt x="84463" y="185574"/>
                    <a:pt x="93177" y="187009"/>
                  </a:cubicBezTo>
                  <a:cubicBezTo>
                    <a:pt x="112457" y="190209"/>
                    <a:pt x="104948" y="178424"/>
                    <a:pt x="106026" y="163387"/>
                  </a:cubicBezTo>
                  <a:cubicBezTo>
                    <a:pt x="106965" y="152592"/>
                    <a:pt x="109870" y="142051"/>
                    <a:pt x="114613" y="132297"/>
                  </a:cubicBezTo>
                  <a:cubicBezTo>
                    <a:pt x="118888" y="120461"/>
                    <a:pt x="130709" y="119432"/>
                    <a:pt x="137128" y="109755"/>
                  </a:cubicBezTo>
                  <a:cubicBezTo>
                    <a:pt x="143559" y="100077"/>
                    <a:pt x="134971" y="82932"/>
                    <a:pt x="137128" y="61469"/>
                  </a:cubicBezTo>
                  <a:cubicBezTo>
                    <a:pt x="139246" y="40006"/>
                    <a:pt x="146742" y="47525"/>
                    <a:pt x="157486" y="41086"/>
                  </a:cubicBezTo>
                  <a:cubicBezTo>
                    <a:pt x="168179" y="34659"/>
                    <a:pt x="172453" y="41086"/>
                    <a:pt x="194968" y="43245"/>
                  </a:cubicBezTo>
                  <a:cubicBezTo>
                    <a:pt x="217482" y="45366"/>
                    <a:pt x="212091" y="44324"/>
                    <a:pt x="228175" y="34659"/>
                  </a:cubicBezTo>
                  <a:cubicBezTo>
                    <a:pt x="244271" y="25020"/>
                    <a:pt x="231410" y="12117"/>
                    <a:pt x="232450" y="5678"/>
                  </a:cubicBezTo>
                  <a:cubicBezTo>
                    <a:pt x="232678" y="3799"/>
                    <a:pt x="232779" y="1906"/>
                    <a:pt x="232716" y="1"/>
                  </a:cubicBezTo>
                  <a:cubicBezTo>
                    <a:pt x="236762" y="319"/>
                    <a:pt x="282818" y="31637"/>
                    <a:pt x="334735" y="67857"/>
                  </a:cubicBezTo>
                  <a:cubicBezTo>
                    <a:pt x="312258" y="66244"/>
                    <a:pt x="313336" y="65749"/>
                    <a:pt x="299460" y="86666"/>
                  </a:cubicBezTo>
                  <a:cubicBezTo>
                    <a:pt x="285520" y="107596"/>
                    <a:pt x="297304" y="153214"/>
                    <a:pt x="298369" y="170905"/>
                  </a:cubicBezTo>
                  <a:cubicBezTo>
                    <a:pt x="299460" y="188584"/>
                    <a:pt x="315493" y="261532"/>
                    <a:pt x="318194" y="274943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9" name="Vrije vorm 328">
              <a:extLst>
                <a:ext uri="{FF2B5EF4-FFF2-40B4-BE49-F238E27FC236}">
                  <a16:creationId xmlns:a16="http://schemas.microsoft.com/office/drawing/2014/main" id="{4F974E6B-248A-1A40-8A5B-07C0559E1F38}"/>
                </a:ext>
              </a:extLst>
            </p:cNvPr>
            <p:cNvSpPr/>
            <p:nvPr/>
          </p:nvSpPr>
          <p:spPr>
            <a:xfrm>
              <a:off x="5244200" y="3269047"/>
              <a:ext cx="585767" cy="579236"/>
            </a:xfrm>
            <a:custGeom>
              <a:avLst/>
              <a:gdLst>
                <a:gd name="connsiteX0" fmla="*/ 585742 w 585767"/>
                <a:gd name="connsiteY0" fmla="*/ 447050 h 579236"/>
                <a:gd name="connsiteX1" fmla="*/ 562466 w 585767"/>
                <a:gd name="connsiteY1" fmla="*/ 453120 h 579236"/>
                <a:gd name="connsiteX2" fmla="*/ 514241 w 585767"/>
                <a:gd name="connsiteY2" fmla="*/ 489620 h 579236"/>
                <a:gd name="connsiteX3" fmla="*/ 447814 w 585767"/>
                <a:gd name="connsiteY3" fmla="*/ 542173 h 579236"/>
                <a:gd name="connsiteX4" fmla="*/ 376047 w 585767"/>
                <a:gd name="connsiteY4" fmla="*/ 575421 h 579236"/>
                <a:gd name="connsiteX5" fmla="*/ 365354 w 585767"/>
                <a:gd name="connsiteY5" fmla="*/ 577580 h 579236"/>
                <a:gd name="connsiteX6" fmla="*/ 342840 w 585767"/>
                <a:gd name="connsiteY6" fmla="*/ 578660 h 579236"/>
                <a:gd name="connsiteX7" fmla="*/ 335331 w 585767"/>
                <a:gd name="connsiteY7" fmla="*/ 567903 h 579236"/>
                <a:gd name="connsiteX8" fmla="*/ 326756 w 585767"/>
                <a:gd name="connsiteY8" fmla="*/ 553958 h 579236"/>
                <a:gd name="connsiteX9" fmla="*/ 311738 w 585767"/>
                <a:gd name="connsiteY9" fmla="*/ 545411 h 579236"/>
                <a:gd name="connsiteX10" fmla="*/ 296733 w 585767"/>
                <a:gd name="connsiteY10" fmla="*/ 544332 h 579236"/>
                <a:gd name="connsiteX11" fmla="*/ 281765 w 585767"/>
                <a:gd name="connsiteY11" fmla="*/ 528215 h 579236"/>
                <a:gd name="connsiteX12" fmla="*/ 254976 w 585767"/>
                <a:gd name="connsiteY12" fmla="*/ 503564 h 579236"/>
                <a:gd name="connsiteX13" fmla="*/ 102233 w 585767"/>
                <a:gd name="connsiteY13" fmla="*/ 394091 h 579236"/>
                <a:gd name="connsiteX14" fmla="*/ 215 w 585767"/>
                <a:gd name="connsiteY14" fmla="*/ 326234 h 579236"/>
                <a:gd name="connsiteX15" fmla="*/ 1026 w 585767"/>
                <a:gd name="connsiteY15" fmla="*/ 284705 h 579236"/>
                <a:gd name="connsiteX16" fmla="*/ 19266 w 585767"/>
                <a:gd name="connsiteY16" fmla="*/ 268640 h 579236"/>
                <a:gd name="connsiteX17" fmla="*/ 36390 w 585767"/>
                <a:gd name="connsiteY17" fmla="*/ 257883 h 579236"/>
                <a:gd name="connsiteX18" fmla="*/ 57826 w 585767"/>
                <a:gd name="connsiteY18" fmla="*/ 255775 h 579236"/>
                <a:gd name="connsiteX19" fmla="*/ 81381 w 585767"/>
                <a:gd name="connsiteY19" fmla="*/ 256854 h 579236"/>
                <a:gd name="connsiteX20" fmla="*/ 91046 w 585767"/>
                <a:gd name="connsiteY20" fmla="*/ 246097 h 579236"/>
                <a:gd name="connsiteX21" fmla="*/ 113561 w 585767"/>
                <a:gd name="connsiteY21" fmla="*/ 231061 h 579236"/>
                <a:gd name="connsiteX22" fmla="*/ 139259 w 585767"/>
                <a:gd name="connsiteY22" fmla="*/ 210690 h 579236"/>
                <a:gd name="connsiteX23" fmla="*/ 139259 w 585767"/>
                <a:gd name="connsiteY23" fmla="*/ 191373 h 579236"/>
                <a:gd name="connsiteX24" fmla="*/ 148873 w 585767"/>
                <a:gd name="connsiteY24" fmla="*/ 183867 h 579236"/>
                <a:gd name="connsiteX25" fmla="*/ 163891 w 585767"/>
                <a:gd name="connsiteY25" fmla="*/ 175320 h 579236"/>
                <a:gd name="connsiteX26" fmla="*/ 176740 w 585767"/>
                <a:gd name="connsiteY26" fmla="*/ 171002 h 579236"/>
                <a:gd name="connsiteX27" fmla="*/ 203529 w 585767"/>
                <a:gd name="connsiteY27" fmla="*/ 169923 h 579236"/>
                <a:gd name="connsiteX28" fmla="*/ 206764 w 585767"/>
                <a:gd name="connsiteY28" fmla="*/ 148498 h 579236"/>
                <a:gd name="connsiteX29" fmla="*/ 197099 w 585767"/>
                <a:gd name="connsiteY29" fmla="*/ 113090 h 579236"/>
                <a:gd name="connsiteX30" fmla="*/ 188562 w 585767"/>
                <a:gd name="connsiteY30" fmla="*/ 71561 h 579236"/>
                <a:gd name="connsiteX31" fmla="*/ 208337 w 585767"/>
                <a:gd name="connsiteY31" fmla="*/ 57566 h 579236"/>
                <a:gd name="connsiteX32" fmla="*/ 210937 w 585767"/>
                <a:gd name="connsiteY32" fmla="*/ 54823 h 579236"/>
                <a:gd name="connsiteX33" fmla="*/ 212649 w 585767"/>
                <a:gd name="connsiteY33" fmla="*/ 52892 h 579236"/>
                <a:gd name="connsiteX34" fmla="*/ 216873 w 585767"/>
                <a:gd name="connsiteY34" fmla="*/ 51089 h 579236"/>
                <a:gd name="connsiteX35" fmla="*/ 237231 w 585767"/>
                <a:gd name="connsiteY35" fmla="*/ 40421 h 579236"/>
                <a:gd name="connsiteX36" fmla="*/ 255699 w 585767"/>
                <a:gd name="connsiteY36" fmla="*/ 29575 h 579236"/>
                <a:gd name="connsiteX37" fmla="*/ 255839 w 585767"/>
                <a:gd name="connsiteY37" fmla="*/ 29524 h 579236"/>
                <a:gd name="connsiteX38" fmla="*/ 257044 w 585767"/>
                <a:gd name="connsiteY38" fmla="*/ 28851 h 579236"/>
                <a:gd name="connsiteX39" fmla="*/ 302758 w 585767"/>
                <a:gd name="connsiteY39" fmla="*/ 14183 h 579236"/>
                <a:gd name="connsiteX40" fmla="*/ 348421 w 585767"/>
                <a:gd name="connsiteY40" fmla="*/ 5902 h 579236"/>
                <a:gd name="connsiteX41" fmla="*/ 369578 w 585767"/>
                <a:gd name="connsiteY41" fmla="*/ 6182 h 579236"/>
                <a:gd name="connsiteX42" fmla="*/ 391737 w 585767"/>
                <a:gd name="connsiteY42" fmla="*/ 8023 h 579236"/>
                <a:gd name="connsiteX43" fmla="*/ 403965 w 585767"/>
                <a:gd name="connsiteY43" fmla="*/ 8519 h 579236"/>
                <a:gd name="connsiteX44" fmla="*/ 414657 w 585767"/>
                <a:gd name="connsiteY44" fmla="*/ 4416 h 579236"/>
                <a:gd name="connsiteX45" fmla="*/ 473220 w 585767"/>
                <a:gd name="connsiteY45" fmla="*/ 2753 h 579236"/>
                <a:gd name="connsiteX46" fmla="*/ 478332 w 585767"/>
                <a:gd name="connsiteY46" fmla="*/ 4112 h 579236"/>
                <a:gd name="connsiteX47" fmla="*/ 485346 w 585767"/>
                <a:gd name="connsiteY47" fmla="*/ 6486 h 579236"/>
                <a:gd name="connsiteX48" fmla="*/ 483190 w 585767"/>
                <a:gd name="connsiteY48" fmla="*/ 15440 h 579236"/>
                <a:gd name="connsiteX49" fmla="*/ 481034 w 585767"/>
                <a:gd name="connsiteY49" fmla="*/ 50860 h 579236"/>
                <a:gd name="connsiteX50" fmla="*/ 479956 w 585767"/>
                <a:gd name="connsiteY50" fmla="*/ 74482 h 579236"/>
                <a:gd name="connsiteX51" fmla="*/ 463910 w 585767"/>
                <a:gd name="connsiteY51" fmla="*/ 103413 h 579236"/>
                <a:gd name="connsiteX52" fmla="*/ 472459 w 585767"/>
                <a:gd name="connsiteY52" fmla="*/ 136661 h 579236"/>
                <a:gd name="connsiteX53" fmla="*/ 507823 w 585767"/>
                <a:gd name="connsiteY53" fmla="*/ 187106 h 579236"/>
                <a:gd name="connsiteX54" fmla="*/ 516182 w 585767"/>
                <a:gd name="connsiteY54" fmla="*/ 231289 h 579236"/>
                <a:gd name="connsiteX55" fmla="*/ 521750 w 585767"/>
                <a:gd name="connsiteY55" fmla="*/ 271828 h 579236"/>
                <a:gd name="connsiteX56" fmla="*/ 522828 w 585767"/>
                <a:gd name="connsiteY56" fmla="*/ 344777 h 579236"/>
                <a:gd name="connsiteX57" fmla="*/ 519594 w 585767"/>
                <a:gd name="connsiteY57" fmla="*/ 375904 h 579236"/>
                <a:gd name="connsiteX58" fmla="*/ 531416 w 585767"/>
                <a:gd name="connsiteY58" fmla="*/ 402726 h 579236"/>
                <a:gd name="connsiteX59" fmla="*/ 551773 w 585767"/>
                <a:gd name="connsiteY59" fmla="*/ 413433 h 579236"/>
                <a:gd name="connsiteX60" fmla="*/ 576394 w 585767"/>
                <a:gd name="connsiteY60" fmla="*/ 425269 h 579236"/>
                <a:gd name="connsiteX61" fmla="*/ 585742 w 585767"/>
                <a:gd name="connsiteY61" fmla="*/ 447050 h 579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585767" h="579236">
                  <a:moveTo>
                    <a:pt x="585742" y="447050"/>
                  </a:moveTo>
                  <a:cubicBezTo>
                    <a:pt x="577484" y="445996"/>
                    <a:pt x="569151" y="448180"/>
                    <a:pt x="562466" y="453120"/>
                  </a:cubicBezTo>
                  <a:cubicBezTo>
                    <a:pt x="553879" y="460639"/>
                    <a:pt x="514241" y="489620"/>
                    <a:pt x="514241" y="489620"/>
                  </a:cubicBezTo>
                  <a:cubicBezTo>
                    <a:pt x="514241" y="489620"/>
                    <a:pt x="452089" y="540052"/>
                    <a:pt x="447814" y="542173"/>
                  </a:cubicBezTo>
                  <a:cubicBezTo>
                    <a:pt x="443552" y="544332"/>
                    <a:pt x="385662" y="573300"/>
                    <a:pt x="376047" y="575421"/>
                  </a:cubicBezTo>
                  <a:cubicBezTo>
                    <a:pt x="373003" y="576094"/>
                    <a:pt x="369261" y="576907"/>
                    <a:pt x="365354" y="577580"/>
                  </a:cubicBezTo>
                  <a:cubicBezTo>
                    <a:pt x="357985" y="579333"/>
                    <a:pt x="350349" y="579701"/>
                    <a:pt x="342840" y="578660"/>
                  </a:cubicBezTo>
                  <a:cubicBezTo>
                    <a:pt x="335331" y="576501"/>
                    <a:pt x="336421" y="578660"/>
                    <a:pt x="335331" y="567903"/>
                  </a:cubicBezTo>
                  <a:cubicBezTo>
                    <a:pt x="334252" y="557197"/>
                    <a:pt x="337449" y="556117"/>
                    <a:pt x="326756" y="553958"/>
                  </a:cubicBezTo>
                  <a:cubicBezTo>
                    <a:pt x="316051" y="551837"/>
                    <a:pt x="318169" y="548599"/>
                    <a:pt x="311738" y="545411"/>
                  </a:cubicBezTo>
                  <a:cubicBezTo>
                    <a:pt x="305320" y="542173"/>
                    <a:pt x="298800" y="551799"/>
                    <a:pt x="296733" y="544332"/>
                  </a:cubicBezTo>
                  <a:cubicBezTo>
                    <a:pt x="294120" y="534654"/>
                    <a:pt x="287207" y="533308"/>
                    <a:pt x="281765" y="528215"/>
                  </a:cubicBezTo>
                  <a:cubicBezTo>
                    <a:pt x="275702" y="522589"/>
                    <a:pt x="261762" y="510715"/>
                    <a:pt x="254976" y="503564"/>
                  </a:cubicBezTo>
                  <a:cubicBezTo>
                    <a:pt x="251298" y="499691"/>
                    <a:pt x="171578" y="442503"/>
                    <a:pt x="102233" y="394091"/>
                  </a:cubicBezTo>
                  <a:cubicBezTo>
                    <a:pt x="50330" y="357870"/>
                    <a:pt x="4261" y="326552"/>
                    <a:pt x="215" y="326234"/>
                  </a:cubicBezTo>
                  <a:cubicBezTo>
                    <a:pt x="-280" y="312379"/>
                    <a:pt x="-14" y="298523"/>
                    <a:pt x="1026" y="284705"/>
                  </a:cubicBezTo>
                  <a:cubicBezTo>
                    <a:pt x="3182" y="271828"/>
                    <a:pt x="10692" y="276158"/>
                    <a:pt x="19266" y="268640"/>
                  </a:cubicBezTo>
                  <a:cubicBezTo>
                    <a:pt x="24302" y="264068"/>
                    <a:pt x="30098" y="260423"/>
                    <a:pt x="36390" y="257883"/>
                  </a:cubicBezTo>
                  <a:cubicBezTo>
                    <a:pt x="46055" y="252536"/>
                    <a:pt x="51408" y="255775"/>
                    <a:pt x="57826" y="255775"/>
                  </a:cubicBezTo>
                  <a:cubicBezTo>
                    <a:pt x="64257" y="255775"/>
                    <a:pt x="72844" y="251457"/>
                    <a:pt x="81381" y="256854"/>
                  </a:cubicBezTo>
                  <a:cubicBezTo>
                    <a:pt x="89968" y="262201"/>
                    <a:pt x="86772" y="253616"/>
                    <a:pt x="91046" y="246097"/>
                  </a:cubicBezTo>
                  <a:cubicBezTo>
                    <a:pt x="95308" y="238579"/>
                    <a:pt x="104973" y="237500"/>
                    <a:pt x="113561" y="231061"/>
                  </a:cubicBezTo>
                  <a:cubicBezTo>
                    <a:pt x="122097" y="224634"/>
                    <a:pt x="127488" y="219275"/>
                    <a:pt x="139259" y="210690"/>
                  </a:cubicBezTo>
                  <a:cubicBezTo>
                    <a:pt x="151042" y="202130"/>
                    <a:pt x="136024" y="204251"/>
                    <a:pt x="139259" y="191373"/>
                  </a:cubicBezTo>
                  <a:cubicBezTo>
                    <a:pt x="142455" y="178508"/>
                    <a:pt x="142455" y="184947"/>
                    <a:pt x="148873" y="183867"/>
                  </a:cubicBezTo>
                  <a:cubicBezTo>
                    <a:pt x="155304" y="182788"/>
                    <a:pt x="163891" y="181747"/>
                    <a:pt x="163891" y="175320"/>
                  </a:cubicBezTo>
                  <a:cubicBezTo>
                    <a:pt x="163891" y="168881"/>
                    <a:pt x="166048" y="172082"/>
                    <a:pt x="176740" y="171002"/>
                  </a:cubicBezTo>
                  <a:cubicBezTo>
                    <a:pt x="185682" y="171244"/>
                    <a:pt x="194638" y="170888"/>
                    <a:pt x="203529" y="169923"/>
                  </a:cubicBezTo>
                  <a:cubicBezTo>
                    <a:pt x="211026" y="167802"/>
                    <a:pt x="211026" y="157045"/>
                    <a:pt x="206764" y="148498"/>
                  </a:cubicBezTo>
                  <a:cubicBezTo>
                    <a:pt x="201297" y="137423"/>
                    <a:pt x="198012" y="125409"/>
                    <a:pt x="197099" y="113090"/>
                  </a:cubicBezTo>
                  <a:cubicBezTo>
                    <a:pt x="195006" y="99095"/>
                    <a:pt x="192164" y="85239"/>
                    <a:pt x="188562" y="71561"/>
                  </a:cubicBezTo>
                  <a:cubicBezTo>
                    <a:pt x="196363" y="68907"/>
                    <a:pt x="203237" y="64043"/>
                    <a:pt x="208337" y="57566"/>
                  </a:cubicBezTo>
                  <a:cubicBezTo>
                    <a:pt x="209148" y="56664"/>
                    <a:pt x="210036" y="55763"/>
                    <a:pt x="210937" y="54823"/>
                  </a:cubicBezTo>
                  <a:cubicBezTo>
                    <a:pt x="211520" y="54188"/>
                    <a:pt x="211926" y="53159"/>
                    <a:pt x="212649" y="52892"/>
                  </a:cubicBezTo>
                  <a:cubicBezTo>
                    <a:pt x="214083" y="52296"/>
                    <a:pt x="215478" y="51711"/>
                    <a:pt x="216873" y="51089"/>
                  </a:cubicBezTo>
                  <a:cubicBezTo>
                    <a:pt x="223862" y="47927"/>
                    <a:pt x="230661" y="44358"/>
                    <a:pt x="237231" y="40421"/>
                  </a:cubicBezTo>
                  <a:cubicBezTo>
                    <a:pt x="243383" y="36814"/>
                    <a:pt x="249459" y="33080"/>
                    <a:pt x="255699" y="29575"/>
                  </a:cubicBezTo>
                  <a:lnTo>
                    <a:pt x="255839" y="29524"/>
                  </a:lnTo>
                  <a:lnTo>
                    <a:pt x="257044" y="28851"/>
                  </a:lnTo>
                  <a:cubicBezTo>
                    <a:pt x="270870" y="20329"/>
                    <a:pt x="286560" y="15300"/>
                    <a:pt x="302758" y="14183"/>
                  </a:cubicBezTo>
                  <a:cubicBezTo>
                    <a:pt x="318080" y="13649"/>
                    <a:pt x="333085" y="7071"/>
                    <a:pt x="348421" y="5902"/>
                  </a:cubicBezTo>
                  <a:cubicBezTo>
                    <a:pt x="355473" y="5458"/>
                    <a:pt x="362551" y="5547"/>
                    <a:pt x="369578" y="6182"/>
                  </a:cubicBezTo>
                  <a:cubicBezTo>
                    <a:pt x="376947" y="6766"/>
                    <a:pt x="384368" y="7617"/>
                    <a:pt x="391737" y="8023"/>
                  </a:cubicBezTo>
                  <a:cubicBezTo>
                    <a:pt x="395834" y="8252"/>
                    <a:pt x="400642" y="10004"/>
                    <a:pt x="403965" y="8519"/>
                  </a:cubicBezTo>
                  <a:cubicBezTo>
                    <a:pt x="407440" y="6931"/>
                    <a:pt x="411017" y="5572"/>
                    <a:pt x="414657" y="4416"/>
                  </a:cubicBezTo>
                  <a:cubicBezTo>
                    <a:pt x="433760" y="-841"/>
                    <a:pt x="453851" y="-1413"/>
                    <a:pt x="473220" y="2753"/>
                  </a:cubicBezTo>
                  <a:cubicBezTo>
                    <a:pt x="474958" y="3083"/>
                    <a:pt x="476670" y="3527"/>
                    <a:pt x="478332" y="4112"/>
                  </a:cubicBezTo>
                  <a:cubicBezTo>
                    <a:pt x="480805" y="4963"/>
                    <a:pt x="483063" y="5864"/>
                    <a:pt x="485346" y="6486"/>
                  </a:cubicBezTo>
                  <a:cubicBezTo>
                    <a:pt x="483812" y="9217"/>
                    <a:pt x="483063" y="12316"/>
                    <a:pt x="483190" y="15440"/>
                  </a:cubicBezTo>
                  <a:cubicBezTo>
                    <a:pt x="481009" y="27111"/>
                    <a:pt x="480286" y="39011"/>
                    <a:pt x="481034" y="50860"/>
                  </a:cubicBezTo>
                  <a:cubicBezTo>
                    <a:pt x="483190" y="60538"/>
                    <a:pt x="485308" y="65884"/>
                    <a:pt x="479956" y="74482"/>
                  </a:cubicBezTo>
                  <a:cubicBezTo>
                    <a:pt x="474603" y="83029"/>
                    <a:pt x="466029" y="88389"/>
                    <a:pt x="463910" y="103413"/>
                  </a:cubicBezTo>
                  <a:cubicBezTo>
                    <a:pt x="461754" y="118437"/>
                    <a:pt x="454258" y="116278"/>
                    <a:pt x="472459" y="136661"/>
                  </a:cubicBezTo>
                  <a:cubicBezTo>
                    <a:pt x="490699" y="157045"/>
                    <a:pt x="506745" y="177429"/>
                    <a:pt x="507823" y="187106"/>
                  </a:cubicBezTo>
                  <a:cubicBezTo>
                    <a:pt x="508457" y="192643"/>
                    <a:pt x="512541" y="211490"/>
                    <a:pt x="516182" y="231289"/>
                  </a:cubicBezTo>
                  <a:cubicBezTo>
                    <a:pt x="518858" y="244675"/>
                    <a:pt x="520723" y="258213"/>
                    <a:pt x="521750" y="271828"/>
                  </a:cubicBezTo>
                  <a:cubicBezTo>
                    <a:pt x="523653" y="296097"/>
                    <a:pt x="524008" y="320456"/>
                    <a:pt x="522828" y="344777"/>
                  </a:cubicBezTo>
                  <a:cubicBezTo>
                    <a:pt x="518427" y="354530"/>
                    <a:pt x="517285" y="365452"/>
                    <a:pt x="519594" y="375904"/>
                  </a:cubicBezTo>
                  <a:cubicBezTo>
                    <a:pt x="523906" y="385531"/>
                    <a:pt x="521750" y="394129"/>
                    <a:pt x="531416" y="402726"/>
                  </a:cubicBezTo>
                  <a:cubicBezTo>
                    <a:pt x="541030" y="411324"/>
                    <a:pt x="535677" y="409153"/>
                    <a:pt x="551773" y="413433"/>
                  </a:cubicBezTo>
                  <a:cubicBezTo>
                    <a:pt x="567819" y="417751"/>
                    <a:pt x="571054" y="414512"/>
                    <a:pt x="576394" y="425269"/>
                  </a:cubicBezTo>
                  <a:cubicBezTo>
                    <a:pt x="579882" y="432368"/>
                    <a:pt x="583002" y="439633"/>
                    <a:pt x="585742" y="447050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0" name="Vrije vorm 329">
              <a:extLst>
                <a:ext uri="{FF2B5EF4-FFF2-40B4-BE49-F238E27FC236}">
                  <a16:creationId xmlns:a16="http://schemas.microsoft.com/office/drawing/2014/main" id="{9D588960-DDF5-AE45-959D-39FDB549559E}"/>
                </a:ext>
              </a:extLst>
            </p:cNvPr>
            <p:cNvSpPr/>
            <p:nvPr/>
          </p:nvSpPr>
          <p:spPr>
            <a:xfrm>
              <a:off x="5009632" y="3308603"/>
              <a:ext cx="444234" cy="473900"/>
            </a:xfrm>
            <a:custGeom>
              <a:avLst/>
              <a:gdLst>
                <a:gd name="connsiteX0" fmla="*/ 438085 w 444234"/>
                <a:gd name="connsiteY0" fmla="*/ 130367 h 473900"/>
                <a:gd name="connsiteX1" fmla="*/ 411309 w 444234"/>
                <a:gd name="connsiteY1" fmla="*/ 131446 h 473900"/>
                <a:gd name="connsiteX2" fmla="*/ 398460 w 444234"/>
                <a:gd name="connsiteY2" fmla="*/ 135764 h 473900"/>
                <a:gd name="connsiteX3" fmla="*/ 383442 w 444234"/>
                <a:gd name="connsiteY3" fmla="*/ 144311 h 473900"/>
                <a:gd name="connsiteX4" fmla="*/ 373827 w 444234"/>
                <a:gd name="connsiteY4" fmla="*/ 151817 h 473900"/>
                <a:gd name="connsiteX5" fmla="*/ 373827 w 444234"/>
                <a:gd name="connsiteY5" fmla="*/ 171134 h 473900"/>
                <a:gd name="connsiteX6" fmla="*/ 348117 w 444234"/>
                <a:gd name="connsiteY6" fmla="*/ 191504 h 473900"/>
                <a:gd name="connsiteX7" fmla="*/ 325602 w 444234"/>
                <a:gd name="connsiteY7" fmla="*/ 206541 h 473900"/>
                <a:gd name="connsiteX8" fmla="*/ 315949 w 444234"/>
                <a:gd name="connsiteY8" fmla="*/ 217298 h 473900"/>
                <a:gd name="connsiteX9" fmla="*/ 292395 w 444234"/>
                <a:gd name="connsiteY9" fmla="*/ 216219 h 473900"/>
                <a:gd name="connsiteX10" fmla="*/ 270959 w 444234"/>
                <a:gd name="connsiteY10" fmla="*/ 218327 h 473900"/>
                <a:gd name="connsiteX11" fmla="*/ 253835 w 444234"/>
                <a:gd name="connsiteY11" fmla="*/ 229084 h 473900"/>
                <a:gd name="connsiteX12" fmla="*/ 235595 w 444234"/>
                <a:gd name="connsiteY12" fmla="*/ 245149 h 473900"/>
                <a:gd name="connsiteX13" fmla="*/ 234783 w 444234"/>
                <a:gd name="connsiteY13" fmla="*/ 286678 h 473900"/>
                <a:gd name="connsiteX14" fmla="*/ 234517 w 444234"/>
                <a:gd name="connsiteY14" fmla="*/ 292342 h 473900"/>
                <a:gd name="connsiteX15" fmla="*/ 219549 w 444234"/>
                <a:gd name="connsiteY15" fmla="*/ 294501 h 473900"/>
                <a:gd name="connsiteX16" fmla="*/ 200270 w 444234"/>
                <a:gd name="connsiteY16" fmla="*/ 300940 h 473900"/>
                <a:gd name="connsiteX17" fmla="*/ 182017 w 444234"/>
                <a:gd name="connsiteY17" fmla="*/ 296660 h 473900"/>
                <a:gd name="connsiteX18" fmla="*/ 162737 w 444234"/>
                <a:gd name="connsiteY18" fmla="*/ 304179 h 473900"/>
                <a:gd name="connsiteX19" fmla="*/ 140223 w 444234"/>
                <a:gd name="connsiteY19" fmla="*/ 331001 h 473900"/>
                <a:gd name="connsiteX20" fmla="*/ 123099 w 444234"/>
                <a:gd name="connsiteY20" fmla="*/ 367450 h 473900"/>
                <a:gd name="connsiteX21" fmla="*/ 96323 w 444234"/>
                <a:gd name="connsiteY21" fmla="*/ 393180 h 473900"/>
                <a:gd name="connsiteX22" fmla="*/ 78121 w 444234"/>
                <a:gd name="connsiteY22" fmla="*/ 432919 h 473900"/>
                <a:gd name="connsiteX23" fmla="*/ 62076 w 444234"/>
                <a:gd name="connsiteY23" fmla="*/ 468593 h 473900"/>
                <a:gd name="connsiteX24" fmla="*/ 23465 w 444234"/>
                <a:gd name="connsiteY24" fmla="*/ 468275 h 473900"/>
                <a:gd name="connsiteX25" fmla="*/ 2028 w 444234"/>
                <a:gd name="connsiteY25" fmla="*/ 473902 h 473900"/>
                <a:gd name="connsiteX26" fmla="*/ 1622 w 444234"/>
                <a:gd name="connsiteY26" fmla="*/ 472911 h 473900"/>
                <a:gd name="connsiteX27" fmla="*/ 8548 w 444234"/>
                <a:gd name="connsiteY27" fmla="*/ 441783 h 473900"/>
                <a:gd name="connsiteX28" fmla="*/ 16146 w 444234"/>
                <a:gd name="connsiteY28" fmla="*/ 429947 h 473900"/>
                <a:gd name="connsiteX29" fmla="*/ 21803 w 444234"/>
                <a:gd name="connsiteY29" fmla="*/ 419825 h 473900"/>
                <a:gd name="connsiteX30" fmla="*/ 31912 w 444234"/>
                <a:gd name="connsiteY30" fmla="*/ 398718 h 473900"/>
                <a:gd name="connsiteX31" fmla="*/ 66337 w 444234"/>
                <a:gd name="connsiteY31" fmla="*/ 336983 h 473900"/>
                <a:gd name="connsiteX32" fmla="*/ 66426 w 444234"/>
                <a:gd name="connsiteY32" fmla="*/ 336843 h 473900"/>
                <a:gd name="connsiteX33" fmla="*/ 72590 w 444234"/>
                <a:gd name="connsiteY33" fmla="*/ 325286 h 473900"/>
                <a:gd name="connsiteX34" fmla="*/ 113484 w 444234"/>
                <a:gd name="connsiteY34" fmla="*/ 267603 h 473900"/>
                <a:gd name="connsiteX35" fmla="*/ 119826 w 444234"/>
                <a:gd name="connsiteY35" fmla="*/ 263640 h 473900"/>
                <a:gd name="connsiteX36" fmla="*/ 139639 w 444234"/>
                <a:gd name="connsiteY36" fmla="*/ 259234 h 473900"/>
                <a:gd name="connsiteX37" fmla="*/ 175827 w 444234"/>
                <a:gd name="connsiteY37" fmla="*/ 233224 h 473900"/>
                <a:gd name="connsiteX38" fmla="*/ 180723 w 444234"/>
                <a:gd name="connsiteY38" fmla="*/ 228360 h 473900"/>
                <a:gd name="connsiteX39" fmla="*/ 190021 w 444234"/>
                <a:gd name="connsiteY39" fmla="*/ 217971 h 473900"/>
                <a:gd name="connsiteX40" fmla="*/ 205483 w 444234"/>
                <a:gd name="connsiteY40" fmla="*/ 197499 h 473900"/>
                <a:gd name="connsiteX41" fmla="*/ 206472 w 444234"/>
                <a:gd name="connsiteY41" fmla="*/ 180265 h 473900"/>
                <a:gd name="connsiteX42" fmla="*/ 203326 w 444234"/>
                <a:gd name="connsiteY42" fmla="*/ 163615 h 473900"/>
                <a:gd name="connsiteX43" fmla="*/ 212992 w 444234"/>
                <a:gd name="connsiteY43" fmla="*/ 133465 h 473900"/>
                <a:gd name="connsiteX44" fmla="*/ 223279 w 444234"/>
                <a:gd name="connsiteY44" fmla="*/ 110161 h 473900"/>
                <a:gd name="connsiteX45" fmla="*/ 258870 w 444234"/>
                <a:gd name="connsiteY45" fmla="*/ 80964 h 473900"/>
                <a:gd name="connsiteX46" fmla="*/ 265745 w 444234"/>
                <a:gd name="connsiteY46" fmla="*/ 77763 h 473900"/>
                <a:gd name="connsiteX47" fmla="*/ 305612 w 444234"/>
                <a:gd name="connsiteY47" fmla="*/ 28221 h 473900"/>
                <a:gd name="connsiteX48" fmla="*/ 306550 w 444234"/>
                <a:gd name="connsiteY48" fmla="*/ 25427 h 473900"/>
                <a:gd name="connsiteX49" fmla="*/ 324029 w 444234"/>
                <a:gd name="connsiteY49" fmla="*/ 1 h 473900"/>
                <a:gd name="connsiteX50" fmla="*/ 324663 w 444234"/>
                <a:gd name="connsiteY50" fmla="*/ 674 h 473900"/>
                <a:gd name="connsiteX51" fmla="*/ 330371 w 444234"/>
                <a:gd name="connsiteY51" fmla="*/ 6758 h 473900"/>
                <a:gd name="connsiteX52" fmla="*/ 333606 w 444234"/>
                <a:gd name="connsiteY52" fmla="*/ 10402 h 473900"/>
                <a:gd name="connsiteX53" fmla="*/ 363401 w 444234"/>
                <a:gd name="connsiteY53" fmla="*/ 23039 h 473900"/>
                <a:gd name="connsiteX54" fmla="*/ 379535 w 444234"/>
                <a:gd name="connsiteY54" fmla="*/ 24893 h 473900"/>
                <a:gd name="connsiteX55" fmla="*/ 379586 w 444234"/>
                <a:gd name="connsiteY55" fmla="*/ 24893 h 473900"/>
                <a:gd name="connsiteX56" fmla="*/ 413326 w 444234"/>
                <a:gd name="connsiteY56" fmla="*/ 32488 h 473900"/>
                <a:gd name="connsiteX57" fmla="*/ 423131 w 444234"/>
                <a:gd name="connsiteY57" fmla="*/ 31992 h 473900"/>
                <a:gd name="connsiteX58" fmla="*/ 431667 w 444234"/>
                <a:gd name="connsiteY58" fmla="*/ 73521 h 473900"/>
                <a:gd name="connsiteX59" fmla="*/ 441333 w 444234"/>
                <a:gd name="connsiteY59" fmla="*/ 108942 h 473900"/>
                <a:gd name="connsiteX60" fmla="*/ 438085 w 444234"/>
                <a:gd name="connsiteY60" fmla="*/ 130367 h 47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444234" h="473900">
                  <a:moveTo>
                    <a:pt x="438085" y="130367"/>
                  </a:moveTo>
                  <a:cubicBezTo>
                    <a:pt x="429194" y="131332"/>
                    <a:pt x="420251" y="131687"/>
                    <a:pt x="411309" y="131446"/>
                  </a:cubicBezTo>
                  <a:cubicBezTo>
                    <a:pt x="400616" y="132526"/>
                    <a:pt x="398460" y="129325"/>
                    <a:pt x="398460" y="135764"/>
                  </a:cubicBezTo>
                  <a:cubicBezTo>
                    <a:pt x="398460" y="142190"/>
                    <a:pt x="389873" y="143232"/>
                    <a:pt x="383442" y="144311"/>
                  </a:cubicBezTo>
                  <a:cubicBezTo>
                    <a:pt x="377024" y="145391"/>
                    <a:pt x="377024" y="138952"/>
                    <a:pt x="373827" y="151817"/>
                  </a:cubicBezTo>
                  <a:cubicBezTo>
                    <a:pt x="370593" y="164695"/>
                    <a:pt x="385598" y="162574"/>
                    <a:pt x="373827" y="171134"/>
                  </a:cubicBezTo>
                  <a:cubicBezTo>
                    <a:pt x="362056" y="179719"/>
                    <a:pt x="356653" y="185078"/>
                    <a:pt x="348117" y="191504"/>
                  </a:cubicBezTo>
                  <a:cubicBezTo>
                    <a:pt x="339542" y="197943"/>
                    <a:pt x="329876" y="199023"/>
                    <a:pt x="325602" y="206541"/>
                  </a:cubicBezTo>
                  <a:cubicBezTo>
                    <a:pt x="321340" y="214060"/>
                    <a:pt x="324524" y="222645"/>
                    <a:pt x="315949" y="217298"/>
                  </a:cubicBezTo>
                  <a:cubicBezTo>
                    <a:pt x="307400" y="211888"/>
                    <a:pt x="298826" y="216219"/>
                    <a:pt x="292395" y="216219"/>
                  </a:cubicBezTo>
                  <a:cubicBezTo>
                    <a:pt x="285976" y="216219"/>
                    <a:pt x="280624" y="212980"/>
                    <a:pt x="270959" y="218327"/>
                  </a:cubicBezTo>
                  <a:cubicBezTo>
                    <a:pt x="264667" y="220867"/>
                    <a:pt x="258870" y="224512"/>
                    <a:pt x="253835" y="229084"/>
                  </a:cubicBezTo>
                  <a:cubicBezTo>
                    <a:pt x="245248" y="236602"/>
                    <a:pt x="237751" y="232271"/>
                    <a:pt x="235595" y="245149"/>
                  </a:cubicBezTo>
                  <a:cubicBezTo>
                    <a:pt x="234555" y="258967"/>
                    <a:pt x="234289" y="272822"/>
                    <a:pt x="234783" y="286678"/>
                  </a:cubicBezTo>
                  <a:cubicBezTo>
                    <a:pt x="234834" y="288571"/>
                    <a:pt x="234745" y="290463"/>
                    <a:pt x="234517" y="292342"/>
                  </a:cubicBezTo>
                  <a:cubicBezTo>
                    <a:pt x="234517" y="292342"/>
                    <a:pt x="233477" y="292342"/>
                    <a:pt x="219549" y="294501"/>
                  </a:cubicBezTo>
                  <a:cubicBezTo>
                    <a:pt x="212814" y="295619"/>
                    <a:pt x="206307" y="297791"/>
                    <a:pt x="200270" y="300940"/>
                  </a:cubicBezTo>
                  <a:cubicBezTo>
                    <a:pt x="192760" y="303099"/>
                    <a:pt x="197035" y="295581"/>
                    <a:pt x="182017" y="296660"/>
                  </a:cubicBezTo>
                  <a:cubicBezTo>
                    <a:pt x="167012" y="297753"/>
                    <a:pt x="172403" y="297740"/>
                    <a:pt x="162737" y="304179"/>
                  </a:cubicBezTo>
                  <a:cubicBezTo>
                    <a:pt x="152957" y="310935"/>
                    <a:pt x="145182" y="320194"/>
                    <a:pt x="140223" y="331001"/>
                  </a:cubicBezTo>
                  <a:cubicBezTo>
                    <a:pt x="136024" y="343803"/>
                    <a:pt x="130265" y="356046"/>
                    <a:pt x="123099" y="367450"/>
                  </a:cubicBezTo>
                  <a:cubicBezTo>
                    <a:pt x="118825" y="370689"/>
                    <a:pt x="109172" y="388913"/>
                    <a:pt x="96323" y="393180"/>
                  </a:cubicBezTo>
                  <a:cubicBezTo>
                    <a:pt x="83461" y="397498"/>
                    <a:pt x="85617" y="414643"/>
                    <a:pt x="78121" y="432919"/>
                  </a:cubicBezTo>
                  <a:cubicBezTo>
                    <a:pt x="70612" y="451143"/>
                    <a:pt x="66337" y="468593"/>
                    <a:pt x="62076" y="468593"/>
                  </a:cubicBezTo>
                  <a:cubicBezTo>
                    <a:pt x="49302" y="466421"/>
                    <a:pt x="36276" y="466307"/>
                    <a:pt x="23465" y="468275"/>
                  </a:cubicBezTo>
                  <a:cubicBezTo>
                    <a:pt x="7381" y="472594"/>
                    <a:pt x="2028" y="473902"/>
                    <a:pt x="2028" y="473902"/>
                  </a:cubicBezTo>
                  <a:cubicBezTo>
                    <a:pt x="1902" y="473597"/>
                    <a:pt x="1762" y="473228"/>
                    <a:pt x="1622" y="472911"/>
                  </a:cubicBezTo>
                  <a:cubicBezTo>
                    <a:pt x="-2094" y="462065"/>
                    <a:pt x="582" y="450026"/>
                    <a:pt x="8548" y="441783"/>
                  </a:cubicBezTo>
                  <a:cubicBezTo>
                    <a:pt x="11288" y="437973"/>
                    <a:pt x="13812" y="434024"/>
                    <a:pt x="16146" y="429947"/>
                  </a:cubicBezTo>
                  <a:cubicBezTo>
                    <a:pt x="18124" y="426619"/>
                    <a:pt x="20002" y="423241"/>
                    <a:pt x="21803" y="419825"/>
                  </a:cubicBezTo>
                  <a:cubicBezTo>
                    <a:pt x="24416" y="412446"/>
                    <a:pt x="27803" y="405372"/>
                    <a:pt x="31912" y="398718"/>
                  </a:cubicBezTo>
                  <a:cubicBezTo>
                    <a:pt x="46017" y="379718"/>
                    <a:pt x="57585" y="358967"/>
                    <a:pt x="66337" y="336983"/>
                  </a:cubicBezTo>
                  <a:lnTo>
                    <a:pt x="66426" y="336843"/>
                  </a:lnTo>
                  <a:cubicBezTo>
                    <a:pt x="68367" y="332932"/>
                    <a:pt x="70434" y="329058"/>
                    <a:pt x="72590" y="325286"/>
                  </a:cubicBezTo>
                  <a:cubicBezTo>
                    <a:pt x="83955" y="305525"/>
                    <a:pt x="103502" y="289688"/>
                    <a:pt x="113484" y="267603"/>
                  </a:cubicBezTo>
                  <a:cubicBezTo>
                    <a:pt x="114893" y="265380"/>
                    <a:pt x="117226" y="263933"/>
                    <a:pt x="119826" y="263640"/>
                  </a:cubicBezTo>
                  <a:cubicBezTo>
                    <a:pt x="126638" y="263310"/>
                    <a:pt x="133335" y="261812"/>
                    <a:pt x="139639" y="259234"/>
                  </a:cubicBezTo>
                  <a:cubicBezTo>
                    <a:pt x="153224" y="252909"/>
                    <a:pt x="165490" y="244082"/>
                    <a:pt x="175827" y="233224"/>
                  </a:cubicBezTo>
                  <a:cubicBezTo>
                    <a:pt x="177476" y="231649"/>
                    <a:pt x="179100" y="230024"/>
                    <a:pt x="180723" y="228360"/>
                  </a:cubicBezTo>
                  <a:cubicBezTo>
                    <a:pt x="183958" y="225032"/>
                    <a:pt x="187014" y="221565"/>
                    <a:pt x="190021" y="217971"/>
                  </a:cubicBezTo>
                  <a:cubicBezTo>
                    <a:pt x="195500" y="211405"/>
                    <a:pt x="200587" y="204471"/>
                    <a:pt x="205483" y="197499"/>
                  </a:cubicBezTo>
                  <a:cubicBezTo>
                    <a:pt x="208121" y="192127"/>
                    <a:pt x="208476" y="185904"/>
                    <a:pt x="206472" y="180265"/>
                  </a:cubicBezTo>
                  <a:cubicBezTo>
                    <a:pt x="204684" y="174880"/>
                    <a:pt x="203618" y="169279"/>
                    <a:pt x="203326" y="163615"/>
                  </a:cubicBezTo>
                  <a:cubicBezTo>
                    <a:pt x="202882" y="152731"/>
                    <a:pt x="206307" y="142051"/>
                    <a:pt x="212992" y="133465"/>
                  </a:cubicBezTo>
                  <a:cubicBezTo>
                    <a:pt x="217888" y="126760"/>
                    <a:pt x="217799" y="116003"/>
                    <a:pt x="223279" y="110161"/>
                  </a:cubicBezTo>
                  <a:cubicBezTo>
                    <a:pt x="233020" y="98083"/>
                    <a:pt x="245133" y="88152"/>
                    <a:pt x="258870" y="80964"/>
                  </a:cubicBezTo>
                  <a:cubicBezTo>
                    <a:pt x="261217" y="80024"/>
                    <a:pt x="263513" y="78957"/>
                    <a:pt x="265745" y="77763"/>
                  </a:cubicBezTo>
                  <a:cubicBezTo>
                    <a:pt x="284949" y="67044"/>
                    <a:pt x="299244" y="49290"/>
                    <a:pt x="305612" y="28221"/>
                  </a:cubicBezTo>
                  <a:cubicBezTo>
                    <a:pt x="305967" y="27306"/>
                    <a:pt x="306284" y="26379"/>
                    <a:pt x="306550" y="25427"/>
                  </a:cubicBezTo>
                  <a:cubicBezTo>
                    <a:pt x="309430" y="16028"/>
                    <a:pt x="310191" y="4725"/>
                    <a:pt x="324029" y="1"/>
                  </a:cubicBezTo>
                  <a:cubicBezTo>
                    <a:pt x="324257" y="230"/>
                    <a:pt x="324435" y="458"/>
                    <a:pt x="324663" y="674"/>
                  </a:cubicBezTo>
                  <a:cubicBezTo>
                    <a:pt x="326503" y="2617"/>
                    <a:pt x="328481" y="4637"/>
                    <a:pt x="330371" y="6758"/>
                  </a:cubicBezTo>
                  <a:cubicBezTo>
                    <a:pt x="331500" y="7926"/>
                    <a:pt x="332578" y="9145"/>
                    <a:pt x="333606" y="10402"/>
                  </a:cubicBezTo>
                  <a:cubicBezTo>
                    <a:pt x="340759" y="19394"/>
                    <a:pt x="351972" y="24156"/>
                    <a:pt x="363401" y="23039"/>
                  </a:cubicBezTo>
                  <a:cubicBezTo>
                    <a:pt x="368830" y="23026"/>
                    <a:pt x="374246" y="23636"/>
                    <a:pt x="379535" y="24893"/>
                  </a:cubicBezTo>
                  <a:lnTo>
                    <a:pt x="379586" y="24893"/>
                  </a:lnTo>
                  <a:cubicBezTo>
                    <a:pt x="391128" y="27319"/>
                    <a:pt x="403673" y="31408"/>
                    <a:pt x="413326" y="32488"/>
                  </a:cubicBezTo>
                  <a:cubicBezTo>
                    <a:pt x="416598" y="32894"/>
                    <a:pt x="419921" y="32716"/>
                    <a:pt x="423131" y="31992"/>
                  </a:cubicBezTo>
                  <a:cubicBezTo>
                    <a:pt x="426733" y="45670"/>
                    <a:pt x="429574" y="59539"/>
                    <a:pt x="431667" y="73521"/>
                  </a:cubicBezTo>
                  <a:cubicBezTo>
                    <a:pt x="432580" y="85840"/>
                    <a:pt x="435866" y="97867"/>
                    <a:pt x="441333" y="108942"/>
                  </a:cubicBezTo>
                  <a:cubicBezTo>
                    <a:pt x="445594" y="117489"/>
                    <a:pt x="445594" y="128246"/>
                    <a:pt x="438085" y="130367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1" name="Vrije vorm 330">
              <a:extLst>
                <a:ext uri="{FF2B5EF4-FFF2-40B4-BE49-F238E27FC236}">
                  <a16:creationId xmlns:a16="http://schemas.microsoft.com/office/drawing/2014/main" id="{682CDF79-5554-CF41-AA99-A11CC82F2DD9}"/>
                </a:ext>
              </a:extLst>
            </p:cNvPr>
            <p:cNvSpPr/>
            <p:nvPr/>
          </p:nvSpPr>
          <p:spPr>
            <a:xfrm>
              <a:off x="2170048" y="3418001"/>
              <a:ext cx="855180" cy="561403"/>
            </a:xfrm>
            <a:custGeom>
              <a:avLst/>
              <a:gdLst>
                <a:gd name="connsiteX0" fmla="*/ 833388 w 855180"/>
                <a:gd name="connsiteY0" fmla="*/ 442850 h 561403"/>
                <a:gd name="connsiteX1" fmla="*/ 834340 w 855180"/>
                <a:gd name="connsiteY1" fmla="*/ 445187 h 561403"/>
                <a:gd name="connsiteX2" fmla="*/ 832855 w 855180"/>
                <a:gd name="connsiteY2" fmla="*/ 444552 h 561403"/>
                <a:gd name="connsiteX3" fmla="*/ 824497 w 855180"/>
                <a:gd name="connsiteY3" fmla="*/ 441085 h 561403"/>
                <a:gd name="connsiteX4" fmla="*/ 820044 w 855180"/>
                <a:gd name="connsiteY4" fmla="*/ 439243 h 561403"/>
                <a:gd name="connsiteX5" fmla="*/ 816937 w 855180"/>
                <a:gd name="connsiteY5" fmla="*/ 437986 h 561403"/>
                <a:gd name="connsiteX6" fmla="*/ 815643 w 855180"/>
                <a:gd name="connsiteY6" fmla="*/ 446711 h 561403"/>
                <a:gd name="connsiteX7" fmla="*/ 811013 w 855180"/>
                <a:gd name="connsiteY7" fmla="*/ 447257 h 561403"/>
                <a:gd name="connsiteX8" fmla="*/ 801081 w 855180"/>
                <a:gd name="connsiteY8" fmla="*/ 463183 h 561403"/>
                <a:gd name="connsiteX9" fmla="*/ 793306 w 855180"/>
                <a:gd name="connsiteY9" fmla="*/ 461646 h 561403"/>
                <a:gd name="connsiteX10" fmla="*/ 792583 w 855180"/>
                <a:gd name="connsiteY10" fmla="*/ 467095 h 561403"/>
                <a:gd name="connsiteX11" fmla="*/ 742113 w 855180"/>
                <a:gd name="connsiteY11" fmla="*/ 467095 h 561403"/>
                <a:gd name="connsiteX12" fmla="*/ 739690 w 855180"/>
                <a:gd name="connsiteY12" fmla="*/ 475464 h 561403"/>
                <a:gd name="connsiteX13" fmla="*/ 740058 w 855180"/>
                <a:gd name="connsiteY13" fmla="*/ 483782 h 561403"/>
                <a:gd name="connsiteX14" fmla="*/ 727653 w 855180"/>
                <a:gd name="connsiteY14" fmla="*/ 484963 h 561403"/>
                <a:gd name="connsiteX15" fmla="*/ 733221 w 855180"/>
                <a:gd name="connsiteY15" fmla="*/ 488151 h 561403"/>
                <a:gd name="connsiteX16" fmla="*/ 741174 w 855180"/>
                <a:gd name="connsiteY16" fmla="*/ 494946 h 561403"/>
                <a:gd name="connsiteX17" fmla="*/ 749267 w 855180"/>
                <a:gd name="connsiteY17" fmla="*/ 500076 h 561403"/>
                <a:gd name="connsiteX18" fmla="*/ 752450 w 855180"/>
                <a:gd name="connsiteY18" fmla="*/ 506236 h 561403"/>
                <a:gd name="connsiteX19" fmla="*/ 757397 w 855180"/>
                <a:gd name="connsiteY19" fmla="*/ 509881 h 561403"/>
                <a:gd name="connsiteX20" fmla="*/ 753719 w 855180"/>
                <a:gd name="connsiteY20" fmla="*/ 516637 h 561403"/>
                <a:gd name="connsiteX21" fmla="*/ 742125 w 855180"/>
                <a:gd name="connsiteY21" fmla="*/ 516853 h 561403"/>
                <a:gd name="connsiteX22" fmla="*/ 717226 w 855180"/>
                <a:gd name="connsiteY22" fmla="*/ 525680 h 561403"/>
                <a:gd name="connsiteX23" fmla="*/ 704999 w 855180"/>
                <a:gd name="connsiteY23" fmla="*/ 561405 h 561403"/>
                <a:gd name="connsiteX24" fmla="*/ 691389 w 855180"/>
                <a:gd name="connsiteY24" fmla="*/ 548984 h 561403"/>
                <a:gd name="connsiteX25" fmla="*/ 687609 w 855180"/>
                <a:gd name="connsiteY25" fmla="*/ 545250 h 561403"/>
                <a:gd name="connsiteX26" fmla="*/ 676599 w 855180"/>
                <a:gd name="connsiteY26" fmla="*/ 534811 h 561403"/>
                <a:gd name="connsiteX27" fmla="*/ 676548 w 855180"/>
                <a:gd name="connsiteY27" fmla="*/ 534773 h 561403"/>
                <a:gd name="connsiteX28" fmla="*/ 645992 w 855180"/>
                <a:gd name="connsiteY28" fmla="*/ 513716 h 561403"/>
                <a:gd name="connsiteX29" fmla="*/ 645231 w 855180"/>
                <a:gd name="connsiteY29" fmla="*/ 513399 h 561403"/>
                <a:gd name="connsiteX30" fmla="*/ 627207 w 855180"/>
                <a:gd name="connsiteY30" fmla="*/ 507772 h 561403"/>
                <a:gd name="connsiteX31" fmla="*/ 624784 w 855180"/>
                <a:gd name="connsiteY31" fmla="*/ 508674 h 561403"/>
                <a:gd name="connsiteX32" fmla="*/ 603170 w 855180"/>
                <a:gd name="connsiteY32" fmla="*/ 521679 h 561403"/>
                <a:gd name="connsiteX33" fmla="*/ 557330 w 855180"/>
                <a:gd name="connsiteY33" fmla="*/ 521806 h 561403"/>
                <a:gd name="connsiteX34" fmla="*/ 542007 w 855180"/>
                <a:gd name="connsiteY34" fmla="*/ 516548 h 561403"/>
                <a:gd name="connsiteX35" fmla="*/ 465204 w 855180"/>
                <a:gd name="connsiteY35" fmla="*/ 484862 h 561403"/>
                <a:gd name="connsiteX36" fmla="*/ 451049 w 855180"/>
                <a:gd name="connsiteY36" fmla="*/ 478385 h 561403"/>
                <a:gd name="connsiteX37" fmla="*/ 408265 w 855180"/>
                <a:gd name="connsiteY37" fmla="*/ 456566 h 561403"/>
                <a:gd name="connsiteX38" fmla="*/ 400223 w 855180"/>
                <a:gd name="connsiteY38" fmla="*/ 454674 h 561403"/>
                <a:gd name="connsiteX39" fmla="*/ 379954 w 855180"/>
                <a:gd name="connsiteY39" fmla="*/ 443968 h 561403"/>
                <a:gd name="connsiteX40" fmla="*/ 357122 w 855180"/>
                <a:gd name="connsiteY40" fmla="*/ 428397 h 561403"/>
                <a:gd name="connsiteX41" fmla="*/ 356983 w 855180"/>
                <a:gd name="connsiteY41" fmla="*/ 428359 h 561403"/>
                <a:gd name="connsiteX42" fmla="*/ 355321 w 855180"/>
                <a:gd name="connsiteY42" fmla="*/ 427813 h 561403"/>
                <a:gd name="connsiteX43" fmla="*/ 351326 w 855180"/>
                <a:gd name="connsiteY43" fmla="*/ 425883 h 561403"/>
                <a:gd name="connsiteX44" fmla="*/ 351059 w 855180"/>
                <a:gd name="connsiteY44" fmla="*/ 425743 h 561403"/>
                <a:gd name="connsiteX45" fmla="*/ 348713 w 855180"/>
                <a:gd name="connsiteY45" fmla="*/ 424257 h 561403"/>
                <a:gd name="connsiteX46" fmla="*/ 345072 w 855180"/>
                <a:gd name="connsiteY46" fmla="*/ 421565 h 561403"/>
                <a:gd name="connsiteX47" fmla="*/ 341394 w 855180"/>
                <a:gd name="connsiteY47" fmla="*/ 418454 h 561403"/>
                <a:gd name="connsiteX48" fmla="*/ 339999 w 855180"/>
                <a:gd name="connsiteY48" fmla="*/ 417196 h 561403"/>
                <a:gd name="connsiteX49" fmla="*/ 337842 w 855180"/>
                <a:gd name="connsiteY49" fmla="*/ 415037 h 561403"/>
                <a:gd name="connsiteX50" fmla="*/ 335686 w 855180"/>
                <a:gd name="connsiteY50" fmla="*/ 412738 h 561403"/>
                <a:gd name="connsiteX51" fmla="*/ 331818 w 855180"/>
                <a:gd name="connsiteY51" fmla="*/ 408065 h 561403"/>
                <a:gd name="connsiteX52" fmla="*/ 330333 w 855180"/>
                <a:gd name="connsiteY52" fmla="*/ 405995 h 561403"/>
                <a:gd name="connsiteX53" fmla="*/ 330016 w 855180"/>
                <a:gd name="connsiteY53" fmla="*/ 405499 h 561403"/>
                <a:gd name="connsiteX54" fmla="*/ 328621 w 855180"/>
                <a:gd name="connsiteY54" fmla="*/ 403290 h 561403"/>
                <a:gd name="connsiteX55" fmla="*/ 326427 w 855180"/>
                <a:gd name="connsiteY55" fmla="*/ 398705 h 561403"/>
                <a:gd name="connsiteX56" fmla="*/ 327632 w 855180"/>
                <a:gd name="connsiteY56" fmla="*/ 383986 h 561403"/>
                <a:gd name="connsiteX57" fmla="*/ 329484 w 855180"/>
                <a:gd name="connsiteY57" fmla="*/ 379541 h 561403"/>
                <a:gd name="connsiteX58" fmla="*/ 329433 w 855180"/>
                <a:gd name="connsiteY58" fmla="*/ 379541 h 561403"/>
                <a:gd name="connsiteX59" fmla="*/ 329306 w 855180"/>
                <a:gd name="connsiteY59" fmla="*/ 377420 h 561403"/>
                <a:gd name="connsiteX60" fmla="*/ 330016 w 855180"/>
                <a:gd name="connsiteY60" fmla="*/ 376074 h 561403"/>
                <a:gd name="connsiteX61" fmla="*/ 330739 w 855180"/>
                <a:gd name="connsiteY61" fmla="*/ 374994 h 561403"/>
                <a:gd name="connsiteX62" fmla="*/ 330739 w 855180"/>
                <a:gd name="connsiteY62" fmla="*/ 374854 h 561403"/>
                <a:gd name="connsiteX63" fmla="*/ 327505 w 855180"/>
                <a:gd name="connsiteY63" fmla="*/ 345784 h 561403"/>
                <a:gd name="connsiteX64" fmla="*/ 326833 w 855180"/>
                <a:gd name="connsiteY64" fmla="*/ 344032 h 561403"/>
                <a:gd name="connsiteX65" fmla="*/ 323547 w 855180"/>
                <a:gd name="connsiteY65" fmla="*/ 336424 h 561403"/>
                <a:gd name="connsiteX66" fmla="*/ 323141 w 855180"/>
                <a:gd name="connsiteY66" fmla="*/ 335167 h 561403"/>
                <a:gd name="connsiteX67" fmla="*/ 285939 w 855180"/>
                <a:gd name="connsiteY67" fmla="*/ 284595 h 561403"/>
                <a:gd name="connsiteX68" fmla="*/ 265352 w 855180"/>
                <a:gd name="connsiteY68" fmla="*/ 265698 h 561403"/>
                <a:gd name="connsiteX69" fmla="*/ 263018 w 855180"/>
                <a:gd name="connsiteY69" fmla="*/ 263437 h 561403"/>
                <a:gd name="connsiteX70" fmla="*/ 260494 w 855180"/>
                <a:gd name="connsiteY70" fmla="*/ 260885 h 561403"/>
                <a:gd name="connsiteX71" fmla="*/ 257349 w 855180"/>
                <a:gd name="connsiteY71" fmla="*/ 257278 h 561403"/>
                <a:gd name="connsiteX72" fmla="*/ 254609 w 855180"/>
                <a:gd name="connsiteY72" fmla="*/ 253404 h 561403"/>
                <a:gd name="connsiteX73" fmla="*/ 254114 w 855180"/>
                <a:gd name="connsiteY73" fmla="*/ 252325 h 561403"/>
                <a:gd name="connsiteX74" fmla="*/ 253937 w 855180"/>
                <a:gd name="connsiteY74" fmla="*/ 251969 h 561403"/>
                <a:gd name="connsiteX75" fmla="*/ 253619 w 855180"/>
                <a:gd name="connsiteY75" fmla="*/ 250940 h 561403"/>
                <a:gd name="connsiteX76" fmla="*/ 253759 w 855180"/>
                <a:gd name="connsiteY76" fmla="*/ 247207 h 561403"/>
                <a:gd name="connsiteX77" fmla="*/ 251463 w 855180"/>
                <a:gd name="connsiteY77" fmla="*/ 243651 h 561403"/>
                <a:gd name="connsiteX78" fmla="*/ 247417 w 855180"/>
                <a:gd name="connsiteY78" fmla="*/ 240679 h 561403"/>
                <a:gd name="connsiteX79" fmla="*/ 246339 w 855180"/>
                <a:gd name="connsiteY79" fmla="*/ 244540 h 561403"/>
                <a:gd name="connsiteX80" fmla="*/ 237802 w 855180"/>
                <a:gd name="connsiteY80" fmla="*/ 237618 h 561403"/>
                <a:gd name="connsiteX81" fmla="*/ 240808 w 855180"/>
                <a:gd name="connsiteY81" fmla="*/ 238113 h 561403"/>
                <a:gd name="connsiteX82" fmla="*/ 233896 w 855180"/>
                <a:gd name="connsiteY82" fmla="*/ 231446 h 561403"/>
                <a:gd name="connsiteX83" fmla="*/ 230661 w 855180"/>
                <a:gd name="connsiteY83" fmla="*/ 233834 h 561403"/>
                <a:gd name="connsiteX84" fmla="*/ 227287 w 855180"/>
                <a:gd name="connsiteY84" fmla="*/ 230913 h 561403"/>
                <a:gd name="connsiteX85" fmla="*/ 232589 w 855180"/>
                <a:gd name="connsiteY85" fmla="*/ 227852 h 561403"/>
                <a:gd name="connsiteX86" fmla="*/ 224459 w 855180"/>
                <a:gd name="connsiteY86" fmla="*/ 228804 h 561403"/>
                <a:gd name="connsiteX87" fmla="*/ 224864 w 855180"/>
                <a:gd name="connsiteY87" fmla="*/ 231675 h 561403"/>
                <a:gd name="connsiteX88" fmla="*/ 220767 w 855180"/>
                <a:gd name="connsiteY88" fmla="*/ 228487 h 561403"/>
                <a:gd name="connsiteX89" fmla="*/ 223152 w 855180"/>
                <a:gd name="connsiteY89" fmla="*/ 206935 h 561403"/>
                <a:gd name="connsiteX90" fmla="*/ 226615 w 855180"/>
                <a:gd name="connsiteY90" fmla="*/ 211024 h 561403"/>
                <a:gd name="connsiteX91" fmla="*/ 225981 w 855180"/>
                <a:gd name="connsiteY91" fmla="*/ 208688 h 561403"/>
                <a:gd name="connsiteX92" fmla="*/ 185404 w 855180"/>
                <a:gd name="connsiteY92" fmla="*/ 162612 h 561403"/>
                <a:gd name="connsiteX93" fmla="*/ 177134 w 855180"/>
                <a:gd name="connsiteY93" fmla="*/ 154687 h 561403"/>
                <a:gd name="connsiteX94" fmla="*/ 173532 w 855180"/>
                <a:gd name="connsiteY94" fmla="*/ 157342 h 561403"/>
                <a:gd name="connsiteX95" fmla="*/ 137762 w 855180"/>
                <a:gd name="connsiteY95" fmla="*/ 116130 h 561403"/>
                <a:gd name="connsiteX96" fmla="*/ 108018 w 855180"/>
                <a:gd name="connsiteY96" fmla="*/ 47778 h 561403"/>
                <a:gd name="connsiteX97" fmla="*/ 88687 w 855180"/>
                <a:gd name="connsiteY97" fmla="*/ 36577 h 561403"/>
                <a:gd name="connsiteX98" fmla="*/ 78261 w 855180"/>
                <a:gd name="connsiteY98" fmla="*/ 37707 h 561403"/>
                <a:gd name="connsiteX99" fmla="*/ 69585 w 855180"/>
                <a:gd name="connsiteY99" fmla="*/ 73560 h 561403"/>
                <a:gd name="connsiteX100" fmla="*/ 100103 w 855180"/>
                <a:gd name="connsiteY100" fmla="*/ 123686 h 561403"/>
                <a:gd name="connsiteX101" fmla="*/ 119205 w 855180"/>
                <a:gd name="connsiteY101" fmla="*/ 140336 h 561403"/>
                <a:gd name="connsiteX102" fmla="*/ 147022 w 855180"/>
                <a:gd name="connsiteY102" fmla="*/ 195238 h 561403"/>
                <a:gd name="connsiteX103" fmla="*/ 149673 w 855180"/>
                <a:gd name="connsiteY103" fmla="*/ 195238 h 561403"/>
                <a:gd name="connsiteX104" fmla="*/ 163105 w 855180"/>
                <a:gd name="connsiteY104" fmla="*/ 221375 h 561403"/>
                <a:gd name="connsiteX105" fmla="*/ 188638 w 855180"/>
                <a:gd name="connsiteY105" fmla="*/ 274918 h 561403"/>
                <a:gd name="connsiteX106" fmla="*/ 192405 w 855180"/>
                <a:gd name="connsiteY106" fmla="*/ 273394 h 561403"/>
                <a:gd name="connsiteX107" fmla="*/ 215998 w 855180"/>
                <a:gd name="connsiteY107" fmla="*/ 294044 h 561403"/>
                <a:gd name="connsiteX108" fmla="*/ 196185 w 855180"/>
                <a:gd name="connsiteY108" fmla="*/ 301029 h 561403"/>
                <a:gd name="connsiteX109" fmla="*/ 140273 w 855180"/>
                <a:gd name="connsiteY109" fmla="*/ 250763 h 561403"/>
                <a:gd name="connsiteX110" fmla="*/ 112330 w 855180"/>
                <a:gd name="connsiteY110" fmla="*/ 189841 h 561403"/>
                <a:gd name="connsiteX111" fmla="*/ 108145 w 855180"/>
                <a:gd name="connsiteY111" fmla="*/ 194070 h 561403"/>
                <a:gd name="connsiteX112" fmla="*/ 85275 w 855180"/>
                <a:gd name="connsiteY112" fmla="*/ 164593 h 561403"/>
                <a:gd name="connsiteX113" fmla="*/ 85541 w 855180"/>
                <a:gd name="connsiteY113" fmla="*/ 160770 h 561403"/>
                <a:gd name="connsiteX114" fmla="*/ 82573 w 855180"/>
                <a:gd name="connsiteY114" fmla="*/ 161126 h 561403"/>
                <a:gd name="connsiteX115" fmla="*/ 79884 w 855180"/>
                <a:gd name="connsiteY115" fmla="*/ 157976 h 561403"/>
                <a:gd name="connsiteX116" fmla="*/ 84146 w 855180"/>
                <a:gd name="connsiteY116" fmla="*/ 154027 h 561403"/>
                <a:gd name="connsiteX117" fmla="*/ 43925 w 855180"/>
                <a:gd name="connsiteY117" fmla="*/ 101652 h 561403"/>
                <a:gd name="connsiteX118" fmla="*/ -26 w 855180"/>
                <a:gd name="connsiteY118" fmla="*/ 5983 h 561403"/>
                <a:gd name="connsiteX119" fmla="*/ 66934 w 855180"/>
                <a:gd name="connsiteY119" fmla="*/ 1 h 561403"/>
                <a:gd name="connsiteX120" fmla="*/ 72959 w 855180"/>
                <a:gd name="connsiteY120" fmla="*/ 8281 h 561403"/>
                <a:gd name="connsiteX121" fmla="*/ 111163 w 855180"/>
                <a:gd name="connsiteY121" fmla="*/ 25960 h 561403"/>
                <a:gd name="connsiteX122" fmla="*/ 170208 w 855180"/>
                <a:gd name="connsiteY122" fmla="*/ 44997 h 561403"/>
                <a:gd name="connsiteX123" fmla="*/ 217038 w 855180"/>
                <a:gd name="connsiteY123" fmla="*/ 47652 h 561403"/>
                <a:gd name="connsiteX124" fmla="*/ 242749 w 855180"/>
                <a:gd name="connsiteY124" fmla="*/ 47652 h 561403"/>
                <a:gd name="connsiteX125" fmla="*/ 251641 w 855180"/>
                <a:gd name="connsiteY125" fmla="*/ 33161 h 561403"/>
                <a:gd name="connsiteX126" fmla="*/ 302200 w 855180"/>
                <a:gd name="connsiteY126" fmla="*/ 31853 h 561403"/>
                <a:gd name="connsiteX127" fmla="*/ 335686 w 855180"/>
                <a:gd name="connsiteY127" fmla="*/ 63577 h 561403"/>
                <a:gd name="connsiteX128" fmla="*/ 344717 w 855180"/>
                <a:gd name="connsiteY128" fmla="*/ 70423 h 561403"/>
                <a:gd name="connsiteX129" fmla="*/ 353888 w 855180"/>
                <a:gd name="connsiteY129" fmla="*/ 95353 h 561403"/>
                <a:gd name="connsiteX130" fmla="*/ 368043 w 855180"/>
                <a:gd name="connsiteY130" fmla="*/ 109564 h 561403"/>
                <a:gd name="connsiteX131" fmla="*/ 390114 w 855180"/>
                <a:gd name="connsiteY131" fmla="*/ 121451 h 561403"/>
                <a:gd name="connsiteX132" fmla="*/ 398879 w 855180"/>
                <a:gd name="connsiteY132" fmla="*/ 117984 h 561403"/>
                <a:gd name="connsiteX133" fmla="*/ 406603 w 855180"/>
                <a:gd name="connsiteY133" fmla="*/ 101779 h 561403"/>
                <a:gd name="connsiteX134" fmla="*/ 416307 w 855180"/>
                <a:gd name="connsiteY134" fmla="*/ 97017 h 561403"/>
                <a:gd name="connsiteX135" fmla="*/ 433164 w 855180"/>
                <a:gd name="connsiteY135" fmla="*/ 95886 h 561403"/>
                <a:gd name="connsiteX136" fmla="*/ 445252 w 855180"/>
                <a:gd name="connsiteY136" fmla="*/ 99213 h 561403"/>
                <a:gd name="connsiteX137" fmla="*/ 455095 w 855180"/>
                <a:gd name="connsiteY137" fmla="*/ 107722 h 561403"/>
                <a:gd name="connsiteX138" fmla="*/ 480349 w 855180"/>
                <a:gd name="connsiteY138" fmla="*/ 147766 h 561403"/>
                <a:gd name="connsiteX139" fmla="*/ 494644 w 855180"/>
                <a:gd name="connsiteY139" fmla="*/ 166130 h 561403"/>
                <a:gd name="connsiteX140" fmla="*/ 499135 w 855180"/>
                <a:gd name="connsiteY140" fmla="*/ 174144 h 561403"/>
                <a:gd name="connsiteX141" fmla="*/ 511045 w 855180"/>
                <a:gd name="connsiteY141" fmla="*/ 205055 h 561403"/>
                <a:gd name="connsiteX142" fmla="*/ 518275 w 855180"/>
                <a:gd name="connsiteY142" fmla="*/ 206046 h 561403"/>
                <a:gd name="connsiteX143" fmla="*/ 531492 w 855180"/>
                <a:gd name="connsiteY143" fmla="*/ 212840 h 561403"/>
                <a:gd name="connsiteX144" fmla="*/ 541284 w 855180"/>
                <a:gd name="connsiteY144" fmla="*/ 215761 h 561403"/>
                <a:gd name="connsiteX145" fmla="*/ 555579 w 855180"/>
                <a:gd name="connsiteY145" fmla="*/ 220664 h 561403"/>
                <a:gd name="connsiteX146" fmla="*/ 561325 w 855180"/>
                <a:gd name="connsiteY146" fmla="*/ 221375 h 561403"/>
                <a:gd name="connsiteX147" fmla="*/ 545825 w 855180"/>
                <a:gd name="connsiteY147" fmla="*/ 321006 h 561403"/>
                <a:gd name="connsiteX148" fmla="*/ 555490 w 855180"/>
                <a:gd name="connsiteY148" fmla="*/ 359386 h 561403"/>
                <a:gd name="connsiteX149" fmla="*/ 556125 w 855180"/>
                <a:gd name="connsiteY149" fmla="*/ 360961 h 561403"/>
                <a:gd name="connsiteX150" fmla="*/ 556974 w 855180"/>
                <a:gd name="connsiteY150" fmla="*/ 362802 h 561403"/>
                <a:gd name="connsiteX151" fmla="*/ 561427 w 855180"/>
                <a:gd name="connsiteY151" fmla="*/ 371806 h 561403"/>
                <a:gd name="connsiteX152" fmla="*/ 563088 w 855180"/>
                <a:gd name="connsiteY152" fmla="*/ 374816 h 561403"/>
                <a:gd name="connsiteX153" fmla="*/ 566678 w 855180"/>
                <a:gd name="connsiteY153" fmla="*/ 381027 h 561403"/>
                <a:gd name="connsiteX154" fmla="*/ 572791 w 855180"/>
                <a:gd name="connsiteY154" fmla="*/ 390920 h 561403"/>
                <a:gd name="connsiteX155" fmla="*/ 576521 w 855180"/>
                <a:gd name="connsiteY155" fmla="*/ 396724 h 561403"/>
                <a:gd name="connsiteX156" fmla="*/ 595890 w 855180"/>
                <a:gd name="connsiteY156" fmla="*/ 427051 h 561403"/>
                <a:gd name="connsiteX157" fmla="*/ 599086 w 855180"/>
                <a:gd name="connsiteY157" fmla="*/ 432182 h 561403"/>
                <a:gd name="connsiteX158" fmla="*/ 602447 w 855180"/>
                <a:gd name="connsiteY158" fmla="*/ 437630 h 561403"/>
                <a:gd name="connsiteX159" fmla="*/ 607660 w 855180"/>
                <a:gd name="connsiteY159" fmla="*/ 439929 h 561403"/>
                <a:gd name="connsiteX160" fmla="*/ 613241 w 855180"/>
                <a:gd name="connsiteY160" fmla="*/ 441047 h 561403"/>
                <a:gd name="connsiteX161" fmla="*/ 613330 w 855180"/>
                <a:gd name="connsiteY161" fmla="*/ 441047 h 561403"/>
                <a:gd name="connsiteX162" fmla="*/ 614814 w 855180"/>
                <a:gd name="connsiteY162" fmla="*/ 441186 h 561403"/>
                <a:gd name="connsiteX163" fmla="*/ 626040 w 855180"/>
                <a:gd name="connsiteY163" fmla="*/ 445682 h 561403"/>
                <a:gd name="connsiteX164" fmla="*/ 640741 w 855180"/>
                <a:gd name="connsiteY164" fmla="*/ 455588 h 561403"/>
                <a:gd name="connsiteX165" fmla="*/ 650533 w 855180"/>
                <a:gd name="connsiteY165" fmla="*/ 453290 h 561403"/>
                <a:gd name="connsiteX166" fmla="*/ 650622 w 855180"/>
                <a:gd name="connsiteY166" fmla="*/ 453290 h 561403"/>
                <a:gd name="connsiteX167" fmla="*/ 689499 w 855180"/>
                <a:gd name="connsiteY167" fmla="*/ 444247 h 561403"/>
                <a:gd name="connsiteX168" fmla="*/ 695118 w 855180"/>
                <a:gd name="connsiteY168" fmla="*/ 442494 h 561403"/>
                <a:gd name="connsiteX169" fmla="*/ 696919 w 855180"/>
                <a:gd name="connsiteY169" fmla="*/ 441910 h 561403"/>
                <a:gd name="connsiteX170" fmla="*/ 697591 w 855180"/>
                <a:gd name="connsiteY170" fmla="*/ 441720 h 561403"/>
                <a:gd name="connsiteX171" fmla="*/ 699431 w 855180"/>
                <a:gd name="connsiteY171" fmla="*/ 441364 h 561403"/>
                <a:gd name="connsiteX172" fmla="*/ 700775 w 855180"/>
                <a:gd name="connsiteY172" fmla="*/ 441275 h 561403"/>
                <a:gd name="connsiteX173" fmla="*/ 710351 w 855180"/>
                <a:gd name="connsiteY173" fmla="*/ 444603 h 561403"/>
                <a:gd name="connsiteX174" fmla="*/ 712064 w 855180"/>
                <a:gd name="connsiteY174" fmla="*/ 445416 h 561403"/>
                <a:gd name="connsiteX175" fmla="*/ 713586 w 855180"/>
                <a:gd name="connsiteY175" fmla="*/ 446089 h 561403"/>
                <a:gd name="connsiteX176" fmla="*/ 713637 w 855180"/>
                <a:gd name="connsiteY176" fmla="*/ 446089 h 561403"/>
                <a:gd name="connsiteX177" fmla="*/ 716199 w 855180"/>
                <a:gd name="connsiteY177" fmla="*/ 446901 h 561403"/>
                <a:gd name="connsiteX178" fmla="*/ 725547 w 855180"/>
                <a:gd name="connsiteY178" fmla="*/ 442901 h 561403"/>
                <a:gd name="connsiteX179" fmla="*/ 751702 w 855180"/>
                <a:gd name="connsiteY179" fmla="*/ 396546 h 561403"/>
                <a:gd name="connsiteX180" fmla="*/ 752412 w 855180"/>
                <a:gd name="connsiteY180" fmla="*/ 386106 h 561403"/>
                <a:gd name="connsiteX181" fmla="*/ 775510 w 855180"/>
                <a:gd name="connsiteY181" fmla="*/ 361811 h 561403"/>
                <a:gd name="connsiteX182" fmla="*/ 778567 w 855180"/>
                <a:gd name="connsiteY182" fmla="*/ 361278 h 561403"/>
                <a:gd name="connsiteX183" fmla="*/ 778707 w 855180"/>
                <a:gd name="connsiteY183" fmla="*/ 361227 h 561403"/>
                <a:gd name="connsiteX184" fmla="*/ 807601 w 855180"/>
                <a:gd name="connsiteY184" fmla="*/ 355601 h 561403"/>
                <a:gd name="connsiteX185" fmla="*/ 834200 w 855180"/>
                <a:gd name="connsiteY185" fmla="*/ 354661 h 561403"/>
                <a:gd name="connsiteX186" fmla="*/ 855154 w 855180"/>
                <a:gd name="connsiteY186" fmla="*/ 359792 h 561403"/>
                <a:gd name="connsiteX187" fmla="*/ 833388 w 855180"/>
                <a:gd name="connsiteY187" fmla="*/ 442850 h 561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</a:cxnLst>
              <a:rect l="l" t="t" r="r" b="b"/>
              <a:pathLst>
                <a:path w="855180" h="561403">
                  <a:moveTo>
                    <a:pt x="833388" y="442850"/>
                  </a:moveTo>
                  <a:cubicBezTo>
                    <a:pt x="833667" y="443612"/>
                    <a:pt x="833972" y="444374"/>
                    <a:pt x="834340" y="445187"/>
                  </a:cubicBezTo>
                  <a:cubicBezTo>
                    <a:pt x="833845" y="444958"/>
                    <a:pt x="833350" y="444781"/>
                    <a:pt x="832855" y="444552"/>
                  </a:cubicBezTo>
                  <a:cubicBezTo>
                    <a:pt x="829304" y="443066"/>
                    <a:pt x="826602" y="441987"/>
                    <a:pt x="824497" y="441085"/>
                  </a:cubicBezTo>
                  <a:cubicBezTo>
                    <a:pt x="822746" y="440361"/>
                    <a:pt x="821300" y="439777"/>
                    <a:pt x="820044" y="439243"/>
                  </a:cubicBezTo>
                  <a:cubicBezTo>
                    <a:pt x="818966" y="438786"/>
                    <a:pt x="817939" y="438380"/>
                    <a:pt x="816937" y="437986"/>
                  </a:cubicBezTo>
                  <a:cubicBezTo>
                    <a:pt x="816366" y="440856"/>
                    <a:pt x="815960" y="443790"/>
                    <a:pt x="815643" y="446711"/>
                  </a:cubicBezTo>
                  <a:cubicBezTo>
                    <a:pt x="813614" y="446267"/>
                    <a:pt x="811736" y="445987"/>
                    <a:pt x="811013" y="447257"/>
                  </a:cubicBezTo>
                  <a:cubicBezTo>
                    <a:pt x="809669" y="449543"/>
                    <a:pt x="804760" y="463183"/>
                    <a:pt x="801081" y="463183"/>
                  </a:cubicBezTo>
                  <a:cubicBezTo>
                    <a:pt x="797441" y="463183"/>
                    <a:pt x="794473" y="459259"/>
                    <a:pt x="793306" y="461646"/>
                  </a:cubicBezTo>
                  <a:cubicBezTo>
                    <a:pt x="792913" y="463437"/>
                    <a:pt x="792672" y="465266"/>
                    <a:pt x="792583" y="467095"/>
                  </a:cubicBezTo>
                  <a:cubicBezTo>
                    <a:pt x="775777" y="466193"/>
                    <a:pt x="758932" y="466193"/>
                    <a:pt x="742113" y="467095"/>
                  </a:cubicBezTo>
                  <a:cubicBezTo>
                    <a:pt x="739906" y="469266"/>
                    <a:pt x="738993" y="472441"/>
                    <a:pt x="739690" y="475464"/>
                  </a:cubicBezTo>
                  <a:cubicBezTo>
                    <a:pt x="740185" y="479553"/>
                    <a:pt x="743242" y="483833"/>
                    <a:pt x="740058" y="483782"/>
                  </a:cubicBezTo>
                  <a:cubicBezTo>
                    <a:pt x="737140" y="483782"/>
                    <a:pt x="729175" y="484735"/>
                    <a:pt x="727653" y="484963"/>
                  </a:cubicBezTo>
                  <a:cubicBezTo>
                    <a:pt x="728325" y="484963"/>
                    <a:pt x="730253" y="485230"/>
                    <a:pt x="733221" y="488151"/>
                  </a:cubicBezTo>
                  <a:cubicBezTo>
                    <a:pt x="736900" y="491758"/>
                    <a:pt x="737267" y="490450"/>
                    <a:pt x="741174" y="494946"/>
                  </a:cubicBezTo>
                  <a:cubicBezTo>
                    <a:pt x="745132" y="499403"/>
                    <a:pt x="746882" y="493599"/>
                    <a:pt x="749267" y="500076"/>
                  </a:cubicBezTo>
                  <a:cubicBezTo>
                    <a:pt x="751600" y="506553"/>
                    <a:pt x="748721" y="504039"/>
                    <a:pt x="752450" y="506236"/>
                  </a:cubicBezTo>
                  <a:cubicBezTo>
                    <a:pt x="756230" y="508484"/>
                    <a:pt x="759236" y="504039"/>
                    <a:pt x="757397" y="509881"/>
                  </a:cubicBezTo>
                  <a:cubicBezTo>
                    <a:pt x="755507" y="515685"/>
                    <a:pt x="759148" y="516358"/>
                    <a:pt x="753719" y="516637"/>
                  </a:cubicBezTo>
                  <a:cubicBezTo>
                    <a:pt x="748328" y="516955"/>
                    <a:pt x="744193" y="516675"/>
                    <a:pt x="742125" y="516853"/>
                  </a:cubicBezTo>
                  <a:cubicBezTo>
                    <a:pt x="733107" y="517120"/>
                    <a:pt x="724393" y="520206"/>
                    <a:pt x="717226" y="525680"/>
                  </a:cubicBezTo>
                  <a:cubicBezTo>
                    <a:pt x="708056" y="533414"/>
                    <a:pt x="707472" y="546825"/>
                    <a:pt x="704999" y="561405"/>
                  </a:cubicBezTo>
                  <a:cubicBezTo>
                    <a:pt x="700242" y="557493"/>
                    <a:pt x="695701" y="553213"/>
                    <a:pt x="691389" y="548984"/>
                  </a:cubicBezTo>
                  <a:cubicBezTo>
                    <a:pt x="690082" y="547727"/>
                    <a:pt x="688827" y="546470"/>
                    <a:pt x="687609" y="545250"/>
                  </a:cubicBezTo>
                  <a:cubicBezTo>
                    <a:pt x="683613" y="541377"/>
                    <a:pt x="679973" y="537922"/>
                    <a:pt x="676599" y="534811"/>
                  </a:cubicBezTo>
                  <a:lnTo>
                    <a:pt x="676548" y="534773"/>
                  </a:lnTo>
                  <a:cubicBezTo>
                    <a:pt x="667695" y="525984"/>
                    <a:pt x="657344" y="518860"/>
                    <a:pt x="645992" y="513716"/>
                  </a:cubicBezTo>
                  <a:cubicBezTo>
                    <a:pt x="645751" y="513589"/>
                    <a:pt x="645497" y="513475"/>
                    <a:pt x="645231" y="513399"/>
                  </a:cubicBezTo>
                  <a:cubicBezTo>
                    <a:pt x="639383" y="511062"/>
                    <a:pt x="633359" y="509182"/>
                    <a:pt x="627207" y="507772"/>
                  </a:cubicBezTo>
                  <a:cubicBezTo>
                    <a:pt x="626357" y="507925"/>
                    <a:pt x="625532" y="508230"/>
                    <a:pt x="624784" y="508674"/>
                  </a:cubicBezTo>
                  <a:cubicBezTo>
                    <a:pt x="618429" y="514275"/>
                    <a:pt x="611098" y="518682"/>
                    <a:pt x="603170" y="521679"/>
                  </a:cubicBezTo>
                  <a:cubicBezTo>
                    <a:pt x="588292" y="526619"/>
                    <a:pt x="572234" y="526670"/>
                    <a:pt x="557330" y="521806"/>
                  </a:cubicBezTo>
                  <a:cubicBezTo>
                    <a:pt x="552129" y="520346"/>
                    <a:pt x="547005" y="518593"/>
                    <a:pt x="542007" y="516548"/>
                  </a:cubicBezTo>
                  <a:cubicBezTo>
                    <a:pt x="516347" y="506147"/>
                    <a:pt x="490776" y="495492"/>
                    <a:pt x="465204" y="484862"/>
                  </a:cubicBezTo>
                  <a:cubicBezTo>
                    <a:pt x="460194" y="483401"/>
                    <a:pt x="455437" y="481217"/>
                    <a:pt x="451049" y="478385"/>
                  </a:cubicBezTo>
                  <a:cubicBezTo>
                    <a:pt x="438542" y="468085"/>
                    <a:pt x="423943" y="460630"/>
                    <a:pt x="408265" y="456566"/>
                  </a:cubicBezTo>
                  <a:cubicBezTo>
                    <a:pt x="405652" y="455842"/>
                    <a:pt x="402963" y="455220"/>
                    <a:pt x="400223" y="454674"/>
                  </a:cubicBezTo>
                  <a:cubicBezTo>
                    <a:pt x="392879" y="452362"/>
                    <a:pt x="386004" y="448730"/>
                    <a:pt x="379954" y="443968"/>
                  </a:cubicBezTo>
                  <a:cubicBezTo>
                    <a:pt x="372178" y="439015"/>
                    <a:pt x="364403" y="433973"/>
                    <a:pt x="357122" y="428397"/>
                  </a:cubicBezTo>
                  <a:lnTo>
                    <a:pt x="356983" y="428359"/>
                  </a:lnTo>
                  <a:cubicBezTo>
                    <a:pt x="356425" y="428207"/>
                    <a:pt x="355867" y="428029"/>
                    <a:pt x="355321" y="427813"/>
                  </a:cubicBezTo>
                  <a:cubicBezTo>
                    <a:pt x="353939" y="427293"/>
                    <a:pt x="352594" y="426645"/>
                    <a:pt x="351326" y="425883"/>
                  </a:cubicBezTo>
                  <a:cubicBezTo>
                    <a:pt x="351237" y="425883"/>
                    <a:pt x="351148" y="425794"/>
                    <a:pt x="351059" y="425743"/>
                  </a:cubicBezTo>
                  <a:cubicBezTo>
                    <a:pt x="350298" y="425299"/>
                    <a:pt x="349525" y="424804"/>
                    <a:pt x="348713" y="424257"/>
                  </a:cubicBezTo>
                  <a:cubicBezTo>
                    <a:pt x="347508" y="423444"/>
                    <a:pt x="346290" y="422556"/>
                    <a:pt x="345072" y="421565"/>
                  </a:cubicBezTo>
                  <a:cubicBezTo>
                    <a:pt x="343791" y="420587"/>
                    <a:pt x="342561" y="419558"/>
                    <a:pt x="341394" y="418454"/>
                  </a:cubicBezTo>
                  <a:cubicBezTo>
                    <a:pt x="340899" y="418047"/>
                    <a:pt x="340443" y="417603"/>
                    <a:pt x="339999" y="417196"/>
                  </a:cubicBezTo>
                  <a:lnTo>
                    <a:pt x="337842" y="415037"/>
                  </a:lnTo>
                  <a:cubicBezTo>
                    <a:pt x="337081" y="414275"/>
                    <a:pt x="336358" y="413513"/>
                    <a:pt x="335686" y="412738"/>
                  </a:cubicBezTo>
                  <a:cubicBezTo>
                    <a:pt x="334329" y="411214"/>
                    <a:pt x="333035" y="409640"/>
                    <a:pt x="331818" y="408065"/>
                  </a:cubicBezTo>
                  <a:cubicBezTo>
                    <a:pt x="331323" y="407341"/>
                    <a:pt x="330790" y="406668"/>
                    <a:pt x="330333" y="405995"/>
                  </a:cubicBezTo>
                  <a:cubicBezTo>
                    <a:pt x="330194" y="405855"/>
                    <a:pt x="330092" y="405677"/>
                    <a:pt x="330016" y="405499"/>
                  </a:cubicBezTo>
                  <a:cubicBezTo>
                    <a:pt x="329522" y="404775"/>
                    <a:pt x="329078" y="404014"/>
                    <a:pt x="328621" y="403290"/>
                  </a:cubicBezTo>
                  <a:cubicBezTo>
                    <a:pt x="327758" y="401829"/>
                    <a:pt x="327023" y="400292"/>
                    <a:pt x="326427" y="398705"/>
                  </a:cubicBezTo>
                  <a:cubicBezTo>
                    <a:pt x="323598" y="394654"/>
                    <a:pt x="324537" y="390285"/>
                    <a:pt x="327632" y="383986"/>
                  </a:cubicBezTo>
                  <a:cubicBezTo>
                    <a:pt x="328367" y="382550"/>
                    <a:pt x="328976" y="381065"/>
                    <a:pt x="329484" y="379541"/>
                  </a:cubicBezTo>
                  <a:lnTo>
                    <a:pt x="329433" y="379541"/>
                  </a:lnTo>
                  <a:cubicBezTo>
                    <a:pt x="328799" y="379401"/>
                    <a:pt x="328583" y="378855"/>
                    <a:pt x="329306" y="377420"/>
                  </a:cubicBezTo>
                  <a:cubicBezTo>
                    <a:pt x="329509" y="376950"/>
                    <a:pt x="329750" y="376505"/>
                    <a:pt x="330016" y="376074"/>
                  </a:cubicBezTo>
                  <a:cubicBezTo>
                    <a:pt x="330245" y="375756"/>
                    <a:pt x="330473" y="375401"/>
                    <a:pt x="330739" y="374994"/>
                  </a:cubicBezTo>
                  <a:lnTo>
                    <a:pt x="330739" y="374854"/>
                  </a:lnTo>
                  <a:cubicBezTo>
                    <a:pt x="332350" y="365050"/>
                    <a:pt x="331221" y="354991"/>
                    <a:pt x="327505" y="345784"/>
                  </a:cubicBezTo>
                  <a:cubicBezTo>
                    <a:pt x="327327" y="345149"/>
                    <a:pt x="327048" y="344667"/>
                    <a:pt x="326833" y="344032"/>
                  </a:cubicBezTo>
                  <a:cubicBezTo>
                    <a:pt x="325475" y="341618"/>
                    <a:pt x="324372" y="339066"/>
                    <a:pt x="323547" y="336424"/>
                  </a:cubicBezTo>
                  <a:cubicBezTo>
                    <a:pt x="323382" y="336018"/>
                    <a:pt x="323256" y="335599"/>
                    <a:pt x="323141" y="335167"/>
                  </a:cubicBezTo>
                  <a:cubicBezTo>
                    <a:pt x="313616" y="316371"/>
                    <a:pt x="301046" y="299277"/>
                    <a:pt x="285939" y="284595"/>
                  </a:cubicBezTo>
                  <a:cubicBezTo>
                    <a:pt x="278252" y="277394"/>
                    <a:pt x="271009" y="271095"/>
                    <a:pt x="265352" y="265698"/>
                  </a:cubicBezTo>
                  <a:cubicBezTo>
                    <a:pt x="264541" y="264936"/>
                    <a:pt x="263779" y="264174"/>
                    <a:pt x="263018" y="263437"/>
                  </a:cubicBezTo>
                  <a:cubicBezTo>
                    <a:pt x="262156" y="262548"/>
                    <a:pt x="261306" y="261685"/>
                    <a:pt x="260494" y="260885"/>
                  </a:cubicBezTo>
                  <a:cubicBezTo>
                    <a:pt x="259327" y="259615"/>
                    <a:pt x="258249" y="258408"/>
                    <a:pt x="257349" y="257278"/>
                  </a:cubicBezTo>
                  <a:cubicBezTo>
                    <a:pt x="256346" y="256059"/>
                    <a:pt x="255421" y="254763"/>
                    <a:pt x="254609" y="253404"/>
                  </a:cubicBezTo>
                  <a:cubicBezTo>
                    <a:pt x="254431" y="253011"/>
                    <a:pt x="254254" y="252642"/>
                    <a:pt x="254114" y="252325"/>
                  </a:cubicBezTo>
                  <a:cubicBezTo>
                    <a:pt x="254063" y="252210"/>
                    <a:pt x="254000" y="252083"/>
                    <a:pt x="253937" y="251969"/>
                  </a:cubicBezTo>
                  <a:cubicBezTo>
                    <a:pt x="253797" y="251639"/>
                    <a:pt x="253695" y="251296"/>
                    <a:pt x="253619" y="250940"/>
                  </a:cubicBezTo>
                  <a:cubicBezTo>
                    <a:pt x="253188" y="249721"/>
                    <a:pt x="253239" y="248388"/>
                    <a:pt x="253759" y="247207"/>
                  </a:cubicBezTo>
                  <a:cubicBezTo>
                    <a:pt x="261357" y="251118"/>
                    <a:pt x="253759" y="245263"/>
                    <a:pt x="251463" y="243651"/>
                  </a:cubicBezTo>
                  <a:cubicBezTo>
                    <a:pt x="244817" y="245175"/>
                    <a:pt x="250740" y="243016"/>
                    <a:pt x="247417" y="240679"/>
                  </a:cubicBezTo>
                  <a:cubicBezTo>
                    <a:pt x="247290" y="241085"/>
                    <a:pt x="246783" y="244324"/>
                    <a:pt x="246339" y="244540"/>
                  </a:cubicBezTo>
                  <a:cubicBezTo>
                    <a:pt x="248191" y="240450"/>
                    <a:pt x="238335" y="237936"/>
                    <a:pt x="237802" y="237618"/>
                  </a:cubicBezTo>
                  <a:cubicBezTo>
                    <a:pt x="237942" y="237618"/>
                    <a:pt x="238842" y="237796"/>
                    <a:pt x="240808" y="238113"/>
                  </a:cubicBezTo>
                  <a:cubicBezTo>
                    <a:pt x="233705" y="236081"/>
                    <a:pt x="238437" y="235459"/>
                    <a:pt x="233896" y="231446"/>
                  </a:cubicBezTo>
                  <a:cubicBezTo>
                    <a:pt x="231156" y="230595"/>
                    <a:pt x="233578" y="236170"/>
                    <a:pt x="230661" y="233834"/>
                  </a:cubicBezTo>
                  <a:cubicBezTo>
                    <a:pt x="231295" y="232805"/>
                    <a:pt x="223647" y="235459"/>
                    <a:pt x="227287" y="230913"/>
                  </a:cubicBezTo>
                  <a:cubicBezTo>
                    <a:pt x="230699" y="232259"/>
                    <a:pt x="230255" y="230328"/>
                    <a:pt x="232589" y="227852"/>
                  </a:cubicBezTo>
                  <a:cubicBezTo>
                    <a:pt x="237396" y="217146"/>
                    <a:pt x="226881" y="236856"/>
                    <a:pt x="224459" y="228804"/>
                  </a:cubicBezTo>
                  <a:cubicBezTo>
                    <a:pt x="218877" y="226455"/>
                    <a:pt x="225093" y="229604"/>
                    <a:pt x="224864" y="231675"/>
                  </a:cubicBezTo>
                  <a:cubicBezTo>
                    <a:pt x="223824" y="228525"/>
                    <a:pt x="213664" y="228487"/>
                    <a:pt x="220767" y="228487"/>
                  </a:cubicBezTo>
                  <a:cubicBezTo>
                    <a:pt x="212142" y="222188"/>
                    <a:pt x="221528" y="212650"/>
                    <a:pt x="223152" y="206935"/>
                  </a:cubicBezTo>
                  <a:cubicBezTo>
                    <a:pt x="226386" y="207062"/>
                    <a:pt x="223152" y="210402"/>
                    <a:pt x="226615" y="211024"/>
                  </a:cubicBezTo>
                  <a:cubicBezTo>
                    <a:pt x="225575" y="209678"/>
                    <a:pt x="227921" y="208548"/>
                    <a:pt x="225981" y="208688"/>
                  </a:cubicBezTo>
                  <a:cubicBezTo>
                    <a:pt x="223241" y="195238"/>
                    <a:pt x="176144" y="180468"/>
                    <a:pt x="185404" y="162612"/>
                  </a:cubicBezTo>
                  <a:cubicBezTo>
                    <a:pt x="184009" y="155551"/>
                    <a:pt x="182753" y="160313"/>
                    <a:pt x="177134" y="154687"/>
                  </a:cubicBezTo>
                  <a:cubicBezTo>
                    <a:pt x="175333" y="156986"/>
                    <a:pt x="177629" y="161355"/>
                    <a:pt x="173532" y="157342"/>
                  </a:cubicBezTo>
                  <a:cubicBezTo>
                    <a:pt x="158475" y="146686"/>
                    <a:pt x="146210" y="132551"/>
                    <a:pt x="137762" y="116130"/>
                  </a:cubicBezTo>
                  <a:cubicBezTo>
                    <a:pt x="123607" y="98490"/>
                    <a:pt x="117772" y="64568"/>
                    <a:pt x="108018" y="47778"/>
                  </a:cubicBezTo>
                  <a:cubicBezTo>
                    <a:pt x="96018" y="51335"/>
                    <a:pt x="101041" y="38114"/>
                    <a:pt x="88687" y="36577"/>
                  </a:cubicBezTo>
                  <a:cubicBezTo>
                    <a:pt x="88104" y="35637"/>
                    <a:pt x="87786" y="46077"/>
                    <a:pt x="78261" y="37707"/>
                  </a:cubicBezTo>
                  <a:cubicBezTo>
                    <a:pt x="49506" y="11292"/>
                    <a:pt x="66084" y="49620"/>
                    <a:pt x="69585" y="73560"/>
                  </a:cubicBezTo>
                  <a:cubicBezTo>
                    <a:pt x="63078" y="99620"/>
                    <a:pt x="100242" y="100738"/>
                    <a:pt x="100103" y="123686"/>
                  </a:cubicBezTo>
                  <a:cubicBezTo>
                    <a:pt x="115654" y="127877"/>
                    <a:pt x="106216" y="137009"/>
                    <a:pt x="119205" y="140336"/>
                  </a:cubicBezTo>
                  <a:cubicBezTo>
                    <a:pt x="117632" y="162155"/>
                    <a:pt x="145538" y="176468"/>
                    <a:pt x="147022" y="195238"/>
                  </a:cubicBezTo>
                  <a:cubicBezTo>
                    <a:pt x="150434" y="201080"/>
                    <a:pt x="156103" y="201715"/>
                    <a:pt x="149673" y="195238"/>
                  </a:cubicBezTo>
                  <a:cubicBezTo>
                    <a:pt x="149939" y="178538"/>
                    <a:pt x="164500" y="213590"/>
                    <a:pt x="163105" y="221375"/>
                  </a:cubicBezTo>
                  <a:cubicBezTo>
                    <a:pt x="176956" y="235142"/>
                    <a:pt x="178884" y="269203"/>
                    <a:pt x="188638" y="274918"/>
                  </a:cubicBezTo>
                  <a:cubicBezTo>
                    <a:pt x="188993" y="278652"/>
                    <a:pt x="192139" y="275871"/>
                    <a:pt x="192405" y="273394"/>
                  </a:cubicBezTo>
                  <a:cubicBezTo>
                    <a:pt x="196046" y="259132"/>
                    <a:pt x="206739" y="293650"/>
                    <a:pt x="215998" y="294044"/>
                  </a:cubicBezTo>
                  <a:cubicBezTo>
                    <a:pt x="223013" y="308319"/>
                    <a:pt x="195056" y="325324"/>
                    <a:pt x="196185" y="301029"/>
                  </a:cubicBezTo>
                  <a:cubicBezTo>
                    <a:pt x="168864" y="270333"/>
                    <a:pt x="141365" y="259221"/>
                    <a:pt x="140273" y="250763"/>
                  </a:cubicBezTo>
                  <a:cubicBezTo>
                    <a:pt x="154480" y="222912"/>
                    <a:pt x="118254" y="208738"/>
                    <a:pt x="112330" y="189841"/>
                  </a:cubicBezTo>
                  <a:cubicBezTo>
                    <a:pt x="111924" y="182906"/>
                    <a:pt x="108867" y="192495"/>
                    <a:pt x="108145" y="194070"/>
                  </a:cubicBezTo>
                  <a:cubicBezTo>
                    <a:pt x="87571" y="193575"/>
                    <a:pt x="27701" y="143130"/>
                    <a:pt x="85275" y="164593"/>
                  </a:cubicBezTo>
                  <a:cubicBezTo>
                    <a:pt x="90894" y="166574"/>
                    <a:pt x="90755" y="161850"/>
                    <a:pt x="85541" y="160770"/>
                  </a:cubicBezTo>
                  <a:cubicBezTo>
                    <a:pt x="87660" y="164149"/>
                    <a:pt x="83436" y="164454"/>
                    <a:pt x="82573" y="161126"/>
                  </a:cubicBezTo>
                  <a:cubicBezTo>
                    <a:pt x="83791" y="157392"/>
                    <a:pt x="83968" y="154471"/>
                    <a:pt x="79884" y="157976"/>
                  </a:cubicBezTo>
                  <a:cubicBezTo>
                    <a:pt x="83436" y="145657"/>
                    <a:pt x="84920" y="159919"/>
                    <a:pt x="84146" y="154027"/>
                  </a:cubicBezTo>
                  <a:cubicBezTo>
                    <a:pt x="92061" y="136158"/>
                    <a:pt x="66135" y="113349"/>
                    <a:pt x="43925" y="101652"/>
                  </a:cubicBezTo>
                  <a:cubicBezTo>
                    <a:pt x="28424" y="70054"/>
                    <a:pt x="9905" y="27585"/>
                    <a:pt x="-26" y="5983"/>
                  </a:cubicBezTo>
                  <a:lnTo>
                    <a:pt x="66934" y="1"/>
                  </a:lnTo>
                  <a:cubicBezTo>
                    <a:pt x="68037" y="3316"/>
                    <a:pt x="70143" y="6211"/>
                    <a:pt x="72959" y="8281"/>
                  </a:cubicBezTo>
                  <a:cubicBezTo>
                    <a:pt x="85262" y="15076"/>
                    <a:pt x="98023" y="20981"/>
                    <a:pt x="111163" y="25960"/>
                  </a:cubicBezTo>
                  <a:cubicBezTo>
                    <a:pt x="114715" y="27039"/>
                    <a:pt x="163777" y="42165"/>
                    <a:pt x="170208" y="44997"/>
                  </a:cubicBezTo>
                  <a:cubicBezTo>
                    <a:pt x="185721" y="47105"/>
                    <a:pt x="201386" y="47995"/>
                    <a:pt x="217038" y="47652"/>
                  </a:cubicBezTo>
                  <a:cubicBezTo>
                    <a:pt x="227731" y="48185"/>
                    <a:pt x="238513" y="51208"/>
                    <a:pt x="242749" y="47652"/>
                  </a:cubicBezTo>
                  <a:cubicBezTo>
                    <a:pt x="246922" y="44096"/>
                    <a:pt x="249573" y="35104"/>
                    <a:pt x="251641" y="33161"/>
                  </a:cubicBezTo>
                  <a:cubicBezTo>
                    <a:pt x="268460" y="31789"/>
                    <a:pt x="285330" y="31357"/>
                    <a:pt x="302200" y="31853"/>
                  </a:cubicBezTo>
                  <a:cubicBezTo>
                    <a:pt x="302200" y="31853"/>
                    <a:pt x="332401" y="62231"/>
                    <a:pt x="335686" y="63577"/>
                  </a:cubicBezTo>
                  <a:cubicBezTo>
                    <a:pt x="339441" y="64657"/>
                    <a:pt x="342662" y="67095"/>
                    <a:pt x="344717" y="70423"/>
                  </a:cubicBezTo>
                  <a:cubicBezTo>
                    <a:pt x="347140" y="74601"/>
                    <a:pt x="350197" y="89142"/>
                    <a:pt x="353888" y="95353"/>
                  </a:cubicBezTo>
                  <a:cubicBezTo>
                    <a:pt x="356945" y="101487"/>
                    <a:pt x="361917" y="106478"/>
                    <a:pt x="368043" y="109564"/>
                  </a:cubicBezTo>
                  <a:cubicBezTo>
                    <a:pt x="374715" y="114682"/>
                    <a:pt x="382174" y="118695"/>
                    <a:pt x="390114" y="121451"/>
                  </a:cubicBezTo>
                  <a:cubicBezTo>
                    <a:pt x="396139" y="121985"/>
                    <a:pt x="394109" y="125401"/>
                    <a:pt x="398879" y="117984"/>
                  </a:cubicBezTo>
                  <a:cubicBezTo>
                    <a:pt x="403597" y="110555"/>
                    <a:pt x="401035" y="105830"/>
                    <a:pt x="406603" y="101779"/>
                  </a:cubicBezTo>
                  <a:cubicBezTo>
                    <a:pt x="412134" y="97690"/>
                    <a:pt x="407910" y="97816"/>
                    <a:pt x="416307" y="97017"/>
                  </a:cubicBezTo>
                  <a:cubicBezTo>
                    <a:pt x="421837" y="95746"/>
                    <a:pt x="427520" y="95365"/>
                    <a:pt x="433164" y="95886"/>
                  </a:cubicBezTo>
                  <a:cubicBezTo>
                    <a:pt x="438238" y="97055"/>
                    <a:pt x="440977" y="96331"/>
                    <a:pt x="445252" y="99213"/>
                  </a:cubicBezTo>
                  <a:cubicBezTo>
                    <a:pt x="448981" y="101487"/>
                    <a:pt x="452305" y="104370"/>
                    <a:pt x="455095" y="107722"/>
                  </a:cubicBezTo>
                  <a:cubicBezTo>
                    <a:pt x="458101" y="111278"/>
                    <a:pt x="474781" y="139219"/>
                    <a:pt x="480349" y="147766"/>
                  </a:cubicBezTo>
                  <a:cubicBezTo>
                    <a:pt x="484649" y="154230"/>
                    <a:pt x="489431" y="160377"/>
                    <a:pt x="494644" y="166130"/>
                  </a:cubicBezTo>
                  <a:cubicBezTo>
                    <a:pt x="496826" y="168352"/>
                    <a:pt x="498374" y="171121"/>
                    <a:pt x="499135" y="174144"/>
                  </a:cubicBezTo>
                  <a:cubicBezTo>
                    <a:pt x="500213" y="177471"/>
                    <a:pt x="507582" y="204192"/>
                    <a:pt x="511045" y="205055"/>
                  </a:cubicBezTo>
                  <a:cubicBezTo>
                    <a:pt x="514457" y="205855"/>
                    <a:pt x="511806" y="202579"/>
                    <a:pt x="518275" y="206046"/>
                  </a:cubicBezTo>
                  <a:cubicBezTo>
                    <a:pt x="524795" y="209551"/>
                    <a:pt x="525911" y="209907"/>
                    <a:pt x="531492" y="212840"/>
                  </a:cubicBezTo>
                  <a:cubicBezTo>
                    <a:pt x="537009" y="215800"/>
                    <a:pt x="533915" y="215215"/>
                    <a:pt x="541284" y="215761"/>
                  </a:cubicBezTo>
                  <a:cubicBezTo>
                    <a:pt x="548704" y="216295"/>
                    <a:pt x="549871" y="219038"/>
                    <a:pt x="555579" y="220664"/>
                  </a:cubicBezTo>
                  <a:cubicBezTo>
                    <a:pt x="557444" y="221172"/>
                    <a:pt x="559384" y="221413"/>
                    <a:pt x="561325" y="221375"/>
                  </a:cubicBezTo>
                  <a:cubicBezTo>
                    <a:pt x="560386" y="252744"/>
                    <a:pt x="541728" y="308268"/>
                    <a:pt x="545825" y="321006"/>
                  </a:cubicBezTo>
                  <a:cubicBezTo>
                    <a:pt x="547233" y="334189"/>
                    <a:pt x="550480" y="347105"/>
                    <a:pt x="555490" y="359386"/>
                  </a:cubicBezTo>
                  <a:cubicBezTo>
                    <a:pt x="555668" y="359919"/>
                    <a:pt x="555884" y="360440"/>
                    <a:pt x="556125" y="360961"/>
                  </a:cubicBezTo>
                  <a:cubicBezTo>
                    <a:pt x="556391" y="361596"/>
                    <a:pt x="556657" y="362218"/>
                    <a:pt x="556974" y="362802"/>
                  </a:cubicBezTo>
                  <a:cubicBezTo>
                    <a:pt x="558319" y="365812"/>
                    <a:pt x="559803" y="368784"/>
                    <a:pt x="561427" y="371806"/>
                  </a:cubicBezTo>
                  <a:cubicBezTo>
                    <a:pt x="561959" y="372797"/>
                    <a:pt x="562505" y="373788"/>
                    <a:pt x="563088" y="374816"/>
                  </a:cubicBezTo>
                  <a:cubicBezTo>
                    <a:pt x="564204" y="376848"/>
                    <a:pt x="565422" y="378906"/>
                    <a:pt x="566678" y="381027"/>
                  </a:cubicBezTo>
                  <a:cubicBezTo>
                    <a:pt x="568568" y="384176"/>
                    <a:pt x="570585" y="387465"/>
                    <a:pt x="572791" y="390920"/>
                  </a:cubicBezTo>
                  <a:cubicBezTo>
                    <a:pt x="573959" y="392812"/>
                    <a:pt x="575214" y="394755"/>
                    <a:pt x="576521" y="396724"/>
                  </a:cubicBezTo>
                  <a:cubicBezTo>
                    <a:pt x="582051" y="405322"/>
                    <a:pt x="588482" y="415139"/>
                    <a:pt x="595890" y="427051"/>
                  </a:cubicBezTo>
                  <a:cubicBezTo>
                    <a:pt x="596929" y="428728"/>
                    <a:pt x="598008" y="430430"/>
                    <a:pt x="599086" y="432182"/>
                  </a:cubicBezTo>
                  <a:cubicBezTo>
                    <a:pt x="600202" y="433948"/>
                    <a:pt x="601331" y="435789"/>
                    <a:pt x="602447" y="437630"/>
                  </a:cubicBezTo>
                  <a:cubicBezTo>
                    <a:pt x="604096" y="438608"/>
                    <a:pt x="605847" y="439370"/>
                    <a:pt x="607660" y="439929"/>
                  </a:cubicBezTo>
                  <a:cubicBezTo>
                    <a:pt x="609487" y="440488"/>
                    <a:pt x="611352" y="440856"/>
                    <a:pt x="613241" y="441047"/>
                  </a:cubicBezTo>
                  <a:lnTo>
                    <a:pt x="613330" y="441047"/>
                  </a:lnTo>
                  <a:lnTo>
                    <a:pt x="614814" y="441186"/>
                  </a:lnTo>
                  <a:cubicBezTo>
                    <a:pt x="618873" y="441707"/>
                    <a:pt x="622742" y="443244"/>
                    <a:pt x="626040" y="445682"/>
                  </a:cubicBezTo>
                  <a:cubicBezTo>
                    <a:pt x="630669" y="448603"/>
                    <a:pt x="635426" y="452477"/>
                    <a:pt x="640741" y="455588"/>
                  </a:cubicBezTo>
                  <a:cubicBezTo>
                    <a:pt x="643924" y="454864"/>
                    <a:pt x="647210" y="454102"/>
                    <a:pt x="650533" y="453290"/>
                  </a:cubicBezTo>
                  <a:lnTo>
                    <a:pt x="650622" y="453290"/>
                  </a:lnTo>
                  <a:cubicBezTo>
                    <a:pt x="663078" y="450407"/>
                    <a:pt x="676282" y="447346"/>
                    <a:pt x="689499" y="444247"/>
                  </a:cubicBezTo>
                  <a:cubicBezTo>
                    <a:pt x="691401" y="443752"/>
                    <a:pt x="693279" y="443168"/>
                    <a:pt x="695118" y="442494"/>
                  </a:cubicBezTo>
                  <a:cubicBezTo>
                    <a:pt x="695752" y="442266"/>
                    <a:pt x="696336" y="442088"/>
                    <a:pt x="696919" y="441910"/>
                  </a:cubicBezTo>
                  <a:cubicBezTo>
                    <a:pt x="697135" y="441809"/>
                    <a:pt x="697363" y="441758"/>
                    <a:pt x="697591" y="441720"/>
                  </a:cubicBezTo>
                  <a:cubicBezTo>
                    <a:pt x="698225" y="441593"/>
                    <a:pt x="698809" y="441453"/>
                    <a:pt x="699431" y="441364"/>
                  </a:cubicBezTo>
                  <a:cubicBezTo>
                    <a:pt x="699874" y="441326"/>
                    <a:pt x="700331" y="441275"/>
                    <a:pt x="700775" y="441275"/>
                  </a:cubicBezTo>
                  <a:cubicBezTo>
                    <a:pt x="704174" y="441695"/>
                    <a:pt x="707434" y="442825"/>
                    <a:pt x="710351" y="444603"/>
                  </a:cubicBezTo>
                  <a:cubicBezTo>
                    <a:pt x="710897" y="444870"/>
                    <a:pt x="711480" y="445149"/>
                    <a:pt x="712064" y="445416"/>
                  </a:cubicBezTo>
                  <a:cubicBezTo>
                    <a:pt x="712559" y="445644"/>
                    <a:pt x="713091" y="445911"/>
                    <a:pt x="713586" y="446089"/>
                  </a:cubicBezTo>
                  <a:lnTo>
                    <a:pt x="713637" y="446089"/>
                  </a:lnTo>
                  <a:cubicBezTo>
                    <a:pt x="714449" y="446457"/>
                    <a:pt x="715311" y="446736"/>
                    <a:pt x="716199" y="446901"/>
                  </a:cubicBezTo>
                  <a:cubicBezTo>
                    <a:pt x="719865" y="447917"/>
                    <a:pt x="723746" y="446254"/>
                    <a:pt x="725547" y="442901"/>
                  </a:cubicBezTo>
                  <a:cubicBezTo>
                    <a:pt x="735695" y="428448"/>
                    <a:pt x="749673" y="415723"/>
                    <a:pt x="751702" y="396546"/>
                  </a:cubicBezTo>
                  <a:cubicBezTo>
                    <a:pt x="752057" y="393091"/>
                    <a:pt x="751968" y="389574"/>
                    <a:pt x="752412" y="386106"/>
                  </a:cubicBezTo>
                  <a:cubicBezTo>
                    <a:pt x="752958" y="373368"/>
                    <a:pt x="762826" y="362980"/>
                    <a:pt x="775510" y="361811"/>
                  </a:cubicBezTo>
                  <a:cubicBezTo>
                    <a:pt x="776550" y="361634"/>
                    <a:pt x="777540" y="361456"/>
                    <a:pt x="778567" y="361278"/>
                  </a:cubicBezTo>
                  <a:lnTo>
                    <a:pt x="778707" y="361227"/>
                  </a:lnTo>
                  <a:cubicBezTo>
                    <a:pt x="788283" y="359386"/>
                    <a:pt x="797809" y="357049"/>
                    <a:pt x="807601" y="355601"/>
                  </a:cubicBezTo>
                  <a:cubicBezTo>
                    <a:pt x="816391" y="354090"/>
                    <a:pt x="825334" y="353772"/>
                    <a:pt x="834200" y="354661"/>
                  </a:cubicBezTo>
                  <a:cubicBezTo>
                    <a:pt x="841379" y="355423"/>
                    <a:pt x="848432" y="357150"/>
                    <a:pt x="855154" y="359792"/>
                  </a:cubicBezTo>
                  <a:cubicBezTo>
                    <a:pt x="849840" y="386957"/>
                    <a:pt x="820222" y="408420"/>
                    <a:pt x="833388" y="442850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2" name="Vrije vorm 331">
              <a:extLst>
                <a:ext uri="{FF2B5EF4-FFF2-40B4-BE49-F238E27FC236}">
                  <a16:creationId xmlns:a16="http://schemas.microsoft.com/office/drawing/2014/main" id="{0D837874-5DB1-0044-806A-BCF0D5E715B4}"/>
                </a:ext>
              </a:extLst>
            </p:cNvPr>
            <p:cNvSpPr/>
            <p:nvPr/>
          </p:nvSpPr>
          <p:spPr>
            <a:xfrm>
              <a:off x="2959284" y="3864341"/>
              <a:ext cx="26433" cy="77229"/>
            </a:xfrm>
            <a:custGeom>
              <a:avLst/>
              <a:gdLst>
                <a:gd name="connsiteX0" fmla="*/ 26408 w 26433"/>
                <a:gd name="connsiteY0" fmla="*/ 371 h 77229"/>
                <a:gd name="connsiteX1" fmla="*/ 26230 w 26433"/>
                <a:gd name="connsiteY1" fmla="*/ 2263 h 77229"/>
                <a:gd name="connsiteX2" fmla="*/ 26179 w 26433"/>
                <a:gd name="connsiteY2" fmla="*/ 3343 h 77229"/>
                <a:gd name="connsiteX3" fmla="*/ 5010 w 26433"/>
                <a:gd name="connsiteY3" fmla="*/ 73992 h 77229"/>
                <a:gd name="connsiteX4" fmla="*/ 10400 w 26433"/>
                <a:gd name="connsiteY4" fmla="*/ 77231 h 77229"/>
                <a:gd name="connsiteX5" fmla="*/ -26 w 26433"/>
                <a:gd name="connsiteY5" fmla="*/ 77231 h 77229"/>
                <a:gd name="connsiteX6" fmla="*/ 3348 w 26433"/>
                <a:gd name="connsiteY6" fmla="*/ 20754 h 77229"/>
                <a:gd name="connsiteX7" fmla="*/ 4071 w 26433"/>
                <a:gd name="connsiteY7" fmla="*/ 15319 h 77229"/>
                <a:gd name="connsiteX8" fmla="*/ 11846 w 26433"/>
                <a:gd name="connsiteY8" fmla="*/ 16842 h 77229"/>
                <a:gd name="connsiteX9" fmla="*/ 21778 w 26433"/>
                <a:gd name="connsiteY9" fmla="*/ 917 h 77229"/>
                <a:gd name="connsiteX10" fmla="*/ 26408 w 26433"/>
                <a:gd name="connsiteY10" fmla="*/ 371 h 77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6433" h="77229">
                  <a:moveTo>
                    <a:pt x="26408" y="371"/>
                  </a:moveTo>
                  <a:cubicBezTo>
                    <a:pt x="26357" y="1006"/>
                    <a:pt x="26268" y="1628"/>
                    <a:pt x="26230" y="2263"/>
                  </a:cubicBezTo>
                  <a:cubicBezTo>
                    <a:pt x="26230" y="2631"/>
                    <a:pt x="26179" y="2987"/>
                    <a:pt x="26179" y="3343"/>
                  </a:cubicBezTo>
                  <a:cubicBezTo>
                    <a:pt x="24429" y="28311"/>
                    <a:pt x="30492" y="54054"/>
                    <a:pt x="5010" y="73992"/>
                  </a:cubicBezTo>
                  <a:cubicBezTo>
                    <a:pt x="7217" y="75161"/>
                    <a:pt x="8929" y="76418"/>
                    <a:pt x="10400" y="77231"/>
                  </a:cubicBezTo>
                  <a:lnTo>
                    <a:pt x="-26" y="77231"/>
                  </a:lnTo>
                  <a:cubicBezTo>
                    <a:pt x="-26" y="77231"/>
                    <a:pt x="2003" y="35918"/>
                    <a:pt x="3348" y="20754"/>
                  </a:cubicBezTo>
                  <a:cubicBezTo>
                    <a:pt x="3437" y="18925"/>
                    <a:pt x="3678" y="17109"/>
                    <a:pt x="4071" y="15319"/>
                  </a:cubicBezTo>
                  <a:cubicBezTo>
                    <a:pt x="5238" y="12931"/>
                    <a:pt x="8206" y="16842"/>
                    <a:pt x="11846" y="16842"/>
                  </a:cubicBezTo>
                  <a:cubicBezTo>
                    <a:pt x="15525" y="16842"/>
                    <a:pt x="20433" y="3215"/>
                    <a:pt x="21778" y="917"/>
                  </a:cubicBezTo>
                  <a:cubicBezTo>
                    <a:pt x="22501" y="-341"/>
                    <a:pt x="24378" y="-74"/>
                    <a:pt x="26408" y="371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3" name="Vrije vorm 332">
              <a:extLst>
                <a:ext uri="{FF2B5EF4-FFF2-40B4-BE49-F238E27FC236}">
                  <a16:creationId xmlns:a16="http://schemas.microsoft.com/office/drawing/2014/main" id="{9BC3FE25-FC3F-3949-A109-4D76E2D05EA4}"/>
                </a:ext>
              </a:extLst>
            </p:cNvPr>
            <p:cNvSpPr/>
            <p:nvPr/>
          </p:nvSpPr>
          <p:spPr>
            <a:xfrm>
              <a:off x="2875073" y="3884418"/>
              <a:ext cx="114195" cy="120589"/>
            </a:xfrm>
            <a:custGeom>
              <a:avLst/>
              <a:gdLst>
                <a:gd name="connsiteX0" fmla="*/ 114170 w 114195"/>
                <a:gd name="connsiteY0" fmla="*/ 58056 h 120589"/>
                <a:gd name="connsiteX1" fmla="*/ 97807 w 114195"/>
                <a:gd name="connsiteY1" fmla="*/ 73042 h 120589"/>
                <a:gd name="connsiteX2" fmla="*/ 85935 w 114195"/>
                <a:gd name="connsiteY2" fmla="*/ 91940 h 120589"/>
                <a:gd name="connsiteX3" fmla="*/ 82205 w 114195"/>
                <a:gd name="connsiteY3" fmla="*/ 98188 h 120589"/>
                <a:gd name="connsiteX4" fmla="*/ 79022 w 114195"/>
                <a:gd name="connsiteY4" fmla="*/ 99712 h 120589"/>
                <a:gd name="connsiteX5" fmla="*/ 78933 w 114195"/>
                <a:gd name="connsiteY5" fmla="*/ 99712 h 120589"/>
                <a:gd name="connsiteX6" fmla="*/ 70790 w 114195"/>
                <a:gd name="connsiteY6" fmla="*/ 105427 h 120589"/>
                <a:gd name="connsiteX7" fmla="*/ 60554 w 114195"/>
                <a:gd name="connsiteY7" fmla="*/ 120591 h 120589"/>
                <a:gd name="connsiteX8" fmla="*/ 28374 w 114195"/>
                <a:gd name="connsiteY8" fmla="*/ 111955 h 120589"/>
                <a:gd name="connsiteX9" fmla="*/ 23744 w 114195"/>
                <a:gd name="connsiteY9" fmla="*/ 110113 h 120589"/>
                <a:gd name="connsiteX10" fmla="*/ -26 w 114195"/>
                <a:gd name="connsiteY10" fmla="*/ 94988 h 120589"/>
                <a:gd name="connsiteX11" fmla="*/ 12189 w 114195"/>
                <a:gd name="connsiteY11" fmla="*/ 59263 h 120589"/>
                <a:gd name="connsiteX12" fmla="*/ 37088 w 114195"/>
                <a:gd name="connsiteY12" fmla="*/ 50449 h 120589"/>
                <a:gd name="connsiteX13" fmla="*/ 48681 w 114195"/>
                <a:gd name="connsiteY13" fmla="*/ 50220 h 120589"/>
                <a:gd name="connsiteX14" fmla="*/ 52372 w 114195"/>
                <a:gd name="connsiteY14" fmla="*/ 43476 h 120589"/>
                <a:gd name="connsiteX15" fmla="*/ 47425 w 114195"/>
                <a:gd name="connsiteY15" fmla="*/ 39832 h 120589"/>
                <a:gd name="connsiteX16" fmla="*/ 44229 w 114195"/>
                <a:gd name="connsiteY16" fmla="*/ 33659 h 120589"/>
                <a:gd name="connsiteX17" fmla="*/ 36149 w 114195"/>
                <a:gd name="connsiteY17" fmla="*/ 28529 h 120589"/>
                <a:gd name="connsiteX18" fmla="*/ 28183 w 114195"/>
                <a:gd name="connsiteY18" fmla="*/ 21734 h 120589"/>
                <a:gd name="connsiteX19" fmla="*/ 22615 w 114195"/>
                <a:gd name="connsiteY19" fmla="*/ 18546 h 120589"/>
                <a:gd name="connsiteX20" fmla="*/ 35020 w 114195"/>
                <a:gd name="connsiteY20" fmla="*/ 17378 h 120589"/>
                <a:gd name="connsiteX21" fmla="*/ 34665 w 114195"/>
                <a:gd name="connsiteY21" fmla="*/ 9047 h 120589"/>
                <a:gd name="connsiteX22" fmla="*/ 37088 w 114195"/>
                <a:gd name="connsiteY22" fmla="*/ 678 h 120589"/>
                <a:gd name="connsiteX23" fmla="*/ 87558 w 114195"/>
                <a:gd name="connsiteY23" fmla="*/ 678 h 120589"/>
                <a:gd name="connsiteX24" fmla="*/ 84184 w 114195"/>
                <a:gd name="connsiteY24" fmla="*/ 57154 h 120589"/>
                <a:gd name="connsiteX25" fmla="*/ 94611 w 114195"/>
                <a:gd name="connsiteY25" fmla="*/ 57154 h 120589"/>
                <a:gd name="connsiteX26" fmla="*/ 97579 w 114195"/>
                <a:gd name="connsiteY26" fmla="*/ 58145 h 120589"/>
                <a:gd name="connsiteX27" fmla="*/ 99012 w 114195"/>
                <a:gd name="connsiteY27" fmla="*/ 58145 h 120589"/>
                <a:gd name="connsiteX28" fmla="*/ 114170 w 114195"/>
                <a:gd name="connsiteY28" fmla="*/ 58056 h 120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14195" h="120589">
                  <a:moveTo>
                    <a:pt x="114170" y="58056"/>
                  </a:moveTo>
                  <a:cubicBezTo>
                    <a:pt x="109718" y="61917"/>
                    <a:pt x="102386" y="68356"/>
                    <a:pt x="97807" y="73042"/>
                  </a:cubicBezTo>
                  <a:cubicBezTo>
                    <a:pt x="90843" y="80053"/>
                    <a:pt x="85529" y="87711"/>
                    <a:pt x="85935" y="91940"/>
                  </a:cubicBezTo>
                  <a:cubicBezTo>
                    <a:pt x="86302" y="96131"/>
                    <a:pt x="83195" y="95800"/>
                    <a:pt x="82205" y="98188"/>
                  </a:cubicBezTo>
                  <a:cubicBezTo>
                    <a:pt x="81761" y="99268"/>
                    <a:pt x="80633" y="99318"/>
                    <a:pt x="79022" y="99712"/>
                  </a:cubicBezTo>
                  <a:lnTo>
                    <a:pt x="78933" y="99712"/>
                  </a:lnTo>
                  <a:cubicBezTo>
                    <a:pt x="75597" y="100538"/>
                    <a:pt x="72705" y="102582"/>
                    <a:pt x="70790" y="105427"/>
                  </a:cubicBezTo>
                  <a:cubicBezTo>
                    <a:pt x="68139" y="108843"/>
                    <a:pt x="64143" y="114927"/>
                    <a:pt x="60554" y="120591"/>
                  </a:cubicBezTo>
                  <a:cubicBezTo>
                    <a:pt x="49645" y="118406"/>
                    <a:pt x="38902" y="115524"/>
                    <a:pt x="28374" y="111955"/>
                  </a:cubicBezTo>
                  <a:cubicBezTo>
                    <a:pt x="26801" y="111421"/>
                    <a:pt x="25266" y="110787"/>
                    <a:pt x="23744" y="110113"/>
                  </a:cubicBezTo>
                  <a:cubicBezTo>
                    <a:pt x="15182" y="106151"/>
                    <a:pt x="7191" y="101058"/>
                    <a:pt x="-26" y="94988"/>
                  </a:cubicBezTo>
                  <a:cubicBezTo>
                    <a:pt x="2447" y="80408"/>
                    <a:pt x="3031" y="67010"/>
                    <a:pt x="12189" y="59263"/>
                  </a:cubicBezTo>
                  <a:cubicBezTo>
                    <a:pt x="19368" y="53789"/>
                    <a:pt x="28069" y="50703"/>
                    <a:pt x="37088" y="50449"/>
                  </a:cubicBezTo>
                  <a:cubicBezTo>
                    <a:pt x="39155" y="50271"/>
                    <a:pt x="43290" y="50538"/>
                    <a:pt x="48681" y="50220"/>
                  </a:cubicBezTo>
                  <a:cubicBezTo>
                    <a:pt x="54123" y="49953"/>
                    <a:pt x="50482" y="49280"/>
                    <a:pt x="52372" y="43476"/>
                  </a:cubicBezTo>
                  <a:cubicBezTo>
                    <a:pt x="54211" y="37622"/>
                    <a:pt x="51205" y="42079"/>
                    <a:pt x="47425" y="39832"/>
                  </a:cubicBezTo>
                  <a:cubicBezTo>
                    <a:pt x="43696" y="37622"/>
                    <a:pt x="46575" y="40149"/>
                    <a:pt x="44229" y="33659"/>
                  </a:cubicBezTo>
                  <a:cubicBezTo>
                    <a:pt x="41844" y="27182"/>
                    <a:pt x="40094" y="32986"/>
                    <a:pt x="36149" y="28529"/>
                  </a:cubicBezTo>
                  <a:cubicBezTo>
                    <a:pt x="32230" y="24033"/>
                    <a:pt x="31875" y="25341"/>
                    <a:pt x="28183" y="21734"/>
                  </a:cubicBezTo>
                  <a:cubicBezTo>
                    <a:pt x="25228" y="18813"/>
                    <a:pt x="23287" y="18546"/>
                    <a:pt x="22615" y="18546"/>
                  </a:cubicBezTo>
                  <a:cubicBezTo>
                    <a:pt x="24150" y="18318"/>
                    <a:pt x="32103" y="17378"/>
                    <a:pt x="35020" y="17378"/>
                  </a:cubicBezTo>
                  <a:cubicBezTo>
                    <a:pt x="38204" y="17416"/>
                    <a:pt x="35160" y="13149"/>
                    <a:pt x="34665" y="9047"/>
                  </a:cubicBezTo>
                  <a:cubicBezTo>
                    <a:pt x="33955" y="6024"/>
                    <a:pt x="34881" y="2862"/>
                    <a:pt x="37088" y="678"/>
                  </a:cubicBezTo>
                  <a:cubicBezTo>
                    <a:pt x="53894" y="-224"/>
                    <a:pt x="70739" y="-224"/>
                    <a:pt x="87558" y="678"/>
                  </a:cubicBezTo>
                  <a:cubicBezTo>
                    <a:pt x="86214" y="15841"/>
                    <a:pt x="84184" y="57154"/>
                    <a:pt x="84184" y="57154"/>
                  </a:cubicBezTo>
                  <a:lnTo>
                    <a:pt x="94611" y="57154"/>
                  </a:lnTo>
                  <a:cubicBezTo>
                    <a:pt x="95499" y="57739"/>
                    <a:pt x="96513" y="58081"/>
                    <a:pt x="97579" y="58145"/>
                  </a:cubicBezTo>
                  <a:lnTo>
                    <a:pt x="99012" y="58145"/>
                  </a:lnTo>
                  <a:cubicBezTo>
                    <a:pt x="104060" y="58145"/>
                    <a:pt x="109083" y="58094"/>
                    <a:pt x="114170" y="58056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4" name="Vrije vorm 333">
              <a:extLst>
                <a:ext uri="{FF2B5EF4-FFF2-40B4-BE49-F238E27FC236}">
                  <a16:creationId xmlns:a16="http://schemas.microsoft.com/office/drawing/2014/main" id="{623FBFD6-D503-9346-96E7-C80F119259B8}"/>
                </a:ext>
              </a:extLst>
            </p:cNvPr>
            <p:cNvSpPr/>
            <p:nvPr/>
          </p:nvSpPr>
          <p:spPr>
            <a:xfrm>
              <a:off x="2935653" y="3984128"/>
              <a:ext cx="65931" cy="32485"/>
            </a:xfrm>
            <a:custGeom>
              <a:avLst/>
              <a:gdLst>
                <a:gd name="connsiteX0" fmla="*/ 65767 w 65931"/>
                <a:gd name="connsiteY0" fmla="*/ 24169 h 32485"/>
                <a:gd name="connsiteX1" fmla="*/ 63560 w 65931"/>
                <a:gd name="connsiteY1" fmla="*/ 30557 h 32485"/>
                <a:gd name="connsiteX2" fmla="*/ 63560 w 65931"/>
                <a:gd name="connsiteY2" fmla="*/ 30608 h 32485"/>
                <a:gd name="connsiteX3" fmla="*/ 63027 w 65931"/>
                <a:gd name="connsiteY3" fmla="*/ 30786 h 32485"/>
                <a:gd name="connsiteX4" fmla="*/ 17719 w 65931"/>
                <a:gd name="connsiteY4" fmla="*/ 25795 h 32485"/>
                <a:gd name="connsiteX5" fmla="*/ -26 w 65931"/>
                <a:gd name="connsiteY5" fmla="*/ 20880 h 32485"/>
                <a:gd name="connsiteX6" fmla="*/ 10223 w 65931"/>
                <a:gd name="connsiteY6" fmla="*/ 5716 h 32485"/>
                <a:gd name="connsiteX7" fmla="*/ 18353 w 65931"/>
                <a:gd name="connsiteY7" fmla="*/ 1 h 32485"/>
                <a:gd name="connsiteX8" fmla="*/ 18442 w 65931"/>
                <a:gd name="connsiteY8" fmla="*/ 1 h 32485"/>
                <a:gd name="connsiteX9" fmla="*/ 26573 w 65931"/>
                <a:gd name="connsiteY9" fmla="*/ 2757 h 32485"/>
                <a:gd name="connsiteX10" fmla="*/ 35477 w 65931"/>
                <a:gd name="connsiteY10" fmla="*/ 10034 h 32485"/>
                <a:gd name="connsiteX11" fmla="*/ 45180 w 65931"/>
                <a:gd name="connsiteY11" fmla="*/ 13908 h 32485"/>
                <a:gd name="connsiteX12" fmla="*/ 54262 w 65931"/>
                <a:gd name="connsiteY12" fmla="*/ 13412 h 32485"/>
                <a:gd name="connsiteX13" fmla="*/ 62938 w 65931"/>
                <a:gd name="connsiteY13" fmla="*/ 16206 h 32485"/>
                <a:gd name="connsiteX14" fmla="*/ 65767 w 65931"/>
                <a:gd name="connsiteY14" fmla="*/ 24169 h 32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5931" h="32485">
                  <a:moveTo>
                    <a:pt x="65767" y="24169"/>
                  </a:moveTo>
                  <a:cubicBezTo>
                    <a:pt x="65196" y="26354"/>
                    <a:pt x="64460" y="28487"/>
                    <a:pt x="63560" y="30557"/>
                  </a:cubicBezTo>
                  <a:lnTo>
                    <a:pt x="63560" y="30608"/>
                  </a:lnTo>
                  <a:cubicBezTo>
                    <a:pt x="63395" y="30684"/>
                    <a:pt x="63205" y="30748"/>
                    <a:pt x="63027" y="30786"/>
                  </a:cubicBezTo>
                  <a:cubicBezTo>
                    <a:pt x="47793" y="34202"/>
                    <a:pt x="31849" y="32437"/>
                    <a:pt x="17719" y="25795"/>
                  </a:cubicBezTo>
                  <a:cubicBezTo>
                    <a:pt x="11922" y="23814"/>
                    <a:pt x="5948" y="22277"/>
                    <a:pt x="-26" y="20880"/>
                  </a:cubicBezTo>
                  <a:cubicBezTo>
                    <a:pt x="3564" y="15216"/>
                    <a:pt x="7572" y="9145"/>
                    <a:pt x="10223" y="5716"/>
                  </a:cubicBezTo>
                  <a:cubicBezTo>
                    <a:pt x="12125" y="2871"/>
                    <a:pt x="15030" y="827"/>
                    <a:pt x="18353" y="1"/>
                  </a:cubicBezTo>
                  <a:lnTo>
                    <a:pt x="18442" y="1"/>
                  </a:lnTo>
                  <a:cubicBezTo>
                    <a:pt x="21296" y="420"/>
                    <a:pt x="24061" y="1347"/>
                    <a:pt x="26573" y="2757"/>
                  </a:cubicBezTo>
                  <a:cubicBezTo>
                    <a:pt x="30708" y="5132"/>
                    <a:pt x="31291" y="7431"/>
                    <a:pt x="35477" y="10034"/>
                  </a:cubicBezTo>
                  <a:cubicBezTo>
                    <a:pt x="38090" y="12549"/>
                    <a:pt x="41565" y="13933"/>
                    <a:pt x="45180" y="13908"/>
                  </a:cubicBezTo>
                  <a:cubicBezTo>
                    <a:pt x="52144" y="14771"/>
                    <a:pt x="49633" y="9945"/>
                    <a:pt x="54262" y="13412"/>
                  </a:cubicBezTo>
                  <a:cubicBezTo>
                    <a:pt x="58841" y="16880"/>
                    <a:pt x="59336" y="10809"/>
                    <a:pt x="62938" y="16206"/>
                  </a:cubicBezTo>
                  <a:cubicBezTo>
                    <a:pt x="66579" y="21566"/>
                    <a:pt x="65906" y="22328"/>
                    <a:pt x="65767" y="24169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5" name="Vrije vorm 334">
              <a:extLst>
                <a:ext uri="{FF2B5EF4-FFF2-40B4-BE49-F238E27FC236}">
                  <a16:creationId xmlns:a16="http://schemas.microsoft.com/office/drawing/2014/main" id="{ECCAD39A-F7AC-1C4E-B9A2-7FE988017A18}"/>
                </a:ext>
              </a:extLst>
            </p:cNvPr>
            <p:cNvSpPr/>
            <p:nvPr/>
          </p:nvSpPr>
          <p:spPr>
            <a:xfrm>
              <a:off x="2954121" y="3939628"/>
              <a:ext cx="170678" cy="90715"/>
            </a:xfrm>
            <a:custGeom>
              <a:avLst/>
              <a:gdLst>
                <a:gd name="connsiteX0" fmla="*/ 170652 w 170678"/>
                <a:gd name="connsiteY0" fmla="*/ 28944 h 90715"/>
                <a:gd name="connsiteX1" fmla="*/ 163549 w 170678"/>
                <a:gd name="connsiteY1" fmla="*/ 31547 h 90715"/>
                <a:gd name="connsiteX2" fmla="*/ 143965 w 170678"/>
                <a:gd name="connsiteY2" fmla="*/ 36627 h 90715"/>
                <a:gd name="connsiteX3" fmla="*/ 133627 w 170678"/>
                <a:gd name="connsiteY3" fmla="*/ 36361 h 90715"/>
                <a:gd name="connsiteX4" fmla="*/ 126346 w 170678"/>
                <a:gd name="connsiteY4" fmla="*/ 35548 h 90715"/>
                <a:gd name="connsiteX5" fmla="*/ 120854 w 170678"/>
                <a:gd name="connsiteY5" fmla="*/ 46305 h 90715"/>
                <a:gd name="connsiteX6" fmla="*/ 107244 w 170678"/>
                <a:gd name="connsiteY6" fmla="*/ 58001 h 90715"/>
                <a:gd name="connsiteX7" fmla="*/ 99913 w 170678"/>
                <a:gd name="connsiteY7" fmla="*/ 60160 h 90715"/>
                <a:gd name="connsiteX8" fmla="*/ 91414 w 170678"/>
                <a:gd name="connsiteY8" fmla="*/ 58268 h 90715"/>
                <a:gd name="connsiteX9" fmla="*/ 78743 w 170678"/>
                <a:gd name="connsiteY9" fmla="*/ 64301 h 90715"/>
                <a:gd name="connsiteX10" fmla="*/ 76269 w 170678"/>
                <a:gd name="connsiteY10" fmla="*/ 71641 h 90715"/>
                <a:gd name="connsiteX11" fmla="*/ 73897 w 170678"/>
                <a:gd name="connsiteY11" fmla="*/ 77991 h 90715"/>
                <a:gd name="connsiteX12" fmla="*/ 68189 w 170678"/>
                <a:gd name="connsiteY12" fmla="*/ 87072 h 90715"/>
                <a:gd name="connsiteX13" fmla="*/ 57408 w 170678"/>
                <a:gd name="connsiteY13" fmla="*/ 90717 h 90715"/>
                <a:gd name="connsiteX14" fmla="*/ 56545 w 170678"/>
                <a:gd name="connsiteY14" fmla="*/ 88558 h 90715"/>
                <a:gd name="connsiteX15" fmla="*/ 52195 w 170678"/>
                <a:gd name="connsiteY15" fmla="*/ 74664 h 90715"/>
                <a:gd name="connsiteX16" fmla="*/ 51433 w 170678"/>
                <a:gd name="connsiteY16" fmla="*/ 72365 h 90715"/>
                <a:gd name="connsiteX17" fmla="*/ 45548 w 170678"/>
                <a:gd name="connsiteY17" fmla="*/ 74931 h 90715"/>
                <a:gd name="connsiteX18" fmla="*/ 45091 w 170678"/>
                <a:gd name="connsiteY18" fmla="*/ 75058 h 90715"/>
                <a:gd name="connsiteX19" fmla="*/ 47298 w 170678"/>
                <a:gd name="connsiteY19" fmla="*/ 68669 h 90715"/>
                <a:gd name="connsiteX20" fmla="*/ 44457 w 170678"/>
                <a:gd name="connsiteY20" fmla="*/ 60706 h 90715"/>
                <a:gd name="connsiteX21" fmla="*/ 35794 w 170678"/>
                <a:gd name="connsiteY21" fmla="*/ 57912 h 90715"/>
                <a:gd name="connsiteX22" fmla="*/ 26712 w 170678"/>
                <a:gd name="connsiteY22" fmla="*/ 58408 h 90715"/>
                <a:gd name="connsiteX23" fmla="*/ 17009 w 170678"/>
                <a:gd name="connsiteY23" fmla="*/ 54534 h 90715"/>
                <a:gd name="connsiteX24" fmla="*/ 8104 w 170678"/>
                <a:gd name="connsiteY24" fmla="*/ 47257 h 90715"/>
                <a:gd name="connsiteX25" fmla="*/ -26 w 170678"/>
                <a:gd name="connsiteY25" fmla="*/ 44501 h 90715"/>
                <a:gd name="connsiteX26" fmla="*/ 3170 w 170678"/>
                <a:gd name="connsiteY26" fmla="*/ 42977 h 90715"/>
                <a:gd name="connsiteX27" fmla="*/ 6899 w 170678"/>
                <a:gd name="connsiteY27" fmla="*/ 36729 h 90715"/>
                <a:gd name="connsiteX28" fmla="*/ 18759 w 170678"/>
                <a:gd name="connsiteY28" fmla="*/ 17831 h 90715"/>
                <a:gd name="connsiteX29" fmla="*/ 35122 w 170678"/>
                <a:gd name="connsiteY29" fmla="*/ 2845 h 90715"/>
                <a:gd name="connsiteX30" fmla="*/ 90399 w 170678"/>
                <a:gd name="connsiteY30" fmla="*/ 1855 h 90715"/>
                <a:gd name="connsiteX31" fmla="*/ 123873 w 170678"/>
                <a:gd name="connsiteY31" fmla="*/ 102 h 90715"/>
                <a:gd name="connsiteX32" fmla="*/ 131027 w 170678"/>
                <a:gd name="connsiteY32" fmla="*/ 2299 h 90715"/>
                <a:gd name="connsiteX33" fmla="*/ 147922 w 170678"/>
                <a:gd name="connsiteY33" fmla="*/ 12065 h 90715"/>
                <a:gd name="connsiteX34" fmla="*/ 149761 w 170678"/>
                <a:gd name="connsiteY34" fmla="*/ 13107 h 90715"/>
                <a:gd name="connsiteX35" fmla="*/ 161811 w 170678"/>
                <a:gd name="connsiteY35" fmla="*/ 20613 h 90715"/>
                <a:gd name="connsiteX36" fmla="*/ 161862 w 170678"/>
                <a:gd name="connsiteY36" fmla="*/ 20613 h 90715"/>
                <a:gd name="connsiteX37" fmla="*/ 165363 w 170678"/>
                <a:gd name="connsiteY37" fmla="*/ 22873 h 90715"/>
                <a:gd name="connsiteX38" fmla="*/ 165769 w 170678"/>
                <a:gd name="connsiteY38" fmla="*/ 23140 h 90715"/>
                <a:gd name="connsiteX39" fmla="*/ 169181 w 170678"/>
                <a:gd name="connsiteY39" fmla="*/ 25299 h 90715"/>
                <a:gd name="connsiteX40" fmla="*/ 170652 w 170678"/>
                <a:gd name="connsiteY40" fmla="*/ 28944 h 90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70678" h="90715">
                  <a:moveTo>
                    <a:pt x="170652" y="28944"/>
                  </a:moveTo>
                  <a:cubicBezTo>
                    <a:pt x="169168" y="29439"/>
                    <a:pt x="166923" y="30239"/>
                    <a:pt x="163549" y="31547"/>
                  </a:cubicBezTo>
                  <a:cubicBezTo>
                    <a:pt x="157410" y="34506"/>
                    <a:pt x="150763" y="36234"/>
                    <a:pt x="143965" y="36627"/>
                  </a:cubicBezTo>
                  <a:cubicBezTo>
                    <a:pt x="134972" y="37529"/>
                    <a:pt x="138257" y="39015"/>
                    <a:pt x="133627" y="36361"/>
                  </a:cubicBezTo>
                  <a:cubicBezTo>
                    <a:pt x="128947" y="33706"/>
                    <a:pt x="129226" y="29515"/>
                    <a:pt x="126346" y="35548"/>
                  </a:cubicBezTo>
                  <a:cubicBezTo>
                    <a:pt x="123467" y="41619"/>
                    <a:pt x="123733" y="43193"/>
                    <a:pt x="120854" y="46305"/>
                  </a:cubicBezTo>
                  <a:cubicBezTo>
                    <a:pt x="117937" y="49454"/>
                    <a:pt x="111328" y="53861"/>
                    <a:pt x="107244" y="58001"/>
                  </a:cubicBezTo>
                  <a:cubicBezTo>
                    <a:pt x="103160" y="62142"/>
                    <a:pt x="106572" y="62904"/>
                    <a:pt x="99913" y="60160"/>
                  </a:cubicBezTo>
                  <a:cubicBezTo>
                    <a:pt x="93317" y="57417"/>
                    <a:pt x="94801" y="52515"/>
                    <a:pt x="91414" y="58268"/>
                  </a:cubicBezTo>
                  <a:cubicBezTo>
                    <a:pt x="88091" y="63983"/>
                    <a:pt x="81888" y="61824"/>
                    <a:pt x="78743" y="64301"/>
                  </a:cubicBezTo>
                  <a:cubicBezTo>
                    <a:pt x="75597" y="66777"/>
                    <a:pt x="76269" y="64301"/>
                    <a:pt x="76269" y="71641"/>
                  </a:cubicBezTo>
                  <a:cubicBezTo>
                    <a:pt x="76269" y="78918"/>
                    <a:pt x="76815" y="72848"/>
                    <a:pt x="73897" y="77991"/>
                  </a:cubicBezTo>
                  <a:cubicBezTo>
                    <a:pt x="70980" y="83160"/>
                    <a:pt x="72185" y="84291"/>
                    <a:pt x="68189" y="87072"/>
                  </a:cubicBezTo>
                  <a:cubicBezTo>
                    <a:pt x="64777" y="88786"/>
                    <a:pt x="61150" y="90018"/>
                    <a:pt x="57408" y="90717"/>
                  </a:cubicBezTo>
                  <a:cubicBezTo>
                    <a:pt x="57091" y="90043"/>
                    <a:pt x="56824" y="89281"/>
                    <a:pt x="56545" y="88558"/>
                  </a:cubicBezTo>
                  <a:cubicBezTo>
                    <a:pt x="55023" y="84328"/>
                    <a:pt x="53856" y="79566"/>
                    <a:pt x="52195" y="74664"/>
                  </a:cubicBezTo>
                  <a:cubicBezTo>
                    <a:pt x="51966" y="73889"/>
                    <a:pt x="51700" y="73127"/>
                    <a:pt x="51433" y="72365"/>
                  </a:cubicBezTo>
                  <a:cubicBezTo>
                    <a:pt x="49531" y="73356"/>
                    <a:pt x="47565" y="74219"/>
                    <a:pt x="45548" y="74931"/>
                  </a:cubicBezTo>
                  <a:cubicBezTo>
                    <a:pt x="45396" y="74994"/>
                    <a:pt x="45244" y="75032"/>
                    <a:pt x="45091" y="75058"/>
                  </a:cubicBezTo>
                  <a:cubicBezTo>
                    <a:pt x="45979" y="72988"/>
                    <a:pt x="46728" y="70854"/>
                    <a:pt x="47298" y="68669"/>
                  </a:cubicBezTo>
                  <a:cubicBezTo>
                    <a:pt x="47425" y="66828"/>
                    <a:pt x="48110" y="66066"/>
                    <a:pt x="44457" y="60706"/>
                  </a:cubicBezTo>
                  <a:cubicBezTo>
                    <a:pt x="40868" y="55309"/>
                    <a:pt x="40373" y="61380"/>
                    <a:pt x="35794" y="57912"/>
                  </a:cubicBezTo>
                  <a:cubicBezTo>
                    <a:pt x="31164" y="54445"/>
                    <a:pt x="33676" y="59259"/>
                    <a:pt x="26712" y="58408"/>
                  </a:cubicBezTo>
                  <a:cubicBezTo>
                    <a:pt x="23097" y="58433"/>
                    <a:pt x="19622" y="57036"/>
                    <a:pt x="17009" y="54534"/>
                  </a:cubicBezTo>
                  <a:cubicBezTo>
                    <a:pt x="12823" y="51931"/>
                    <a:pt x="12239" y="49632"/>
                    <a:pt x="8104" y="47257"/>
                  </a:cubicBezTo>
                  <a:cubicBezTo>
                    <a:pt x="5593" y="45848"/>
                    <a:pt x="2828" y="44920"/>
                    <a:pt x="-26" y="44501"/>
                  </a:cubicBezTo>
                  <a:cubicBezTo>
                    <a:pt x="1585" y="44108"/>
                    <a:pt x="2713" y="44057"/>
                    <a:pt x="3170" y="42977"/>
                  </a:cubicBezTo>
                  <a:cubicBezTo>
                    <a:pt x="4159" y="40602"/>
                    <a:pt x="7254" y="40907"/>
                    <a:pt x="6899" y="36729"/>
                  </a:cubicBezTo>
                  <a:cubicBezTo>
                    <a:pt x="6493" y="32500"/>
                    <a:pt x="11795" y="24842"/>
                    <a:pt x="18759" y="17831"/>
                  </a:cubicBezTo>
                  <a:cubicBezTo>
                    <a:pt x="23338" y="13145"/>
                    <a:pt x="30670" y="6719"/>
                    <a:pt x="35122" y="2845"/>
                  </a:cubicBezTo>
                  <a:cubicBezTo>
                    <a:pt x="53552" y="2706"/>
                    <a:pt x="71969" y="2375"/>
                    <a:pt x="90399" y="1855"/>
                  </a:cubicBezTo>
                  <a:cubicBezTo>
                    <a:pt x="101485" y="331"/>
                    <a:pt x="112685" y="-254"/>
                    <a:pt x="123873" y="102"/>
                  </a:cubicBezTo>
                  <a:cubicBezTo>
                    <a:pt x="126346" y="483"/>
                    <a:pt x="128756" y="1232"/>
                    <a:pt x="131027" y="2299"/>
                  </a:cubicBezTo>
                  <a:cubicBezTo>
                    <a:pt x="136811" y="5271"/>
                    <a:pt x="142455" y="8535"/>
                    <a:pt x="147922" y="12065"/>
                  </a:cubicBezTo>
                  <a:cubicBezTo>
                    <a:pt x="148556" y="12421"/>
                    <a:pt x="149127" y="12739"/>
                    <a:pt x="149761" y="13107"/>
                  </a:cubicBezTo>
                  <a:cubicBezTo>
                    <a:pt x="153630" y="15355"/>
                    <a:pt x="157448" y="17831"/>
                    <a:pt x="161811" y="20613"/>
                  </a:cubicBezTo>
                  <a:lnTo>
                    <a:pt x="161862" y="20613"/>
                  </a:lnTo>
                  <a:cubicBezTo>
                    <a:pt x="162978" y="21337"/>
                    <a:pt x="164145" y="22099"/>
                    <a:pt x="165363" y="22873"/>
                  </a:cubicBezTo>
                  <a:lnTo>
                    <a:pt x="165769" y="23140"/>
                  </a:lnTo>
                  <a:cubicBezTo>
                    <a:pt x="166885" y="23813"/>
                    <a:pt x="168014" y="24537"/>
                    <a:pt x="169181" y="25299"/>
                  </a:cubicBezTo>
                  <a:cubicBezTo>
                    <a:pt x="169790" y="26455"/>
                    <a:pt x="170284" y="27674"/>
                    <a:pt x="170652" y="28944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6" name="Vrije vorm 335">
              <a:extLst>
                <a:ext uri="{FF2B5EF4-FFF2-40B4-BE49-F238E27FC236}">
                  <a16:creationId xmlns:a16="http://schemas.microsoft.com/office/drawing/2014/main" id="{86F45329-C9A0-D944-AB6E-C17814036AA1}"/>
                </a:ext>
              </a:extLst>
            </p:cNvPr>
            <p:cNvSpPr/>
            <p:nvPr/>
          </p:nvSpPr>
          <p:spPr>
            <a:xfrm>
              <a:off x="3011555" y="3968558"/>
              <a:ext cx="114860" cy="123369"/>
            </a:xfrm>
            <a:custGeom>
              <a:avLst/>
              <a:gdLst>
                <a:gd name="connsiteX0" fmla="*/ 104238 w 114860"/>
                <a:gd name="connsiteY0" fmla="*/ 118937 h 123369"/>
                <a:gd name="connsiteX1" fmla="*/ 106660 w 114860"/>
                <a:gd name="connsiteY1" fmla="*/ 122391 h 123369"/>
                <a:gd name="connsiteX2" fmla="*/ 100052 w 114860"/>
                <a:gd name="connsiteY2" fmla="*/ 123115 h 123369"/>
                <a:gd name="connsiteX3" fmla="*/ 89765 w 114860"/>
                <a:gd name="connsiteY3" fmla="*/ 118848 h 123369"/>
                <a:gd name="connsiteX4" fmla="*/ 89093 w 114860"/>
                <a:gd name="connsiteY4" fmla="*/ 117400 h 123369"/>
                <a:gd name="connsiteX5" fmla="*/ 89093 w 114860"/>
                <a:gd name="connsiteY5" fmla="*/ 117400 h 123369"/>
                <a:gd name="connsiteX6" fmla="*/ 84729 w 114860"/>
                <a:gd name="connsiteY6" fmla="*/ 116689 h 123369"/>
                <a:gd name="connsiteX7" fmla="*/ 72870 w 114860"/>
                <a:gd name="connsiteY7" fmla="*/ 116041 h 123369"/>
                <a:gd name="connsiteX8" fmla="*/ 61276 w 114860"/>
                <a:gd name="connsiteY8" fmla="*/ 114873 h 123369"/>
                <a:gd name="connsiteX9" fmla="*/ 50076 w 114860"/>
                <a:gd name="connsiteY9" fmla="*/ 110923 h 123369"/>
                <a:gd name="connsiteX10" fmla="*/ 44965 w 114860"/>
                <a:gd name="connsiteY10" fmla="*/ 115647 h 123369"/>
                <a:gd name="connsiteX11" fmla="*/ 30670 w 114860"/>
                <a:gd name="connsiteY11" fmla="*/ 95975 h 123369"/>
                <a:gd name="connsiteX12" fmla="*/ 8015 w 114860"/>
                <a:gd name="connsiteY12" fmla="*/ 73712 h 123369"/>
                <a:gd name="connsiteX13" fmla="*/ 3475 w 114860"/>
                <a:gd name="connsiteY13" fmla="*/ 68086 h 123369"/>
                <a:gd name="connsiteX14" fmla="*/ -26 w 114860"/>
                <a:gd name="connsiteY14" fmla="*/ 61787 h 123369"/>
                <a:gd name="connsiteX15" fmla="*/ 10755 w 114860"/>
                <a:gd name="connsiteY15" fmla="*/ 58142 h 123369"/>
                <a:gd name="connsiteX16" fmla="*/ 16463 w 114860"/>
                <a:gd name="connsiteY16" fmla="*/ 49049 h 123369"/>
                <a:gd name="connsiteX17" fmla="*/ 18848 w 114860"/>
                <a:gd name="connsiteY17" fmla="*/ 42699 h 123369"/>
                <a:gd name="connsiteX18" fmla="*/ 21321 w 114860"/>
                <a:gd name="connsiteY18" fmla="*/ 35358 h 123369"/>
                <a:gd name="connsiteX19" fmla="*/ 33993 w 114860"/>
                <a:gd name="connsiteY19" fmla="*/ 29338 h 123369"/>
                <a:gd name="connsiteX20" fmla="*/ 42491 w 114860"/>
                <a:gd name="connsiteY20" fmla="*/ 31218 h 123369"/>
                <a:gd name="connsiteX21" fmla="*/ 49810 w 114860"/>
                <a:gd name="connsiteY21" fmla="*/ 29059 h 123369"/>
                <a:gd name="connsiteX22" fmla="*/ 63433 w 114860"/>
                <a:gd name="connsiteY22" fmla="*/ 17362 h 123369"/>
                <a:gd name="connsiteX23" fmla="*/ 68912 w 114860"/>
                <a:gd name="connsiteY23" fmla="*/ 6618 h 123369"/>
                <a:gd name="connsiteX24" fmla="*/ 76193 w 114860"/>
                <a:gd name="connsiteY24" fmla="*/ 7418 h 123369"/>
                <a:gd name="connsiteX25" fmla="*/ 86531 w 114860"/>
                <a:gd name="connsiteY25" fmla="*/ 7697 h 123369"/>
                <a:gd name="connsiteX26" fmla="*/ 106128 w 114860"/>
                <a:gd name="connsiteY26" fmla="*/ 2617 h 123369"/>
                <a:gd name="connsiteX27" fmla="*/ 113231 w 114860"/>
                <a:gd name="connsiteY27" fmla="*/ 1 h 123369"/>
                <a:gd name="connsiteX28" fmla="*/ 114220 w 114860"/>
                <a:gd name="connsiteY28" fmla="*/ 3608 h 123369"/>
                <a:gd name="connsiteX29" fmla="*/ 114626 w 114860"/>
                <a:gd name="connsiteY29" fmla="*/ 6300 h 123369"/>
                <a:gd name="connsiteX30" fmla="*/ 105316 w 114860"/>
                <a:gd name="connsiteY30" fmla="*/ 59399 h 123369"/>
                <a:gd name="connsiteX31" fmla="*/ 104783 w 114860"/>
                <a:gd name="connsiteY31" fmla="*/ 70283 h 123369"/>
                <a:gd name="connsiteX32" fmla="*/ 104187 w 114860"/>
                <a:gd name="connsiteY32" fmla="*/ 73750 h 123369"/>
                <a:gd name="connsiteX33" fmla="*/ 104187 w 114860"/>
                <a:gd name="connsiteY33" fmla="*/ 73801 h 123369"/>
                <a:gd name="connsiteX34" fmla="*/ 100509 w 114860"/>
                <a:gd name="connsiteY34" fmla="*/ 97461 h 123369"/>
                <a:gd name="connsiteX35" fmla="*/ 104238 w 114860"/>
                <a:gd name="connsiteY35" fmla="*/ 118937 h 123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14860" h="123369">
                  <a:moveTo>
                    <a:pt x="104238" y="118937"/>
                  </a:moveTo>
                  <a:cubicBezTo>
                    <a:pt x="105037" y="120054"/>
                    <a:pt x="105849" y="121223"/>
                    <a:pt x="106660" y="122391"/>
                  </a:cubicBezTo>
                  <a:cubicBezTo>
                    <a:pt x="104606" y="123369"/>
                    <a:pt x="102272" y="123623"/>
                    <a:pt x="100052" y="123115"/>
                  </a:cubicBezTo>
                  <a:cubicBezTo>
                    <a:pt x="92949" y="121324"/>
                    <a:pt x="92771" y="122264"/>
                    <a:pt x="89765" y="118848"/>
                  </a:cubicBezTo>
                  <a:cubicBezTo>
                    <a:pt x="89042" y="118035"/>
                    <a:pt x="88953" y="117629"/>
                    <a:pt x="89093" y="117400"/>
                  </a:cubicBezTo>
                  <a:cubicBezTo>
                    <a:pt x="90666" y="117540"/>
                    <a:pt x="89270" y="116905"/>
                    <a:pt x="89093" y="117400"/>
                  </a:cubicBezTo>
                  <a:cubicBezTo>
                    <a:pt x="87621" y="117286"/>
                    <a:pt x="86163" y="117044"/>
                    <a:pt x="84729" y="116689"/>
                  </a:cubicBezTo>
                  <a:cubicBezTo>
                    <a:pt x="75064" y="114517"/>
                    <a:pt x="74709" y="115063"/>
                    <a:pt x="72870" y="116041"/>
                  </a:cubicBezTo>
                  <a:cubicBezTo>
                    <a:pt x="71069" y="116994"/>
                    <a:pt x="68151" y="115190"/>
                    <a:pt x="61276" y="114873"/>
                  </a:cubicBezTo>
                  <a:cubicBezTo>
                    <a:pt x="54440" y="114606"/>
                    <a:pt x="52017" y="109259"/>
                    <a:pt x="50076" y="110923"/>
                  </a:cubicBezTo>
                  <a:cubicBezTo>
                    <a:pt x="49442" y="111507"/>
                    <a:pt x="47387" y="113387"/>
                    <a:pt x="44965" y="115647"/>
                  </a:cubicBezTo>
                  <a:cubicBezTo>
                    <a:pt x="42479" y="107697"/>
                    <a:pt x="37455" y="100788"/>
                    <a:pt x="30670" y="95975"/>
                  </a:cubicBezTo>
                  <a:cubicBezTo>
                    <a:pt x="22450" y="89270"/>
                    <a:pt x="14878" y="81802"/>
                    <a:pt x="8015" y="73712"/>
                  </a:cubicBezTo>
                  <a:cubicBezTo>
                    <a:pt x="6443" y="71858"/>
                    <a:pt x="4921" y="69978"/>
                    <a:pt x="3475" y="68086"/>
                  </a:cubicBezTo>
                  <a:cubicBezTo>
                    <a:pt x="2041" y="66143"/>
                    <a:pt x="862" y="64022"/>
                    <a:pt x="-26" y="61787"/>
                  </a:cubicBezTo>
                  <a:cubicBezTo>
                    <a:pt x="3716" y="61076"/>
                    <a:pt x="7356" y="59856"/>
                    <a:pt x="10755" y="58142"/>
                  </a:cubicBezTo>
                  <a:cubicBezTo>
                    <a:pt x="14751" y="55348"/>
                    <a:pt x="13546" y="54217"/>
                    <a:pt x="16463" y="49049"/>
                  </a:cubicBezTo>
                  <a:cubicBezTo>
                    <a:pt x="19381" y="43918"/>
                    <a:pt x="18848" y="49988"/>
                    <a:pt x="18848" y="42699"/>
                  </a:cubicBezTo>
                  <a:cubicBezTo>
                    <a:pt x="18848" y="35358"/>
                    <a:pt x="18176" y="37834"/>
                    <a:pt x="21321" y="35358"/>
                  </a:cubicBezTo>
                  <a:cubicBezTo>
                    <a:pt x="24467" y="32894"/>
                    <a:pt x="30670" y="35053"/>
                    <a:pt x="33993" y="29338"/>
                  </a:cubicBezTo>
                  <a:cubicBezTo>
                    <a:pt x="37367" y="23572"/>
                    <a:pt x="35883" y="28475"/>
                    <a:pt x="42491" y="31218"/>
                  </a:cubicBezTo>
                  <a:cubicBezTo>
                    <a:pt x="49138" y="33974"/>
                    <a:pt x="45726" y="33199"/>
                    <a:pt x="49810" y="29059"/>
                  </a:cubicBezTo>
                  <a:cubicBezTo>
                    <a:pt x="53907" y="24931"/>
                    <a:pt x="60503" y="20512"/>
                    <a:pt x="63433" y="17362"/>
                  </a:cubicBezTo>
                  <a:cubicBezTo>
                    <a:pt x="66312" y="14263"/>
                    <a:pt x="66033" y="12689"/>
                    <a:pt x="68912" y="6618"/>
                  </a:cubicBezTo>
                  <a:cubicBezTo>
                    <a:pt x="71792" y="585"/>
                    <a:pt x="71513" y="4764"/>
                    <a:pt x="76193" y="7418"/>
                  </a:cubicBezTo>
                  <a:cubicBezTo>
                    <a:pt x="80823" y="10072"/>
                    <a:pt x="77538" y="8586"/>
                    <a:pt x="86531" y="7697"/>
                  </a:cubicBezTo>
                  <a:cubicBezTo>
                    <a:pt x="93329" y="7291"/>
                    <a:pt x="99989" y="5576"/>
                    <a:pt x="106128" y="2617"/>
                  </a:cubicBezTo>
                  <a:cubicBezTo>
                    <a:pt x="109489" y="1309"/>
                    <a:pt x="111734" y="496"/>
                    <a:pt x="113231" y="1"/>
                  </a:cubicBezTo>
                  <a:cubicBezTo>
                    <a:pt x="113662" y="1169"/>
                    <a:pt x="113992" y="2376"/>
                    <a:pt x="114220" y="3608"/>
                  </a:cubicBezTo>
                  <a:cubicBezTo>
                    <a:pt x="114398" y="4497"/>
                    <a:pt x="114525" y="5399"/>
                    <a:pt x="114626" y="6300"/>
                  </a:cubicBezTo>
                  <a:cubicBezTo>
                    <a:pt x="116554" y="23306"/>
                    <a:pt x="104466" y="40768"/>
                    <a:pt x="105316" y="59399"/>
                  </a:cubicBezTo>
                  <a:cubicBezTo>
                    <a:pt x="105455" y="63031"/>
                    <a:pt x="105265" y="66676"/>
                    <a:pt x="104783" y="70283"/>
                  </a:cubicBezTo>
                  <a:cubicBezTo>
                    <a:pt x="104593" y="71451"/>
                    <a:pt x="104415" y="72582"/>
                    <a:pt x="104187" y="73750"/>
                  </a:cubicBezTo>
                  <a:lnTo>
                    <a:pt x="104187" y="73801"/>
                  </a:lnTo>
                  <a:cubicBezTo>
                    <a:pt x="102982" y="81675"/>
                    <a:pt x="101003" y="89549"/>
                    <a:pt x="100509" y="97461"/>
                  </a:cubicBezTo>
                  <a:cubicBezTo>
                    <a:pt x="99494" y="104840"/>
                    <a:pt x="100800" y="112333"/>
                    <a:pt x="104238" y="118937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7" name="Vrije vorm 336">
              <a:extLst>
                <a:ext uri="{FF2B5EF4-FFF2-40B4-BE49-F238E27FC236}">
                  <a16:creationId xmlns:a16="http://schemas.microsoft.com/office/drawing/2014/main" id="{CA2CFA08-D87D-794D-B539-DD20260C6E5D}"/>
                </a:ext>
              </a:extLst>
            </p:cNvPr>
            <p:cNvSpPr/>
            <p:nvPr/>
          </p:nvSpPr>
          <p:spPr>
            <a:xfrm>
              <a:off x="3056533" y="4079160"/>
              <a:ext cx="87685" cy="77625"/>
            </a:xfrm>
            <a:custGeom>
              <a:avLst/>
              <a:gdLst>
                <a:gd name="connsiteX0" fmla="*/ 86620 w 87685"/>
                <a:gd name="connsiteY0" fmla="*/ 65383 h 77625"/>
                <a:gd name="connsiteX1" fmla="*/ 83030 w 87685"/>
                <a:gd name="connsiteY1" fmla="*/ 74337 h 77625"/>
                <a:gd name="connsiteX2" fmla="*/ 81774 w 87685"/>
                <a:gd name="connsiteY2" fmla="*/ 77626 h 77625"/>
                <a:gd name="connsiteX3" fmla="*/ 70308 w 87685"/>
                <a:gd name="connsiteY3" fmla="*/ 70514 h 77625"/>
                <a:gd name="connsiteX4" fmla="*/ 69864 w 87685"/>
                <a:gd name="connsiteY4" fmla="*/ 70159 h 77625"/>
                <a:gd name="connsiteX5" fmla="*/ 69141 w 87685"/>
                <a:gd name="connsiteY5" fmla="*/ 69524 h 77625"/>
                <a:gd name="connsiteX6" fmla="*/ 63116 w 87685"/>
                <a:gd name="connsiteY6" fmla="*/ 64533 h 77625"/>
                <a:gd name="connsiteX7" fmla="*/ 40475 w 87685"/>
                <a:gd name="connsiteY7" fmla="*/ 47616 h 77625"/>
                <a:gd name="connsiteX8" fmla="*/ 34094 w 87685"/>
                <a:gd name="connsiteY8" fmla="*/ 41901 h 77625"/>
                <a:gd name="connsiteX9" fmla="*/ 31887 w 87685"/>
                <a:gd name="connsiteY9" fmla="*/ 39602 h 77625"/>
                <a:gd name="connsiteX10" fmla="*/ 22945 w 87685"/>
                <a:gd name="connsiteY10" fmla="*/ 34332 h 77625"/>
                <a:gd name="connsiteX11" fmla="*/ 15842 w 87685"/>
                <a:gd name="connsiteY11" fmla="*/ 36046 h 77625"/>
                <a:gd name="connsiteX12" fmla="*/ 5504 w 87685"/>
                <a:gd name="connsiteY12" fmla="*/ 35056 h 77625"/>
                <a:gd name="connsiteX13" fmla="*/ 202 w 87685"/>
                <a:gd name="connsiteY13" fmla="*/ 24705 h 77625"/>
                <a:gd name="connsiteX14" fmla="*/ 63 w 87685"/>
                <a:gd name="connsiteY14" fmla="*/ 23270 h 77625"/>
                <a:gd name="connsiteX15" fmla="*/ 164 w 87685"/>
                <a:gd name="connsiteY15" fmla="*/ 20743 h 77625"/>
                <a:gd name="connsiteX16" fmla="*/ 202 w 87685"/>
                <a:gd name="connsiteY16" fmla="*/ 20248 h 77625"/>
                <a:gd name="connsiteX17" fmla="*/ 380 w 87685"/>
                <a:gd name="connsiteY17" fmla="*/ 18762 h 77625"/>
                <a:gd name="connsiteX18" fmla="*/ 748 w 87685"/>
                <a:gd name="connsiteY18" fmla="*/ 9224 h 77625"/>
                <a:gd name="connsiteX19" fmla="*/ 469 w 87685"/>
                <a:gd name="connsiteY19" fmla="*/ 7294 h 77625"/>
                <a:gd name="connsiteX20" fmla="*/ -26 w 87685"/>
                <a:gd name="connsiteY20" fmla="*/ 5046 h 77625"/>
                <a:gd name="connsiteX21" fmla="*/ 5098 w 87685"/>
                <a:gd name="connsiteY21" fmla="*/ 321 h 77625"/>
                <a:gd name="connsiteX22" fmla="*/ 16286 w 87685"/>
                <a:gd name="connsiteY22" fmla="*/ 4271 h 77625"/>
                <a:gd name="connsiteX23" fmla="*/ 27879 w 87685"/>
                <a:gd name="connsiteY23" fmla="*/ 5452 h 77625"/>
                <a:gd name="connsiteX24" fmla="*/ 39751 w 87685"/>
                <a:gd name="connsiteY24" fmla="*/ 6087 h 77625"/>
                <a:gd name="connsiteX25" fmla="*/ 44115 w 87685"/>
                <a:gd name="connsiteY25" fmla="*/ 6798 h 77625"/>
                <a:gd name="connsiteX26" fmla="*/ 44787 w 87685"/>
                <a:gd name="connsiteY26" fmla="*/ 8246 h 77625"/>
                <a:gd name="connsiteX27" fmla="*/ 55074 w 87685"/>
                <a:gd name="connsiteY27" fmla="*/ 12513 h 77625"/>
                <a:gd name="connsiteX28" fmla="*/ 61682 w 87685"/>
                <a:gd name="connsiteY28" fmla="*/ 11802 h 77625"/>
                <a:gd name="connsiteX29" fmla="*/ 87660 w 87685"/>
                <a:gd name="connsiteY29" fmla="*/ 46397 h 77625"/>
                <a:gd name="connsiteX30" fmla="*/ 80696 w 87685"/>
                <a:gd name="connsiteY30" fmla="*/ 53509 h 77625"/>
                <a:gd name="connsiteX31" fmla="*/ 86620 w 87685"/>
                <a:gd name="connsiteY31" fmla="*/ 65383 h 7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87685" h="77625">
                  <a:moveTo>
                    <a:pt x="86620" y="65383"/>
                  </a:moveTo>
                  <a:cubicBezTo>
                    <a:pt x="85630" y="68444"/>
                    <a:pt x="84425" y="71441"/>
                    <a:pt x="83030" y="74337"/>
                  </a:cubicBezTo>
                  <a:cubicBezTo>
                    <a:pt x="82497" y="75556"/>
                    <a:pt x="82091" y="76687"/>
                    <a:pt x="81774" y="77626"/>
                  </a:cubicBezTo>
                  <a:cubicBezTo>
                    <a:pt x="77500" y="76077"/>
                    <a:pt x="73593" y="73651"/>
                    <a:pt x="70308" y="70514"/>
                  </a:cubicBezTo>
                  <a:cubicBezTo>
                    <a:pt x="70156" y="70413"/>
                    <a:pt x="70003" y="70286"/>
                    <a:pt x="69864" y="70159"/>
                  </a:cubicBezTo>
                  <a:cubicBezTo>
                    <a:pt x="69648" y="69917"/>
                    <a:pt x="69407" y="69714"/>
                    <a:pt x="69141" y="69524"/>
                  </a:cubicBezTo>
                  <a:cubicBezTo>
                    <a:pt x="67213" y="67771"/>
                    <a:pt x="65183" y="66107"/>
                    <a:pt x="63116" y="64533"/>
                  </a:cubicBezTo>
                  <a:cubicBezTo>
                    <a:pt x="55708" y="58678"/>
                    <a:pt x="47667" y="53547"/>
                    <a:pt x="40475" y="47616"/>
                  </a:cubicBezTo>
                  <a:cubicBezTo>
                    <a:pt x="38242" y="45825"/>
                    <a:pt x="36111" y="43921"/>
                    <a:pt x="34094" y="41901"/>
                  </a:cubicBezTo>
                  <a:cubicBezTo>
                    <a:pt x="33283" y="41088"/>
                    <a:pt x="32522" y="40314"/>
                    <a:pt x="31887" y="39602"/>
                  </a:cubicBezTo>
                  <a:cubicBezTo>
                    <a:pt x="28830" y="36491"/>
                    <a:pt x="26725" y="34332"/>
                    <a:pt x="22945" y="34332"/>
                  </a:cubicBezTo>
                  <a:cubicBezTo>
                    <a:pt x="20497" y="34459"/>
                    <a:pt x="18087" y="35043"/>
                    <a:pt x="15842" y="36046"/>
                  </a:cubicBezTo>
                  <a:cubicBezTo>
                    <a:pt x="12468" y="37583"/>
                    <a:pt x="8523" y="37202"/>
                    <a:pt x="5504" y="35056"/>
                  </a:cubicBezTo>
                  <a:cubicBezTo>
                    <a:pt x="2346" y="32529"/>
                    <a:pt x="405" y="28757"/>
                    <a:pt x="202" y="24705"/>
                  </a:cubicBezTo>
                  <a:cubicBezTo>
                    <a:pt x="113" y="24235"/>
                    <a:pt x="63" y="23753"/>
                    <a:pt x="63" y="23270"/>
                  </a:cubicBezTo>
                  <a:cubicBezTo>
                    <a:pt x="37" y="22419"/>
                    <a:pt x="63" y="21581"/>
                    <a:pt x="164" y="20743"/>
                  </a:cubicBezTo>
                  <a:cubicBezTo>
                    <a:pt x="152" y="20578"/>
                    <a:pt x="164" y="20413"/>
                    <a:pt x="202" y="20248"/>
                  </a:cubicBezTo>
                  <a:cubicBezTo>
                    <a:pt x="253" y="19752"/>
                    <a:pt x="291" y="19257"/>
                    <a:pt x="380" y="18762"/>
                  </a:cubicBezTo>
                  <a:cubicBezTo>
                    <a:pt x="938" y="15625"/>
                    <a:pt x="1065" y="12412"/>
                    <a:pt x="748" y="9224"/>
                  </a:cubicBezTo>
                  <a:cubicBezTo>
                    <a:pt x="697" y="8576"/>
                    <a:pt x="608" y="7929"/>
                    <a:pt x="469" y="7294"/>
                  </a:cubicBezTo>
                  <a:cubicBezTo>
                    <a:pt x="354" y="6532"/>
                    <a:pt x="189" y="5782"/>
                    <a:pt x="-26" y="5046"/>
                  </a:cubicBezTo>
                  <a:cubicBezTo>
                    <a:pt x="2409" y="2798"/>
                    <a:pt x="4477" y="906"/>
                    <a:pt x="5098" y="321"/>
                  </a:cubicBezTo>
                  <a:cubicBezTo>
                    <a:pt x="7039" y="-1342"/>
                    <a:pt x="9462" y="4004"/>
                    <a:pt x="16286" y="4271"/>
                  </a:cubicBezTo>
                  <a:cubicBezTo>
                    <a:pt x="23173" y="4589"/>
                    <a:pt x="26091" y="6392"/>
                    <a:pt x="27879" y="5452"/>
                  </a:cubicBezTo>
                  <a:cubicBezTo>
                    <a:pt x="29731" y="4462"/>
                    <a:pt x="30086" y="3928"/>
                    <a:pt x="39751" y="6087"/>
                  </a:cubicBezTo>
                  <a:cubicBezTo>
                    <a:pt x="41185" y="6443"/>
                    <a:pt x="42643" y="6684"/>
                    <a:pt x="44115" y="6798"/>
                  </a:cubicBezTo>
                  <a:cubicBezTo>
                    <a:pt x="43975" y="7027"/>
                    <a:pt x="44064" y="7433"/>
                    <a:pt x="44787" y="8246"/>
                  </a:cubicBezTo>
                  <a:cubicBezTo>
                    <a:pt x="47793" y="11662"/>
                    <a:pt x="47971" y="10723"/>
                    <a:pt x="55074" y="12513"/>
                  </a:cubicBezTo>
                  <a:cubicBezTo>
                    <a:pt x="57294" y="13021"/>
                    <a:pt x="59615" y="12767"/>
                    <a:pt x="61682" y="11802"/>
                  </a:cubicBezTo>
                  <a:cubicBezTo>
                    <a:pt x="69712" y="23791"/>
                    <a:pt x="78388" y="35335"/>
                    <a:pt x="87660" y="46397"/>
                  </a:cubicBezTo>
                  <a:cubicBezTo>
                    <a:pt x="83296" y="47477"/>
                    <a:pt x="79884" y="49191"/>
                    <a:pt x="80696" y="53509"/>
                  </a:cubicBezTo>
                  <a:cubicBezTo>
                    <a:pt x="81952" y="60253"/>
                    <a:pt x="88915" y="58817"/>
                    <a:pt x="86620" y="65383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8" name="Vrije vorm 337">
              <a:extLst>
                <a:ext uri="{FF2B5EF4-FFF2-40B4-BE49-F238E27FC236}">
                  <a16:creationId xmlns:a16="http://schemas.microsoft.com/office/drawing/2014/main" id="{D5973005-11CF-B947-8D82-1AF8824B6F54}"/>
                </a:ext>
              </a:extLst>
            </p:cNvPr>
            <p:cNvSpPr/>
            <p:nvPr/>
          </p:nvSpPr>
          <p:spPr>
            <a:xfrm>
              <a:off x="3137139" y="4125556"/>
              <a:ext cx="161513" cy="65379"/>
            </a:xfrm>
            <a:custGeom>
              <a:avLst/>
              <a:gdLst>
                <a:gd name="connsiteX0" fmla="*/ 157958 w 161513"/>
                <a:gd name="connsiteY0" fmla="*/ 52109 h 65379"/>
                <a:gd name="connsiteX1" fmla="*/ 150728 w 161513"/>
                <a:gd name="connsiteY1" fmla="*/ 57596 h 65379"/>
                <a:gd name="connsiteX2" fmla="*/ 146327 w 161513"/>
                <a:gd name="connsiteY2" fmla="*/ 55614 h 65379"/>
                <a:gd name="connsiteX3" fmla="*/ 144348 w 161513"/>
                <a:gd name="connsiteY3" fmla="*/ 65381 h 65379"/>
                <a:gd name="connsiteX4" fmla="*/ 140301 w 161513"/>
                <a:gd name="connsiteY4" fmla="*/ 61101 h 65379"/>
                <a:gd name="connsiteX5" fmla="*/ 138462 w 161513"/>
                <a:gd name="connsiteY5" fmla="*/ 59221 h 65379"/>
                <a:gd name="connsiteX6" fmla="*/ 138323 w 161513"/>
                <a:gd name="connsiteY6" fmla="*/ 59082 h 65379"/>
                <a:gd name="connsiteX7" fmla="*/ 131270 w 161513"/>
                <a:gd name="connsiteY7" fmla="*/ 46255 h 65379"/>
                <a:gd name="connsiteX8" fmla="*/ 133833 w 161513"/>
                <a:gd name="connsiteY8" fmla="*/ 36133 h 65379"/>
                <a:gd name="connsiteX9" fmla="*/ 133871 w 161513"/>
                <a:gd name="connsiteY9" fmla="*/ 36082 h 65379"/>
                <a:gd name="connsiteX10" fmla="*/ 137689 w 161513"/>
                <a:gd name="connsiteY10" fmla="*/ 31230 h 65379"/>
                <a:gd name="connsiteX11" fmla="*/ 138412 w 161513"/>
                <a:gd name="connsiteY11" fmla="*/ 30468 h 65379"/>
                <a:gd name="connsiteX12" fmla="*/ 135215 w 161513"/>
                <a:gd name="connsiteY12" fmla="*/ 28983 h 65379"/>
                <a:gd name="connsiteX13" fmla="*/ 135126 w 161513"/>
                <a:gd name="connsiteY13" fmla="*/ 28932 h 65379"/>
                <a:gd name="connsiteX14" fmla="*/ 123901 w 161513"/>
                <a:gd name="connsiteY14" fmla="*/ 22988 h 65379"/>
                <a:gd name="connsiteX15" fmla="*/ 123812 w 161513"/>
                <a:gd name="connsiteY15" fmla="*/ 22950 h 65379"/>
                <a:gd name="connsiteX16" fmla="*/ 119804 w 161513"/>
                <a:gd name="connsiteY16" fmla="*/ 20791 h 65379"/>
                <a:gd name="connsiteX17" fmla="*/ 118282 w 161513"/>
                <a:gd name="connsiteY17" fmla="*/ 19978 h 65379"/>
                <a:gd name="connsiteX18" fmla="*/ 117572 w 161513"/>
                <a:gd name="connsiteY18" fmla="*/ 19661 h 65379"/>
                <a:gd name="connsiteX19" fmla="*/ 115187 w 161513"/>
                <a:gd name="connsiteY19" fmla="*/ 18492 h 65379"/>
                <a:gd name="connsiteX20" fmla="*/ 115098 w 161513"/>
                <a:gd name="connsiteY20" fmla="*/ 18454 h 65379"/>
                <a:gd name="connsiteX21" fmla="*/ 106422 w 161513"/>
                <a:gd name="connsiteY21" fmla="*/ 15343 h 65379"/>
                <a:gd name="connsiteX22" fmla="*/ 99902 w 161513"/>
                <a:gd name="connsiteY22" fmla="*/ 14936 h 65379"/>
                <a:gd name="connsiteX23" fmla="*/ 69169 w 161513"/>
                <a:gd name="connsiteY23" fmla="*/ 38558 h 65379"/>
                <a:gd name="connsiteX24" fmla="*/ 78961 w 161513"/>
                <a:gd name="connsiteY24" fmla="*/ 55386 h 65379"/>
                <a:gd name="connsiteX25" fmla="*/ 65528 w 161513"/>
                <a:gd name="connsiteY25" fmla="*/ 63628 h 65379"/>
                <a:gd name="connsiteX26" fmla="*/ 59326 w 161513"/>
                <a:gd name="connsiteY26" fmla="*/ 61558 h 65379"/>
                <a:gd name="connsiteX27" fmla="*/ 58019 w 161513"/>
                <a:gd name="connsiteY27" fmla="*/ 59805 h 65379"/>
                <a:gd name="connsiteX28" fmla="*/ 50612 w 161513"/>
                <a:gd name="connsiteY28" fmla="*/ 51119 h 65379"/>
                <a:gd name="connsiteX29" fmla="*/ 36000 w 161513"/>
                <a:gd name="connsiteY29" fmla="*/ 40413 h 65379"/>
                <a:gd name="connsiteX30" fmla="*/ 32803 w 161513"/>
                <a:gd name="connsiteY30" fmla="*/ 38838 h 65379"/>
                <a:gd name="connsiteX31" fmla="*/ 11684 w 161513"/>
                <a:gd name="connsiteY31" fmla="*/ 33440 h 65379"/>
                <a:gd name="connsiteX32" fmla="*/ 1169 w 161513"/>
                <a:gd name="connsiteY32" fmla="*/ 31230 h 65379"/>
                <a:gd name="connsiteX33" fmla="*/ 2437 w 161513"/>
                <a:gd name="connsiteY33" fmla="*/ 27941 h 65379"/>
                <a:gd name="connsiteX34" fmla="*/ 6027 w 161513"/>
                <a:gd name="connsiteY34" fmla="*/ 18988 h 65379"/>
                <a:gd name="connsiteX35" fmla="*/ 91 w 161513"/>
                <a:gd name="connsiteY35" fmla="*/ 7113 h 65379"/>
                <a:gd name="connsiteX36" fmla="*/ 7054 w 161513"/>
                <a:gd name="connsiteY36" fmla="*/ 1 h 65379"/>
                <a:gd name="connsiteX37" fmla="*/ 21032 w 161513"/>
                <a:gd name="connsiteY37" fmla="*/ 13539 h 65379"/>
                <a:gd name="connsiteX38" fmla="*/ 21210 w 161513"/>
                <a:gd name="connsiteY38" fmla="*/ 13717 h 65379"/>
                <a:gd name="connsiteX39" fmla="*/ 24317 w 161513"/>
                <a:gd name="connsiteY39" fmla="*/ 15978 h 65379"/>
                <a:gd name="connsiteX40" fmla="*/ 45170 w 161513"/>
                <a:gd name="connsiteY40" fmla="*/ 21007 h 65379"/>
                <a:gd name="connsiteX41" fmla="*/ 66251 w 161513"/>
                <a:gd name="connsiteY41" fmla="*/ 14987 h 65379"/>
                <a:gd name="connsiteX42" fmla="*/ 77033 w 161513"/>
                <a:gd name="connsiteY42" fmla="*/ 9221 h 65379"/>
                <a:gd name="connsiteX43" fmla="*/ 80940 w 161513"/>
                <a:gd name="connsiteY43" fmla="*/ 7012 h 65379"/>
                <a:gd name="connsiteX44" fmla="*/ 118371 w 161513"/>
                <a:gd name="connsiteY44" fmla="*/ 1576 h 65379"/>
                <a:gd name="connsiteX45" fmla="*/ 118510 w 161513"/>
                <a:gd name="connsiteY45" fmla="*/ 1614 h 65379"/>
                <a:gd name="connsiteX46" fmla="*/ 151451 w 161513"/>
                <a:gd name="connsiteY46" fmla="*/ 21591 h 65379"/>
                <a:gd name="connsiteX47" fmla="*/ 156081 w 161513"/>
                <a:gd name="connsiteY47" fmla="*/ 25909 h 65379"/>
                <a:gd name="connsiteX48" fmla="*/ 156169 w 161513"/>
                <a:gd name="connsiteY48" fmla="*/ 30773 h 65379"/>
                <a:gd name="connsiteX49" fmla="*/ 161015 w 161513"/>
                <a:gd name="connsiteY49" fmla="*/ 42787 h 65379"/>
                <a:gd name="connsiteX50" fmla="*/ 157958 w 161513"/>
                <a:gd name="connsiteY50" fmla="*/ 52109 h 65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161513" h="65379">
                  <a:moveTo>
                    <a:pt x="157958" y="52109"/>
                  </a:moveTo>
                  <a:cubicBezTo>
                    <a:pt x="152707" y="57596"/>
                    <a:pt x="153011" y="59399"/>
                    <a:pt x="150728" y="57596"/>
                  </a:cubicBezTo>
                  <a:cubicBezTo>
                    <a:pt x="148483" y="55754"/>
                    <a:pt x="146098" y="52249"/>
                    <a:pt x="146327" y="55614"/>
                  </a:cubicBezTo>
                  <a:cubicBezTo>
                    <a:pt x="146009" y="58929"/>
                    <a:pt x="145350" y="62206"/>
                    <a:pt x="144348" y="65381"/>
                  </a:cubicBezTo>
                  <a:cubicBezTo>
                    <a:pt x="143079" y="63895"/>
                    <a:pt x="141735" y="62498"/>
                    <a:pt x="140301" y="61101"/>
                  </a:cubicBezTo>
                  <a:cubicBezTo>
                    <a:pt x="139667" y="60466"/>
                    <a:pt x="139046" y="59844"/>
                    <a:pt x="138462" y="59221"/>
                  </a:cubicBezTo>
                  <a:lnTo>
                    <a:pt x="138323" y="59082"/>
                  </a:lnTo>
                  <a:cubicBezTo>
                    <a:pt x="134657" y="55678"/>
                    <a:pt x="132184" y="51182"/>
                    <a:pt x="131270" y="46255"/>
                  </a:cubicBezTo>
                  <a:cubicBezTo>
                    <a:pt x="130928" y="42686"/>
                    <a:pt x="131828" y="39105"/>
                    <a:pt x="133833" y="36133"/>
                  </a:cubicBezTo>
                  <a:lnTo>
                    <a:pt x="133871" y="36082"/>
                  </a:lnTo>
                  <a:cubicBezTo>
                    <a:pt x="134962" y="34329"/>
                    <a:pt x="136243" y="32691"/>
                    <a:pt x="137689" y="31230"/>
                  </a:cubicBezTo>
                  <a:cubicBezTo>
                    <a:pt x="137917" y="30951"/>
                    <a:pt x="138145" y="30735"/>
                    <a:pt x="138412" y="30468"/>
                  </a:cubicBezTo>
                  <a:cubicBezTo>
                    <a:pt x="137333" y="29973"/>
                    <a:pt x="136255" y="29478"/>
                    <a:pt x="135215" y="28983"/>
                  </a:cubicBezTo>
                  <a:lnTo>
                    <a:pt x="135126" y="28932"/>
                  </a:lnTo>
                  <a:cubicBezTo>
                    <a:pt x="131270" y="27039"/>
                    <a:pt x="127541" y="24969"/>
                    <a:pt x="123901" y="22988"/>
                  </a:cubicBezTo>
                  <a:lnTo>
                    <a:pt x="123812" y="22950"/>
                  </a:lnTo>
                  <a:cubicBezTo>
                    <a:pt x="122455" y="22188"/>
                    <a:pt x="121161" y="21464"/>
                    <a:pt x="119804" y="20791"/>
                  </a:cubicBezTo>
                  <a:cubicBezTo>
                    <a:pt x="119309" y="20524"/>
                    <a:pt x="118777" y="20245"/>
                    <a:pt x="118282" y="19978"/>
                  </a:cubicBezTo>
                  <a:cubicBezTo>
                    <a:pt x="118104" y="19889"/>
                    <a:pt x="117876" y="19801"/>
                    <a:pt x="117572" y="19661"/>
                  </a:cubicBezTo>
                  <a:cubicBezTo>
                    <a:pt x="116760" y="19216"/>
                    <a:pt x="115999" y="18861"/>
                    <a:pt x="115187" y="18492"/>
                  </a:cubicBezTo>
                  <a:lnTo>
                    <a:pt x="115098" y="18454"/>
                  </a:lnTo>
                  <a:cubicBezTo>
                    <a:pt x="112320" y="17108"/>
                    <a:pt x="109416" y="16067"/>
                    <a:pt x="106422" y="15343"/>
                  </a:cubicBezTo>
                  <a:cubicBezTo>
                    <a:pt x="104278" y="14885"/>
                    <a:pt x="102084" y="14746"/>
                    <a:pt x="99902" y="14936"/>
                  </a:cubicBezTo>
                  <a:cubicBezTo>
                    <a:pt x="89349" y="16016"/>
                    <a:pt x="80090" y="29605"/>
                    <a:pt x="69169" y="38558"/>
                  </a:cubicBezTo>
                  <a:cubicBezTo>
                    <a:pt x="71997" y="43473"/>
                    <a:pt x="74915" y="48502"/>
                    <a:pt x="78961" y="55386"/>
                  </a:cubicBezTo>
                  <a:cubicBezTo>
                    <a:pt x="74242" y="58269"/>
                    <a:pt x="69486" y="61190"/>
                    <a:pt x="65528" y="63628"/>
                  </a:cubicBezTo>
                  <a:cubicBezTo>
                    <a:pt x="62471" y="62676"/>
                    <a:pt x="60087" y="62638"/>
                    <a:pt x="59326" y="61558"/>
                  </a:cubicBezTo>
                  <a:cubicBezTo>
                    <a:pt x="58920" y="60974"/>
                    <a:pt x="58514" y="60390"/>
                    <a:pt x="58019" y="59805"/>
                  </a:cubicBezTo>
                  <a:cubicBezTo>
                    <a:pt x="55812" y="56694"/>
                    <a:pt x="53339" y="53786"/>
                    <a:pt x="50612" y="51119"/>
                  </a:cubicBezTo>
                  <a:cubicBezTo>
                    <a:pt x="46312" y="46826"/>
                    <a:pt x="41378" y="43219"/>
                    <a:pt x="36000" y="40413"/>
                  </a:cubicBezTo>
                  <a:cubicBezTo>
                    <a:pt x="34921" y="39828"/>
                    <a:pt x="33894" y="39333"/>
                    <a:pt x="32803" y="38838"/>
                  </a:cubicBezTo>
                  <a:cubicBezTo>
                    <a:pt x="26118" y="35853"/>
                    <a:pt x="18977" y="34024"/>
                    <a:pt x="11684" y="33440"/>
                  </a:cubicBezTo>
                  <a:cubicBezTo>
                    <a:pt x="8094" y="33174"/>
                    <a:pt x="4568" y="32424"/>
                    <a:pt x="1169" y="31230"/>
                  </a:cubicBezTo>
                  <a:cubicBezTo>
                    <a:pt x="1486" y="30291"/>
                    <a:pt x="1892" y="29160"/>
                    <a:pt x="2437" y="27941"/>
                  </a:cubicBezTo>
                  <a:cubicBezTo>
                    <a:pt x="3832" y="25046"/>
                    <a:pt x="5037" y="22048"/>
                    <a:pt x="6027" y="18988"/>
                  </a:cubicBezTo>
                  <a:cubicBezTo>
                    <a:pt x="8323" y="12422"/>
                    <a:pt x="1346" y="13857"/>
                    <a:pt x="91" y="7113"/>
                  </a:cubicBezTo>
                  <a:cubicBezTo>
                    <a:pt x="-708" y="2795"/>
                    <a:pt x="2704" y="1081"/>
                    <a:pt x="7054" y="1"/>
                  </a:cubicBezTo>
                  <a:cubicBezTo>
                    <a:pt x="11329" y="4891"/>
                    <a:pt x="16009" y="9425"/>
                    <a:pt x="21032" y="13539"/>
                  </a:cubicBezTo>
                  <a:cubicBezTo>
                    <a:pt x="21083" y="13628"/>
                    <a:pt x="21172" y="13679"/>
                    <a:pt x="21210" y="13717"/>
                  </a:cubicBezTo>
                  <a:cubicBezTo>
                    <a:pt x="22250" y="14530"/>
                    <a:pt x="23277" y="15292"/>
                    <a:pt x="24317" y="15978"/>
                  </a:cubicBezTo>
                  <a:cubicBezTo>
                    <a:pt x="30533" y="19889"/>
                    <a:pt x="37851" y="21655"/>
                    <a:pt x="45170" y="21007"/>
                  </a:cubicBezTo>
                  <a:cubicBezTo>
                    <a:pt x="52502" y="20270"/>
                    <a:pt x="59630" y="18226"/>
                    <a:pt x="66251" y="14987"/>
                  </a:cubicBezTo>
                  <a:cubicBezTo>
                    <a:pt x="69942" y="13260"/>
                    <a:pt x="73545" y="11342"/>
                    <a:pt x="77033" y="9221"/>
                  </a:cubicBezTo>
                  <a:cubicBezTo>
                    <a:pt x="78327" y="8459"/>
                    <a:pt x="79633" y="7697"/>
                    <a:pt x="80940" y="7012"/>
                  </a:cubicBezTo>
                  <a:cubicBezTo>
                    <a:pt x="92254" y="471"/>
                    <a:pt x="105661" y="-1472"/>
                    <a:pt x="118371" y="1576"/>
                  </a:cubicBezTo>
                  <a:lnTo>
                    <a:pt x="118510" y="1614"/>
                  </a:lnTo>
                  <a:cubicBezTo>
                    <a:pt x="130979" y="5411"/>
                    <a:pt x="142306" y="12282"/>
                    <a:pt x="151451" y="21591"/>
                  </a:cubicBezTo>
                  <a:cubicBezTo>
                    <a:pt x="152973" y="23039"/>
                    <a:pt x="154508" y="24474"/>
                    <a:pt x="156081" y="25909"/>
                  </a:cubicBezTo>
                  <a:cubicBezTo>
                    <a:pt x="154812" y="26951"/>
                    <a:pt x="154318" y="28348"/>
                    <a:pt x="156169" y="30773"/>
                  </a:cubicBezTo>
                  <a:cubicBezTo>
                    <a:pt x="159341" y="33961"/>
                    <a:pt x="161091" y="38292"/>
                    <a:pt x="161015" y="42787"/>
                  </a:cubicBezTo>
                  <a:cubicBezTo>
                    <a:pt x="161015" y="47296"/>
                    <a:pt x="163260" y="46661"/>
                    <a:pt x="157958" y="52109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9" name="Vrije vorm 338">
              <a:extLst>
                <a:ext uri="{FF2B5EF4-FFF2-40B4-BE49-F238E27FC236}">
                  <a16:creationId xmlns:a16="http://schemas.microsoft.com/office/drawing/2014/main" id="{47EAAF89-D3B6-F646-977B-4B4E04128979}"/>
                </a:ext>
              </a:extLst>
            </p:cNvPr>
            <p:cNvSpPr/>
            <p:nvPr/>
          </p:nvSpPr>
          <p:spPr>
            <a:xfrm>
              <a:off x="3940203" y="4232744"/>
              <a:ext cx="89918" cy="103571"/>
            </a:xfrm>
            <a:custGeom>
              <a:avLst/>
              <a:gdLst>
                <a:gd name="connsiteX0" fmla="*/ 89892 w 89918"/>
                <a:gd name="connsiteY0" fmla="*/ 45442 h 103571"/>
                <a:gd name="connsiteX1" fmla="*/ 76992 w 89918"/>
                <a:gd name="connsiteY1" fmla="*/ 58180 h 103571"/>
                <a:gd name="connsiteX2" fmla="*/ 70561 w 89918"/>
                <a:gd name="connsiteY2" fmla="*/ 68657 h 103571"/>
                <a:gd name="connsiteX3" fmla="*/ 61213 w 89918"/>
                <a:gd name="connsiteY3" fmla="*/ 86564 h 103571"/>
                <a:gd name="connsiteX4" fmla="*/ 53260 w 89918"/>
                <a:gd name="connsiteY4" fmla="*/ 98756 h 103571"/>
                <a:gd name="connsiteX5" fmla="*/ 37620 w 89918"/>
                <a:gd name="connsiteY5" fmla="*/ 97004 h 103571"/>
                <a:gd name="connsiteX6" fmla="*/ 28995 w 89918"/>
                <a:gd name="connsiteY6" fmla="*/ 100280 h 103571"/>
                <a:gd name="connsiteX7" fmla="*/ 23110 w 89918"/>
                <a:gd name="connsiteY7" fmla="*/ 98350 h 103571"/>
                <a:gd name="connsiteX8" fmla="*/ 11567 w 89918"/>
                <a:gd name="connsiteY8" fmla="*/ 102719 h 103571"/>
                <a:gd name="connsiteX9" fmla="*/ -26 w 89918"/>
                <a:gd name="connsiteY9" fmla="*/ 97944 h 103571"/>
                <a:gd name="connsiteX10" fmla="*/ 13356 w 89918"/>
                <a:gd name="connsiteY10" fmla="*/ 86158 h 103571"/>
                <a:gd name="connsiteX11" fmla="*/ 13723 w 89918"/>
                <a:gd name="connsiteY11" fmla="*/ 73610 h 103571"/>
                <a:gd name="connsiteX12" fmla="*/ 17630 w 89918"/>
                <a:gd name="connsiteY12" fmla="*/ 64962 h 103571"/>
                <a:gd name="connsiteX13" fmla="*/ 12874 w 89918"/>
                <a:gd name="connsiteY13" fmla="*/ 54395 h 103571"/>
                <a:gd name="connsiteX14" fmla="*/ 9905 w 89918"/>
                <a:gd name="connsiteY14" fmla="*/ 25693 h 103571"/>
                <a:gd name="connsiteX15" fmla="*/ 20598 w 89918"/>
                <a:gd name="connsiteY15" fmla="*/ 1 h 103571"/>
                <a:gd name="connsiteX16" fmla="*/ 21905 w 89918"/>
                <a:gd name="connsiteY16" fmla="*/ 268 h 103571"/>
                <a:gd name="connsiteX17" fmla="*/ 38623 w 89918"/>
                <a:gd name="connsiteY17" fmla="*/ 6161 h 103571"/>
                <a:gd name="connsiteX18" fmla="*/ 75331 w 89918"/>
                <a:gd name="connsiteY18" fmla="*/ 34469 h 103571"/>
                <a:gd name="connsiteX19" fmla="*/ 77804 w 89918"/>
                <a:gd name="connsiteY19" fmla="*/ 36539 h 103571"/>
                <a:gd name="connsiteX20" fmla="*/ 84057 w 89918"/>
                <a:gd name="connsiteY20" fmla="*/ 41441 h 103571"/>
                <a:gd name="connsiteX21" fmla="*/ 89892 w 89918"/>
                <a:gd name="connsiteY21" fmla="*/ 45442 h 103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9918" h="103571">
                  <a:moveTo>
                    <a:pt x="89892" y="45442"/>
                  </a:moveTo>
                  <a:cubicBezTo>
                    <a:pt x="84996" y="50344"/>
                    <a:pt x="78299" y="56237"/>
                    <a:pt x="76992" y="58180"/>
                  </a:cubicBezTo>
                  <a:cubicBezTo>
                    <a:pt x="75280" y="60783"/>
                    <a:pt x="72451" y="65559"/>
                    <a:pt x="70561" y="68657"/>
                  </a:cubicBezTo>
                  <a:cubicBezTo>
                    <a:pt x="68633" y="71756"/>
                    <a:pt x="64409" y="80265"/>
                    <a:pt x="61213" y="86564"/>
                  </a:cubicBezTo>
                  <a:cubicBezTo>
                    <a:pt x="58029" y="92914"/>
                    <a:pt x="62393" y="96826"/>
                    <a:pt x="53260" y="98756"/>
                  </a:cubicBezTo>
                  <a:cubicBezTo>
                    <a:pt x="44191" y="100687"/>
                    <a:pt x="42973" y="94121"/>
                    <a:pt x="37620" y="97004"/>
                  </a:cubicBezTo>
                  <a:cubicBezTo>
                    <a:pt x="32318" y="99925"/>
                    <a:pt x="34931" y="102262"/>
                    <a:pt x="28995" y="100280"/>
                  </a:cubicBezTo>
                  <a:cubicBezTo>
                    <a:pt x="23110" y="98350"/>
                    <a:pt x="28500" y="95111"/>
                    <a:pt x="23110" y="98350"/>
                  </a:cubicBezTo>
                  <a:cubicBezTo>
                    <a:pt x="17681" y="101550"/>
                    <a:pt x="18353" y="105284"/>
                    <a:pt x="11567" y="102719"/>
                  </a:cubicBezTo>
                  <a:cubicBezTo>
                    <a:pt x="4781" y="100103"/>
                    <a:pt x="1940" y="102223"/>
                    <a:pt x="-26" y="97944"/>
                  </a:cubicBezTo>
                  <a:cubicBezTo>
                    <a:pt x="-26" y="97944"/>
                    <a:pt x="12595" y="93537"/>
                    <a:pt x="13356" y="86158"/>
                  </a:cubicBezTo>
                  <a:cubicBezTo>
                    <a:pt x="14167" y="78779"/>
                    <a:pt x="13051" y="78513"/>
                    <a:pt x="13723" y="73610"/>
                  </a:cubicBezTo>
                  <a:cubicBezTo>
                    <a:pt x="14358" y="68746"/>
                    <a:pt x="18848" y="71896"/>
                    <a:pt x="17630" y="64962"/>
                  </a:cubicBezTo>
                  <a:cubicBezTo>
                    <a:pt x="16920" y="61113"/>
                    <a:pt x="15284" y="57481"/>
                    <a:pt x="12874" y="54395"/>
                  </a:cubicBezTo>
                  <a:cubicBezTo>
                    <a:pt x="8155" y="45594"/>
                    <a:pt x="7090" y="35282"/>
                    <a:pt x="9905" y="25693"/>
                  </a:cubicBezTo>
                  <a:cubicBezTo>
                    <a:pt x="12252" y="16663"/>
                    <a:pt x="15854" y="8028"/>
                    <a:pt x="20598" y="1"/>
                  </a:cubicBezTo>
                  <a:cubicBezTo>
                    <a:pt x="21042" y="90"/>
                    <a:pt x="21448" y="179"/>
                    <a:pt x="21905" y="268"/>
                  </a:cubicBezTo>
                  <a:cubicBezTo>
                    <a:pt x="27714" y="1474"/>
                    <a:pt x="33333" y="3456"/>
                    <a:pt x="38623" y="6161"/>
                  </a:cubicBezTo>
                  <a:cubicBezTo>
                    <a:pt x="51954" y="14085"/>
                    <a:pt x="64283" y="23585"/>
                    <a:pt x="75331" y="34469"/>
                  </a:cubicBezTo>
                  <a:cubicBezTo>
                    <a:pt x="76142" y="35180"/>
                    <a:pt x="76992" y="35866"/>
                    <a:pt x="77804" y="36539"/>
                  </a:cubicBezTo>
                  <a:cubicBezTo>
                    <a:pt x="79872" y="38241"/>
                    <a:pt x="81939" y="39917"/>
                    <a:pt x="84057" y="41441"/>
                  </a:cubicBezTo>
                  <a:cubicBezTo>
                    <a:pt x="85909" y="42889"/>
                    <a:pt x="87862" y="44235"/>
                    <a:pt x="89892" y="45442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0" name="Vrije vorm 339">
              <a:extLst>
                <a:ext uri="{FF2B5EF4-FFF2-40B4-BE49-F238E27FC236}">
                  <a16:creationId xmlns:a16="http://schemas.microsoft.com/office/drawing/2014/main" id="{C1EAAA56-FB7D-9649-B1F7-9421B21C99CE}"/>
                </a:ext>
              </a:extLst>
            </p:cNvPr>
            <p:cNvSpPr/>
            <p:nvPr/>
          </p:nvSpPr>
          <p:spPr>
            <a:xfrm>
              <a:off x="3846353" y="4225708"/>
              <a:ext cx="114461" cy="119502"/>
            </a:xfrm>
            <a:custGeom>
              <a:avLst/>
              <a:gdLst>
                <a:gd name="connsiteX0" fmla="*/ 111480 w 114461"/>
                <a:gd name="connsiteY0" fmla="*/ 71998 h 119502"/>
                <a:gd name="connsiteX1" fmla="*/ 107573 w 114461"/>
                <a:gd name="connsiteY1" fmla="*/ 80646 h 119502"/>
                <a:gd name="connsiteX2" fmla="*/ 107206 w 114461"/>
                <a:gd name="connsiteY2" fmla="*/ 93194 h 119502"/>
                <a:gd name="connsiteX3" fmla="*/ 93811 w 114461"/>
                <a:gd name="connsiteY3" fmla="*/ 104979 h 119502"/>
                <a:gd name="connsiteX4" fmla="*/ 89004 w 114461"/>
                <a:gd name="connsiteY4" fmla="*/ 101703 h 119502"/>
                <a:gd name="connsiteX5" fmla="*/ 81102 w 114461"/>
                <a:gd name="connsiteY5" fmla="*/ 99087 h 119502"/>
                <a:gd name="connsiteX6" fmla="*/ 68430 w 114461"/>
                <a:gd name="connsiteY6" fmla="*/ 101741 h 119502"/>
                <a:gd name="connsiteX7" fmla="*/ 56964 w 114461"/>
                <a:gd name="connsiteY7" fmla="*/ 98947 h 119502"/>
                <a:gd name="connsiteX8" fmla="*/ 53551 w 114461"/>
                <a:gd name="connsiteY8" fmla="*/ 103989 h 119502"/>
                <a:gd name="connsiteX9" fmla="*/ 54401 w 114461"/>
                <a:gd name="connsiteY9" fmla="*/ 111278 h 119502"/>
                <a:gd name="connsiteX10" fmla="*/ 55619 w 114461"/>
                <a:gd name="connsiteY10" fmla="*/ 118606 h 119502"/>
                <a:gd name="connsiteX11" fmla="*/ 39840 w 114461"/>
                <a:gd name="connsiteY11" fmla="*/ 116587 h 119502"/>
                <a:gd name="connsiteX12" fmla="*/ 28919 w 114461"/>
                <a:gd name="connsiteY12" fmla="*/ 99087 h 119502"/>
                <a:gd name="connsiteX13" fmla="*/ 24023 w 114461"/>
                <a:gd name="connsiteY13" fmla="*/ 90400 h 119502"/>
                <a:gd name="connsiteX14" fmla="*/ 21017 w 114461"/>
                <a:gd name="connsiteY14" fmla="*/ 81484 h 119502"/>
                <a:gd name="connsiteX15" fmla="*/ 18949 w 114461"/>
                <a:gd name="connsiteY15" fmla="*/ 76087 h 119502"/>
                <a:gd name="connsiteX16" fmla="*/ 7977 w 114461"/>
                <a:gd name="connsiteY16" fmla="*/ 73483 h 119502"/>
                <a:gd name="connsiteX17" fmla="*/ 696 w 114461"/>
                <a:gd name="connsiteY17" fmla="*/ 57507 h 119502"/>
                <a:gd name="connsiteX18" fmla="*/ 4248 w 114461"/>
                <a:gd name="connsiteY18" fmla="*/ 33072 h 119502"/>
                <a:gd name="connsiteX19" fmla="*/ 10501 w 114461"/>
                <a:gd name="connsiteY19" fmla="*/ 29389 h 119502"/>
                <a:gd name="connsiteX20" fmla="*/ 18226 w 114461"/>
                <a:gd name="connsiteY20" fmla="*/ 26328 h 119502"/>
                <a:gd name="connsiteX21" fmla="*/ 18404 w 114461"/>
                <a:gd name="connsiteY21" fmla="*/ 20385 h 119502"/>
                <a:gd name="connsiteX22" fmla="*/ 28703 w 114461"/>
                <a:gd name="connsiteY22" fmla="*/ 1 h 119502"/>
                <a:gd name="connsiteX23" fmla="*/ 34766 w 114461"/>
                <a:gd name="connsiteY23" fmla="*/ 1627 h 119502"/>
                <a:gd name="connsiteX24" fmla="*/ 42313 w 114461"/>
                <a:gd name="connsiteY24" fmla="*/ 2706 h 119502"/>
                <a:gd name="connsiteX25" fmla="*/ 42402 w 114461"/>
                <a:gd name="connsiteY25" fmla="*/ 2706 h 119502"/>
                <a:gd name="connsiteX26" fmla="*/ 58714 w 114461"/>
                <a:gd name="connsiteY26" fmla="*/ 2655 h 119502"/>
                <a:gd name="connsiteX27" fmla="*/ 59615 w 114461"/>
                <a:gd name="connsiteY27" fmla="*/ 2617 h 119502"/>
                <a:gd name="connsiteX28" fmla="*/ 76066 w 114461"/>
                <a:gd name="connsiteY28" fmla="*/ 2211 h 119502"/>
                <a:gd name="connsiteX29" fmla="*/ 76155 w 114461"/>
                <a:gd name="connsiteY29" fmla="*/ 2211 h 119502"/>
                <a:gd name="connsiteX30" fmla="*/ 82763 w 114461"/>
                <a:gd name="connsiteY30" fmla="*/ 2478 h 119502"/>
                <a:gd name="connsiteX31" fmla="*/ 110846 w 114461"/>
                <a:gd name="connsiteY31" fmla="*/ 6351 h 119502"/>
                <a:gd name="connsiteX32" fmla="*/ 114436 w 114461"/>
                <a:gd name="connsiteY32" fmla="*/ 7024 h 119502"/>
                <a:gd name="connsiteX33" fmla="*/ 103743 w 114461"/>
                <a:gd name="connsiteY33" fmla="*/ 32716 h 119502"/>
                <a:gd name="connsiteX34" fmla="*/ 106711 w 114461"/>
                <a:gd name="connsiteY34" fmla="*/ 61418 h 119502"/>
                <a:gd name="connsiteX35" fmla="*/ 111480 w 114461"/>
                <a:gd name="connsiteY35" fmla="*/ 71998 h 119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14461" h="119502">
                  <a:moveTo>
                    <a:pt x="111480" y="71998"/>
                  </a:moveTo>
                  <a:cubicBezTo>
                    <a:pt x="112685" y="78932"/>
                    <a:pt x="108195" y="75782"/>
                    <a:pt x="107573" y="80646"/>
                  </a:cubicBezTo>
                  <a:cubicBezTo>
                    <a:pt x="106889" y="85548"/>
                    <a:pt x="108017" y="85815"/>
                    <a:pt x="107206" y="93194"/>
                  </a:cubicBezTo>
                  <a:cubicBezTo>
                    <a:pt x="106445" y="100573"/>
                    <a:pt x="93811" y="104979"/>
                    <a:pt x="93811" y="104979"/>
                  </a:cubicBezTo>
                  <a:cubicBezTo>
                    <a:pt x="91794" y="100750"/>
                    <a:pt x="95168" y="101119"/>
                    <a:pt x="89004" y="101703"/>
                  </a:cubicBezTo>
                  <a:cubicBezTo>
                    <a:pt x="82852" y="102236"/>
                    <a:pt x="92149" y="96623"/>
                    <a:pt x="81102" y="99087"/>
                  </a:cubicBezTo>
                  <a:cubicBezTo>
                    <a:pt x="69990" y="101614"/>
                    <a:pt x="72832" y="100750"/>
                    <a:pt x="68430" y="101741"/>
                  </a:cubicBezTo>
                  <a:cubicBezTo>
                    <a:pt x="63978" y="102731"/>
                    <a:pt x="60376" y="93918"/>
                    <a:pt x="56964" y="98947"/>
                  </a:cubicBezTo>
                  <a:cubicBezTo>
                    <a:pt x="53551" y="103976"/>
                    <a:pt x="53057" y="99887"/>
                    <a:pt x="53551" y="103989"/>
                  </a:cubicBezTo>
                  <a:cubicBezTo>
                    <a:pt x="54084" y="108078"/>
                    <a:pt x="51167" y="104928"/>
                    <a:pt x="54401" y="111278"/>
                  </a:cubicBezTo>
                  <a:cubicBezTo>
                    <a:pt x="57598" y="117616"/>
                    <a:pt x="65462" y="121312"/>
                    <a:pt x="55619" y="118606"/>
                  </a:cubicBezTo>
                  <a:cubicBezTo>
                    <a:pt x="45726" y="115914"/>
                    <a:pt x="46043" y="115685"/>
                    <a:pt x="39840" y="116587"/>
                  </a:cubicBezTo>
                  <a:cubicBezTo>
                    <a:pt x="35794" y="111025"/>
                    <a:pt x="32141" y="105170"/>
                    <a:pt x="28919" y="99087"/>
                  </a:cubicBezTo>
                  <a:cubicBezTo>
                    <a:pt x="27498" y="96077"/>
                    <a:pt x="25862" y="93181"/>
                    <a:pt x="24023" y="90400"/>
                  </a:cubicBezTo>
                  <a:cubicBezTo>
                    <a:pt x="22729" y="87530"/>
                    <a:pt x="21727" y="84545"/>
                    <a:pt x="21017" y="81484"/>
                  </a:cubicBezTo>
                  <a:cubicBezTo>
                    <a:pt x="20154" y="77979"/>
                    <a:pt x="22133" y="76138"/>
                    <a:pt x="18949" y="76087"/>
                  </a:cubicBezTo>
                  <a:cubicBezTo>
                    <a:pt x="15157" y="75934"/>
                    <a:pt x="11440" y="75045"/>
                    <a:pt x="7977" y="73483"/>
                  </a:cubicBezTo>
                  <a:cubicBezTo>
                    <a:pt x="3348" y="71680"/>
                    <a:pt x="3893" y="65927"/>
                    <a:pt x="696" y="57507"/>
                  </a:cubicBezTo>
                  <a:cubicBezTo>
                    <a:pt x="-978" y="49201"/>
                    <a:pt x="278" y="40565"/>
                    <a:pt x="4248" y="33072"/>
                  </a:cubicBezTo>
                  <a:cubicBezTo>
                    <a:pt x="6138" y="29160"/>
                    <a:pt x="4616" y="29249"/>
                    <a:pt x="10501" y="29389"/>
                  </a:cubicBezTo>
                  <a:cubicBezTo>
                    <a:pt x="16387" y="29478"/>
                    <a:pt x="15753" y="29071"/>
                    <a:pt x="18226" y="26328"/>
                  </a:cubicBezTo>
                  <a:cubicBezTo>
                    <a:pt x="20699" y="23585"/>
                    <a:pt x="20116" y="22810"/>
                    <a:pt x="18404" y="20385"/>
                  </a:cubicBezTo>
                  <a:cubicBezTo>
                    <a:pt x="17198" y="18670"/>
                    <a:pt x="24479" y="6656"/>
                    <a:pt x="28703" y="1"/>
                  </a:cubicBezTo>
                  <a:cubicBezTo>
                    <a:pt x="30682" y="636"/>
                    <a:pt x="32699" y="1169"/>
                    <a:pt x="34766" y="1627"/>
                  </a:cubicBezTo>
                  <a:cubicBezTo>
                    <a:pt x="37252" y="2160"/>
                    <a:pt x="39776" y="2528"/>
                    <a:pt x="42313" y="2706"/>
                  </a:cubicBezTo>
                  <a:lnTo>
                    <a:pt x="42402" y="2706"/>
                  </a:lnTo>
                  <a:cubicBezTo>
                    <a:pt x="47831" y="3164"/>
                    <a:pt x="53285" y="3138"/>
                    <a:pt x="58714" y="2655"/>
                  </a:cubicBezTo>
                  <a:cubicBezTo>
                    <a:pt x="59018" y="2668"/>
                    <a:pt x="59310" y="2643"/>
                    <a:pt x="59615" y="2617"/>
                  </a:cubicBezTo>
                  <a:cubicBezTo>
                    <a:pt x="65082" y="2160"/>
                    <a:pt x="70574" y="2033"/>
                    <a:pt x="76066" y="2211"/>
                  </a:cubicBezTo>
                  <a:lnTo>
                    <a:pt x="76155" y="2211"/>
                  </a:lnTo>
                  <a:cubicBezTo>
                    <a:pt x="78349" y="2249"/>
                    <a:pt x="80556" y="2338"/>
                    <a:pt x="82763" y="2478"/>
                  </a:cubicBezTo>
                  <a:cubicBezTo>
                    <a:pt x="92188" y="3202"/>
                    <a:pt x="101574" y="4497"/>
                    <a:pt x="110846" y="6351"/>
                  </a:cubicBezTo>
                  <a:cubicBezTo>
                    <a:pt x="112013" y="6529"/>
                    <a:pt x="113231" y="6796"/>
                    <a:pt x="114436" y="7024"/>
                  </a:cubicBezTo>
                  <a:cubicBezTo>
                    <a:pt x="109692" y="15038"/>
                    <a:pt x="106090" y="23687"/>
                    <a:pt x="103743" y="32716"/>
                  </a:cubicBezTo>
                  <a:cubicBezTo>
                    <a:pt x="100927" y="42305"/>
                    <a:pt x="101992" y="52605"/>
                    <a:pt x="106711" y="61418"/>
                  </a:cubicBezTo>
                  <a:cubicBezTo>
                    <a:pt x="109121" y="64504"/>
                    <a:pt x="110757" y="68137"/>
                    <a:pt x="111480" y="71998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1" name="Vrije vorm 340">
              <a:extLst>
                <a:ext uri="{FF2B5EF4-FFF2-40B4-BE49-F238E27FC236}">
                  <a16:creationId xmlns:a16="http://schemas.microsoft.com/office/drawing/2014/main" id="{75A7A8F2-508B-E24D-9F38-EDD0BB7F1C4C}"/>
                </a:ext>
              </a:extLst>
            </p:cNvPr>
            <p:cNvSpPr/>
            <p:nvPr/>
          </p:nvSpPr>
          <p:spPr>
            <a:xfrm>
              <a:off x="3749880" y="4158220"/>
              <a:ext cx="136338" cy="203365"/>
            </a:xfrm>
            <a:custGeom>
              <a:avLst/>
              <a:gdLst>
                <a:gd name="connsiteX0" fmla="*/ 136313 w 136338"/>
                <a:gd name="connsiteY0" fmla="*/ 184088 h 203365"/>
                <a:gd name="connsiteX1" fmla="*/ 124948 w 136338"/>
                <a:gd name="connsiteY1" fmla="*/ 183808 h 203365"/>
                <a:gd name="connsiteX2" fmla="*/ 109080 w 136338"/>
                <a:gd name="connsiteY2" fmla="*/ 187009 h 203365"/>
                <a:gd name="connsiteX3" fmla="*/ 102738 w 136338"/>
                <a:gd name="connsiteY3" fmla="*/ 189485 h 203365"/>
                <a:gd name="connsiteX4" fmla="*/ 96307 w 136338"/>
                <a:gd name="connsiteY4" fmla="*/ 191060 h 203365"/>
                <a:gd name="connsiteX5" fmla="*/ 93935 w 136338"/>
                <a:gd name="connsiteY5" fmla="*/ 195238 h 203365"/>
                <a:gd name="connsiteX6" fmla="*/ 85081 w 136338"/>
                <a:gd name="connsiteY6" fmla="*/ 194476 h 203365"/>
                <a:gd name="connsiteX7" fmla="*/ 80946 w 136338"/>
                <a:gd name="connsiteY7" fmla="*/ 199556 h 203365"/>
                <a:gd name="connsiteX8" fmla="*/ 76545 w 136338"/>
                <a:gd name="connsiteY8" fmla="*/ 201677 h 203365"/>
                <a:gd name="connsiteX9" fmla="*/ 68947 w 136338"/>
                <a:gd name="connsiteY9" fmla="*/ 201537 h 203365"/>
                <a:gd name="connsiteX10" fmla="*/ 59421 w 136338"/>
                <a:gd name="connsiteY10" fmla="*/ 197359 h 203365"/>
                <a:gd name="connsiteX11" fmla="*/ 51290 w 136338"/>
                <a:gd name="connsiteY11" fmla="*/ 189117 h 203365"/>
                <a:gd name="connsiteX12" fmla="*/ 46331 w 136338"/>
                <a:gd name="connsiteY12" fmla="*/ 182868 h 203365"/>
                <a:gd name="connsiteX13" fmla="*/ 42018 w 136338"/>
                <a:gd name="connsiteY13" fmla="*/ 170219 h 203365"/>
                <a:gd name="connsiteX14" fmla="*/ 40902 w 136338"/>
                <a:gd name="connsiteY14" fmla="*/ 147004 h 203365"/>
                <a:gd name="connsiteX15" fmla="*/ 42742 w 136338"/>
                <a:gd name="connsiteY15" fmla="*/ 139485 h 203365"/>
                <a:gd name="connsiteX16" fmla="*/ 46927 w 136338"/>
                <a:gd name="connsiteY16" fmla="*/ 132068 h 203365"/>
                <a:gd name="connsiteX17" fmla="*/ 49122 w 136338"/>
                <a:gd name="connsiteY17" fmla="*/ 122353 h 203365"/>
                <a:gd name="connsiteX18" fmla="*/ 44099 w 136338"/>
                <a:gd name="connsiteY18" fmla="*/ 112040 h 203365"/>
                <a:gd name="connsiteX19" fmla="*/ 36006 w 136338"/>
                <a:gd name="connsiteY19" fmla="*/ 108307 h 203365"/>
                <a:gd name="connsiteX20" fmla="*/ 37617 w 136338"/>
                <a:gd name="connsiteY20" fmla="*/ 93816 h 203365"/>
                <a:gd name="connsiteX21" fmla="*/ 28497 w 136338"/>
                <a:gd name="connsiteY21" fmla="*/ 88914 h 203365"/>
                <a:gd name="connsiteX22" fmla="*/ 21128 w 136338"/>
                <a:gd name="connsiteY22" fmla="*/ 92787 h 203365"/>
                <a:gd name="connsiteX23" fmla="*/ 18210 w 136338"/>
                <a:gd name="connsiteY23" fmla="*/ 90895 h 203365"/>
                <a:gd name="connsiteX24" fmla="*/ 2393 w 136338"/>
                <a:gd name="connsiteY24" fmla="*/ 73712 h 203365"/>
                <a:gd name="connsiteX25" fmla="*/ 2393 w 136338"/>
                <a:gd name="connsiteY25" fmla="*/ 64936 h 203365"/>
                <a:gd name="connsiteX26" fmla="*/ 6439 w 136338"/>
                <a:gd name="connsiteY26" fmla="*/ 52642 h 203365"/>
                <a:gd name="connsiteX27" fmla="*/ 9090 w 136338"/>
                <a:gd name="connsiteY27" fmla="*/ 47575 h 203365"/>
                <a:gd name="connsiteX28" fmla="*/ 19428 w 136338"/>
                <a:gd name="connsiteY28" fmla="*/ 44019 h 203365"/>
                <a:gd name="connsiteX29" fmla="*/ 29131 w 136338"/>
                <a:gd name="connsiteY29" fmla="*/ 38304 h 203365"/>
                <a:gd name="connsiteX30" fmla="*/ 23652 w 136338"/>
                <a:gd name="connsiteY30" fmla="*/ 34469 h 203365"/>
                <a:gd name="connsiteX31" fmla="*/ 21445 w 136338"/>
                <a:gd name="connsiteY31" fmla="*/ 21959 h 203365"/>
                <a:gd name="connsiteX32" fmla="*/ 31833 w 136338"/>
                <a:gd name="connsiteY32" fmla="*/ 13501 h 203365"/>
                <a:gd name="connsiteX33" fmla="*/ 42031 w 136338"/>
                <a:gd name="connsiteY33" fmla="*/ 5360 h 203365"/>
                <a:gd name="connsiteX34" fmla="*/ 41752 w 136338"/>
                <a:gd name="connsiteY34" fmla="*/ 1 h 203365"/>
                <a:gd name="connsiteX35" fmla="*/ 79373 w 136338"/>
                <a:gd name="connsiteY35" fmla="*/ 38660 h 203365"/>
                <a:gd name="connsiteX36" fmla="*/ 79691 w 136338"/>
                <a:gd name="connsiteY36" fmla="*/ 38838 h 203365"/>
                <a:gd name="connsiteX37" fmla="*/ 89356 w 136338"/>
                <a:gd name="connsiteY37" fmla="*/ 44731 h 203365"/>
                <a:gd name="connsiteX38" fmla="*/ 106112 w 136338"/>
                <a:gd name="connsiteY38" fmla="*/ 56211 h 203365"/>
                <a:gd name="connsiteX39" fmla="*/ 116005 w 136338"/>
                <a:gd name="connsiteY39" fmla="*/ 63399 h 203365"/>
                <a:gd name="connsiteX40" fmla="*/ 125163 w 136338"/>
                <a:gd name="connsiteY40" fmla="*/ 67502 h 203365"/>
                <a:gd name="connsiteX41" fmla="*/ 114876 w 136338"/>
                <a:gd name="connsiteY41" fmla="*/ 87885 h 203365"/>
                <a:gd name="connsiteX42" fmla="*/ 114699 w 136338"/>
                <a:gd name="connsiteY42" fmla="*/ 93829 h 203365"/>
                <a:gd name="connsiteX43" fmla="*/ 106961 w 136338"/>
                <a:gd name="connsiteY43" fmla="*/ 96877 h 203365"/>
                <a:gd name="connsiteX44" fmla="*/ 100721 w 136338"/>
                <a:gd name="connsiteY44" fmla="*/ 100572 h 203365"/>
                <a:gd name="connsiteX45" fmla="*/ 97169 w 136338"/>
                <a:gd name="connsiteY45" fmla="*/ 125007 h 203365"/>
                <a:gd name="connsiteX46" fmla="*/ 104450 w 136338"/>
                <a:gd name="connsiteY46" fmla="*/ 140971 h 203365"/>
                <a:gd name="connsiteX47" fmla="*/ 115409 w 136338"/>
                <a:gd name="connsiteY47" fmla="*/ 143587 h 203365"/>
                <a:gd name="connsiteX48" fmla="*/ 117477 w 136338"/>
                <a:gd name="connsiteY48" fmla="*/ 148985 h 203365"/>
                <a:gd name="connsiteX49" fmla="*/ 120496 w 136338"/>
                <a:gd name="connsiteY49" fmla="*/ 157900 h 203365"/>
                <a:gd name="connsiteX50" fmla="*/ 125392 w 136338"/>
                <a:gd name="connsiteY50" fmla="*/ 166587 h 203365"/>
                <a:gd name="connsiteX51" fmla="*/ 136313 w 136338"/>
                <a:gd name="connsiteY51" fmla="*/ 184088 h 203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36338" h="203365">
                  <a:moveTo>
                    <a:pt x="136313" y="184088"/>
                  </a:moveTo>
                  <a:cubicBezTo>
                    <a:pt x="130161" y="184977"/>
                    <a:pt x="137213" y="183592"/>
                    <a:pt x="124948" y="183808"/>
                  </a:cubicBezTo>
                  <a:cubicBezTo>
                    <a:pt x="112669" y="184037"/>
                    <a:pt x="112010" y="184037"/>
                    <a:pt x="109080" y="187009"/>
                  </a:cubicBezTo>
                  <a:cubicBezTo>
                    <a:pt x="106162" y="189980"/>
                    <a:pt x="105579" y="188355"/>
                    <a:pt x="102738" y="189485"/>
                  </a:cubicBezTo>
                  <a:cubicBezTo>
                    <a:pt x="99909" y="190603"/>
                    <a:pt x="98691" y="186869"/>
                    <a:pt x="96307" y="191060"/>
                  </a:cubicBezTo>
                  <a:cubicBezTo>
                    <a:pt x="93935" y="195238"/>
                    <a:pt x="99643" y="194337"/>
                    <a:pt x="93935" y="195238"/>
                  </a:cubicBezTo>
                  <a:cubicBezTo>
                    <a:pt x="88227" y="196191"/>
                    <a:pt x="87326" y="191644"/>
                    <a:pt x="85081" y="194476"/>
                  </a:cubicBezTo>
                  <a:cubicBezTo>
                    <a:pt x="82836" y="197321"/>
                    <a:pt x="85347" y="197499"/>
                    <a:pt x="80946" y="199556"/>
                  </a:cubicBezTo>
                  <a:cubicBezTo>
                    <a:pt x="76545" y="201677"/>
                    <a:pt x="80858" y="198921"/>
                    <a:pt x="76545" y="201677"/>
                  </a:cubicBezTo>
                  <a:cubicBezTo>
                    <a:pt x="72270" y="204369"/>
                    <a:pt x="74972" y="203481"/>
                    <a:pt x="68947" y="201537"/>
                  </a:cubicBezTo>
                  <a:cubicBezTo>
                    <a:pt x="62922" y="199607"/>
                    <a:pt x="63150" y="201004"/>
                    <a:pt x="59421" y="197359"/>
                  </a:cubicBezTo>
                  <a:cubicBezTo>
                    <a:pt x="56922" y="194400"/>
                    <a:pt x="54208" y="191644"/>
                    <a:pt x="51290" y="189117"/>
                  </a:cubicBezTo>
                  <a:cubicBezTo>
                    <a:pt x="48868" y="187771"/>
                    <a:pt x="47092" y="185523"/>
                    <a:pt x="46331" y="182868"/>
                  </a:cubicBezTo>
                  <a:cubicBezTo>
                    <a:pt x="44391" y="178843"/>
                    <a:pt x="42944" y="174601"/>
                    <a:pt x="42018" y="170219"/>
                  </a:cubicBezTo>
                  <a:cubicBezTo>
                    <a:pt x="40116" y="162637"/>
                    <a:pt x="39735" y="154738"/>
                    <a:pt x="40902" y="147004"/>
                  </a:cubicBezTo>
                  <a:cubicBezTo>
                    <a:pt x="43059" y="143003"/>
                    <a:pt x="40851" y="143003"/>
                    <a:pt x="42742" y="139485"/>
                  </a:cubicBezTo>
                  <a:cubicBezTo>
                    <a:pt x="44631" y="135980"/>
                    <a:pt x="42615" y="135307"/>
                    <a:pt x="46927" y="132068"/>
                  </a:cubicBezTo>
                  <a:cubicBezTo>
                    <a:pt x="51240" y="128868"/>
                    <a:pt x="50923" y="128690"/>
                    <a:pt x="49122" y="122353"/>
                  </a:cubicBezTo>
                  <a:cubicBezTo>
                    <a:pt x="47371" y="116003"/>
                    <a:pt x="48044" y="113526"/>
                    <a:pt x="44099" y="112040"/>
                  </a:cubicBezTo>
                  <a:cubicBezTo>
                    <a:pt x="40179" y="110605"/>
                    <a:pt x="36273" y="114517"/>
                    <a:pt x="36006" y="108307"/>
                  </a:cubicBezTo>
                  <a:cubicBezTo>
                    <a:pt x="35727" y="102147"/>
                    <a:pt x="42069" y="98591"/>
                    <a:pt x="37617" y="93816"/>
                  </a:cubicBezTo>
                  <a:cubicBezTo>
                    <a:pt x="33127" y="89053"/>
                    <a:pt x="33393" y="88558"/>
                    <a:pt x="28497" y="88914"/>
                  </a:cubicBezTo>
                  <a:cubicBezTo>
                    <a:pt x="24908" y="89181"/>
                    <a:pt x="23423" y="92825"/>
                    <a:pt x="21128" y="92787"/>
                  </a:cubicBezTo>
                  <a:cubicBezTo>
                    <a:pt x="20278" y="92787"/>
                    <a:pt x="19377" y="92241"/>
                    <a:pt x="18210" y="90895"/>
                  </a:cubicBezTo>
                  <a:cubicBezTo>
                    <a:pt x="13847" y="85764"/>
                    <a:pt x="3471" y="76265"/>
                    <a:pt x="2393" y="73712"/>
                  </a:cubicBezTo>
                  <a:cubicBezTo>
                    <a:pt x="1315" y="71096"/>
                    <a:pt x="-2465" y="69965"/>
                    <a:pt x="2393" y="64936"/>
                  </a:cubicBezTo>
                  <a:cubicBezTo>
                    <a:pt x="7238" y="59856"/>
                    <a:pt x="5222" y="57418"/>
                    <a:pt x="6439" y="52642"/>
                  </a:cubicBezTo>
                  <a:cubicBezTo>
                    <a:pt x="7695" y="47829"/>
                    <a:pt x="1492" y="49366"/>
                    <a:pt x="9090" y="47575"/>
                  </a:cubicBezTo>
                  <a:cubicBezTo>
                    <a:pt x="12617" y="46623"/>
                    <a:pt x="16067" y="45442"/>
                    <a:pt x="19428" y="44019"/>
                  </a:cubicBezTo>
                  <a:cubicBezTo>
                    <a:pt x="28002" y="41365"/>
                    <a:pt x="29448" y="41454"/>
                    <a:pt x="29131" y="38304"/>
                  </a:cubicBezTo>
                  <a:cubicBezTo>
                    <a:pt x="28814" y="35142"/>
                    <a:pt x="27241" y="39778"/>
                    <a:pt x="23652" y="34469"/>
                  </a:cubicBezTo>
                  <a:cubicBezTo>
                    <a:pt x="20050" y="29211"/>
                    <a:pt x="15610" y="27408"/>
                    <a:pt x="21445" y="21959"/>
                  </a:cubicBezTo>
                  <a:cubicBezTo>
                    <a:pt x="27330" y="16562"/>
                    <a:pt x="26392" y="16473"/>
                    <a:pt x="31833" y="13501"/>
                  </a:cubicBezTo>
                  <a:cubicBezTo>
                    <a:pt x="37262" y="10542"/>
                    <a:pt x="41574" y="10491"/>
                    <a:pt x="42031" y="5360"/>
                  </a:cubicBezTo>
                  <a:cubicBezTo>
                    <a:pt x="42107" y="3570"/>
                    <a:pt x="42018" y="1779"/>
                    <a:pt x="41752" y="1"/>
                  </a:cubicBezTo>
                  <a:cubicBezTo>
                    <a:pt x="64317" y="7113"/>
                    <a:pt x="78562" y="21464"/>
                    <a:pt x="79373" y="38660"/>
                  </a:cubicBezTo>
                  <a:cubicBezTo>
                    <a:pt x="79462" y="38736"/>
                    <a:pt x="79576" y="38800"/>
                    <a:pt x="79691" y="38838"/>
                  </a:cubicBezTo>
                  <a:cubicBezTo>
                    <a:pt x="83064" y="40997"/>
                    <a:pt x="86299" y="42927"/>
                    <a:pt x="89356" y="44731"/>
                  </a:cubicBezTo>
                  <a:cubicBezTo>
                    <a:pt x="95317" y="47969"/>
                    <a:pt x="100936" y="51804"/>
                    <a:pt x="106112" y="56211"/>
                  </a:cubicBezTo>
                  <a:cubicBezTo>
                    <a:pt x="109118" y="58992"/>
                    <a:pt x="112428" y="61406"/>
                    <a:pt x="116005" y="63399"/>
                  </a:cubicBezTo>
                  <a:cubicBezTo>
                    <a:pt x="118910" y="65076"/>
                    <a:pt x="121979" y="66447"/>
                    <a:pt x="125163" y="67502"/>
                  </a:cubicBezTo>
                  <a:cubicBezTo>
                    <a:pt x="120939" y="74156"/>
                    <a:pt x="113659" y="86171"/>
                    <a:pt x="114876" y="87885"/>
                  </a:cubicBezTo>
                  <a:cubicBezTo>
                    <a:pt x="116589" y="90311"/>
                    <a:pt x="117172" y="91073"/>
                    <a:pt x="114699" y="93829"/>
                  </a:cubicBezTo>
                  <a:cubicBezTo>
                    <a:pt x="112225" y="96572"/>
                    <a:pt x="112860" y="96978"/>
                    <a:pt x="106961" y="96877"/>
                  </a:cubicBezTo>
                  <a:cubicBezTo>
                    <a:pt x="101076" y="96750"/>
                    <a:pt x="102611" y="96661"/>
                    <a:pt x="100721" y="100572"/>
                  </a:cubicBezTo>
                  <a:cubicBezTo>
                    <a:pt x="96751" y="108065"/>
                    <a:pt x="95495" y="116689"/>
                    <a:pt x="97169" y="125007"/>
                  </a:cubicBezTo>
                  <a:cubicBezTo>
                    <a:pt x="100353" y="133415"/>
                    <a:pt x="99820" y="139180"/>
                    <a:pt x="104450" y="140971"/>
                  </a:cubicBezTo>
                  <a:cubicBezTo>
                    <a:pt x="107900" y="142546"/>
                    <a:pt x="111629" y="143422"/>
                    <a:pt x="115409" y="143587"/>
                  </a:cubicBezTo>
                  <a:cubicBezTo>
                    <a:pt x="118606" y="143638"/>
                    <a:pt x="116627" y="145480"/>
                    <a:pt x="117477" y="148985"/>
                  </a:cubicBezTo>
                  <a:cubicBezTo>
                    <a:pt x="118187" y="152046"/>
                    <a:pt x="119202" y="155030"/>
                    <a:pt x="120496" y="157900"/>
                  </a:cubicBezTo>
                  <a:cubicBezTo>
                    <a:pt x="122322" y="160669"/>
                    <a:pt x="123958" y="163577"/>
                    <a:pt x="125392" y="166587"/>
                  </a:cubicBezTo>
                  <a:cubicBezTo>
                    <a:pt x="128613" y="172670"/>
                    <a:pt x="132266" y="178512"/>
                    <a:pt x="136313" y="184088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2" name="Vrije vorm 341">
              <a:extLst>
                <a:ext uri="{FF2B5EF4-FFF2-40B4-BE49-F238E27FC236}">
                  <a16:creationId xmlns:a16="http://schemas.microsoft.com/office/drawing/2014/main" id="{17BD9CB5-E15B-BF4A-9855-33E5321E5565}"/>
                </a:ext>
              </a:extLst>
            </p:cNvPr>
            <p:cNvSpPr/>
            <p:nvPr/>
          </p:nvSpPr>
          <p:spPr>
            <a:xfrm>
              <a:off x="3412625" y="4067822"/>
              <a:ext cx="379345" cy="310550"/>
            </a:xfrm>
            <a:custGeom>
              <a:avLst/>
              <a:gdLst>
                <a:gd name="connsiteX0" fmla="*/ 379286 w 379345"/>
                <a:gd name="connsiteY0" fmla="*/ 95759 h 310550"/>
                <a:gd name="connsiteX1" fmla="*/ 369088 w 379345"/>
                <a:gd name="connsiteY1" fmla="*/ 103900 h 310550"/>
                <a:gd name="connsiteX2" fmla="*/ 358699 w 379345"/>
                <a:gd name="connsiteY2" fmla="*/ 112358 h 310550"/>
                <a:gd name="connsiteX3" fmla="*/ 360907 w 379345"/>
                <a:gd name="connsiteY3" fmla="*/ 124867 h 310550"/>
                <a:gd name="connsiteX4" fmla="*/ 366386 w 379345"/>
                <a:gd name="connsiteY4" fmla="*/ 128690 h 310550"/>
                <a:gd name="connsiteX5" fmla="*/ 356683 w 379345"/>
                <a:gd name="connsiteY5" fmla="*/ 134405 h 310550"/>
                <a:gd name="connsiteX6" fmla="*/ 346345 w 379345"/>
                <a:gd name="connsiteY6" fmla="*/ 137961 h 310550"/>
                <a:gd name="connsiteX7" fmla="*/ 343694 w 379345"/>
                <a:gd name="connsiteY7" fmla="*/ 143041 h 310550"/>
                <a:gd name="connsiteX8" fmla="*/ 339648 w 379345"/>
                <a:gd name="connsiteY8" fmla="*/ 155335 h 310550"/>
                <a:gd name="connsiteX9" fmla="*/ 339648 w 379345"/>
                <a:gd name="connsiteY9" fmla="*/ 164111 h 310550"/>
                <a:gd name="connsiteX10" fmla="*/ 355465 w 379345"/>
                <a:gd name="connsiteY10" fmla="*/ 181294 h 310550"/>
                <a:gd name="connsiteX11" fmla="*/ 358382 w 379345"/>
                <a:gd name="connsiteY11" fmla="*/ 183186 h 310550"/>
                <a:gd name="connsiteX12" fmla="*/ 354970 w 379345"/>
                <a:gd name="connsiteY12" fmla="*/ 194209 h 310550"/>
                <a:gd name="connsiteX13" fmla="*/ 344950 w 379345"/>
                <a:gd name="connsiteY13" fmla="*/ 200420 h 310550"/>
                <a:gd name="connsiteX14" fmla="*/ 337263 w 379345"/>
                <a:gd name="connsiteY14" fmla="*/ 203480 h 310550"/>
                <a:gd name="connsiteX15" fmla="*/ 333090 w 379345"/>
                <a:gd name="connsiteY15" fmla="*/ 207163 h 310550"/>
                <a:gd name="connsiteX16" fmla="*/ 327699 w 379345"/>
                <a:gd name="connsiteY16" fmla="*/ 208103 h 310550"/>
                <a:gd name="connsiteX17" fmla="*/ 322296 w 379345"/>
                <a:gd name="connsiteY17" fmla="*/ 211164 h 310550"/>
                <a:gd name="connsiteX18" fmla="*/ 315383 w 379345"/>
                <a:gd name="connsiteY18" fmla="*/ 211164 h 310550"/>
                <a:gd name="connsiteX19" fmla="*/ 309269 w 379345"/>
                <a:gd name="connsiteY19" fmla="*/ 210580 h 310550"/>
                <a:gd name="connsiteX20" fmla="*/ 303016 w 379345"/>
                <a:gd name="connsiteY20" fmla="*/ 211164 h 310550"/>
                <a:gd name="connsiteX21" fmla="*/ 298754 w 379345"/>
                <a:gd name="connsiteY21" fmla="*/ 214771 h 310550"/>
                <a:gd name="connsiteX22" fmla="*/ 295431 w 379345"/>
                <a:gd name="connsiteY22" fmla="*/ 220397 h 310550"/>
                <a:gd name="connsiteX23" fmla="*/ 294480 w 379345"/>
                <a:gd name="connsiteY23" fmla="*/ 229884 h 310550"/>
                <a:gd name="connsiteX24" fmla="*/ 285854 w 379345"/>
                <a:gd name="connsiteY24" fmla="*/ 222467 h 310550"/>
                <a:gd name="connsiteX25" fmla="*/ 280235 w 379345"/>
                <a:gd name="connsiteY25" fmla="*/ 216117 h 310550"/>
                <a:gd name="connsiteX26" fmla="*/ 272333 w 379345"/>
                <a:gd name="connsiteY26" fmla="*/ 216841 h 310550"/>
                <a:gd name="connsiteX27" fmla="*/ 266536 w 379345"/>
                <a:gd name="connsiteY27" fmla="*/ 216701 h 310550"/>
                <a:gd name="connsiteX28" fmla="*/ 258850 w 379345"/>
                <a:gd name="connsiteY28" fmla="*/ 216079 h 310550"/>
                <a:gd name="connsiteX29" fmla="*/ 252647 w 379345"/>
                <a:gd name="connsiteY29" fmla="*/ 210999 h 310550"/>
                <a:gd name="connsiteX30" fmla="*/ 241675 w 379345"/>
                <a:gd name="connsiteY30" fmla="*/ 210135 h 310550"/>
                <a:gd name="connsiteX31" fmla="*/ 253142 w 379345"/>
                <a:gd name="connsiteY31" fmla="*/ 223915 h 310550"/>
                <a:gd name="connsiteX32" fmla="*/ 258850 w 379345"/>
                <a:gd name="connsiteY32" fmla="*/ 245771 h 310550"/>
                <a:gd name="connsiteX33" fmla="*/ 261856 w 379345"/>
                <a:gd name="connsiteY33" fmla="*/ 257481 h 310550"/>
                <a:gd name="connsiteX34" fmla="*/ 271381 w 379345"/>
                <a:gd name="connsiteY34" fmla="*/ 259449 h 310550"/>
                <a:gd name="connsiteX35" fmla="*/ 278574 w 379345"/>
                <a:gd name="connsiteY35" fmla="*/ 261392 h 310550"/>
                <a:gd name="connsiteX36" fmla="*/ 276595 w 379345"/>
                <a:gd name="connsiteY36" fmla="*/ 268276 h 310550"/>
                <a:gd name="connsiteX37" fmla="*/ 265230 w 379345"/>
                <a:gd name="connsiteY37" fmla="*/ 272543 h 310550"/>
                <a:gd name="connsiteX38" fmla="*/ 261146 w 379345"/>
                <a:gd name="connsiteY38" fmla="*/ 277991 h 310550"/>
                <a:gd name="connsiteX39" fmla="*/ 255070 w 379345"/>
                <a:gd name="connsiteY39" fmla="*/ 287758 h 310550"/>
                <a:gd name="connsiteX40" fmla="*/ 249450 w 379345"/>
                <a:gd name="connsiteY40" fmla="*/ 285637 h 310550"/>
                <a:gd name="connsiteX41" fmla="*/ 243616 w 379345"/>
                <a:gd name="connsiteY41" fmla="*/ 292215 h 310550"/>
                <a:gd name="connsiteX42" fmla="*/ 236069 w 379345"/>
                <a:gd name="connsiteY42" fmla="*/ 292342 h 310550"/>
                <a:gd name="connsiteX43" fmla="*/ 231794 w 379345"/>
                <a:gd name="connsiteY43" fmla="*/ 296178 h 310550"/>
                <a:gd name="connsiteX44" fmla="*/ 229777 w 379345"/>
                <a:gd name="connsiteY44" fmla="*/ 302477 h 310550"/>
                <a:gd name="connsiteX45" fmla="*/ 222890 w 379345"/>
                <a:gd name="connsiteY45" fmla="*/ 304052 h 310550"/>
                <a:gd name="connsiteX46" fmla="*/ 217372 w 379345"/>
                <a:gd name="connsiteY46" fmla="*/ 309310 h 310550"/>
                <a:gd name="connsiteX47" fmla="*/ 216789 w 379345"/>
                <a:gd name="connsiteY47" fmla="*/ 300534 h 310550"/>
                <a:gd name="connsiteX48" fmla="*/ 206578 w 379345"/>
                <a:gd name="connsiteY48" fmla="*/ 305169 h 310550"/>
                <a:gd name="connsiteX49" fmla="*/ 200338 w 379345"/>
                <a:gd name="connsiteY49" fmla="*/ 306693 h 310550"/>
                <a:gd name="connsiteX50" fmla="*/ 192790 w 379345"/>
                <a:gd name="connsiteY50" fmla="*/ 304039 h 310550"/>
                <a:gd name="connsiteX51" fmla="*/ 181463 w 379345"/>
                <a:gd name="connsiteY51" fmla="*/ 293739 h 310550"/>
                <a:gd name="connsiteX52" fmla="*/ 170771 w 379345"/>
                <a:gd name="connsiteY52" fmla="*/ 260618 h 310550"/>
                <a:gd name="connsiteX53" fmla="*/ 160154 w 379345"/>
                <a:gd name="connsiteY53" fmla="*/ 248832 h 310550"/>
                <a:gd name="connsiteX54" fmla="*/ 154674 w 379345"/>
                <a:gd name="connsiteY54" fmla="*/ 245771 h 310550"/>
                <a:gd name="connsiteX55" fmla="*/ 167803 w 379345"/>
                <a:gd name="connsiteY55" fmla="*/ 231547 h 310550"/>
                <a:gd name="connsiteX56" fmla="*/ 160750 w 379345"/>
                <a:gd name="connsiteY56" fmla="*/ 220384 h 310550"/>
                <a:gd name="connsiteX57" fmla="*/ 155131 w 379345"/>
                <a:gd name="connsiteY57" fmla="*/ 194654 h 310550"/>
                <a:gd name="connsiteX58" fmla="*/ 159571 w 379345"/>
                <a:gd name="connsiteY58" fmla="*/ 170041 h 310550"/>
                <a:gd name="connsiteX59" fmla="*/ 165418 w 379345"/>
                <a:gd name="connsiteY59" fmla="*/ 152312 h 310550"/>
                <a:gd name="connsiteX60" fmla="*/ 154674 w 379345"/>
                <a:gd name="connsiteY60" fmla="*/ 149747 h 310550"/>
                <a:gd name="connsiteX61" fmla="*/ 142954 w 379345"/>
                <a:gd name="connsiteY61" fmla="*/ 152934 h 310550"/>
                <a:gd name="connsiteX62" fmla="*/ 131538 w 379345"/>
                <a:gd name="connsiteY62" fmla="*/ 152757 h 310550"/>
                <a:gd name="connsiteX63" fmla="*/ 124207 w 379345"/>
                <a:gd name="connsiteY63" fmla="*/ 153430 h 310550"/>
                <a:gd name="connsiteX64" fmla="*/ 116203 w 379345"/>
                <a:gd name="connsiteY64" fmla="*/ 152439 h 310550"/>
                <a:gd name="connsiteX65" fmla="*/ 110191 w 379345"/>
                <a:gd name="connsiteY65" fmla="*/ 154243 h 310550"/>
                <a:gd name="connsiteX66" fmla="*/ 91266 w 379345"/>
                <a:gd name="connsiteY66" fmla="*/ 133592 h 310550"/>
                <a:gd name="connsiteX67" fmla="*/ 84658 w 379345"/>
                <a:gd name="connsiteY67" fmla="*/ 132068 h 310550"/>
                <a:gd name="connsiteX68" fmla="*/ 74688 w 379345"/>
                <a:gd name="connsiteY68" fmla="*/ 128195 h 310550"/>
                <a:gd name="connsiteX69" fmla="*/ 65340 w 379345"/>
                <a:gd name="connsiteY69" fmla="*/ 129909 h 310550"/>
                <a:gd name="connsiteX70" fmla="*/ 54558 w 379345"/>
                <a:gd name="connsiteY70" fmla="*/ 129732 h 310550"/>
                <a:gd name="connsiteX71" fmla="*/ 44664 w 379345"/>
                <a:gd name="connsiteY71" fmla="*/ 129274 h 310550"/>
                <a:gd name="connsiteX72" fmla="*/ 34466 w 379345"/>
                <a:gd name="connsiteY72" fmla="*/ 128919 h 310550"/>
                <a:gd name="connsiteX73" fmla="*/ 29291 w 379345"/>
                <a:gd name="connsiteY73" fmla="*/ 119152 h 310550"/>
                <a:gd name="connsiteX74" fmla="*/ 22150 w 379345"/>
                <a:gd name="connsiteY74" fmla="*/ 114199 h 310550"/>
                <a:gd name="connsiteX75" fmla="*/ 24535 w 379345"/>
                <a:gd name="connsiteY75" fmla="*/ 101157 h 310550"/>
                <a:gd name="connsiteX76" fmla="*/ 22150 w 379345"/>
                <a:gd name="connsiteY76" fmla="*/ 85891 h 310550"/>
                <a:gd name="connsiteX77" fmla="*/ 13423 w 379345"/>
                <a:gd name="connsiteY77" fmla="*/ 73077 h 310550"/>
                <a:gd name="connsiteX78" fmla="*/ 9517 w 379345"/>
                <a:gd name="connsiteY78" fmla="*/ 68568 h 310550"/>
                <a:gd name="connsiteX79" fmla="*/ 2236 w 379345"/>
                <a:gd name="connsiteY79" fmla="*/ 66765 h 310550"/>
                <a:gd name="connsiteX80" fmla="*/ 4075 w 379345"/>
                <a:gd name="connsiteY80" fmla="*/ 56643 h 310550"/>
                <a:gd name="connsiteX81" fmla="*/ 15985 w 379345"/>
                <a:gd name="connsiteY81" fmla="*/ 21591 h 310550"/>
                <a:gd name="connsiteX82" fmla="*/ 29291 w 379345"/>
                <a:gd name="connsiteY82" fmla="*/ 9399 h 310550"/>
                <a:gd name="connsiteX83" fmla="*/ 35900 w 379345"/>
                <a:gd name="connsiteY83" fmla="*/ 1 h 310550"/>
                <a:gd name="connsiteX84" fmla="*/ 33693 w 379345"/>
                <a:gd name="connsiteY84" fmla="*/ 44591 h 310550"/>
                <a:gd name="connsiteX85" fmla="*/ 42013 w 379345"/>
                <a:gd name="connsiteY85" fmla="*/ 71502 h 310550"/>
                <a:gd name="connsiteX86" fmla="*/ 44259 w 379345"/>
                <a:gd name="connsiteY86" fmla="*/ 70461 h 310550"/>
                <a:gd name="connsiteX87" fmla="*/ 57564 w 379345"/>
                <a:gd name="connsiteY87" fmla="*/ 43689 h 310550"/>
                <a:gd name="connsiteX88" fmla="*/ 49966 w 379345"/>
                <a:gd name="connsiteY88" fmla="*/ 27623 h 310550"/>
                <a:gd name="connsiteX89" fmla="*/ 48799 w 379345"/>
                <a:gd name="connsiteY89" fmla="*/ 25236 h 310550"/>
                <a:gd name="connsiteX90" fmla="*/ 50867 w 379345"/>
                <a:gd name="connsiteY90" fmla="*/ 22988 h 310550"/>
                <a:gd name="connsiteX91" fmla="*/ 66456 w 379345"/>
                <a:gd name="connsiteY91" fmla="*/ 11469 h 310550"/>
                <a:gd name="connsiteX92" fmla="*/ 90987 w 379345"/>
                <a:gd name="connsiteY92" fmla="*/ 2300 h 310550"/>
                <a:gd name="connsiteX93" fmla="*/ 94361 w 379345"/>
                <a:gd name="connsiteY93" fmla="*/ 1614 h 310550"/>
                <a:gd name="connsiteX94" fmla="*/ 99308 w 379345"/>
                <a:gd name="connsiteY94" fmla="*/ 941 h 310550"/>
                <a:gd name="connsiteX95" fmla="*/ 103126 w 379345"/>
                <a:gd name="connsiteY95" fmla="*/ 623 h 310550"/>
                <a:gd name="connsiteX96" fmla="*/ 110191 w 379345"/>
                <a:gd name="connsiteY96" fmla="*/ 712 h 310550"/>
                <a:gd name="connsiteX97" fmla="*/ 110229 w 379345"/>
                <a:gd name="connsiteY97" fmla="*/ 712 h 310550"/>
                <a:gd name="connsiteX98" fmla="*/ 121417 w 379345"/>
                <a:gd name="connsiteY98" fmla="*/ 3328 h 310550"/>
                <a:gd name="connsiteX99" fmla="*/ 140519 w 379345"/>
                <a:gd name="connsiteY99" fmla="*/ 20829 h 310550"/>
                <a:gd name="connsiteX100" fmla="*/ 147356 w 379345"/>
                <a:gd name="connsiteY100" fmla="*/ 28170 h 310550"/>
                <a:gd name="connsiteX101" fmla="*/ 161600 w 379345"/>
                <a:gd name="connsiteY101" fmla="*/ 28259 h 310550"/>
                <a:gd name="connsiteX102" fmla="*/ 166001 w 379345"/>
                <a:gd name="connsiteY102" fmla="*/ 28081 h 310550"/>
                <a:gd name="connsiteX103" fmla="*/ 188478 w 379345"/>
                <a:gd name="connsiteY103" fmla="*/ 27395 h 310550"/>
                <a:gd name="connsiteX104" fmla="*/ 210497 w 379345"/>
                <a:gd name="connsiteY104" fmla="*/ 36082 h 310550"/>
                <a:gd name="connsiteX105" fmla="*/ 211703 w 379345"/>
                <a:gd name="connsiteY105" fmla="*/ 36983 h 310550"/>
                <a:gd name="connsiteX106" fmla="*/ 243831 w 379345"/>
                <a:gd name="connsiteY106" fmla="*/ 38508 h 310550"/>
                <a:gd name="connsiteX107" fmla="*/ 247700 w 379345"/>
                <a:gd name="connsiteY107" fmla="*/ 36895 h 310550"/>
                <a:gd name="connsiteX108" fmla="*/ 251924 w 379345"/>
                <a:gd name="connsiteY108" fmla="*/ 35040 h 310550"/>
                <a:gd name="connsiteX109" fmla="*/ 258583 w 379345"/>
                <a:gd name="connsiteY109" fmla="*/ 32348 h 310550"/>
                <a:gd name="connsiteX110" fmla="*/ 267526 w 379345"/>
                <a:gd name="connsiteY110" fmla="*/ 29198 h 310550"/>
                <a:gd name="connsiteX111" fmla="*/ 278269 w 379345"/>
                <a:gd name="connsiteY111" fmla="*/ 25820 h 310550"/>
                <a:gd name="connsiteX112" fmla="*/ 294036 w 379345"/>
                <a:gd name="connsiteY112" fmla="*/ 20778 h 310550"/>
                <a:gd name="connsiteX113" fmla="*/ 294759 w 379345"/>
                <a:gd name="connsiteY113" fmla="*/ 24017 h 310550"/>
                <a:gd name="connsiteX114" fmla="*/ 296103 w 379345"/>
                <a:gd name="connsiteY114" fmla="*/ 29287 h 310550"/>
                <a:gd name="connsiteX115" fmla="*/ 297498 w 379345"/>
                <a:gd name="connsiteY115" fmla="*/ 33643 h 310550"/>
                <a:gd name="connsiteX116" fmla="*/ 300872 w 379345"/>
                <a:gd name="connsiteY116" fmla="*/ 40044 h 310550"/>
                <a:gd name="connsiteX117" fmla="*/ 300872 w 379345"/>
                <a:gd name="connsiteY117" fmla="*/ 40082 h 310550"/>
                <a:gd name="connsiteX118" fmla="*/ 301088 w 379345"/>
                <a:gd name="connsiteY118" fmla="*/ 40400 h 310550"/>
                <a:gd name="connsiteX119" fmla="*/ 308102 w 379345"/>
                <a:gd name="connsiteY119" fmla="*/ 46115 h 310550"/>
                <a:gd name="connsiteX120" fmla="*/ 312554 w 379345"/>
                <a:gd name="connsiteY120" fmla="*/ 47639 h 310550"/>
                <a:gd name="connsiteX121" fmla="*/ 315967 w 379345"/>
                <a:gd name="connsiteY121" fmla="*/ 48274 h 310550"/>
                <a:gd name="connsiteX122" fmla="*/ 323881 w 379345"/>
                <a:gd name="connsiteY122" fmla="*/ 49760 h 310550"/>
                <a:gd name="connsiteX123" fmla="*/ 325226 w 379345"/>
                <a:gd name="connsiteY123" fmla="*/ 50115 h 310550"/>
                <a:gd name="connsiteX124" fmla="*/ 347068 w 379345"/>
                <a:gd name="connsiteY124" fmla="*/ 56910 h 310550"/>
                <a:gd name="connsiteX125" fmla="*/ 350252 w 379345"/>
                <a:gd name="connsiteY125" fmla="*/ 57862 h 310550"/>
                <a:gd name="connsiteX126" fmla="*/ 349757 w 379345"/>
                <a:gd name="connsiteY126" fmla="*/ 58802 h 310550"/>
                <a:gd name="connsiteX127" fmla="*/ 336832 w 379345"/>
                <a:gd name="connsiteY127" fmla="*/ 84443 h 310550"/>
                <a:gd name="connsiteX128" fmla="*/ 336109 w 379345"/>
                <a:gd name="connsiteY128" fmla="*/ 85840 h 310550"/>
                <a:gd name="connsiteX129" fmla="*/ 352509 w 379345"/>
                <a:gd name="connsiteY129" fmla="*/ 85752 h 310550"/>
                <a:gd name="connsiteX130" fmla="*/ 379020 w 379345"/>
                <a:gd name="connsiteY130" fmla="*/ 90387 h 310550"/>
                <a:gd name="connsiteX131" fmla="*/ 379286 w 379345"/>
                <a:gd name="connsiteY131" fmla="*/ 95759 h 310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</a:cxnLst>
              <a:rect l="l" t="t" r="r" b="b"/>
              <a:pathLst>
                <a:path w="379345" h="310550">
                  <a:moveTo>
                    <a:pt x="379286" y="95759"/>
                  </a:moveTo>
                  <a:cubicBezTo>
                    <a:pt x="378842" y="100890"/>
                    <a:pt x="374517" y="100928"/>
                    <a:pt x="369088" y="103900"/>
                  </a:cubicBezTo>
                  <a:cubicBezTo>
                    <a:pt x="363646" y="106872"/>
                    <a:pt x="364597" y="106961"/>
                    <a:pt x="358699" y="112358"/>
                  </a:cubicBezTo>
                  <a:cubicBezTo>
                    <a:pt x="352865" y="117806"/>
                    <a:pt x="357304" y="119597"/>
                    <a:pt x="360907" y="124867"/>
                  </a:cubicBezTo>
                  <a:cubicBezTo>
                    <a:pt x="364496" y="130176"/>
                    <a:pt x="366069" y="125541"/>
                    <a:pt x="366386" y="128690"/>
                  </a:cubicBezTo>
                  <a:cubicBezTo>
                    <a:pt x="366703" y="131840"/>
                    <a:pt x="365270" y="131751"/>
                    <a:pt x="356683" y="134405"/>
                  </a:cubicBezTo>
                  <a:cubicBezTo>
                    <a:pt x="353322" y="135828"/>
                    <a:pt x="349871" y="137021"/>
                    <a:pt x="346345" y="137961"/>
                  </a:cubicBezTo>
                  <a:cubicBezTo>
                    <a:pt x="338747" y="139765"/>
                    <a:pt x="344950" y="138241"/>
                    <a:pt x="343694" y="143041"/>
                  </a:cubicBezTo>
                  <a:cubicBezTo>
                    <a:pt x="342476" y="147816"/>
                    <a:pt x="344506" y="150242"/>
                    <a:pt x="339648" y="155335"/>
                  </a:cubicBezTo>
                  <a:cubicBezTo>
                    <a:pt x="334802" y="160364"/>
                    <a:pt x="338570" y="161494"/>
                    <a:pt x="339648" y="164111"/>
                  </a:cubicBezTo>
                  <a:cubicBezTo>
                    <a:pt x="340726" y="166663"/>
                    <a:pt x="351114" y="176163"/>
                    <a:pt x="355465" y="181294"/>
                  </a:cubicBezTo>
                  <a:cubicBezTo>
                    <a:pt x="356632" y="182640"/>
                    <a:pt x="357533" y="183186"/>
                    <a:pt x="358382" y="183186"/>
                  </a:cubicBezTo>
                  <a:cubicBezTo>
                    <a:pt x="357989" y="187047"/>
                    <a:pt x="356835" y="190793"/>
                    <a:pt x="354970" y="194209"/>
                  </a:cubicBezTo>
                  <a:cubicBezTo>
                    <a:pt x="352903" y="196102"/>
                    <a:pt x="350201" y="200331"/>
                    <a:pt x="344950" y="200420"/>
                  </a:cubicBezTo>
                  <a:cubicBezTo>
                    <a:pt x="339648" y="200509"/>
                    <a:pt x="337618" y="200864"/>
                    <a:pt x="337263" y="203480"/>
                  </a:cubicBezTo>
                  <a:cubicBezTo>
                    <a:pt x="336908" y="206135"/>
                    <a:pt x="336236" y="205855"/>
                    <a:pt x="333090" y="207163"/>
                  </a:cubicBezTo>
                  <a:cubicBezTo>
                    <a:pt x="329894" y="208472"/>
                    <a:pt x="330883" y="206046"/>
                    <a:pt x="327699" y="208103"/>
                  </a:cubicBezTo>
                  <a:cubicBezTo>
                    <a:pt x="324503" y="210186"/>
                    <a:pt x="326025" y="211393"/>
                    <a:pt x="322296" y="211164"/>
                  </a:cubicBezTo>
                  <a:cubicBezTo>
                    <a:pt x="318567" y="210986"/>
                    <a:pt x="317311" y="210084"/>
                    <a:pt x="315383" y="211164"/>
                  </a:cubicBezTo>
                  <a:cubicBezTo>
                    <a:pt x="313404" y="212294"/>
                    <a:pt x="310982" y="211075"/>
                    <a:pt x="309269" y="210580"/>
                  </a:cubicBezTo>
                  <a:cubicBezTo>
                    <a:pt x="307557" y="210135"/>
                    <a:pt x="304322" y="208103"/>
                    <a:pt x="303016" y="211164"/>
                  </a:cubicBezTo>
                  <a:cubicBezTo>
                    <a:pt x="301722" y="214225"/>
                    <a:pt x="299832" y="213780"/>
                    <a:pt x="298754" y="214771"/>
                  </a:cubicBezTo>
                  <a:cubicBezTo>
                    <a:pt x="297676" y="215710"/>
                    <a:pt x="293401" y="214453"/>
                    <a:pt x="295431" y="220397"/>
                  </a:cubicBezTo>
                  <a:cubicBezTo>
                    <a:pt x="297448" y="226290"/>
                    <a:pt x="298120" y="230786"/>
                    <a:pt x="294480" y="229884"/>
                  </a:cubicBezTo>
                  <a:cubicBezTo>
                    <a:pt x="290839" y="228982"/>
                    <a:pt x="289761" y="225248"/>
                    <a:pt x="285854" y="222467"/>
                  </a:cubicBezTo>
                  <a:cubicBezTo>
                    <a:pt x="281897" y="219724"/>
                    <a:pt x="283660" y="212790"/>
                    <a:pt x="280235" y="216117"/>
                  </a:cubicBezTo>
                  <a:cubicBezTo>
                    <a:pt x="276874" y="219406"/>
                    <a:pt x="276683" y="216790"/>
                    <a:pt x="272333" y="216841"/>
                  </a:cubicBezTo>
                  <a:cubicBezTo>
                    <a:pt x="267931" y="216841"/>
                    <a:pt x="269999" y="214771"/>
                    <a:pt x="266536" y="216701"/>
                  </a:cubicBezTo>
                  <a:cubicBezTo>
                    <a:pt x="263124" y="218682"/>
                    <a:pt x="260372" y="220714"/>
                    <a:pt x="258850" y="216079"/>
                  </a:cubicBezTo>
                  <a:cubicBezTo>
                    <a:pt x="257366" y="211443"/>
                    <a:pt x="262224" y="209005"/>
                    <a:pt x="252647" y="210999"/>
                  </a:cubicBezTo>
                  <a:cubicBezTo>
                    <a:pt x="243070" y="213018"/>
                    <a:pt x="239024" y="204738"/>
                    <a:pt x="241675" y="210135"/>
                  </a:cubicBezTo>
                  <a:cubicBezTo>
                    <a:pt x="244339" y="215495"/>
                    <a:pt x="250719" y="219368"/>
                    <a:pt x="253142" y="223915"/>
                  </a:cubicBezTo>
                  <a:cubicBezTo>
                    <a:pt x="255565" y="228449"/>
                    <a:pt x="256516" y="238761"/>
                    <a:pt x="258850" y="245771"/>
                  </a:cubicBezTo>
                  <a:cubicBezTo>
                    <a:pt x="261234" y="252795"/>
                    <a:pt x="258621" y="255906"/>
                    <a:pt x="261856" y="257481"/>
                  </a:cubicBezTo>
                  <a:cubicBezTo>
                    <a:pt x="264760" y="259081"/>
                    <a:pt x="268084" y="259779"/>
                    <a:pt x="271381" y="259449"/>
                  </a:cubicBezTo>
                  <a:cubicBezTo>
                    <a:pt x="276645" y="259411"/>
                    <a:pt x="277369" y="256262"/>
                    <a:pt x="278574" y="261392"/>
                  </a:cubicBezTo>
                  <a:cubicBezTo>
                    <a:pt x="279740" y="266523"/>
                    <a:pt x="284459" y="267196"/>
                    <a:pt x="276595" y="268276"/>
                  </a:cubicBezTo>
                  <a:cubicBezTo>
                    <a:pt x="272523" y="268771"/>
                    <a:pt x="268629" y="270232"/>
                    <a:pt x="265230" y="272543"/>
                  </a:cubicBezTo>
                  <a:cubicBezTo>
                    <a:pt x="262262" y="273724"/>
                    <a:pt x="262579" y="273902"/>
                    <a:pt x="261146" y="277991"/>
                  </a:cubicBezTo>
                  <a:cubicBezTo>
                    <a:pt x="259750" y="282132"/>
                    <a:pt x="258266" y="287174"/>
                    <a:pt x="255070" y="287758"/>
                  </a:cubicBezTo>
                  <a:cubicBezTo>
                    <a:pt x="251886" y="288393"/>
                    <a:pt x="254131" y="283973"/>
                    <a:pt x="249450" y="285637"/>
                  </a:cubicBezTo>
                  <a:cubicBezTo>
                    <a:pt x="244783" y="287313"/>
                    <a:pt x="248055" y="291987"/>
                    <a:pt x="243616" y="292215"/>
                  </a:cubicBezTo>
                  <a:cubicBezTo>
                    <a:pt x="239215" y="292393"/>
                    <a:pt x="239215" y="288393"/>
                    <a:pt x="236069" y="292342"/>
                  </a:cubicBezTo>
                  <a:cubicBezTo>
                    <a:pt x="232961" y="296305"/>
                    <a:pt x="233684" y="292926"/>
                    <a:pt x="231794" y="296178"/>
                  </a:cubicBezTo>
                  <a:cubicBezTo>
                    <a:pt x="229904" y="299416"/>
                    <a:pt x="231528" y="298337"/>
                    <a:pt x="229777" y="302477"/>
                  </a:cubicBezTo>
                  <a:cubicBezTo>
                    <a:pt x="227976" y="306605"/>
                    <a:pt x="224970" y="302198"/>
                    <a:pt x="222890" y="304052"/>
                  </a:cubicBezTo>
                  <a:cubicBezTo>
                    <a:pt x="220835" y="305893"/>
                    <a:pt x="217867" y="313501"/>
                    <a:pt x="217372" y="309310"/>
                  </a:cubicBezTo>
                  <a:cubicBezTo>
                    <a:pt x="216916" y="305169"/>
                    <a:pt x="222446" y="299010"/>
                    <a:pt x="216789" y="300534"/>
                  </a:cubicBezTo>
                  <a:cubicBezTo>
                    <a:pt x="213110" y="301397"/>
                    <a:pt x="209648" y="302972"/>
                    <a:pt x="206578" y="305169"/>
                  </a:cubicBezTo>
                  <a:cubicBezTo>
                    <a:pt x="202443" y="307595"/>
                    <a:pt x="206045" y="308052"/>
                    <a:pt x="200338" y="306693"/>
                  </a:cubicBezTo>
                  <a:cubicBezTo>
                    <a:pt x="194680" y="305347"/>
                    <a:pt x="198815" y="309576"/>
                    <a:pt x="192790" y="304039"/>
                  </a:cubicBezTo>
                  <a:cubicBezTo>
                    <a:pt x="186753" y="298502"/>
                    <a:pt x="181907" y="295759"/>
                    <a:pt x="181463" y="293739"/>
                  </a:cubicBezTo>
                  <a:cubicBezTo>
                    <a:pt x="179649" y="282208"/>
                    <a:pt x="176047" y="271032"/>
                    <a:pt x="170771" y="260618"/>
                  </a:cubicBezTo>
                  <a:cubicBezTo>
                    <a:pt x="164923" y="253734"/>
                    <a:pt x="165240" y="250712"/>
                    <a:pt x="160154" y="248832"/>
                  </a:cubicBezTo>
                  <a:cubicBezTo>
                    <a:pt x="155042" y="246940"/>
                    <a:pt x="149106" y="250547"/>
                    <a:pt x="154674" y="245771"/>
                  </a:cubicBezTo>
                  <a:cubicBezTo>
                    <a:pt x="160293" y="240996"/>
                    <a:pt x="168614" y="235561"/>
                    <a:pt x="167803" y="231547"/>
                  </a:cubicBezTo>
                  <a:cubicBezTo>
                    <a:pt x="166940" y="227547"/>
                    <a:pt x="165012" y="230024"/>
                    <a:pt x="160750" y="220384"/>
                  </a:cubicBezTo>
                  <a:cubicBezTo>
                    <a:pt x="155905" y="212739"/>
                    <a:pt x="153926" y="203620"/>
                    <a:pt x="155131" y="194654"/>
                  </a:cubicBezTo>
                  <a:cubicBezTo>
                    <a:pt x="157287" y="185383"/>
                    <a:pt x="152607" y="178677"/>
                    <a:pt x="159571" y="170041"/>
                  </a:cubicBezTo>
                  <a:cubicBezTo>
                    <a:pt x="166585" y="161405"/>
                    <a:pt x="172153" y="156808"/>
                    <a:pt x="165418" y="152312"/>
                  </a:cubicBezTo>
                  <a:cubicBezTo>
                    <a:pt x="158721" y="147804"/>
                    <a:pt x="160382" y="146864"/>
                    <a:pt x="154674" y="149747"/>
                  </a:cubicBezTo>
                  <a:cubicBezTo>
                    <a:pt x="149017" y="152668"/>
                    <a:pt x="148294" y="155144"/>
                    <a:pt x="142954" y="152934"/>
                  </a:cubicBezTo>
                  <a:cubicBezTo>
                    <a:pt x="139339" y="151258"/>
                    <a:pt x="135192" y="151195"/>
                    <a:pt x="131538" y="152757"/>
                  </a:cubicBezTo>
                  <a:cubicBezTo>
                    <a:pt x="127797" y="153747"/>
                    <a:pt x="129154" y="154205"/>
                    <a:pt x="124207" y="153430"/>
                  </a:cubicBezTo>
                  <a:cubicBezTo>
                    <a:pt x="119260" y="152668"/>
                    <a:pt x="120567" y="150687"/>
                    <a:pt x="116203" y="152439"/>
                  </a:cubicBezTo>
                  <a:cubicBezTo>
                    <a:pt x="111802" y="154243"/>
                    <a:pt x="114542" y="156490"/>
                    <a:pt x="110191" y="154243"/>
                  </a:cubicBezTo>
                  <a:cubicBezTo>
                    <a:pt x="105878" y="151957"/>
                    <a:pt x="95312" y="133681"/>
                    <a:pt x="91266" y="133592"/>
                  </a:cubicBezTo>
                  <a:cubicBezTo>
                    <a:pt x="87271" y="133503"/>
                    <a:pt x="89604" y="134088"/>
                    <a:pt x="84658" y="132068"/>
                  </a:cubicBezTo>
                  <a:cubicBezTo>
                    <a:pt x="79762" y="130036"/>
                    <a:pt x="80611" y="128157"/>
                    <a:pt x="74688" y="128195"/>
                  </a:cubicBezTo>
                  <a:cubicBezTo>
                    <a:pt x="71479" y="128081"/>
                    <a:pt x="68295" y="128665"/>
                    <a:pt x="65340" y="129909"/>
                  </a:cubicBezTo>
                  <a:cubicBezTo>
                    <a:pt x="61763" y="130468"/>
                    <a:pt x="58110" y="130417"/>
                    <a:pt x="54558" y="129732"/>
                  </a:cubicBezTo>
                  <a:cubicBezTo>
                    <a:pt x="50017" y="129274"/>
                    <a:pt x="50689" y="127966"/>
                    <a:pt x="44664" y="129274"/>
                  </a:cubicBezTo>
                  <a:cubicBezTo>
                    <a:pt x="38627" y="130583"/>
                    <a:pt x="37067" y="134050"/>
                    <a:pt x="34466" y="128919"/>
                  </a:cubicBezTo>
                  <a:cubicBezTo>
                    <a:pt x="31853" y="123788"/>
                    <a:pt x="31625" y="119114"/>
                    <a:pt x="29291" y="119152"/>
                  </a:cubicBezTo>
                  <a:cubicBezTo>
                    <a:pt x="26957" y="119203"/>
                    <a:pt x="22011" y="119241"/>
                    <a:pt x="22150" y="114199"/>
                  </a:cubicBezTo>
                  <a:cubicBezTo>
                    <a:pt x="22505" y="109780"/>
                    <a:pt x="23304" y="105411"/>
                    <a:pt x="24535" y="101157"/>
                  </a:cubicBezTo>
                  <a:cubicBezTo>
                    <a:pt x="24535" y="101157"/>
                    <a:pt x="27084" y="90806"/>
                    <a:pt x="22150" y="85891"/>
                  </a:cubicBezTo>
                  <a:cubicBezTo>
                    <a:pt x="18091" y="82526"/>
                    <a:pt x="15072" y="78081"/>
                    <a:pt x="13423" y="73077"/>
                  </a:cubicBezTo>
                  <a:cubicBezTo>
                    <a:pt x="12662" y="69241"/>
                    <a:pt x="14502" y="70638"/>
                    <a:pt x="9517" y="68568"/>
                  </a:cubicBezTo>
                  <a:cubicBezTo>
                    <a:pt x="4570" y="66549"/>
                    <a:pt x="7449" y="65012"/>
                    <a:pt x="2236" y="66765"/>
                  </a:cubicBezTo>
                  <a:cubicBezTo>
                    <a:pt x="-2977" y="68568"/>
                    <a:pt x="2198" y="62091"/>
                    <a:pt x="4075" y="56643"/>
                  </a:cubicBezTo>
                  <a:cubicBezTo>
                    <a:pt x="4697" y="44083"/>
                    <a:pt x="8832" y="31942"/>
                    <a:pt x="15985" y="21591"/>
                  </a:cubicBezTo>
                  <a:cubicBezTo>
                    <a:pt x="28353" y="5132"/>
                    <a:pt x="25296" y="16371"/>
                    <a:pt x="29291" y="9399"/>
                  </a:cubicBezTo>
                  <a:cubicBezTo>
                    <a:pt x="32931" y="3151"/>
                    <a:pt x="30420" y="5449"/>
                    <a:pt x="35900" y="1"/>
                  </a:cubicBezTo>
                  <a:cubicBezTo>
                    <a:pt x="39857" y="13857"/>
                    <a:pt x="46859" y="28881"/>
                    <a:pt x="33693" y="44591"/>
                  </a:cubicBezTo>
                  <a:cubicBezTo>
                    <a:pt x="30420" y="48502"/>
                    <a:pt x="38906" y="62231"/>
                    <a:pt x="42013" y="71502"/>
                  </a:cubicBezTo>
                  <a:cubicBezTo>
                    <a:pt x="42774" y="71134"/>
                    <a:pt x="43536" y="70778"/>
                    <a:pt x="44259" y="70461"/>
                  </a:cubicBezTo>
                  <a:cubicBezTo>
                    <a:pt x="61154" y="62637"/>
                    <a:pt x="64655" y="60199"/>
                    <a:pt x="57564" y="43689"/>
                  </a:cubicBezTo>
                  <a:cubicBezTo>
                    <a:pt x="55763" y="39409"/>
                    <a:pt x="53201" y="34151"/>
                    <a:pt x="49966" y="27623"/>
                  </a:cubicBezTo>
                  <a:cubicBezTo>
                    <a:pt x="49599" y="26862"/>
                    <a:pt x="49205" y="26049"/>
                    <a:pt x="48799" y="25236"/>
                  </a:cubicBezTo>
                  <a:cubicBezTo>
                    <a:pt x="49434" y="24448"/>
                    <a:pt x="50131" y="23699"/>
                    <a:pt x="50867" y="22988"/>
                  </a:cubicBezTo>
                  <a:cubicBezTo>
                    <a:pt x="55459" y="18391"/>
                    <a:pt x="60710" y="14505"/>
                    <a:pt x="66456" y="11469"/>
                  </a:cubicBezTo>
                  <a:cubicBezTo>
                    <a:pt x="74155" y="7265"/>
                    <a:pt x="82425" y="4179"/>
                    <a:pt x="90987" y="2300"/>
                  </a:cubicBezTo>
                  <a:cubicBezTo>
                    <a:pt x="92116" y="2020"/>
                    <a:pt x="93245" y="1805"/>
                    <a:pt x="94361" y="1614"/>
                  </a:cubicBezTo>
                  <a:cubicBezTo>
                    <a:pt x="95997" y="1309"/>
                    <a:pt x="97646" y="1081"/>
                    <a:pt x="99308" y="941"/>
                  </a:cubicBezTo>
                  <a:cubicBezTo>
                    <a:pt x="100576" y="776"/>
                    <a:pt x="101857" y="661"/>
                    <a:pt x="103126" y="623"/>
                  </a:cubicBezTo>
                  <a:cubicBezTo>
                    <a:pt x="105485" y="496"/>
                    <a:pt x="107844" y="534"/>
                    <a:pt x="110191" y="712"/>
                  </a:cubicBezTo>
                  <a:lnTo>
                    <a:pt x="110229" y="712"/>
                  </a:lnTo>
                  <a:cubicBezTo>
                    <a:pt x="114085" y="954"/>
                    <a:pt x="117865" y="1842"/>
                    <a:pt x="121417" y="3328"/>
                  </a:cubicBezTo>
                  <a:cubicBezTo>
                    <a:pt x="128913" y="7799"/>
                    <a:pt x="135407" y="13755"/>
                    <a:pt x="140519" y="20829"/>
                  </a:cubicBezTo>
                  <a:cubicBezTo>
                    <a:pt x="142637" y="23217"/>
                    <a:pt x="144882" y="25693"/>
                    <a:pt x="147356" y="28170"/>
                  </a:cubicBezTo>
                  <a:cubicBezTo>
                    <a:pt x="149918" y="28170"/>
                    <a:pt x="155486" y="28385"/>
                    <a:pt x="161600" y="28259"/>
                  </a:cubicBezTo>
                  <a:cubicBezTo>
                    <a:pt x="163033" y="28208"/>
                    <a:pt x="164517" y="28170"/>
                    <a:pt x="166001" y="28081"/>
                  </a:cubicBezTo>
                  <a:cubicBezTo>
                    <a:pt x="173472" y="27319"/>
                    <a:pt x="180981" y="27090"/>
                    <a:pt x="188478" y="27395"/>
                  </a:cubicBezTo>
                  <a:cubicBezTo>
                    <a:pt x="196519" y="28004"/>
                    <a:pt x="204193" y="31027"/>
                    <a:pt x="210497" y="36082"/>
                  </a:cubicBezTo>
                  <a:cubicBezTo>
                    <a:pt x="210891" y="36399"/>
                    <a:pt x="211297" y="36717"/>
                    <a:pt x="211703" y="36983"/>
                  </a:cubicBezTo>
                  <a:cubicBezTo>
                    <a:pt x="221507" y="42800"/>
                    <a:pt x="233532" y="43372"/>
                    <a:pt x="243831" y="38508"/>
                  </a:cubicBezTo>
                  <a:cubicBezTo>
                    <a:pt x="245138" y="38063"/>
                    <a:pt x="246406" y="37479"/>
                    <a:pt x="247700" y="36895"/>
                  </a:cubicBezTo>
                  <a:cubicBezTo>
                    <a:pt x="249095" y="36209"/>
                    <a:pt x="250491" y="35586"/>
                    <a:pt x="251924" y="35040"/>
                  </a:cubicBezTo>
                  <a:cubicBezTo>
                    <a:pt x="254131" y="34050"/>
                    <a:pt x="256326" y="33199"/>
                    <a:pt x="258583" y="32348"/>
                  </a:cubicBezTo>
                  <a:cubicBezTo>
                    <a:pt x="261501" y="31218"/>
                    <a:pt x="264507" y="30189"/>
                    <a:pt x="267526" y="29198"/>
                  </a:cubicBezTo>
                  <a:cubicBezTo>
                    <a:pt x="271077" y="28030"/>
                    <a:pt x="274667" y="26900"/>
                    <a:pt x="278269" y="25820"/>
                  </a:cubicBezTo>
                  <a:cubicBezTo>
                    <a:pt x="283520" y="24195"/>
                    <a:pt x="288784" y="22582"/>
                    <a:pt x="294036" y="20778"/>
                  </a:cubicBezTo>
                  <a:cubicBezTo>
                    <a:pt x="294264" y="21909"/>
                    <a:pt x="294480" y="22988"/>
                    <a:pt x="294759" y="24017"/>
                  </a:cubicBezTo>
                  <a:cubicBezTo>
                    <a:pt x="295164" y="25871"/>
                    <a:pt x="295608" y="27623"/>
                    <a:pt x="296103" y="29287"/>
                  </a:cubicBezTo>
                  <a:cubicBezTo>
                    <a:pt x="296483" y="30760"/>
                    <a:pt x="296940" y="32221"/>
                    <a:pt x="297498" y="33643"/>
                  </a:cubicBezTo>
                  <a:cubicBezTo>
                    <a:pt x="298335" y="35917"/>
                    <a:pt x="299464" y="38063"/>
                    <a:pt x="300872" y="40044"/>
                  </a:cubicBezTo>
                  <a:lnTo>
                    <a:pt x="300872" y="40082"/>
                  </a:lnTo>
                  <a:cubicBezTo>
                    <a:pt x="300936" y="40197"/>
                    <a:pt x="301012" y="40298"/>
                    <a:pt x="301088" y="40400"/>
                  </a:cubicBezTo>
                  <a:cubicBezTo>
                    <a:pt x="302902" y="42876"/>
                    <a:pt x="305312" y="44845"/>
                    <a:pt x="308102" y="46115"/>
                  </a:cubicBezTo>
                  <a:cubicBezTo>
                    <a:pt x="309523" y="46788"/>
                    <a:pt x="311020" y="47296"/>
                    <a:pt x="312554" y="47639"/>
                  </a:cubicBezTo>
                  <a:cubicBezTo>
                    <a:pt x="313671" y="47931"/>
                    <a:pt x="314812" y="48134"/>
                    <a:pt x="315967" y="48274"/>
                  </a:cubicBezTo>
                  <a:cubicBezTo>
                    <a:pt x="318630" y="48617"/>
                    <a:pt x="321269" y="49112"/>
                    <a:pt x="323881" y="49760"/>
                  </a:cubicBezTo>
                  <a:cubicBezTo>
                    <a:pt x="324325" y="49899"/>
                    <a:pt x="324782" y="49976"/>
                    <a:pt x="325226" y="50115"/>
                  </a:cubicBezTo>
                  <a:cubicBezTo>
                    <a:pt x="332050" y="51868"/>
                    <a:pt x="339115" y="54484"/>
                    <a:pt x="347068" y="56910"/>
                  </a:cubicBezTo>
                  <a:cubicBezTo>
                    <a:pt x="348095" y="57227"/>
                    <a:pt x="349173" y="57545"/>
                    <a:pt x="350252" y="57862"/>
                  </a:cubicBezTo>
                  <a:cubicBezTo>
                    <a:pt x="350074" y="58167"/>
                    <a:pt x="349947" y="58497"/>
                    <a:pt x="349757" y="58802"/>
                  </a:cubicBezTo>
                  <a:cubicBezTo>
                    <a:pt x="344912" y="68391"/>
                    <a:pt x="340904" y="76353"/>
                    <a:pt x="336832" y="84443"/>
                  </a:cubicBezTo>
                  <a:cubicBezTo>
                    <a:pt x="336553" y="84901"/>
                    <a:pt x="336337" y="85396"/>
                    <a:pt x="336109" y="85840"/>
                  </a:cubicBezTo>
                  <a:cubicBezTo>
                    <a:pt x="341563" y="85485"/>
                    <a:pt x="347043" y="85447"/>
                    <a:pt x="352509" y="85752"/>
                  </a:cubicBezTo>
                  <a:cubicBezTo>
                    <a:pt x="361503" y="86196"/>
                    <a:pt x="370407" y="87758"/>
                    <a:pt x="379020" y="90387"/>
                  </a:cubicBezTo>
                  <a:cubicBezTo>
                    <a:pt x="379286" y="92165"/>
                    <a:pt x="379375" y="93968"/>
                    <a:pt x="379286" y="95759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3" name="Vrije vorm 342">
              <a:extLst>
                <a:ext uri="{FF2B5EF4-FFF2-40B4-BE49-F238E27FC236}">
                  <a16:creationId xmlns:a16="http://schemas.microsoft.com/office/drawing/2014/main" id="{8CA1C9AA-A268-014B-80A5-81A28174A494}"/>
                </a:ext>
              </a:extLst>
            </p:cNvPr>
            <p:cNvSpPr/>
            <p:nvPr/>
          </p:nvSpPr>
          <p:spPr>
            <a:xfrm>
              <a:off x="3252212" y="4042541"/>
              <a:ext cx="341914" cy="473133"/>
            </a:xfrm>
            <a:custGeom>
              <a:avLst/>
              <a:gdLst>
                <a:gd name="connsiteX0" fmla="*/ 336485 w 341914"/>
                <a:gd name="connsiteY0" fmla="*/ 320417 h 473133"/>
                <a:gd name="connsiteX1" fmla="*/ 333784 w 341914"/>
                <a:gd name="connsiteY1" fmla="*/ 303272 h 473133"/>
                <a:gd name="connsiteX2" fmla="*/ 325831 w 341914"/>
                <a:gd name="connsiteY2" fmla="*/ 293150 h 473133"/>
                <a:gd name="connsiteX3" fmla="*/ 314060 w 341914"/>
                <a:gd name="connsiteY3" fmla="*/ 303272 h 473133"/>
                <a:gd name="connsiteX4" fmla="*/ 307045 w 341914"/>
                <a:gd name="connsiteY4" fmla="*/ 300033 h 473133"/>
                <a:gd name="connsiteX5" fmla="*/ 302733 w 341914"/>
                <a:gd name="connsiteY5" fmla="*/ 299360 h 473133"/>
                <a:gd name="connsiteX6" fmla="*/ 303177 w 341914"/>
                <a:gd name="connsiteY6" fmla="*/ 304936 h 473133"/>
                <a:gd name="connsiteX7" fmla="*/ 271593 w 341914"/>
                <a:gd name="connsiteY7" fmla="*/ 304974 h 473133"/>
                <a:gd name="connsiteX8" fmla="*/ 260938 w 341914"/>
                <a:gd name="connsiteY8" fmla="*/ 304440 h 473133"/>
                <a:gd name="connsiteX9" fmla="*/ 257247 w 341914"/>
                <a:gd name="connsiteY9" fmla="*/ 314524 h 473133"/>
                <a:gd name="connsiteX10" fmla="*/ 258059 w 341914"/>
                <a:gd name="connsiteY10" fmla="*/ 323694 h 473133"/>
                <a:gd name="connsiteX11" fmla="*/ 264033 w 341914"/>
                <a:gd name="connsiteY11" fmla="*/ 323249 h 473133"/>
                <a:gd name="connsiteX12" fmla="*/ 271542 w 341914"/>
                <a:gd name="connsiteY12" fmla="*/ 323427 h 473133"/>
                <a:gd name="connsiteX13" fmla="*/ 275449 w 341914"/>
                <a:gd name="connsiteY13" fmla="*/ 329320 h 473133"/>
                <a:gd name="connsiteX14" fmla="*/ 274726 w 341914"/>
                <a:gd name="connsiteY14" fmla="*/ 336203 h 473133"/>
                <a:gd name="connsiteX15" fmla="*/ 268029 w 341914"/>
                <a:gd name="connsiteY15" fmla="*/ 335174 h 473133"/>
                <a:gd name="connsiteX16" fmla="*/ 262016 w 341914"/>
                <a:gd name="connsiteY16" fmla="*/ 336292 h 473133"/>
                <a:gd name="connsiteX17" fmla="*/ 254558 w 341914"/>
                <a:gd name="connsiteY17" fmla="*/ 336978 h 473133"/>
                <a:gd name="connsiteX18" fmla="*/ 250867 w 341914"/>
                <a:gd name="connsiteY18" fmla="*/ 339492 h 473133"/>
                <a:gd name="connsiteX19" fmla="*/ 266240 w 341914"/>
                <a:gd name="connsiteY19" fmla="*/ 396731 h 473133"/>
                <a:gd name="connsiteX20" fmla="*/ 254241 w 341914"/>
                <a:gd name="connsiteY20" fmla="*/ 473135 h 473133"/>
                <a:gd name="connsiteX21" fmla="*/ 252351 w 341914"/>
                <a:gd name="connsiteY21" fmla="*/ 470976 h 473133"/>
                <a:gd name="connsiteX22" fmla="*/ 243320 w 341914"/>
                <a:gd name="connsiteY22" fmla="*/ 461209 h 473133"/>
                <a:gd name="connsiteX23" fmla="*/ 234872 w 341914"/>
                <a:gd name="connsiteY23" fmla="*/ 462111 h 473133"/>
                <a:gd name="connsiteX24" fmla="*/ 234872 w 341914"/>
                <a:gd name="connsiteY24" fmla="*/ 455672 h 473133"/>
                <a:gd name="connsiteX25" fmla="*/ 246922 w 341914"/>
                <a:gd name="connsiteY25" fmla="*/ 438667 h 473133"/>
                <a:gd name="connsiteX26" fmla="*/ 248990 w 341914"/>
                <a:gd name="connsiteY26" fmla="*/ 428811 h 473133"/>
                <a:gd name="connsiteX27" fmla="*/ 240631 w 341914"/>
                <a:gd name="connsiteY27" fmla="*/ 423998 h 473133"/>
                <a:gd name="connsiteX28" fmla="*/ 231245 w 341914"/>
                <a:gd name="connsiteY28" fmla="*/ 418779 h 473133"/>
                <a:gd name="connsiteX29" fmla="*/ 219423 w 341914"/>
                <a:gd name="connsiteY29" fmla="*/ 416797 h 473133"/>
                <a:gd name="connsiteX30" fmla="*/ 211648 w 341914"/>
                <a:gd name="connsiteY30" fmla="*/ 417026 h 473133"/>
                <a:gd name="connsiteX31" fmla="*/ 204139 w 341914"/>
                <a:gd name="connsiteY31" fmla="*/ 415311 h 473133"/>
                <a:gd name="connsiteX32" fmla="*/ 195691 w 341914"/>
                <a:gd name="connsiteY32" fmla="*/ 418956 h 473133"/>
                <a:gd name="connsiteX33" fmla="*/ 187015 w 341914"/>
                <a:gd name="connsiteY33" fmla="*/ 421522 h 473133"/>
                <a:gd name="connsiteX34" fmla="*/ 178250 w 341914"/>
                <a:gd name="connsiteY34" fmla="*/ 419363 h 473133"/>
                <a:gd name="connsiteX35" fmla="*/ 168280 w 341914"/>
                <a:gd name="connsiteY35" fmla="*/ 421522 h 473133"/>
                <a:gd name="connsiteX36" fmla="*/ 163473 w 341914"/>
                <a:gd name="connsiteY36" fmla="*/ 406040 h 473133"/>
                <a:gd name="connsiteX37" fmla="*/ 156826 w 341914"/>
                <a:gd name="connsiteY37" fmla="*/ 403158 h 473133"/>
                <a:gd name="connsiteX38" fmla="*/ 151119 w 341914"/>
                <a:gd name="connsiteY38" fmla="*/ 390330 h 473133"/>
                <a:gd name="connsiteX39" fmla="*/ 143648 w 341914"/>
                <a:gd name="connsiteY39" fmla="*/ 388629 h 473133"/>
                <a:gd name="connsiteX40" fmla="*/ 133449 w 341914"/>
                <a:gd name="connsiteY40" fmla="*/ 383587 h 473133"/>
                <a:gd name="connsiteX41" fmla="*/ 126308 w 341914"/>
                <a:gd name="connsiteY41" fmla="*/ 370264 h 473133"/>
                <a:gd name="connsiteX42" fmla="*/ 118571 w 341914"/>
                <a:gd name="connsiteY42" fmla="*/ 360905 h 473133"/>
                <a:gd name="connsiteX43" fmla="*/ 108335 w 341914"/>
                <a:gd name="connsiteY43" fmla="*/ 355418 h 473133"/>
                <a:gd name="connsiteX44" fmla="*/ 97502 w 341914"/>
                <a:gd name="connsiteY44" fmla="*/ 354339 h 473133"/>
                <a:gd name="connsiteX45" fmla="*/ 86125 w 341914"/>
                <a:gd name="connsiteY45" fmla="*/ 351100 h 473133"/>
                <a:gd name="connsiteX46" fmla="*/ 75660 w 341914"/>
                <a:gd name="connsiteY46" fmla="*/ 341385 h 473133"/>
                <a:gd name="connsiteX47" fmla="*/ 71525 w 341914"/>
                <a:gd name="connsiteY47" fmla="*/ 344077 h 473133"/>
                <a:gd name="connsiteX48" fmla="*/ 64777 w 341914"/>
                <a:gd name="connsiteY48" fmla="*/ 346554 h 473133"/>
                <a:gd name="connsiteX49" fmla="*/ 56025 w 341914"/>
                <a:gd name="connsiteY49" fmla="*/ 345703 h 473133"/>
                <a:gd name="connsiteX50" fmla="*/ 45421 w 341914"/>
                <a:gd name="connsiteY50" fmla="*/ 343404 h 473133"/>
                <a:gd name="connsiteX51" fmla="*/ 41870 w 341914"/>
                <a:gd name="connsiteY51" fmla="*/ 337283 h 473133"/>
                <a:gd name="connsiteX52" fmla="*/ 36695 w 341914"/>
                <a:gd name="connsiteY52" fmla="*/ 333282 h 473133"/>
                <a:gd name="connsiteX53" fmla="*/ 31253 w 341914"/>
                <a:gd name="connsiteY53" fmla="*/ 330666 h 473133"/>
                <a:gd name="connsiteX54" fmla="*/ 24112 w 341914"/>
                <a:gd name="connsiteY54" fmla="*/ 329726 h 473133"/>
                <a:gd name="connsiteX55" fmla="*/ 15893 w 341914"/>
                <a:gd name="connsiteY55" fmla="*/ 322703 h 473133"/>
                <a:gd name="connsiteX56" fmla="*/ 8155 w 341914"/>
                <a:gd name="connsiteY56" fmla="*/ 317979 h 473133"/>
                <a:gd name="connsiteX57" fmla="*/ -26 w 341914"/>
                <a:gd name="connsiteY57" fmla="*/ 311641 h 473133"/>
                <a:gd name="connsiteX58" fmla="*/ 697 w 341914"/>
                <a:gd name="connsiteY58" fmla="*/ 310473 h 473133"/>
                <a:gd name="connsiteX59" fmla="*/ 4071 w 341914"/>
                <a:gd name="connsiteY59" fmla="*/ 303234 h 473133"/>
                <a:gd name="connsiteX60" fmla="*/ 6227 w 341914"/>
                <a:gd name="connsiteY60" fmla="*/ 295944 h 473133"/>
                <a:gd name="connsiteX61" fmla="*/ 8561 w 341914"/>
                <a:gd name="connsiteY61" fmla="*/ 289048 h 473133"/>
                <a:gd name="connsiteX62" fmla="*/ 17998 w 341914"/>
                <a:gd name="connsiteY62" fmla="*/ 282127 h 473133"/>
                <a:gd name="connsiteX63" fmla="*/ 18937 w 341914"/>
                <a:gd name="connsiteY63" fmla="*/ 281720 h 473133"/>
                <a:gd name="connsiteX64" fmla="*/ 19076 w 341914"/>
                <a:gd name="connsiteY64" fmla="*/ 281631 h 473133"/>
                <a:gd name="connsiteX65" fmla="*/ 20522 w 341914"/>
                <a:gd name="connsiteY65" fmla="*/ 280996 h 473133"/>
                <a:gd name="connsiteX66" fmla="*/ 23389 w 341914"/>
                <a:gd name="connsiteY66" fmla="*/ 279244 h 473133"/>
                <a:gd name="connsiteX67" fmla="*/ 24835 w 341914"/>
                <a:gd name="connsiteY67" fmla="*/ 278253 h 473133"/>
                <a:gd name="connsiteX68" fmla="*/ 35122 w 341914"/>
                <a:gd name="connsiteY68" fmla="*/ 268347 h 473133"/>
                <a:gd name="connsiteX69" fmla="*/ 35350 w 341914"/>
                <a:gd name="connsiteY69" fmla="*/ 268080 h 473133"/>
                <a:gd name="connsiteX70" fmla="*/ 37773 w 341914"/>
                <a:gd name="connsiteY70" fmla="*/ 265248 h 473133"/>
                <a:gd name="connsiteX71" fmla="*/ 37912 w 341914"/>
                <a:gd name="connsiteY71" fmla="*/ 265070 h 473133"/>
                <a:gd name="connsiteX72" fmla="*/ 40195 w 341914"/>
                <a:gd name="connsiteY72" fmla="*/ 261921 h 473133"/>
                <a:gd name="connsiteX73" fmla="*/ 42085 w 341914"/>
                <a:gd name="connsiteY73" fmla="*/ 259000 h 473133"/>
                <a:gd name="connsiteX74" fmla="*/ 46893 w 341914"/>
                <a:gd name="connsiteY74" fmla="*/ 244547 h 473133"/>
                <a:gd name="connsiteX75" fmla="*/ 47032 w 341914"/>
                <a:gd name="connsiteY75" fmla="*/ 242261 h 473133"/>
                <a:gd name="connsiteX76" fmla="*/ 47070 w 341914"/>
                <a:gd name="connsiteY76" fmla="*/ 242172 h 473133"/>
                <a:gd name="connsiteX77" fmla="*/ 46982 w 341914"/>
                <a:gd name="connsiteY77" fmla="*/ 239023 h 473133"/>
                <a:gd name="connsiteX78" fmla="*/ 45053 w 341914"/>
                <a:gd name="connsiteY78" fmla="*/ 228444 h 473133"/>
                <a:gd name="connsiteX79" fmla="*/ 44876 w 341914"/>
                <a:gd name="connsiteY79" fmla="*/ 227859 h 473133"/>
                <a:gd name="connsiteX80" fmla="*/ 43354 w 341914"/>
                <a:gd name="connsiteY80" fmla="*/ 183587 h 473133"/>
                <a:gd name="connsiteX81" fmla="*/ 43354 w 341914"/>
                <a:gd name="connsiteY81" fmla="*/ 182635 h 473133"/>
                <a:gd name="connsiteX82" fmla="*/ 42453 w 341914"/>
                <a:gd name="connsiteY82" fmla="*/ 174545 h 473133"/>
                <a:gd name="connsiteX83" fmla="*/ 34411 w 341914"/>
                <a:gd name="connsiteY83" fmla="*/ 155012 h 473133"/>
                <a:gd name="connsiteX84" fmla="*/ 29287 w 341914"/>
                <a:gd name="connsiteY84" fmla="*/ 148395 h 473133"/>
                <a:gd name="connsiteX85" fmla="*/ 31266 w 341914"/>
                <a:gd name="connsiteY85" fmla="*/ 138629 h 473133"/>
                <a:gd name="connsiteX86" fmla="*/ 35667 w 341914"/>
                <a:gd name="connsiteY86" fmla="*/ 140610 h 473133"/>
                <a:gd name="connsiteX87" fmla="*/ 42897 w 341914"/>
                <a:gd name="connsiteY87" fmla="*/ 135124 h 473133"/>
                <a:gd name="connsiteX88" fmla="*/ 45954 w 341914"/>
                <a:gd name="connsiteY88" fmla="*/ 125802 h 473133"/>
                <a:gd name="connsiteX89" fmla="*/ 41109 w 341914"/>
                <a:gd name="connsiteY89" fmla="*/ 113788 h 473133"/>
                <a:gd name="connsiteX90" fmla="*/ 41020 w 341914"/>
                <a:gd name="connsiteY90" fmla="*/ 108937 h 473133"/>
                <a:gd name="connsiteX91" fmla="*/ 56254 w 341914"/>
                <a:gd name="connsiteY91" fmla="*/ 122932 h 473133"/>
                <a:gd name="connsiteX92" fmla="*/ 57192 w 341914"/>
                <a:gd name="connsiteY92" fmla="*/ 123783 h 473133"/>
                <a:gd name="connsiteX93" fmla="*/ 58943 w 341914"/>
                <a:gd name="connsiteY93" fmla="*/ 125408 h 473133"/>
                <a:gd name="connsiteX94" fmla="*/ 59666 w 341914"/>
                <a:gd name="connsiteY94" fmla="*/ 126082 h 473133"/>
                <a:gd name="connsiteX95" fmla="*/ 59577 w 341914"/>
                <a:gd name="connsiteY95" fmla="*/ 117344 h 473133"/>
                <a:gd name="connsiteX96" fmla="*/ 62177 w 341914"/>
                <a:gd name="connsiteY96" fmla="*/ 108670 h 473133"/>
                <a:gd name="connsiteX97" fmla="*/ 78362 w 341914"/>
                <a:gd name="connsiteY97" fmla="*/ 91436 h 473133"/>
                <a:gd name="connsiteX98" fmla="*/ 78451 w 341914"/>
                <a:gd name="connsiteY98" fmla="*/ 91334 h 473133"/>
                <a:gd name="connsiteX99" fmla="*/ 81140 w 341914"/>
                <a:gd name="connsiteY99" fmla="*/ 89048 h 473133"/>
                <a:gd name="connsiteX100" fmla="*/ 82662 w 341914"/>
                <a:gd name="connsiteY100" fmla="*/ 87689 h 473133"/>
                <a:gd name="connsiteX101" fmla="*/ 82713 w 341914"/>
                <a:gd name="connsiteY101" fmla="*/ 87651 h 473133"/>
                <a:gd name="connsiteX102" fmla="*/ 93279 w 341914"/>
                <a:gd name="connsiteY102" fmla="*/ 68525 h 473133"/>
                <a:gd name="connsiteX103" fmla="*/ 94534 w 341914"/>
                <a:gd name="connsiteY103" fmla="*/ 64207 h 473133"/>
                <a:gd name="connsiteX104" fmla="*/ 95473 w 341914"/>
                <a:gd name="connsiteY104" fmla="*/ 61642 h 473133"/>
                <a:gd name="connsiteX105" fmla="*/ 96602 w 341914"/>
                <a:gd name="connsiteY105" fmla="*/ 58987 h 473133"/>
                <a:gd name="connsiteX106" fmla="*/ 102665 w 341914"/>
                <a:gd name="connsiteY106" fmla="*/ 48599 h 473133"/>
                <a:gd name="connsiteX107" fmla="*/ 102804 w 341914"/>
                <a:gd name="connsiteY107" fmla="*/ 48421 h 473133"/>
                <a:gd name="connsiteX108" fmla="*/ 104504 w 341914"/>
                <a:gd name="connsiteY108" fmla="*/ 46072 h 473133"/>
                <a:gd name="connsiteX109" fmla="*/ 119028 w 341914"/>
                <a:gd name="connsiteY109" fmla="*/ 40496 h 473133"/>
                <a:gd name="connsiteX110" fmla="*/ 121628 w 341914"/>
                <a:gd name="connsiteY110" fmla="*/ 42833 h 473133"/>
                <a:gd name="connsiteX111" fmla="*/ 124152 w 341914"/>
                <a:gd name="connsiteY111" fmla="*/ 44319 h 473133"/>
                <a:gd name="connsiteX112" fmla="*/ 126080 w 341914"/>
                <a:gd name="connsiteY112" fmla="*/ 44497 h 473133"/>
                <a:gd name="connsiteX113" fmla="*/ 129403 w 341914"/>
                <a:gd name="connsiteY113" fmla="*/ 41538 h 473133"/>
                <a:gd name="connsiteX114" fmla="*/ 129720 w 341914"/>
                <a:gd name="connsiteY114" fmla="*/ 41258 h 473133"/>
                <a:gd name="connsiteX115" fmla="*/ 132727 w 341914"/>
                <a:gd name="connsiteY115" fmla="*/ 39061 h 473133"/>
                <a:gd name="connsiteX116" fmla="*/ 143026 w 341914"/>
                <a:gd name="connsiteY116" fmla="*/ 33257 h 473133"/>
                <a:gd name="connsiteX117" fmla="*/ 193484 w 341914"/>
                <a:gd name="connsiteY117" fmla="*/ 7603 h 473133"/>
                <a:gd name="connsiteX118" fmla="*/ 203200 w 341914"/>
                <a:gd name="connsiteY118" fmla="*/ 542 h 473133"/>
                <a:gd name="connsiteX119" fmla="*/ 204544 w 341914"/>
                <a:gd name="connsiteY119" fmla="*/ 186 h 473133"/>
                <a:gd name="connsiteX120" fmla="*/ 207551 w 341914"/>
                <a:gd name="connsiteY120" fmla="*/ 47 h 473133"/>
                <a:gd name="connsiteX121" fmla="*/ 216011 w 341914"/>
                <a:gd name="connsiteY121" fmla="*/ 4809 h 473133"/>
                <a:gd name="connsiteX122" fmla="*/ 198570 w 341914"/>
                <a:gd name="connsiteY122" fmla="*/ 23034 h 473133"/>
                <a:gd name="connsiteX123" fmla="*/ 197124 w 341914"/>
                <a:gd name="connsiteY123" fmla="*/ 24482 h 473133"/>
                <a:gd name="connsiteX124" fmla="*/ 196325 w 341914"/>
                <a:gd name="connsiteY124" fmla="*/ 25282 h 473133"/>
                <a:gd name="connsiteX125" fmla="*/ 189717 w 341914"/>
                <a:gd name="connsiteY125" fmla="*/ 34692 h 473133"/>
                <a:gd name="connsiteX126" fmla="*/ 176411 w 341914"/>
                <a:gd name="connsiteY126" fmla="*/ 46884 h 473133"/>
                <a:gd name="connsiteX127" fmla="*/ 164501 w 341914"/>
                <a:gd name="connsiteY127" fmla="*/ 81936 h 473133"/>
                <a:gd name="connsiteX128" fmla="*/ 162661 w 341914"/>
                <a:gd name="connsiteY128" fmla="*/ 92058 h 473133"/>
                <a:gd name="connsiteX129" fmla="*/ 169942 w 341914"/>
                <a:gd name="connsiteY129" fmla="*/ 93862 h 473133"/>
                <a:gd name="connsiteX130" fmla="*/ 173849 w 341914"/>
                <a:gd name="connsiteY130" fmla="*/ 98358 h 473133"/>
                <a:gd name="connsiteX131" fmla="*/ 182563 w 341914"/>
                <a:gd name="connsiteY131" fmla="*/ 111184 h 473133"/>
                <a:gd name="connsiteX132" fmla="*/ 184947 w 341914"/>
                <a:gd name="connsiteY132" fmla="*/ 126437 h 473133"/>
                <a:gd name="connsiteX133" fmla="*/ 182563 w 341914"/>
                <a:gd name="connsiteY133" fmla="*/ 139493 h 473133"/>
                <a:gd name="connsiteX134" fmla="*/ 189717 w 341914"/>
                <a:gd name="connsiteY134" fmla="*/ 144446 h 473133"/>
                <a:gd name="connsiteX135" fmla="*/ 194879 w 341914"/>
                <a:gd name="connsiteY135" fmla="*/ 154199 h 473133"/>
                <a:gd name="connsiteX136" fmla="*/ 205090 w 341914"/>
                <a:gd name="connsiteY136" fmla="*/ 154568 h 473133"/>
                <a:gd name="connsiteX137" fmla="*/ 214971 w 341914"/>
                <a:gd name="connsiteY137" fmla="*/ 155012 h 473133"/>
                <a:gd name="connsiteX138" fmla="*/ 225765 w 341914"/>
                <a:gd name="connsiteY138" fmla="*/ 155190 h 473133"/>
                <a:gd name="connsiteX139" fmla="*/ 235101 w 341914"/>
                <a:gd name="connsiteY139" fmla="*/ 153488 h 473133"/>
                <a:gd name="connsiteX140" fmla="*/ 245083 w 341914"/>
                <a:gd name="connsiteY140" fmla="*/ 157362 h 473133"/>
                <a:gd name="connsiteX141" fmla="*/ 251692 w 341914"/>
                <a:gd name="connsiteY141" fmla="*/ 158886 h 473133"/>
                <a:gd name="connsiteX142" fmla="*/ 270604 w 341914"/>
                <a:gd name="connsiteY142" fmla="*/ 179536 h 473133"/>
                <a:gd name="connsiteX143" fmla="*/ 276629 w 341914"/>
                <a:gd name="connsiteY143" fmla="*/ 177733 h 473133"/>
                <a:gd name="connsiteX144" fmla="*/ 284632 w 341914"/>
                <a:gd name="connsiteY144" fmla="*/ 178723 h 473133"/>
                <a:gd name="connsiteX145" fmla="*/ 291951 w 341914"/>
                <a:gd name="connsiteY145" fmla="*/ 178050 h 473133"/>
                <a:gd name="connsiteX146" fmla="*/ 303367 w 341914"/>
                <a:gd name="connsiteY146" fmla="*/ 178228 h 473133"/>
                <a:gd name="connsiteX147" fmla="*/ 315100 w 341914"/>
                <a:gd name="connsiteY147" fmla="*/ 175040 h 473133"/>
                <a:gd name="connsiteX148" fmla="*/ 325843 w 341914"/>
                <a:gd name="connsiteY148" fmla="*/ 177605 h 473133"/>
                <a:gd name="connsiteX149" fmla="*/ 319996 w 341914"/>
                <a:gd name="connsiteY149" fmla="*/ 195322 h 473133"/>
                <a:gd name="connsiteX150" fmla="*/ 315544 w 341914"/>
                <a:gd name="connsiteY150" fmla="*/ 219947 h 473133"/>
                <a:gd name="connsiteX151" fmla="*/ 321163 w 341914"/>
                <a:gd name="connsiteY151" fmla="*/ 245677 h 473133"/>
                <a:gd name="connsiteX152" fmla="*/ 328228 w 341914"/>
                <a:gd name="connsiteY152" fmla="*/ 256841 h 473133"/>
                <a:gd name="connsiteX153" fmla="*/ 315100 w 341914"/>
                <a:gd name="connsiteY153" fmla="*/ 271065 h 473133"/>
                <a:gd name="connsiteX154" fmla="*/ 320579 w 341914"/>
                <a:gd name="connsiteY154" fmla="*/ 274126 h 473133"/>
                <a:gd name="connsiteX155" fmla="*/ 331183 w 341914"/>
                <a:gd name="connsiteY155" fmla="*/ 285911 h 473133"/>
                <a:gd name="connsiteX156" fmla="*/ 341889 w 341914"/>
                <a:gd name="connsiteY156" fmla="*/ 319033 h 473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</a:cxnLst>
              <a:rect l="l" t="t" r="r" b="b"/>
              <a:pathLst>
                <a:path w="341914" h="473133">
                  <a:moveTo>
                    <a:pt x="336485" y="320417"/>
                  </a:moveTo>
                  <a:cubicBezTo>
                    <a:pt x="336485" y="320417"/>
                    <a:pt x="339136" y="308314"/>
                    <a:pt x="333784" y="303272"/>
                  </a:cubicBezTo>
                  <a:cubicBezTo>
                    <a:pt x="328393" y="298281"/>
                    <a:pt x="329826" y="290902"/>
                    <a:pt x="325831" y="293150"/>
                  </a:cubicBezTo>
                  <a:cubicBezTo>
                    <a:pt x="321873" y="295398"/>
                    <a:pt x="317155" y="302142"/>
                    <a:pt x="314060" y="303272"/>
                  </a:cubicBezTo>
                  <a:cubicBezTo>
                    <a:pt x="311244" y="304072"/>
                    <a:pt x="308263" y="302701"/>
                    <a:pt x="307045" y="300033"/>
                  </a:cubicBezTo>
                  <a:cubicBezTo>
                    <a:pt x="305561" y="297735"/>
                    <a:pt x="302644" y="297239"/>
                    <a:pt x="302733" y="299360"/>
                  </a:cubicBezTo>
                  <a:cubicBezTo>
                    <a:pt x="302783" y="301469"/>
                    <a:pt x="306551" y="304936"/>
                    <a:pt x="303177" y="304936"/>
                  </a:cubicBezTo>
                  <a:cubicBezTo>
                    <a:pt x="292661" y="305698"/>
                    <a:pt x="282108" y="305710"/>
                    <a:pt x="271593" y="304974"/>
                  </a:cubicBezTo>
                  <a:cubicBezTo>
                    <a:pt x="268181" y="303666"/>
                    <a:pt x="264452" y="303475"/>
                    <a:pt x="260938" y="304440"/>
                  </a:cubicBezTo>
                  <a:cubicBezTo>
                    <a:pt x="257298" y="305342"/>
                    <a:pt x="257209" y="309025"/>
                    <a:pt x="257247" y="314524"/>
                  </a:cubicBezTo>
                  <a:cubicBezTo>
                    <a:pt x="257298" y="319960"/>
                    <a:pt x="254863" y="323744"/>
                    <a:pt x="258059" y="323694"/>
                  </a:cubicBezTo>
                  <a:cubicBezTo>
                    <a:pt x="261293" y="323655"/>
                    <a:pt x="258287" y="321992"/>
                    <a:pt x="264033" y="323249"/>
                  </a:cubicBezTo>
                  <a:cubicBezTo>
                    <a:pt x="269741" y="324506"/>
                    <a:pt x="269513" y="322347"/>
                    <a:pt x="271542" y="323427"/>
                  </a:cubicBezTo>
                  <a:cubicBezTo>
                    <a:pt x="273559" y="324468"/>
                    <a:pt x="273927" y="326132"/>
                    <a:pt x="275449" y="329320"/>
                  </a:cubicBezTo>
                  <a:cubicBezTo>
                    <a:pt x="277022" y="332520"/>
                    <a:pt x="278151" y="336978"/>
                    <a:pt x="274726" y="336203"/>
                  </a:cubicBezTo>
                  <a:cubicBezTo>
                    <a:pt x="271314" y="335441"/>
                    <a:pt x="271492" y="335848"/>
                    <a:pt x="268029" y="335174"/>
                  </a:cubicBezTo>
                  <a:cubicBezTo>
                    <a:pt x="264579" y="334501"/>
                    <a:pt x="265606" y="336254"/>
                    <a:pt x="262016" y="336292"/>
                  </a:cubicBezTo>
                  <a:cubicBezTo>
                    <a:pt x="259518" y="336343"/>
                    <a:pt x="257019" y="336559"/>
                    <a:pt x="254558" y="336978"/>
                  </a:cubicBezTo>
                  <a:cubicBezTo>
                    <a:pt x="252123" y="337283"/>
                    <a:pt x="248660" y="337511"/>
                    <a:pt x="250867" y="339492"/>
                  </a:cubicBezTo>
                  <a:cubicBezTo>
                    <a:pt x="258883" y="357666"/>
                    <a:pt x="264071" y="376970"/>
                    <a:pt x="266240" y="396731"/>
                  </a:cubicBezTo>
                  <a:cubicBezTo>
                    <a:pt x="263551" y="422385"/>
                    <a:pt x="259556" y="447887"/>
                    <a:pt x="254241" y="473135"/>
                  </a:cubicBezTo>
                  <a:cubicBezTo>
                    <a:pt x="254241" y="473135"/>
                    <a:pt x="253480" y="472271"/>
                    <a:pt x="252351" y="470976"/>
                  </a:cubicBezTo>
                  <a:cubicBezTo>
                    <a:pt x="249700" y="467953"/>
                    <a:pt x="244981" y="462695"/>
                    <a:pt x="243320" y="461209"/>
                  </a:cubicBezTo>
                  <a:cubicBezTo>
                    <a:pt x="240935" y="459139"/>
                    <a:pt x="239134" y="465972"/>
                    <a:pt x="234872" y="462111"/>
                  </a:cubicBezTo>
                  <a:cubicBezTo>
                    <a:pt x="230648" y="458237"/>
                    <a:pt x="234872" y="455672"/>
                    <a:pt x="234872" y="455672"/>
                  </a:cubicBezTo>
                  <a:cubicBezTo>
                    <a:pt x="234872" y="455672"/>
                    <a:pt x="245070" y="441232"/>
                    <a:pt x="246922" y="438667"/>
                  </a:cubicBezTo>
                  <a:cubicBezTo>
                    <a:pt x="249218" y="435936"/>
                    <a:pt x="249992" y="432228"/>
                    <a:pt x="248990" y="428811"/>
                  </a:cubicBezTo>
                  <a:cubicBezTo>
                    <a:pt x="247506" y="425484"/>
                    <a:pt x="244855" y="425027"/>
                    <a:pt x="240631" y="423998"/>
                  </a:cubicBezTo>
                  <a:cubicBezTo>
                    <a:pt x="236356" y="422957"/>
                    <a:pt x="238563" y="422373"/>
                    <a:pt x="231245" y="418779"/>
                  </a:cubicBezTo>
                  <a:cubicBezTo>
                    <a:pt x="223875" y="415172"/>
                    <a:pt x="227021" y="416162"/>
                    <a:pt x="219423" y="416797"/>
                  </a:cubicBezTo>
                  <a:cubicBezTo>
                    <a:pt x="211876" y="417382"/>
                    <a:pt x="215922" y="419363"/>
                    <a:pt x="211648" y="417026"/>
                  </a:cubicBezTo>
                  <a:cubicBezTo>
                    <a:pt x="207373" y="414689"/>
                    <a:pt x="209225" y="416531"/>
                    <a:pt x="204139" y="415311"/>
                  </a:cubicBezTo>
                  <a:cubicBezTo>
                    <a:pt x="199065" y="414054"/>
                    <a:pt x="200549" y="419134"/>
                    <a:pt x="195691" y="418956"/>
                  </a:cubicBezTo>
                  <a:cubicBezTo>
                    <a:pt x="190833" y="418779"/>
                    <a:pt x="191518" y="421522"/>
                    <a:pt x="187015" y="421522"/>
                  </a:cubicBezTo>
                  <a:cubicBezTo>
                    <a:pt x="182575" y="421522"/>
                    <a:pt x="183831" y="421699"/>
                    <a:pt x="178250" y="419363"/>
                  </a:cubicBezTo>
                  <a:cubicBezTo>
                    <a:pt x="172682" y="417026"/>
                    <a:pt x="173050" y="423058"/>
                    <a:pt x="168280" y="421522"/>
                  </a:cubicBezTo>
                  <a:cubicBezTo>
                    <a:pt x="163473" y="419998"/>
                    <a:pt x="165223" y="413419"/>
                    <a:pt x="163473" y="406040"/>
                  </a:cubicBezTo>
                  <a:cubicBezTo>
                    <a:pt x="161723" y="398662"/>
                    <a:pt x="160556" y="403526"/>
                    <a:pt x="156826" y="403158"/>
                  </a:cubicBezTo>
                  <a:cubicBezTo>
                    <a:pt x="153097" y="402751"/>
                    <a:pt x="153364" y="396680"/>
                    <a:pt x="151119" y="390330"/>
                  </a:cubicBezTo>
                  <a:cubicBezTo>
                    <a:pt x="148861" y="383980"/>
                    <a:pt x="149444" y="388718"/>
                    <a:pt x="143648" y="388629"/>
                  </a:cubicBezTo>
                  <a:cubicBezTo>
                    <a:pt x="137813" y="388540"/>
                    <a:pt x="137356" y="385517"/>
                    <a:pt x="133449" y="383587"/>
                  </a:cubicBezTo>
                  <a:cubicBezTo>
                    <a:pt x="129543" y="381656"/>
                    <a:pt x="130570" y="377338"/>
                    <a:pt x="126308" y="370264"/>
                  </a:cubicBezTo>
                  <a:cubicBezTo>
                    <a:pt x="122034" y="363152"/>
                    <a:pt x="121590" y="363114"/>
                    <a:pt x="118571" y="360905"/>
                  </a:cubicBezTo>
                  <a:cubicBezTo>
                    <a:pt x="115565" y="358708"/>
                    <a:pt x="112825" y="359063"/>
                    <a:pt x="108335" y="355418"/>
                  </a:cubicBezTo>
                  <a:cubicBezTo>
                    <a:pt x="103832" y="351773"/>
                    <a:pt x="102665" y="356269"/>
                    <a:pt x="97502" y="354339"/>
                  </a:cubicBezTo>
                  <a:cubicBezTo>
                    <a:pt x="92327" y="352358"/>
                    <a:pt x="92327" y="353348"/>
                    <a:pt x="86125" y="351100"/>
                  </a:cubicBezTo>
                  <a:cubicBezTo>
                    <a:pt x="79884" y="348852"/>
                    <a:pt x="82358" y="344483"/>
                    <a:pt x="75660" y="341385"/>
                  </a:cubicBezTo>
                  <a:cubicBezTo>
                    <a:pt x="68963" y="338235"/>
                    <a:pt x="74532" y="340483"/>
                    <a:pt x="71525" y="344077"/>
                  </a:cubicBezTo>
                  <a:cubicBezTo>
                    <a:pt x="68519" y="347684"/>
                    <a:pt x="69775" y="346820"/>
                    <a:pt x="64777" y="346554"/>
                  </a:cubicBezTo>
                  <a:cubicBezTo>
                    <a:pt x="61835" y="346731"/>
                    <a:pt x="58879" y="346439"/>
                    <a:pt x="56025" y="345703"/>
                  </a:cubicBezTo>
                  <a:cubicBezTo>
                    <a:pt x="50267" y="344395"/>
                    <a:pt x="49861" y="345842"/>
                    <a:pt x="45421" y="343404"/>
                  </a:cubicBezTo>
                  <a:cubicBezTo>
                    <a:pt x="40969" y="341016"/>
                    <a:pt x="44825" y="338680"/>
                    <a:pt x="41870" y="337283"/>
                  </a:cubicBezTo>
                  <a:cubicBezTo>
                    <a:pt x="38851" y="335936"/>
                    <a:pt x="39295" y="334997"/>
                    <a:pt x="36695" y="333282"/>
                  </a:cubicBezTo>
                  <a:cubicBezTo>
                    <a:pt x="34082" y="331530"/>
                    <a:pt x="34082" y="329726"/>
                    <a:pt x="31253" y="330666"/>
                  </a:cubicBezTo>
                  <a:cubicBezTo>
                    <a:pt x="28424" y="331657"/>
                    <a:pt x="28386" y="328913"/>
                    <a:pt x="24112" y="329726"/>
                  </a:cubicBezTo>
                  <a:cubicBezTo>
                    <a:pt x="19888" y="330539"/>
                    <a:pt x="20332" y="325764"/>
                    <a:pt x="15893" y="322703"/>
                  </a:cubicBezTo>
                  <a:cubicBezTo>
                    <a:pt x="13470" y="320887"/>
                    <a:pt x="10882" y="319299"/>
                    <a:pt x="8155" y="317979"/>
                  </a:cubicBezTo>
                  <a:cubicBezTo>
                    <a:pt x="5225" y="316150"/>
                    <a:pt x="2485" y="314016"/>
                    <a:pt x="-26" y="311641"/>
                  </a:cubicBezTo>
                  <a:cubicBezTo>
                    <a:pt x="240" y="311260"/>
                    <a:pt x="481" y="310879"/>
                    <a:pt x="697" y="310473"/>
                  </a:cubicBezTo>
                  <a:cubicBezTo>
                    <a:pt x="2041" y="308161"/>
                    <a:pt x="3170" y="305736"/>
                    <a:pt x="4071" y="303234"/>
                  </a:cubicBezTo>
                  <a:cubicBezTo>
                    <a:pt x="4933" y="300846"/>
                    <a:pt x="5644" y="298408"/>
                    <a:pt x="6227" y="295944"/>
                  </a:cubicBezTo>
                  <a:cubicBezTo>
                    <a:pt x="6696" y="293557"/>
                    <a:pt x="7483" y="291232"/>
                    <a:pt x="8561" y="289048"/>
                  </a:cubicBezTo>
                  <a:cubicBezTo>
                    <a:pt x="10692" y="285606"/>
                    <a:pt x="14079" y="283117"/>
                    <a:pt x="17998" y="282127"/>
                  </a:cubicBezTo>
                  <a:lnTo>
                    <a:pt x="18937" y="281720"/>
                  </a:lnTo>
                  <a:cubicBezTo>
                    <a:pt x="18988" y="281720"/>
                    <a:pt x="19038" y="281720"/>
                    <a:pt x="19076" y="281631"/>
                  </a:cubicBezTo>
                  <a:cubicBezTo>
                    <a:pt x="19571" y="281453"/>
                    <a:pt x="20028" y="281225"/>
                    <a:pt x="20522" y="280996"/>
                  </a:cubicBezTo>
                  <a:cubicBezTo>
                    <a:pt x="21524" y="280488"/>
                    <a:pt x="22476" y="279904"/>
                    <a:pt x="23389" y="279244"/>
                  </a:cubicBezTo>
                  <a:cubicBezTo>
                    <a:pt x="23883" y="278939"/>
                    <a:pt x="24366" y="278609"/>
                    <a:pt x="24835" y="278253"/>
                  </a:cubicBezTo>
                  <a:cubicBezTo>
                    <a:pt x="28589" y="275319"/>
                    <a:pt x="32039" y="271992"/>
                    <a:pt x="35122" y="268347"/>
                  </a:cubicBezTo>
                  <a:cubicBezTo>
                    <a:pt x="35211" y="268271"/>
                    <a:pt x="35287" y="268182"/>
                    <a:pt x="35350" y="268080"/>
                  </a:cubicBezTo>
                  <a:cubicBezTo>
                    <a:pt x="36200" y="267140"/>
                    <a:pt x="37012" y="266188"/>
                    <a:pt x="37773" y="265248"/>
                  </a:cubicBezTo>
                  <a:cubicBezTo>
                    <a:pt x="37773" y="265159"/>
                    <a:pt x="37824" y="265108"/>
                    <a:pt x="37912" y="265070"/>
                  </a:cubicBezTo>
                  <a:cubicBezTo>
                    <a:pt x="38711" y="264029"/>
                    <a:pt x="39485" y="263000"/>
                    <a:pt x="40195" y="261921"/>
                  </a:cubicBezTo>
                  <a:cubicBezTo>
                    <a:pt x="40868" y="260968"/>
                    <a:pt x="41502" y="259978"/>
                    <a:pt x="42085" y="259000"/>
                  </a:cubicBezTo>
                  <a:cubicBezTo>
                    <a:pt x="44724" y="254593"/>
                    <a:pt x="46373" y="249665"/>
                    <a:pt x="46893" y="244547"/>
                  </a:cubicBezTo>
                  <a:cubicBezTo>
                    <a:pt x="46982" y="243785"/>
                    <a:pt x="47032" y="243023"/>
                    <a:pt x="47032" y="242261"/>
                  </a:cubicBezTo>
                  <a:lnTo>
                    <a:pt x="47070" y="242172"/>
                  </a:lnTo>
                  <a:cubicBezTo>
                    <a:pt x="47070" y="241182"/>
                    <a:pt x="47070" y="240102"/>
                    <a:pt x="46982" y="239023"/>
                  </a:cubicBezTo>
                  <a:cubicBezTo>
                    <a:pt x="46753" y="235429"/>
                    <a:pt x="46106" y="231885"/>
                    <a:pt x="45053" y="228444"/>
                  </a:cubicBezTo>
                  <a:cubicBezTo>
                    <a:pt x="45003" y="228266"/>
                    <a:pt x="44914" y="228037"/>
                    <a:pt x="44876" y="227859"/>
                  </a:cubicBezTo>
                  <a:cubicBezTo>
                    <a:pt x="42555" y="213216"/>
                    <a:pt x="42035" y="198345"/>
                    <a:pt x="43354" y="183587"/>
                  </a:cubicBezTo>
                  <a:lnTo>
                    <a:pt x="43354" y="182635"/>
                  </a:lnTo>
                  <a:cubicBezTo>
                    <a:pt x="43265" y="179917"/>
                    <a:pt x="42961" y="177212"/>
                    <a:pt x="42453" y="174545"/>
                  </a:cubicBezTo>
                  <a:cubicBezTo>
                    <a:pt x="41159" y="167534"/>
                    <a:pt x="38420" y="160892"/>
                    <a:pt x="34411" y="155012"/>
                  </a:cubicBezTo>
                  <a:cubicBezTo>
                    <a:pt x="32889" y="152663"/>
                    <a:pt x="31177" y="150453"/>
                    <a:pt x="29287" y="148395"/>
                  </a:cubicBezTo>
                  <a:cubicBezTo>
                    <a:pt x="30289" y="145220"/>
                    <a:pt x="30949" y="141944"/>
                    <a:pt x="31266" y="138629"/>
                  </a:cubicBezTo>
                  <a:cubicBezTo>
                    <a:pt x="31037" y="135264"/>
                    <a:pt x="33422" y="138769"/>
                    <a:pt x="35667" y="140610"/>
                  </a:cubicBezTo>
                  <a:cubicBezTo>
                    <a:pt x="37963" y="142414"/>
                    <a:pt x="37646" y="140610"/>
                    <a:pt x="42897" y="135124"/>
                  </a:cubicBezTo>
                  <a:cubicBezTo>
                    <a:pt x="48199" y="129676"/>
                    <a:pt x="45954" y="130311"/>
                    <a:pt x="45954" y="125802"/>
                  </a:cubicBezTo>
                  <a:cubicBezTo>
                    <a:pt x="46030" y="121306"/>
                    <a:pt x="44280" y="116976"/>
                    <a:pt x="41109" y="113788"/>
                  </a:cubicBezTo>
                  <a:cubicBezTo>
                    <a:pt x="39257" y="111362"/>
                    <a:pt x="39751" y="109965"/>
                    <a:pt x="41020" y="108937"/>
                  </a:cubicBezTo>
                  <a:cubicBezTo>
                    <a:pt x="45599" y="113166"/>
                    <a:pt x="50457" y="117623"/>
                    <a:pt x="56254" y="122932"/>
                  </a:cubicBezTo>
                  <a:cubicBezTo>
                    <a:pt x="56558" y="123199"/>
                    <a:pt x="56888" y="123516"/>
                    <a:pt x="57192" y="123783"/>
                  </a:cubicBezTo>
                  <a:cubicBezTo>
                    <a:pt x="57776" y="124316"/>
                    <a:pt x="58321" y="124862"/>
                    <a:pt x="58943" y="125408"/>
                  </a:cubicBezTo>
                  <a:cubicBezTo>
                    <a:pt x="59171" y="125624"/>
                    <a:pt x="59399" y="125853"/>
                    <a:pt x="59666" y="126082"/>
                  </a:cubicBezTo>
                  <a:cubicBezTo>
                    <a:pt x="59234" y="123186"/>
                    <a:pt x="59196" y="120252"/>
                    <a:pt x="59577" y="117344"/>
                  </a:cubicBezTo>
                  <a:cubicBezTo>
                    <a:pt x="59907" y="114321"/>
                    <a:pt x="60794" y="111375"/>
                    <a:pt x="62177" y="108670"/>
                  </a:cubicBezTo>
                  <a:cubicBezTo>
                    <a:pt x="66261" y="101812"/>
                    <a:pt x="71779" y="95932"/>
                    <a:pt x="78362" y="91436"/>
                  </a:cubicBezTo>
                  <a:lnTo>
                    <a:pt x="78451" y="91334"/>
                  </a:lnTo>
                  <a:cubicBezTo>
                    <a:pt x="79351" y="90585"/>
                    <a:pt x="80290" y="89823"/>
                    <a:pt x="81140" y="89048"/>
                  </a:cubicBezTo>
                  <a:cubicBezTo>
                    <a:pt x="81685" y="88591"/>
                    <a:pt x="82180" y="88096"/>
                    <a:pt x="82662" y="87689"/>
                  </a:cubicBezTo>
                  <a:lnTo>
                    <a:pt x="82713" y="87651"/>
                  </a:lnTo>
                  <a:cubicBezTo>
                    <a:pt x="88256" y="82622"/>
                    <a:pt x="91972" y="75904"/>
                    <a:pt x="93279" y="68525"/>
                  </a:cubicBezTo>
                  <a:cubicBezTo>
                    <a:pt x="93583" y="67065"/>
                    <a:pt x="94014" y="65617"/>
                    <a:pt x="94534" y="64207"/>
                  </a:cubicBezTo>
                  <a:cubicBezTo>
                    <a:pt x="94801" y="63356"/>
                    <a:pt x="95118" y="62505"/>
                    <a:pt x="95473" y="61642"/>
                  </a:cubicBezTo>
                  <a:cubicBezTo>
                    <a:pt x="95828" y="60740"/>
                    <a:pt x="96196" y="59889"/>
                    <a:pt x="96602" y="58987"/>
                  </a:cubicBezTo>
                  <a:cubicBezTo>
                    <a:pt x="98340" y="55368"/>
                    <a:pt x="100369" y="51888"/>
                    <a:pt x="102665" y="48599"/>
                  </a:cubicBezTo>
                  <a:cubicBezTo>
                    <a:pt x="102665" y="48510"/>
                    <a:pt x="102754" y="48459"/>
                    <a:pt x="102804" y="48421"/>
                  </a:cubicBezTo>
                  <a:cubicBezTo>
                    <a:pt x="103337" y="47659"/>
                    <a:pt x="103921" y="46846"/>
                    <a:pt x="104504" y="46072"/>
                  </a:cubicBezTo>
                  <a:cubicBezTo>
                    <a:pt x="107828" y="41715"/>
                    <a:pt x="112736" y="36001"/>
                    <a:pt x="119028" y="40496"/>
                  </a:cubicBezTo>
                  <a:cubicBezTo>
                    <a:pt x="119979" y="41169"/>
                    <a:pt x="120854" y="41957"/>
                    <a:pt x="121628" y="42833"/>
                  </a:cubicBezTo>
                  <a:cubicBezTo>
                    <a:pt x="122351" y="43506"/>
                    <a:pt x="123213" y="44014"/>
                    <a:pt x="124152" y="44319"/>
                  </a:cubicBezTo>
                  <a:cubicBezTo>
                    <a:pt x="125053" y="44586"/>
                    <a:pt x="125852" y="44725"/>
                    <a:pt x="126080" y="44497"/>
                  </a:cubicBezTo>
                  <a:cubicBezTo>
                    <a:pt x="127120" y="43443"/>
                    <a:pt x="128236" y="42452"/>
                    <a:pt x="129403" y="41538"/>
                  </a:cubicBezTo>
                  <a:cubicBezTo>
                    <a:pt x="129505" y="41436"/>
                    <a:pt x="129606" y="41334"/>
                    <a:pt x="129720" y="41258"/>
                  </a:cubicBezTo>
                  <a:cubicBezTo>
                    <a:pt x="130672" y="40458"/>
                    <a:pt x="131674" y="39722"/>
                    <a:pt x="132727" y="39061"/>
                  </a:cubicBezTo>
                  <a:cubicBezTo>
                    <a:pt x="135961" y="36788"/>
                    <a:pt x="139411" y="34845"/>
                    <a:pt x="143026" y="33257"/>
                  </a:cubicBezTo>
                  <a:cubicBezTo>
                    <a:pt x="160188" y="25472"/>
                    <a:pt x="180191" y="22856"/>
                    <a:pt x="193484" y="7603"/>
                  </a:cubicBezTo>
                  <a:cubicBezTo>
                    <a:pt x="196008" y="4403"/>
                    <a:pt x="199369" y="1952"/>
                    <a:pt x="203200" y="542"/>
                  </a:cubicBezTo>
                  <a:cubicBezTo>
                    <a:pt x="203631" y="364"/>
                    <a:pt x="204075" y="237"/>
                    <a:pt x="204544" y="186"/>
                  </a:cubicBezTo>
                  <a:cubicBezTo>
                    <a:pt x="205534" y="-4"/>
                    <a:pt x="206548" y="-42"/>
                    <a:pt x="207551" y="47"/>
                  </a:cubicBezTo>
                  <a:cubicBezTo>
                    <a:pt x="210836" y="606"/>
                    <a:pt x="213829" y="2295"/>
                    <a:pt x="216011" y="4809"/>
                  </a:cubicBezTo>
                  <a:cubicBezTo>
                    <a:pt x="217127" y="16874"/>
                    <a:pt x="205851" y="16874"/>
                    <a:pt x="198570" y="23034"/>
                  </a:cubicBezTo>
                  <a:cubicBezTo>
                    <a:pt x="198037" y="23466"/>
                    <a:pt x="197555" y="23948"/>
                    <a:pt x="197124" y="24482"/>
                  </a:cubicBezTo>
                  <a:cubicBezTo>
                    <a:pt x="196832" y="24723"/>
                    <a:pt x="196566" y="24990"/>
                    <a:pt x="196325" y="25282"/>
                  </a:cubicBezTo>
                  <a:cubicBezTo>
                    <a:pt x="190833" y="30730"/>
                    <a:pt x="193357" y="28431"/>
                    <a:pt x="189717" y="34692"/>
                  </a:cubicBezTo>
                  <a:cubicBezTo>
                    <a:pt x="185721" y="41665"/>
                    <a:pt x="188765" y="30412"/>
                    <a:pt x="176411" y="46884"/>
                  </a:cubicBezTo>
                  <a:cubicBezTo>
                    <a:pt x="169244" y="57222"/>
                    <a:pt x="165122" y="69363"/>
                    <a:pt x="164501" y="81936"/>
                  </a:cubicBezTo>
                  <a:cubicBezTo>
                    <a:pt x="162611" y="87385"/>
                    <a:pt x="157448" y="93862"/>
                    <a:pt x="162661" y="92058"/>
                  </a:cubicBezTo>
                  <a:cubicBezTo>
                    <a:pt x="167874" y="90306"/>
                    <a:pt x="164995" y="91842"/>
                    <a:pt x="169942" y="93862"/>
                  </a:cubicBezTo>
                  <a:cubicBezTo>
                    <a:pt x="174927" y="95932"/>
                    <a:pt x="173088" y="94535"/>
                    <a:pt x="173849" y="98358"/>
                  </a:cubicBezTo>
                  <a:cubicBezTo>
                    <a:pt x="175498" y="103374"/>
                    <a:pt x="178516" y="107819"/>
                    <a:pt x="182563" y="111184"/>
                  </a:cubicBezTo>
                  <a:cubicBezTo>
                    <a:pt x="187522" y="116087"/>
                    <a:pt x="184947" y="126437"/>
                    <a:pt x="184947" y="126437"/>
                  </a:cubicBezTo>
                  <a:cubicBezTo>
                    <a:pt x="183717" y="130704"/>
                    <a:pt x="182930" y="135073"/>
                    <a:pt x="182563" y="139493"/>
                  </a:cubicBezTo>
                  <a:cubicBezTo>
                    <a:pt x="182436" y="144535"/>
                    <a:pt x="187383" y="144484"/>
                    <a:pt x="189717" y="144446"/>
                  </a:cubicBezTo>
                  <a:cubicBezTo>
                    <a:pt x="192051" y="144395"/>
                    <a:pt x="192279" y="149081"/>
                    <a:pt x="194879" y="154199"/>
                  </a:cubicBezTo>
                  <a:cubicBezTo>
                    <a:pt x="197492" y="159330"/>
                    <a:pt x="199065" y="155876"/>
                    <a:pt x="205090" y="154568"/>
                  </a:cubicBezTo>
                  <a:cubicBezTo>
                    <a:pt x="211102" y="153260"/>
                    <a:pt x="210430" y="154568"/>
                    <a:pt x="214971" y="155012"/>
                  </a:cubicBezTo>
                  <a:cubicBezTo>
                    <a:pt x="218535" y="155698"/>
                    <a:pt x="222175" y="155761"/>
                    <a:pt x="225765" y="155190"/>
                  </a:cubicBezTo>
                  <a:cubicBezTo>
                    <a:pt x="228708" y="153945"/>
                    <a:pt x="231904" y="153361"/>
                    <a:pt x="235101" y="153488"/>
                  </a:cubicBezTo>
                  <a:cubicBezTo>
                    <a:pt x="241037" y="153437"/>
                    <a:pt x="240174" y="155330"/>
                    <a:pt x="245083" y="157362"/>
                  </a:cubicBezTo>
                  <a:cubicBezTo>
                    <a:pt x="250030" y="159381"/>
                    <a:pt x="247683" y="158797"/>
                    <a:pt x="251692" y="158886"/>
                  </a:cubicBezTo>
                  <a:cubicBezTo>
                    <a:pt x="255738" y="158975"/>
                    <a:pt x="266291" y="177237"/>
                    <a:pt x="270604" y="179536"/>
                  </a:cubicBezTo>
                  <a:cubicBezTo>
                    <a:pt x="274967" y="181784"/>
                    <a:pt x="272227" y="179536"/>
                    <a:pt x="276629" y="177733"/>
                  </a:cubicBezTo>
                  <a:cubicBezTo>
                    <a:pt x="280992" y="175980"/>
                    <a:pt x="279686" y="177961"/>
                    <a:pt x="284632" y="178723"/>
                  </a:cubicBezTo>
                  <a:cubicBezTo>
                    <a:pt x="289567" y="179485"/>
                    <a:pt x="288222" y="179041"/>
                    <a:pt x="291951" y="178050"/>
                  </a:cubicBezTo>
                  <a:cubicBezTo>
                    <a:pt x="295617" y="176488"/>
                    <a:pt x="299764" y="176551"/>
                    <a:pt x="303367" y="178228"/>
                  </a:cubicBezTo>
                  <a:cubicBezTo>
                    <a:pt x="308720" y="180438"/>
                    <a:pt x="309443" y="177961"/>
                    <a:pt x="315100" y="175040"/>
                  </a:cubicBezTo>
                  <a:cubicBezTo>
                    <a:pt x="320808" y="172157"/>
                    <a:pt x="319146" y="173097"/>
                    <a:pt x="325843" y="177605"/>
                  </a:cubicBezTo>
                  <a:cubicBezTo>
                    <a:pt x="332579" y="182101"/>
                    <a:pt x="327010" y="186686"/>
                    <a:pt x="319996" y="195322"/>
                  </a:cubicBezTo>
                  <a:cubicBezTo>
                    <a:pt x="313032" y="203958"/>
                    <a:pt x="317700" y="210676"/>
                    <a:pt x="315544" y="219947"/>
                  </a:cubicBezTo>
                  <a:cubicBezTo>
                    <a:pt x="314339" y="228914"/>
                    <a:pt x="316330" y="238032"/>
                    <a:pt x="321163" y="245677"/>
                  </a:cubicBezTo>
                  <a:cubicBezTo>
                    <a:pt x="325437" y="255304"/>
                    <a:pt x="327365" y="252828"/>
                    <a:pt x="328228" y="256841"/>
                  </a:cubicBezTo>
                  <a:cubicBezTo>
                    <a:pt x="329027" y="260841"/>
                    <a:pt x="320719" y="266290"/>
                    <a:pt x="315100" y="271065"/>
                  </a:cubicBezTo>
                  <a:cubicBezTo>
                    <a:pt x="309531" y="275827"/>
                    <a:pt x="315455" y="272233"/>
                    <a:pt x="320579" y="274126"/>
                  </a:cubicBezTo>
                  <a:cubicBezTo>
                    <a:pt x="325653" y="276005"/>
                    <a:pt x="325349" y="279028"/>
                    <a:pt x="331183" y="285911"/>
                  </a:cubicBezTo>
                  <a:cubicBezTo>
                    <a:pt x="336473" y="296312"/>
                    <a:pt x="340075" y="307501"/>
                    <a:pt x="341889" y="319033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4" name="Vrije vorm 343">
              <a:extLst>
                <a:ext uri="{FF2B5EF4-FFF2-40B4-BE49-F238E27FC236}">
                  <a16:creationId xmlns:a16="http://schemas.microsoft.com/office/drawing/2014/main" id="{C16A8AF4-ED2C-AE44-8EA4-C6A00CD9733C}"/>
                </a:ext>
              </a:extLst>
            </p:cNvPr>
            <p:cNvSpPr/>
            <p:nvPr/>
          </p:nvSpPr>
          <p:spPr>
            <a:xfrm>
              <a:off x="3198743" y="4354181"/>
              <a:ext cx="156680" cy="183242"/>
            </a:xfrm>
            <a:custGeom>
              <a:avLst/>
              <a:gdLst>
                <a:gd name="connsiteX0" fmla="*/ 155817 w 156680"/>
                <a:gd name="connsiteY0" fmla="*/ 63044 h 183242"/>
                <a:gd name="connsiteX1" fmla="*/ 151720 w 156680"/>
                <a:gd name="connsiteY1" fmla="*/ 70689 h 183242"/>
                <a:gd name="connsiteX2" fmla="*/ 135002 w 156680"/>
                <a:gd name="connsiteY2" fmla="*/ 102858 h 183242"/>
                <a:gd name="connsiteX3" fmla="*/ 96049 w 156680"/>
                <a:gd name="connsiteY3" fmla="*/ 121350 h 183242"/>
                <a:gd name="connsiteX4" fmla="*/ 75196 w 156680"/>
                <a:gd name="connsiteY4" fmla="*/ 137377 h 183242"/>
                <a:gd name="connsiteX5" fmla="*/ 69298 w 156680"/>
                <a:gd name="connsiteY5" fmla="*/ 140844 h 183242"/>
                <a:gd name="connsiteX6" fmla="*/ 58961 w 156680"/>
                <a:gd name="connsiteY6" fmla="*/ 171883 h 183242"/>
                <a:gd name="connsiteX7" fmla="*/ 43511 w 156680"/>
                <a:gd name="connsiteY7" fmla="*/ 182145 h 183242"/>
                <a:gd name="connsiteX8" fmla="*/ 35825 w 156680"/>
                <a:gd name="connsiteY8" fmla="*/ 169495 h 183242"/>
                <a:gd name="connsiteX9" fmla="*/ 22976 w 156680"/>
                <a:gd name="connsiteY9" fmla="*/ 165050 h 183242"/>
                <a:gd name="connsiteX10" fmla="*/ 13843 w 156680"/>
                <a:gd name="connsiteY10" fmla="*/ 163920 h 183242"/>
                <a:gd name="connsiteX11" fmla="*/ 8681 w 156680"/>
                <a:gd name="connsiteY11" fmla="*/ 158065 h 183242"/>
                <a:gd name="connsiteX12" fmla="*/ 15505 w 156680"/>
                <a:gd name="connsiteY12" fmla="*/ 151373 h 183242"/>
                <a:gd name="connsiteX13" fmla="*/ 13437 w 156680"/>
                <a:gd name="connsiteY13" fmla="*/ 137644 h 183242"/>
                <a:gd name="connsiteX14" fmla="*/ 12942 w 156680"/>
                <a:gd name="connsiteY14" fmla="*/ 136920 h 183242"/>
                <a:gd name="connsiteX15" fmla="*/ 22430 w 156680"/>
                <a:gd name="connsiteY15" fmla="*/ 129008 h 183242"/>
                <a:gd name="connsiteX16" fmla="*/ 27060 w 156680"/>
                <a:gd name="connsiteY16" fmla="*/ 113387 h 183242"/>
                <a:gd name="connsiteX17" fmla="*/ 25715 w 156680"/>
                <a:gd name="connsiteY17" fmla="*/ 113069 h 183242"/>
                <a:gd name="connsiteX18" fmla="*/ 22747 w 156680"/>
                <a:gd name="connsiteY18" fmla="*/ 112536 h 183242"/>
                <a:gd name="connsiteX19" fmla="*/ 21441 w 156680"/>
                <a:gd name="connsiteY19" fmla="*/ 112307 h 183242"/>
                <a:gd name="connsiteX20" fmla="*/ 2123 w 156680"/>
                <a:gd name="connsiteY20" fmla="*/ 107138 h 183242"/>
                <a:gd name="connsiteX21" fmla="*/ 1083 w 156680"/>
                <a:gd name="connsiteY21" fmla="*/ 100966 h 183242"/>
                <a:gd name="connsiteX22" fmla="*/ 271 w 156680"/>
                <a:gd name="connsiteY22" fmla="*/ 79198 h 183242"/>
                <a:gd name="connsiteX23" fmla="*/ 271 w 156680"/>
                <a:gd name="connsiteY23" fmla="*/ 79059 h 183242"/>
                <a:gd name="connsiteX24" fmla="*/ 2300 w 156680"/>
                <a:gd name="connsiteY24" fmla="*/ 68175 h 183242"/>
                <a:gd name="connsiteX25" fmla="*/ 2529 w 156680"/>
                <a:gd name="connsiteY25" fmla="*/ 67451 h 183242"/>
                <a:gd name="connsiteX26" fmla="*/ 21707 w 156680"/>
                <a:gd name="connsiteY26" fmla="*/ 26544 h 183242"/>
                <a:gd name="connsiteX27" fmla="*/ 27111 w 156680"/>
                <a:gd name="connsiteY27" fmla="*/ 16016 h 183242"/>
                <a:gd name="connsiteX28" fmla="*/ 26070 w 156680"/>
                <a:gd name="connsiteY28" fmla="*/ 16333 h 183242"/>
                <a:gd name="connsiteX29" fmla="*/ 29356 w 156680"/>
                <a:gd name="connsiteY29" fmla="*/ 15114 h 183242"/>
                <a:gd name="connsiteX30" fmla="*/ 31106 w 156680"/>
                <a:gd name="connsiteY30" fmla="*/ 14848 h 183242"/>
                <a:gd name="connsiteX31" fmla="*/ 31195 w 156680"/>
                <a:gd name="connsiteY31" fmla="*/ 14809 h 183242"/>
                <a:gd name="connsiteX32" fmla="*/ 37258 w 156680"/>
                <a:gd name="connsiteY32" fmla="*/ 13235 h 183242"/>
                <a:gd name="connsiteX33" fmla="*/ 53443 w 156680"/>
                <a:gd name="connsiteY33" fmla="*/ 1 h 183242"/>
                <a:gd name="connsiteX34" fmla="*/ 61612 w 156680"/>
                <a:gd name="connsiteY34" fmla="*/ 6351 h 183242"/>
                <a:gd name="connsiteX35" fmla="*/ 69349 w 156680"/>
                <a:gd name="connsiteY35" fmla="*/ 11076 h 183242"/>
                <a:gd name="connsiteX36" fmla="*/ 77568 w 156680"/>
                <a:gd name="connsiteY36" fmla="*/ 18086 h 183242"/>
                <a:gd name="connsiteX37" fmla="*/ 84722 w 156680"/>
                <a:gd name="connsiteY37" fmla="*/ 19039 h 183242"/>
                <a:gd name="connsiteX38" fmla="*/ 90151 w 156680"/>
                <a:gd name="connsiteY38" fmla="*/ 21642 h 183242"/>
                <a:gd name="connsiteX39" fmla="*/ 95326 w 156680"/>
                <a:gd name="connsiteY39" fmla="*/ 25642 h 183242"/>
                <a:gd name="connsiteX40" fmla="*/ 98878 w 156680"/>
                <a:gd name="connsiteY40" fmla="*/ 31764 h 183242"/>
                <a:gd name="connsiteX41" fmla="*/ 109482 w 156680"/>
                <a:gd name="connsiteY41" fmla="*/ 34063 h 183242"/>
                <a:gd name="connsiteX42" fmla="*/ 118247 w 156680"/>
                <a:gd name="connsiteY42" fmla="*/ 34914 h 183242"/>
                <a:gd name="connsiteX43" fmla="*/ 124982 w 156680"/>
                <a:gd name="connsiteY43" fmla="*/ 32450 h 183242"/>
                <a:gd name="connsiteX44" fmla="*/ 129117 w 156680"/>
                <a:gd name="connsiteY44" fmla="*/ 29745 h 183242"/>
                <a:gd name="connsiteX45" fmla="*/ 139594 w 156680"/>
                <a:gd name="connsiteY45" fmla="*/ 39460 h 183242"/>
                <a:gd name="connsiteX46" fmla="*/ 150959 w 156680"/>
                <a:gd name="connsiteY46" fmla="*/ 42699 h 183242"/>
                <a:gd name="connsiteX47" fmla="*/ 150959 w 156680"/>
                <a:gd name="connsiteY47" fmla="*/ 51030 h 183242"/>
                <a:gd name="connsiteX48" fmla="*/ 155817 w 156680"/>
                <a:gd name="connsiteY48" fmla="*/ 63044 h 183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56680" h="183242">
                  <a:moveTo>
                    <a:pt x="155817" y="63044"/>
                  </a:moveTo>
                  <a:cubicBezTo>
                    <a:pt x="153382" y="67680"/>
                    <a:pt x="152976" y="62320"/>
                    <a:pt x="151720" y="70689"/>
                  </a:cubicBezTo>
                  <a:cubicBezTo>
                    <a:pt x="150147" y="83059"/>
                    <a:pt x="144224" y="94464"/>
                    <a:pt x="135002" y="102858"/>
                  </a:cubicBezTo>
                  <a:cubicBezTo>
                    <a:pt x="125616" y="108129"/>
                    <a:pt x="105930" y="116130"/>
                    <a:pt x="96049" y="121350"/>
                  </a:cubicBezTo>
                  <a:cubicBezTo>
                    <a:pt x="88033" y="125134"/>
                    <a:pt x="80917" y="130595"/>
                    <a:pt x="75196" y="137377"/>
                  </a:cubicBezTo>
                  <a:cubicBezTo>
                    <a:pt x="73395" y="140844"/>
                    <a:pt x="70960" y="135396"/>
                    <a:pt x="69298" y="140844"/>
                  </a:cubicBezTo>
                  <a:cubicBezTo>
                    <a:pt x="67649" y="151703"/>
                    <a:pt x="64148" y="162206"/>
                    <a:pt x="58961" y="171883"/>
                  </a:cubicBezTo>
                  <a:cubicBezTo>
                    <a:pt x="52771" y="179312"/>
                    <a:pt x="47367" y="185929"/>
                    <a:pt x="43511" y="182145"/>
                  </a:cubicBezTo>
                  <a:cubicBezTo>
                    <a:pt x="39643" y="178411"/>
                    <a:pt x="42750" y="170486"/>
                    <a:pt x="35825" y="169495"/>
                  </a:cubicBezTo>
                  <a:cubicBezTo>
                    <a:pt x="31233" y="169089"/>
                    <a:pt x="26832" y="167565"/>
                    <a:pt x="22976" y="165050"/>
                  </a:cubicBezTo>
                  <a:cubicBezTo>
                    <a:pt x="19107" y="162790"/>
                    <a:pt x="18067" y="162256"/>
                    <a:pt x="13843" y="163920"/>
                  </a:cubicBezTo>
                  <a:cubicBezTo>
                    <a:pt x="9619" y="165546"/>
                    <a:pt x="6385" y="161850"/>
                    <a:pt x="8681" y="158065"/>
                  </a:cubicBezTo>
                  <a:cubicBezTo>
                    <a:pt x="10976" y="154243"/>
                    <a:pt x="13488" y="155919"/>
                    <a:pt x="15505" y="151373"/>
                  </a:cubicBezTo>
                  <a:cubicBezTo>
                    <a:pt x="17534" y="146826"/>
                    <a:pt x="18168" y="144578"/>
                    <a:pt x="13437" y="137644"/>
                  </a:cubicBezTo>
                  <a:cubicBezTo>
                    <a:pt x="13259" y="137377"/>
                    <a:pt x="13133" y="137149"/>
                    <a:pt x="12942" y="136920"/>
                  </a:cubicBezTo>
                  <a:cubicBezTo>
                    <a:pt x="16519" y="134824"/>
                    <a:pt x="19728" y="132145"/>
                    <a:pt x="22430" y="129008"/>
                  </a:cubicBezTo>
                  <a:cubicBezTo>
                    <a:pt x="24967" y="124144"/>
                    <a:pt x="26540" y="118848"/>
                    <a:pt x="27060" y="113387"/>
                  </a:cubicBezTo>
                  <a:cubicBezTo>
                    <a:pt x="26616" y="113298"/>
                    <a:pt x="26159" y="113209"/>
                    <a:pt x="25715" y="113069"/>
                  </a:cubicBezTo>
                  <a:cubicBezTo>
                    <a:pt x="24764" y="112892"/>
                    <a:pt x="23775" y="112714"/>
                    <a:pt x="22747" y="112536"/>
                  </a:cubicBezTo>
                  <a:cubicBezTo>
                    <a:pt x="22341" y="112447"/>
                    <a:pt x="21885" y="112396"/>
                    <a:pt x="21441" y="112307"/>
                  </a:cubicBezTo>
                  <a:cubicBezTo>
                    <a:pt x="12498" y="110821"/>
                    <a:pt x="2655" y="109920"/>
                    <a:pt x="2123" y="107138"/>
                  </a:cubicBezTo>
                  <a:cubicBezTo>
                    <a:pt x="1717" y="105106"/>
                    <a:pt x="1362" y="103036"/>
                    <a:pt x="1083" y="100966"/>
                  </a:cubicBezTo>
                  <a:cubicBezTo>
                    <a:pt x="-34" y="93765"/>
                    <a:pt x="-313" y="86463"/>
                    <a:pt x="271" y="79198"/>
                  </a:cubicBezTo>
                  <a:lnTo>
                    <a:pt x="271" y="79059"/>
                  </a:lnTo>
                  <a:cubicBezTo>
                    <a:pt x="601" y="75376"/>
                    <a:pt x="1273" y="71731"/>
                    <a:pt x="2300" y="68175"/>
                  </a:cubicBezTo>
                  <a:cubicBezTo>
                    <a:pt x="2389" y="67946"/>
                    <a:pt x="2427" y="67680"/>
                    <a:pt x="2529" y="67451"/>
                  </a:cubicBezTo>
                  <a:cubicBezTo>
                    <a:pt x="7628" y="53240"/>
                    <a:pt x="14046" y="39549"/>
                    <a:pt x="21707" y="26544"/>
                  </a:cubicBezTo>
                  <a:cubicBezTo>
                    <a:pt x="23508" y="23179"/>
                    <a:pt x="25309" y="19661"/>
                    <a:pt x="27111" y="16016"/>
                  </a:cubicBezTo>
                  <a:cubicBezTo>
                    <a:pt x="26388" y="16333"/>
                    <a:pt x="26070" y="16422"/>
                    <a:pt x="26070" y="16333"/>
                  </a:cubicBezTo>
                  <a:cubicBezTo>
                    <a:pt x="27047" y="15648"/>
                    <a:pt x="28176" y="15241"/>
                    <a:pt x="29356" y="15114"/>
                  </a:cubicBezTo>
                  <a:lnTo>
                    <a:pt x="31106" y="14848"/>
                  </a:lnTo>
                  <a:lnTo>
                    <a:pt x="31195" y="14809"/>
                  </a:lnTo>
                  <a:cubicBezTo>
                    <a:pt x="33262" y="14505"/>
                    <a:pt x="35305" y="13971"/>
                    <a:pt x="37258" y="13235"/>
                  </a:cubicBezTo>
                  <a:cubicBezTo>
                    <a:pt x="44031" y="10860"/>
                    <a:pt x="49765" y="6173"/>
                    <a:pt x="53443" y="1"/>
                  </a:cubicBezTo>
                  <a:cubicBezTo>
                    <a:pt x="55954" y="2376"/>
                    <a:pt x="58694" y="4510"/>
                    <a:pt x="61612" y="6351"/>
                  </a:cubicBezTo>
                  <a:cubicBezTo>
                    <a:pt x="64339" y="7659"/>
                    <a:pt x="66926" y="9247"/>
                    <a:pt x="69349" y="11076"/>
                  </a:cubicBezTo>
                  <a:cubicBezTo>
                    <a:pt x="73801" y="14124"/>
                    <a:pt x="73344" y="18899"/>
                    <a:pt x="77568" y="18086"/>
                  </a:cubicBezTo>
                  <a:cubicBezTo>
                    <a:pt x="81843" y="17286"/>
                    <a:pt x="81881" y="20029"/>
                    <a:pt x="84722" y="19039"/>
                  </a:cubicBezTo>
                  <a:cubicBezTo>
                    <a:pt x="87551" y="18086"/>
                    <a:pt x="87551" y="19889"/>
                    <a:pt x="90151" y="21642"/>
                  </a:cubicBezTo>
                  <a:cubicBezTo>
                    <a:pt x="92764" y="23356"/>
                    <a:pt x="92307" y="24296"/>
                    <a:pt x="95326" y="25642"/>
                  </a:cubicBezTo>
                  <a:cubicBezTo>
                    <a:pt x="98294" y="27039"/>
                    <a:pt x="94426" y="29389"/>
                    <a:pt x="98878" y="31764"/>
                  </a:cubicBezTo>
                  <a:cubicBezTo>
                    <a:pt x="103317" y="34202"/>
                    <a:pt x="103723" y="32755"/>
                    <a:pt x="109482" y="34063"/>
                  </a:cubicBezTo>
                  <a:cubicBezTo>
                    <a:pt x="112336" y="34799"/>
                    <a:pt x="115291" y="35091"/>
                    <a:pt x="118247" y="34914"/>
                  </a:cubicBezTo>
                  <a:cubicBezTo>
                    <a:pt x="123231" y="35193"/>
                    <a:pt x="121976" y="36044"/>
                    <a:pt x="124982" y="32450"/>
                  </a:cubicBezTo>
                  <a:cubicBezTo>
                    <a:pt x="128001" y="28843"/>
                    <a:pt x="122420" y="26595"/>
                    <a:pt x="129117" y="29745"/>
                  </a:cubicBezTo>
                  <a:cubicBezTo>
                    <a:pt x="135814" y="32843"/>
                    <a:pt x="133341" y="37212"/>
                    <a:pt x="139594" y="39460"/>
                  </a:cubicBezTo>
                  <a:cubicBezTo>
                    <a:pt x="145797" y="41708"/>
                    <a:pt x="145797" y="40717"/>
                    <a:pt x="150959" y="42699"/>
                  </a:cubicBezTo>
                  <a:cubicBezTo>
                    <a:pt x="149209" y="45264"/>
                    <a:pt x="147052" y="47017"/>
                    <a:pt x="150959" y="51030"/>
                  </a:cubicBezTo>
                  <a:cubicBezTo>
                    <a:pt x="154866" y="55081"/>
                    <a:pt x="158290" y="58358"/>
                    <a:pt x="155817" y="63044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5" name="Vrije vorm 344">
              <a:extLst>
                <a:ext uri="{FF2B5EF4-FFF2-40B4-BE49-F238E27FC236}">
                  <a16:creationId xmlns:a16="http://schemas.microsoft.com/office/drawing/2014/main" id="{6A7861E7-F527-6A48-A8D6-FED6042CC38F}"/>
                </a:ext>
              </a:extLst>
            </p:cNvPr>
            <p:cNvSpPr/>
            <p:nvPr/>
          </p:nvSpPr>
          <p:spPr>
            <a:xfrm>
              <a:off x="3184760" y="4396481"/>
              <a:ext cx="355317" cy="526443"/>
            </a:xfrm>
            <a:custGeom>
              <a:avLst/>
              <a:gdLst>
                <a:gd name="connsiteX0" fmla="*/ 355268 w 355317"/>
                <a:gd name="connsiteY0" fmla="*/ 355910 h 526443"/>
                <a:gd name="connsiteX1" fmla="*/ 349776 w 355317"/>
                <a:gd name="connsiteY1" fmla="*/ 365371 h 526443"/>
                <a:gd name="connsiteX2" fmla="*/ 350055 w 355317"/>
                <a:gd name="connsiteY2" fmla="*/ 379544 h 526443"/>
                <a:gd name="connsiteX3" fmla="*/ 347797 w 355317"/>
                <a:gd name="connsiteY3" fmla="*/ 388269 h 526443"/>
                <a:gd name="connsiteX4" fmla="*/ 348748 w 355317"/>
                <a:gd name="connsiteY4" fmla="*/ 399877 h 526443"/>
                <a:gd name="connsiteX5" fmla="*/ 345729 w 355317"/>
                <a:gd name="connsiteY5" fmla="*/ 409910 h 526443"/>
                <a:gd name="connsiteX6" fmla="*/ 339311 w 355317"/>
                <a:gd name="connsiteY6" fmla="*/ 419892 h 526443"/>
                <a:gd name="connsiteX7" fmla="*/ 343675 w 355317"/>
                <a:gd name="connsiteY7" fmla="*/ 435335 h 526443"/>
                <a:gd name="connsiteX8" fmla="*/ 339311 w 355317"/>
                <a:gd name="connsiteY8" fmla="*/ 454055 h 526443"/>
                <a:gd name="connsiteX9" fmla="*/ 346947 w 355317"/>
                <a:gd name="connsiteY9" fmla="*/ 465168 h 526443"/>
                <a:gd name="connsiteX10" fmla="*/ 347353 w 355317"/>
                <a:gd name="connsiteY10" fmla="*/ 475417 h 526443"/>
                <a:gd name="connsiteX11" fmla="*/ 332652 w 355317"/>
                <a:gd name="connsiteY11" fmla="*/ 494632 h 526443"/>
                <a:gd name="connsiteX12" fmla="*/ 335709 w 355317"/>
                <a:gd name="connsiteY12" fmla="*/ 501337 h 526443"/>
                <a:gd name="connsiteX13" fmla="*/ 328796 w 355317"/>
                <a:gd name="connsiteY13" fmla="*/ 505973 h 526443"/>
                <a:gd name="connsiteX14" fmla="*/ 325016 w 355317"/>
                <a:gd name="connsiteY14" fmla="*/ 515878 h 526443"/>
                <a:gd name="connsiteX15" fmla="*/ 312662 w 355317"/>
                <a:gd name="connsiteY15" fmla="*/ 526090 h 526443"/>
                <a:gd name="connsiteX16" fmla="*/ 307538 w 355317"/>
                <a:gd name="connsiteY16" fmla="*/ 526445 h 526443"/>
                <a:gd name="connsiteX17" fmla="*/ 305204 w 355317"/>
                <a:gd name="connsiteY17" fmla="*/ 523473 h 526443"/>
                <a:gd name="connsiteX18" fmla="*/ 230773 w 355317"/>
                <a:gd name="connsiteY18" fmla="*/ 468533 h 526443"/>
                <a:gd name="connsiteX19" fmla="*/ 209882 w 355317"/>
                <a:gd name="connsiteY19" fmla="*/ 459402 h 526443"/>
                <a:gd name="connsiteX20" fmla="*/ 209831 w 355317"/>
                <a:gd name="connsiteY20" fmla="*/ 459364 h 526443"/>
                <a:gd name="connsiteX21" fmla="*/ 155276 w 355317"/>
                <a:gd name="connsiteY21" fmla="*/ 418686 h 526443"/>
                <a:gd name="connsiteX22" fmla="*/ 142656 w 355317"/>
                <a:gd name="connsiteY22" fmla="*/ 387101 h 526443"/>
                <a:gd name="connsiteX23" fmla="*/ 142694 w 355317"/>
                <a:gd name="connsiteY23" fmla="*/ 386923 h 526443"/>
                <a:gd name="connsiteX24" fmla="*/ 140994 w 355317"/>
                <a:gd name="connsiteY24" fmla="*/ 378630 h 526443"/>
                <a:gd name="connsiteX25" fmla="*/ 137848 w 355317"/>
                <a:gd name="connsiteY25" fmla="*/ 372966 h 526443"/>
                <a:gd name="connsiteX26" fmla="*/ 112683 w 355317"/>
                <a:gd name="connsiteY26" fmla="*/ 328427 h 526443"/>
                <a:gd name="connsiteX27" fmla="*/ 86883 w 355317"/>
                <a:gd name="connsiteY27" fmla="*/ 279329 h 526443"/>
                <a:gd name="connsiteX28" fmla="*/ 68453 w 355317"/>
                <a:gd name="connsiteY28" fmla="*/ 242346 h 526443"/>
                <a:gd name="connsiteX29" fmla="*/ 61084 w 355317"/>
                <a:gd name="connsiteY29" fmla="*/ 226954 h 526443"/>
                <a:gd name="connsiteX30" fmla="*/ 10525 w 355317"/>
                <a:gd name="connsiteY30" fmla="*/ 174223 h 526443"/>
                <a:gd name="connsiteX31" fmla="*/ 8685 w 355317"/>
                <a:gd name="connsiteY31" fmla="*/ 173728 h 526443"/>
                <a:gd name="connsiteX32" fmla="*/ 8546 w 355317"/>
                <a:gd name="connsiteY32" fmla="*/ 172648 h 526443"/>
                <a:gd name="connsiteX33" fmla="*/ 7556 w 355317"/>
                <a:gd name="connsiteY33" fmla="*/ 165130 h 526443"/>
                <a:gd name="connsiteX34" fmla="*/ 4461 w 355317"/>
                <a:gd name="connsiteY34" fmla="*/ 147350 h 526443"/>
                <a:gd name="connsiteX35" fmla="*/ 11742 w 355317"/>
                <a:gd name="connsiteY35" fmla="*/ 105999 h 526443"/>
                <a:gd name="connsiteX36" fmla="*/ 11831 w 355317"/>
                <a:gd name="connsiteY36" fmla="*/ 105910 h 526443"/>
                <a:gd name="connsiteX37" fmla="*/ 17501 w 355317"/>
                <a:gd name="connsiteY37" fmla="*/ 101275 h 526443"/>
                <a:gd name="connsiteX38" fmla="*/ 17983 w 355317"/>
                <a:gd name="connsiteY38" fmla="*/ 100868 h 526443"/>
                <a:gd name="connsiteX39" fmla="*/ 20101 w 355317"/>
                <a:gd name="connsiteY39" fmla="*/ 99293 h 526443"/>
                <a:gd name="connsiteX40" fmla="*/ 26925 w 355317"/>
                <a:gd name="connsiteY40" fmla="*/ 94620 h 526443"/>
                <a:gd name="connsiteX41" fmla="*/ 27420 w 355317"/>
                <a:gd name="connsiteY41" fmla="*/ 95331 h 526443"/>
                <a:gd name="connsiteX42" fmla="*/ 29487 w 355317"/>
                <a:gd name="connsiteY42" fmla="*/ 109060 h 526443"/>
                <a:gd name="connsiteX43" fmla="*/ 22663 w 355317"/>
                <a:gd name="connsiteY43" fmla="*/ 115765 h 526443"/>
                <a:gd name="connsiteX44" fmla="*/ 27826 w 355317"/>
                <a:gd name="connsiteY44" fmla="*/ 121620 h 526443"/>
                <a:gd name="connsiteX45" fmla="*/ 36959 w 355317"/>
                <a:gd name="connsiteY45" fmla="*/ 122738 h 526443"/>
                <a:gd name="connsiteX46" fmla="*/ 49808 w 355317"/>
                <a:gd name="connsiteY46" fmla="*/ 127195 h 526443"/>
                <a:gd name="connsiteX47" fmla="*/ 57494 w 355317"/>
                <a:gd name="connsiteY47" fmla="*/ 139832 h 526443"/>
                <a:gd name="connsiteX48" fmla="*/ 72943 w 355317"/>
                <a:gd name="connsiteY48" fmla="*/ 129583 h 526443"/>
                <a:gd name="connsiteX49" fmla="*/ 83281 w 355317"/>
                <a:gd name="connsiteY49" fmla="*/ 98531 h 526443"/>
                <a:gd name="connsiteX50" fmla="*/ 89179 w 355317"/>
                <a:gd name="connsiteY50" fmla="*/ 95064 h 526443"/>
                <a:gd name="connsiteX51" fmla="*/ 110032 w 355317"/>
                <a:gd name="connsiteY51" fmla="*/ 79050 h 526443"/>
                <a:gd name="connsiteX52" fmla="*/ 148985 w 355317"/>
                <a:gd name="connsiteY52" fmla="*/ 60558 h 526443"/>
                <a:gd name="connsiteX53" fmla="*/ 165703 w 355317"/>
                <a:gd name="connsiteY53" fmla="*/ 28376 h 526443"/>
                <a:gd name="connsiteX54" fmla="*/ 169800 w 355317"/>
                <a:gd name="connsiteY54" fmla="*/ 20731 h 526443"/>
                <a:gd name="connsiteX55" fmla="*/ 164942 w 355317"/>
                <a:gd name="connsiteY55" fmla="*/ 8717 h 526443"/>
                <a:gd name="connsiteX56" fmla="*/ 164942 w 355317"/>
                <a:gd name="connsiteY56" fmla="*/ 398 h 526443"/>
                <a:gd name="connsiteX57" fmla="*/ 175774 w 355317"/>
                <a:gd name="connsiteY57" fmla="*/ 1478 h 526443"/>
                <a:gd name="connsiteX58" fmla="*/ 186023 w 355317"/>
                <a:gd name="connsiteY58" fmla="*/ 6964 h 526443"/>
                <a:gd name="connsiteX59" fmla="*/ 193748 w 355317"/>
                <a:gd name="connsiteY59" fmla="*/ 16324 h 526443"/>
                <a:gd name="connsiteX60" fmla="*/ 200889 w 355317"/>
                <a:gd name="connsiteY60" fmla="*/ 29647 h 526443"/>
                <a:gd name="connsiteX61" fmla="*/ 211100 w 355317"/>
                <a:gd name="connsiteY61" fmla="*/ 34688 h 526443"/>
                <a:gd name="connsiteX62" fmla="*/ 218558 w 355317"/>
                <a:gd name="connsiteY62" fmla="*/ 36390 h 526443"/>
                <a:gd name="connsiteX63" fmla="*/ 224266 w 355317"/>
                <a:gd name="connsiteY63" fmla="*/ 49217 h 526443"/>
                <a:gd name="connsiteX64" fmla="*/ 230912 w 355317"/>
                <a:gd name="connsiteY64" fmla="*/ 52100 h 526443"/>
                <a:gd name="connsiteX65" fmla="*/ 235720 w 355317"/>
                <a:gd name="connsiteY65" fmla="*/ 67581 h 526443"/>
                <a:gd name="connsiteX66" fmla="*/ 245702 w 355317"/>
                <a:gd name="connsiteY66" fmla="*/ 65422 h 526443"/>
                <a:gd name="connsiteX67" fmla="*/ 254467 w 355317"/>
                <a:gd name="connsiteY67" fmla="*/ 67581 h 526443"/>
                <a:gd name="connsiteX68" fmla="*/ 263130 w 355317"/>
                <a:gd name="connsiteY68" fmla="*/ 65016 h 526443"/>
                <a:gd name="connsiteX69" fmla="*/ 271591 w 355317"/>
                <a:gd name="connsiteY69" fmla="*/ 61371 h 526443"/>
                <a:gd name="connsiteX70" fmla="*/ 279087 w 355317"/>
                <a:gd name="connsiteY70" fmla="*/ 63073 h 526443"/>
                <a:gd name="connsiteX71" fmla="*/ 286862 w 355317"/>
                <a:gd name="connsiteY71" fmla="*/ 62857 h 526443"/>
                <a:gd name="connsiteX72" fmla="*/ 298684 w 355317"/>
                <a:gd name="connsiteY72" fmla="*/ 64825 h 526443"/>
                <a:gd name="connsiteX73" fmla="*/ 308070 w 355317"/>
                <a:gd name="connsiteY73" fmla="*/ 70045 h 526443"/>
                <a:gd name="connsiteX74" fmla="*/ 316429 w 355317"/>
                <a:gd name="connsiteY74" fmla="*/ 74871 h 526443"/>
                <a:gd name="connsiteX75" fmla="*/ 314362 w 355317"/>
                <a:gd name="connsiteY75" fmla="*/ 84714 h 526443"/>
                <a:gd name="connsiteX76" fmla="*/ 302312 w 355317"/>
                <a:gd name="connsiteY76" fmla="*/ 101732 h 526443"/>
                <a:gd name="connsiteX77" fmla="*/ 302312 w 355317"/>
                <a:gd name="connsiteY77" fmla="*/ 108158 h 526443"/>
                <a:gd name="connsiteX78" fmla="*/ 310759 w 355317"/>
                <a:gd name="connsiteY78" fmla="*/ 107269 h 526443"/>
                <a:gd name="connsiteX79" fmla="*/ 319790 w 355317"/>
                <a:gd name="connsiteY79" fmla="*/ 117022 h 526443"/>
                <a:gd name="connsiteX80" fmla="*/ 313905 w 355317"/>
                <a:gd name="connsiteY80" fmla="*/ 121036 h 526443"/>
                <a:gd name="connsiteX81" fmla="*/ 306041 w 355317"/>
                <a:gd name="connsiteY81" fmla="*/ 117657 h 526443"/>
                <a:gd name="connsiteX82" fmla="*/ 303796 w 355317"/>
                <a:gd name="connsiteY82" fmla="*/ 117340 h 526443"/>
                <a:gd name="connsiteX83" fmla="*/ 301005 w 355317"/>
                <a:gd name="connsiteY83" fmla="*/ 118737 h 526443"/>
                <a:gd name="connsiteX84" fmla="*/ 290401 w 355317"/>
                <a:gd name="connsiteY84" fmla="*/ 124719 h 526443"/>
                <a:gd name="connsiteX85" fmla="*/ 279074 w 355317"/>
                <a:gd name="connsiteY85" fmla="*/ 125531 h 526443"/>
                <a:gd name="connsiteX86" fmla="*/ 273455 w 355317"/>
                <a:gd name="connsiteY86" fmla="*/ 126840 h 526443"/>
                <a:gd name="connsiteX87" fmla="*/ 261950 w 355317"/>
                <a:gd name="connsiteY87" fmla="*/ 129634 h 526443"/>
                <a:gd name="connsiteX88" fmla="*/ 253236 w 355317"/>
                <a:gd name="connsiteY88" fmla="*/ 135387 h 526443"/>
                <a:gd name="connsiteX89" fmla="*/ 247706 w 355317"/>
                <a:gd name="connsiteY89" fmla="*/ 139844 h 526443"/>
                <a:gd name="connsiteX90" fmla="*/ 240375 w 355317"/>
                <a:gd name="connsiteY90" fmla="*/ 143540 h 526443"/>
                <a:gd name="connsiteX91" fmla="*/ 235745 w 355317"/>
                <a:gd name="connsiteY91" fmla="*/ 155275 h 526443"/>
                <a:gd name="connsiteX92" fmla="*/ 224240 w 355317"/>
                <a:gd name="connsiteY92" fmla="*/ 182770 h 526443"/>
                <a:gd name="connsiteX93" fmla="*/ 214677 w 355317"/>
                <a:gd name="connsiteY93" fmla="*/ 204005 h 526443"/>
                <a:gd name="connsiteX94" fmla="*/ 207700 w 355317"/>
                <a:gd name="connsiteY94" fmla="*/ 208869 h 526443"/>
                <a:gd name="connsiteX95" fmla="*/ 209146 w 355317"/>
                <a:gd name="connsiteY95" fmla="*/ 215219 h 526443"/>
                <a:gd name="connsiteX96" fmla="*/ 213053 w 355317"/>
                <a:gd name="connsiteY96" fmla="*/ 220756 h 526443"/>
                <a:gd name="connsiteX97" fmla="*/ 216161 w 355317"/>
                <a:gd name="connsiteY97" fmla="*/ 229163 h 526443"/>
                <a:gd name="connsiteX98" fmla="*/ 232155 w 355317"/>
                <a:gd name="connsiteY98" fmla="*/ 248112 h 526443"/>
                <a:gd name="connsiteX99" fmla="*/ 233995 w 355317"/>
                <a:gd name="connsiteY99" fmla="*/ 256481 h 526443"/>
                <a:gd name="connsiteX100" fmla="*/ 228959 w 355317"/>
                <a:gd name="connsiteY100" fmla="*/ 264000 h 526443"/>
                <a:gd name="connsiteX101" fmla="*/ 230481 w 355317"/>
                <a:gd name="connsiteY101" fmla="*/ 265295 h 526443"/>
                <a:gd name="connsiteX102" fmla="*/ 237407 w 355317"/>
                <a:gd name="connsiteY102" fmla="*/ 266248 h 526443"/>
                <a:gd name="connsiteX103" fmla="*/ 250040 w 355317"/>
                <a:gd name="connsiteY103" fmla="*/ 268406 h 526443"/>
                <a:gd name="connsiteX104" fmla="*/ 258031 w 355317"/>
                <a:gd name="connsiteY104" fmla="*/ 278579 h 526443"/>
                <a:gd name="connsiteX105" fmla="*/ 275611 w 355317"/>
                <a:gd name="connsiteY105" fmla="*/ 283659 h 526443"/>
                <a:gd name="connsiteX106" fmla="*/ 285492 w 355317"/>
                <a:gd name="connsiteY106" fmla="*/ 279913 h 526443"/>
                <a:gd name="connsiteX107" fmla="*/ 298709 w 355317"/>
                <a:gd name="connsiteY107" fmla="*/ 269753 h 526443"/>
                <a:gd name="connsiteX108" fmla="*/ 304366 w 355317"/>
                <a:gd name="connsiteY108" fmla="*/ 269029 h 526443"/>
                <a:gd name="connsiteX109" fmla="*/ 304366 w 355317"/>
                <a:gd name="connsiteY109" fmla="*/ 282529 h 526443"/>
                <a:gd name="connsiteX110" fmla="*/ 303022 w 355317"/>
                <a:gd name="connsiteY110" fmla="*/ 310520 h 526443"/>
                <a:gd name="connsiteX111" fmla="*/ 310975 w 355317"/>
                <a:gd name="connsiteY111" fmla="*/ 313708 h 526443"/>
                <a:gd name="connsiteX112" fmla="*/ 324192 w 355317"/>
                <a:gd name="connsiteY112" fmla="*/ 309745 h 526443"/>
                <a:gd name="connsiteX113" fmla="*/ 332005 w 355317"/>
                <a:gd name="connsiteY113" fmla="*/ 309212 h 526443"/>
                <a:gd name="connsiteX114" fmla="*/ 337675 w 355317"/>
                <a:gd name="connsiteY114" fmla="*/ 320413 h 526443"/>
                <a:gd name="connsiteX115" fmla="*/ 350651 w 355317"/>
                <a:gd name="connsiteY115" fmla="*/ 341292 h 526443"/>
                <a:gd name="connsiteX116" fmla="*/ 355268 w 355317"/>
                <a:gd name="connsiteY116" fmla="*/ 355910 h 526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</a:cxnLst>
              <a:rect l="l" t="t" r="r" b="b"/>
              <a:pathLst>
                <a:path w="355317" h="526443">
                  <a:moveTo>
                    <a:pt x="355268" y="355910"/>
                  </a:moveTo>
                  <a:cubicBezTo>
                    <a:pt x="354634" y="360418"/>
                    <a:pt x="350144" y="360545"/>
                    <a:pt x="349776" y="365371"/>
                  </a:cubicBezTo>
                  <a:cubicBezTo>
                    <a:pt x="349471" y="370222"/>
                    <a:pt x="350499" y="374274"/>
                    <a:pt x="350055" y="379544"/>
                  </a:cubicBezTo>
                  <a:cubicBezTo>
                    <a:pt x="349560" y="384802"/>
                    <a:pt x="347087" y="384751"/>
                    <a:pt x="347797" y="388269"/>
                  </a:cubicBezTo>
                  <a:cubicBezTo>
                    <a:pt x="348736" y="392066"/>
                    <a:pt x="349053" y="395978"/>
                    <a:pt x="348748" y="399877"/>
                  </a:cubicBezTo>
                  <a:cubicBezTo>
                    <a:pt x="348824" y="403458"/>
                    <a:pt x="347772" y="406963"/>
                    <a:pt x="345729" y="409910"/>
                  </a:cubicBezTo>
                  <a:cubicBezTo>
                    <a:pt x="342939" y="415168"/>
                    <a:pt x="338461" y="411167"/>
                    <a:pt x="339311" y="419892"/>
                  </a:cubicBezTo>
                  <a:cubicBezTo>
                    <a:pt x="340161" y="428668"/>
                    <a:pt x="347176" y="431690"/>
                    <a:pt x="343675" y="435335"/>
                  </a:cubicBezTo>
                  <a:cubicBezTo>
                    <a:pt x="337650" y="439539"/>
                    <a:pt x="335773" y="447616"/>
                    <a:pt x="339311" y="454055"/>
                  </a:cubicBezTo>
                  <a:cubicBezTo>
                    <a:pt x="341341" y="458081"/>
                    <a:pt x="343916" y="461828"/>
                    <a:pt x="346947" y="465168"/>
                  </a:cubicBezTo>
                  <a:cubicBezTo>
                    <a:pt x="349065" y="467454"/>
                    <a:pt x="352883" y="469524"/>
                    <a:pt x="347353" y="475417"/>
                  </a:cubicBezTo>
                  <a:cubicBezTo>
                    <a:pt x="341874" y="481322"/>
                    <a:pt x="330775" y="488027"/>
                    <a:pt x="332652" y="494632"/>
                  </a:cubicBezTo>
                  <a:cubicBezTo>
                    <a:pt x="333299" y="497019"/>
                    <a:pt x="334327" y="499292"/>
                    <a:pt x="335709" y="501337"/>
                  </a:cubicBezTo>
                  <a:cubicBezTo>
                    <a:pt x="332982" y="502137"/>
                    <a:pt x="330572" y="503750"/>
                    <a:pt x="328796" y="505973"/>
                  </a:cubicBezTo>
                  <a:cubicBezTo>
                    <a:pt x="327363" y="509211"/>
                    <a:pt x="326107" y="512513"/>
                    <a:pt x="325016" y="515878"/>
                  </a:cubicBezTo>
                  <a:cubicBezTo>
                    <a:pt x="323126" y="521327"/>
                    <a:pt x="318357" y="525264"/>
                    <a:pt x="312662" y="526090"/>
                  </a:cubicBezTo>
                  <a:cubicBezTo>
                    <a:pt x="310950" y="526090"/>
                    <a:pt x="309237" y="526217"/>
                    <a:pt x="307538" y="526445"/>
                  </a:cubicBezTo>
                  <a:cubicBezTo>
                    <a:pt x="306967" y="525315"/>
                    <a:pt x="306168" y="524299"/>
                    <a:pt x="305204" y="523473"/>
                  </a:cubicBezTo>
                  <a:cubicBezTo>
                    <a:pt x="280799" y="504677"/>
                    <a:pt x="261025" y="480281"/>
                    <a:pt x="230773" y="468533"/>
                  </a:cubicBezTo>
                  <a:cubicBezTo>
                    <a:pt x="223670" y="465790"/>
                    <a:pt x="216668" y="462780"/>
                    <a:pt x="209882" y="459402"/>
                  </a:cubicBezTo>
                  <a:lnTo>
                    <a:pt x="209831" y="459364"/>
                  </a:lnTo>
                  <a:cubicBezTo>
                    <a:pt x="189118" y="449585"/>
                    <a:pt x="170561" y="435754"/>
                    <a:pt x="155276" y="418686"/>
                  </a:cubicBezTo>
                  <a:cubicBezTo>
                    <a:pt x="147641" y="409948"/>
                    <a:pt x="137214" y="401985"/>
                    <a:pt x="142656" y="387101"/>
                  </a:cubicBezTo>
                  <a:lnTo>
                    <a:pt x="142694" y="386923"/>
                  </a:lnTo>
                  <a:cubicBezTo>
                    <a:pt x="143176" y="384040"/>
                    <a:pt x="142567" y="381094"/>
                    <a:pt x="140994" y="378630"/>
                  </a:cubicBezTo>
                  <a:cubicBezTo>
                    <a:pt x="140005" y="376611"/>
                    <a:pt x="138838" y="374629"/>
                    <a:pt x="137848" y="372966"/>
                  </a:cubicBezTo>
                  <a:cubicBezTo>
                    <a:pt x="129223" y="358259"/>
                    <a:pt x="120826" y="343400"/>
                    <a:pt x="112683" y="328427"/>
                  </a:cubicBezTo>
                  <a:cubicBezTo>
                    <a:pt x="103829" y="312222"/>
                    <a:pt x="95230" y="295864"/>
                    <a:pt x="86883" y="279329"/>
                  </a:cubicBezTo>
                  <a:cubicBezTo>
                    <a:pt x="80630" y="267098"/>
                    <a:pt x="74491" y="254767"/>
                    <a:pt x="68453" y="242346"/>
                  </a:cubicBezTo>
                  <a:cubicBezTo>
                    <a:pt x="66031" y="237342"/>
                    <a:pt x="63608" y="232173"/>
                    <a:pt x="61084" y="226954"/>
                  </a:cubicBezTo>
                  <a:cubicBezTo>
                    <a:pt x="49985" y="204233"/>
                    <a:pt x="36679" y="181551"/>
                    <a:pt x="10525" y="174223"/>
                  </a:cubicBezTo>
                  <a:cubicBezTo>
                    <a:pt x="9890" y="174045"/>
                    <a:pt x="9320" y="173855"/>
                    <a:pt x="8685" y="173728"/>
                  </a:cubicBezTo>
                  <a:lnTo>
                    <a:pt x="8546" y="172648"/>
                  </a:lnTo>
                  <a:cubicBezTo>
                    <a:pt x="8153" y="169994"/>
                    <a:pt x="7836" y="167467"/>
                    <a:pt x="7556" y="165130"/>
                  </a:cubicBezTo>
                  <a:cubicBezTo>
                    <a:pt x="7125" y="159110"/>
                    <a:pt x="6085" y="153154"/>
                    <a:pt x="4461" y="147350"/>
                  </a:cubicBezTo>
                  <a:cubicBezTo>
                    <a:pt x="-2502" y="125659"/>
                    <a:pt x="-2286" y="118153"/>
                    <a:pt x="11742" y="105999"/>
                  </a:cubicBezTo>
                  <a:lnTo>
                    <a:pt x="11831" y="105910"/>
                  </a:lnTo>
                  <a:cubicBezTo>
                    <a:pt x="13543" y="104424"/>
                    <a:pt x="15421" y="102900"/>
                    <a:pt x="17501" y="101275"/>
                  </a:cubicBezTo>
                  <a:cubicBezTo>
                    <a:pt x="17653" y="101135"/>
                    <a:pt x="17818" y="100995"/>
                    <a:pt x="17983" y="100868"/>
                  </a:cubicBezTo>
                  <a:cubicBezTo>
                    <a:pt x="18668" y="100373"/>
                    <a:pt x="19378" y="99839"/>
                    <a:pt x="20101" y="99293"/>
                  </a:cubicBezTo>
                  <a:cubicBezTo>
                    <a:pt x="22257" y="97630"/>
                    <a:pt x="24642" y="96144"/>
                    <a:pt x="26925" y="94620"/>
                  </a:cubicBezTo>
                  <a:cubicBezTo>
                    <a:pt x="27116" y="94836"/>
                    <a:pt x="27242" y="95064"/>
                    <a:pt x="27420" y="95331"/>
                  </a:cubicBezTo>
                  <a:cubicBezTo>
                    <a:pt x="32151" y="102265"/>
                    <a:pt x="31517" y="104513"/>
                    <a:pt x="29487" y="109060"/>
                  </a:cubicBezTo>
                  <a:cubicBezTo>
                    <a:pt x="27471" y="113606"/>
                    <a:pt x="24959" y="111942"/>
                    <a:pt x="22663" y="115765"/>
                  </a:cubicBezTo>
                  <a:cubicBezTo>
                    <a:pt x="20368" y="119537"/>
                    <a:pt x="23602" y="123233"/>
                    <a:pt x="27826" y="121620"/>
                  </a:cubicBezTo>
                  <a:cubicBezTo>
                    <a:pt x="32050" y="119944"/>
                    <a:pt x="33090" y="120490"/>
                    <a:pt x="36959" y="122738"/>
                  </a:cubicBezTo>
                  <a:cubicBezTo>
                    <a:pt x="40815" y="125252"/>
                    <a:pt x="45216" y="126789"/>
                    <a:pt x="49808" y="127195"/>
                  </a:cubicBezTo>
                  <a:cubicBezTo>
                    <a:pt x="56720" y="128186"/>
                    <a:pt x="53625" y="136098"/>
                    <a:pt x="57494" y="139832"/>
                  </a:cubicBezTo>
                  <a:cubicBezTo>
                    <a:pt x="61350" y="143616"/>
                    <a:pt x="66754" y="136999"/>
                    <a:pt x="72943" y="129583"/>
                  </a:cubicBezTo>
                  <a:cubicBezTo>
                    <a:pt x="78131" y="119893"/>
                    <a:pt x="81632" y="109390"/>
                    <a:pt x="83281" y="98531"/>
                  </a:cubicBezTo>
                  <a:cubicBezTo>
                    <a:pt x="84943" y="93083"/>
                    <a:pt x="87378" y="98531"/>
                    <a:pt x="89179" y="95064"/>
                  </a:cubicBezTo>
                  <a:cubicBezTo>
                    <a:pt x="94900" y="88295"/>
                    <a:pt x="102016" y="82834"/>
                    <a:pt x="110032" y="79050"/>
                  </a:cubicBezTo>
                  <a:cubicBezTo>
                    <a:pt x="119913" y="73830"/>
                    <a:pt x="139599" y="65816"/>
                    <a:pt x="148985" y="60558"/>
                  </a:cubicBezTo>
                  <a:cubicBezTo>
                    <a:pt x="158207" y="52164"/>
                    <a:pt x="164130" y="40759"/>
                    <a:pt x="165703" y="28376"/>
                  </a:cubicBezTo>
                  <a:cubicBezTo>
                    <a:pt x="166959" y="20007"/>
                    <a:pt x="167364" y="25367"/>
                    <a:pt x="169800" y="20731"/>
                  </a:cubicBezTo>
                  <a:cubicBezTo>
                    <a:pt x="172273" y="16057"/>
                    <a:pt x="168849" y="12768"/>
                    <a:pt x="164942" y="8717"/>
                  </a:cubicBezTo>
                  <a:cubicBezTo>
                    <a:pt x="161035" y="4716"/>
                    <a:pt x="163191" y="2964"/>
                    <a:pt x="164942" y="398"/>
                  </a:cubicBezTo>
                  <a:cubicBezTo>
                    <a:pt x="170104" y="2329"/>
                    <a:pt x="171284" y="-2167"/>
                    <a:pt x="175774" y="1478"/>
                  </a:cubicBezTo>
                  <a:cubicBezTo>
                    <a:pt x="180264" y="5123"/>
                    <a:pt x="183004" y="4754"/>
                    <a:pt x="186023" y="6964"/>
                  </a:cubicBezTo>
                  <a:cubicBezTo>
                    <a:pt x="189042" y="9174"/>
                    <a:pt x="189473" y="9212"/>
                    <a:pt x="193748" y="16324"/>
                  </a:cubicBezTo>
                  <a:cubicBezTo>
                    <a:pt x="198022" y="23385"/>
                    <a:pt x="196982" y="27703"/>
                    <a:pt x="200889" y="29647"/>
                  </a:cubicBezTo>
                  <a:cubicBezTo>
                    <a:pt x="204808" y="31577"/>
                    <a:pt x="205252" y="34600"/>
                    <a:pt x="211100" y="34688"/>
                  </a:cubicBezTo>
                  <a:cubicBezTo>
                    <a:pt x="216896" y="34765"/>
                    <a:pt x="216313" y="30040"/>
                    <a:pt x="218558" y="36390"/>
                  </a:cubicBezTo>
                  <a:cubicBezTo>
                    <a:pt x="220803" y="42740"/>
                    <a:pt x="220537" y="48811"/>
                    <a:pt x="224266" y="49217"/>
                  </a:cubicBezTo>
                  <a:cubicBezTo>
                    <a:pt x="227995" y="49573"/>
                    <a:pt x="229162" y="44721"/>
                    <a:pt x="230912" y="52100"/>
                  </a:cubicBezTo>
                  <a:cubicBezTo>
                    <a:pt x="232663" y="59479"/>
                    <a:pt x="230912" y="66045"/>
                    <a:pt x="235720" y="67581"/>
                  </a:cubicBezTo>
                  <a:cubicBezTo>
                    <a:pt x="240489" y="69105"/>
                    <a:pt x="240121" y="63073"/>
                    <a:pt x="245702" y="65422"/>
                  </a:cubicBezTo>
                  <a:cubicBezTo>
                    <a:pt x="251270" y="67759"/>
                    <a:pt x="250015" y="67581"/>
                    <a:pt x="254467" y="67581"/>
                  </a:cubicBezTo>
                  <a:cubicBezTo>
                    <a:pt x="258957" y="67581"/>
                    <a:pt x="258285" y="64825"/>
                    <a:pt x="263130" y="65016"/>
                  </a:cubicBezTo>
                  <a:cubicBezTo>
                    <a:pt x="267988" y="65194"/>
                    <a:pt x="266504" y="60101"/>
                    <a:pt x="271591" y="61371"/>
                  </a:cubicBezTo>
                  <a:cubicBezTo>
                    <a:pt x="276651" y="62578"/>
                    <a:pt x="274825" y="60736"/>
                    <a:pt x="279087" y="63073"/>
                  </a:cubicBezTo>
                  <a:cubicBezTo>
                    <a:pt x="283361" y="65422"/>
                    <a:pt x="279315" y="63441"/>
                    <a:pt x="286862" y="62857"/>
                  </a:cubicBezTo>
                  <a:cubicBezTo>
                    <a:pt x="294460" y="62222"/>
                    <a:pt x="291314" y="61231"/>
                    <a:pt x="298684" y="64825"/>
                  </a:cubicBezTo>
                  <a:cubicBezTo>
                    <a:pt x="306003" y="68432"/>
                    <a:pt x="303808" y="69016"/>
                    <a:pt x="308070" y="70045"/>
                  </a:cubicBezTo>
                  <a:cubicBezTo>
                    <a:pt x="312294" y="71087"/>
                    <a:pt x="314945" y="71531"/>
                    <a:pt x="316429" y="74871"/>
                  </a:cubicBezTo>
                  <a:cubicBezTo>
                    <a:pt x="317431" y="78288"/>
                    <a:pt x="316657" y="81996"/>
                    <a:pt x="314362" y="84714"/>
                  </a:cubicBezTo>
                  <a:cubicBezTo>
                    <a:pt x="312522" y="87279"/>
                    <a:pt x="302312" y="101732"/>
                    <a:pt x="302312" y="101732"/>
                  </a:cubicBezTo>
                  <a:cubicBezTo>
                    <a:pt x="302312" y="101732"/>
                    <a:pt x="298088" y="104297"/>
                    <a:pt x="302312" y="108158"/>
                  </a:cubicBezTo>
                  <a:cubicBezTo>
                    <a:pt x="306586" y="112031"/>
                    <a:pt x="308375" y="105199"/>
                    <a:pt x="310759" y="107269"/>
                  </a:cubicBezTo>
                  <a:cubicBezTo>
                    <a:pt x="312421" y="108742"/>
                    <a:pt x="317139" y="114013"/>
                    <a:pt x="319790" y="117022"/>
                  </a:cubicBezTo>
                  <a:cubicBezTo>
                    <a:pt x="319790" y="117022"/>
                    <a:pt x="317989" y="123233"/>
                    <a:pt x="313905" y="121036"/>
                  </a:cubicBezTo>
                  <a:cubicBezTo>
                    <a:pt x="309770" y="118826"/>
                    <a:pt x="311076" y="117924"/>
                    <a:pt x="306041" y="117657"/>
                  </a:cubicBezTo>
                  <a:cubicBezTo>
                    <a:pt x="305280" y="117670"/>
                    <a:pt x="304519" y="117556"/>
                    <a:pt x="303796" y="117340"/>
                  </a:cubicBezTo>
                  <a:cubicBezTo>
                    <a:pt x="303796" y="117480"/>
                    <a:pt x="303440" y="117886"/>
                    <a:pt x="301005" y="118737"/>
                  </a:cubicBezTo>
                  <a:cubicBezTo>
                    <a:pt x="295246" y="120769"/>
                    <a:pt x="294257" y="123512"/>
                    <a:pt x="290401" y="124719"/>
                  </a:cubicBezTo>
                  <a:cubicBezTo>
                    <a:pt x="286647" y="125328"/>
                    <a:pt x="282867" y="125608"/>
                    <a:pt x="279074" y="125531"/>
                  </a:cubicBezTo>
                  <a:cubicBezTo>
                    <a:pt x="277121" y="125531"/>
                    <a:pt x="275205" y="125976"/>
                    <a:pt x="273455" y="126840"/>
                  </a:cubicBezTo>
                  <a:cubicBezTo>
                    <a:pt x="269764" y="128453"/>
                    <a:pt x="264107" y="127106"/>
                    <a:pt x="261950" y="129634"/>
                  </a:cubicBezTo>
                  <a:cubicBezTo>
                    <a:pt x="259743" y="132110"/>
                    <a:pt x="255926" y="132644"/>
                    <a:pt x="253236" y="135387"/>
                  </a:cubicBezTo>
                  <a:cubicBezTo>
                    <a:pt x="251626" y="137152"/>
                    <a:pt x="249761" y="138651"/>
                    <a:pt x="247706" y="139844"/>
                  </a:cubicBezTo>
                  <a:cubicBezTo>
                    <a:pt x="243888" y="142588"/>
                    <a:pt x="241859" y="136923"/>
                    <a:pt x="240375" y="143540"/>
                  </a:cubicBezTo>
                  <a:cubicBezTo>
                    <a:pt x="238891" y="150106"/>
                    <a:pt x="235618" y="150144"/>
                    <a:pt x="235745" y="155275"/>
                  </a:cubicBezTo>
                  <a:cubicBezTo>
                    <a:pt x="233183" y="164927"/>
                    <a:pt x="229314" y="174172"/>
                    <a:pt x="224240" y="182770"/>
                  </a:cubicBezTo>
                  <a:cubicBezTo>
                    <a:pt x="221678" y="187406"/>
                    <a:pt x="217239" y="200906"/>
                    <a:pt x="214677" y="204005"/>
                  </a:cubicBezTo>
                  <a:cubicBezTo>
                    <a:pt x="212114" y="207154"/>
                    <a:pt x="210313" y="205186"/>
                    <a:pt x="207700" y="208869"/>
                  </a:cubicBezTo>
                  <a:cubicBezTo>
                    <a:pt x="205151" y="212514"/>
                    <a:pt x="205455" y="212374"/>
                    <a:pt x="209146" y="215219"/>
                  </a:cubicBezTo>
                  <a:cubicBezTo>
                    <a:pt x="212875" y="218013"/>
                    <a:pt x="212558" y="217251"/>
                    <a:pt x="213053" y="220756"/>
                  </a:cubicBezTo>
                  <a:cubicBezTo>
                    <a:pt x="212749" y="223880"/>
                    <a:pt x="213890" y="226992"/>
                    <a:pt x="216161" y="229163"/>
                  </a:cubicBezTo>
                  <a:cubicBezTo>
                    <a:pt x="221970" y="235056"/>
                    <a:pt x="227323" y="241394"/>
                    <a:pt x="232155" y="248112"/>
                  </a:cubicBezTo>
                  <a:cubicBezTo>
                    <a:pt x="234806" y="253471"/>
                    <a:pt x="234946" y="251528"/>
                    <a:pt x="233995" y="256481"/>
                  </a:cubicBezTo>
                  <a:cubicBezTo>
                    <a:pt x="233005" y="261472"/>
                    <a:pt x="224608" y="261523"/>
                    <a:pt x="228959" y="264000"/>
                  </a:cubicBezTo>
                  <a:cubicBezTo>
                    <a:pt x="230621" y="264940"/>
                    <a:pt x="230583" y="265206"/>
                    <a:pt x="230481" y="265295"/>
                  </a:cubicBezTo>
                  <a:cubicBezTo>
                    <a:pt x="232815" y="265447"/>
                    <a:pt x="235124" y="265765"/>
                    <a:pt x="237407" y="266248"/>
                  </a:cubicBezTo>
                  <a:cubicBezTo>
                    <a:pt x="249051" y="268318"/>
                    <a:pt x="244243" y="262641"/>
                    <a:pt x="250040" y="268406"/>
                  </a:cubicBezTo>
                  <a:cubicBezTo>
                    <a:pt x="252907" y="271632"/>
                    <a:pt x="255583" y="275023"/>
                    <a:pt x="258031" y="278579"/>
                  </a:cubicBezTo>
                  <a:cubicBezTo>
                    <a:pt x="263181" y="282135"/>
                    <a:pt x="269358" y="283926"/>
                    <a:pt x="275611" y="283659"/>
                  </a:cubicBezTo>
                  <a:cubicBezTo>
                    <a:pt x="281218" y="283291"/>
                    <a:pt x="283070" y="282580"/>
                    <a:pt x="285492" y="279913"/>
                  </a:cubicBezTo>
                  <a:cubicBezTo>
                    <a:pt x="289145" y="275645"/>
                    <a:pt x="293636" y="272178"/>
                    <a:pt x="298709" y="269753"/>
                  </a:cubicBezTo>
                  <a:cubicBezTo>
                    <a:pt x="304366" y="267454"/>
                    <a:pt x="304544" y="261066"/>
                    <a:pt x="304366" y="269029"/>
                  </a:cubicBezTo>
                  <a:cubicBezTo>
                    <a:pt x="304227" y="276954"/>
                    <a:pt x="304366" y="274210"/>
                    <a:pt x="304366" y="282529"/>
                  </a:cubicBezTo>
                  <a:cubicBezTo>
                    <a:pt x="304417" y="290809"/>
                    <a:pt x="298798" y="309161"/>
                    <a:pt x="303022" y="310520"/>
                  </a:cubicBezTo>
                  <a:cubicBezTo>
                    <a:pt x="307284" y="311866"/>
                    <a:pt x="305445" y="315244"/>
                    <a:pt x="310975" y="313708"/>
                  </a:cubicBezTo>
                  <a:cubicBezTo>
                    <a:pt x="316543" y="312222"/>
                    <a:pt x="315744" y="309034"/>
                    <a:pt x="324192" y="309745"/>
                  </a:cubicBezTo>
                  <a:cubicBezTo>
                    <a:pt x="330534" y="310240"/>
                    <a:pt x="328593" y="309034"/>
                    <a:pt x="332005" y="309212"/>
                  </a:cubicBezTo>
                  <a:cubicBezTo>
                    <a:pt x="333692" y="313047"/>
                    <a:pt x="335582" y="316781"/>
                    <a:pt x="337675" y="320413"/>
                  </a:cubicBezTo>
                  <a:cubicBezTo>
                    <a:pt x="339958" y="323969"/>
                    <a:pt x="346884" y="334866"/>
                    <a:pt x="350651" y="341292"/>
                  </a:cubicBezTo>
                  <a:cubicBezTo>
                    <a:pt x="353885" y="345458"/>
                    <a:pt x="355509" y="350652"/>
                    <a:pt x="355268" y="355910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6" name="Vrije vorm 345">
              <a:extLst>
                <a:ext uri="{FF2B5EF4-FFF2-40B4-BE49-F238E27FC236}">
                  <a16:creationId xmlns:a16="http://schemas.microsoft.com/office/drawing/2014/main" id="{9C3E1634-9C46-494A-9A45-1BFE2805B60E}"/>
                </a:ext>
              </a:extLst>
            </p:cNvPr>
            <p:cNvSpPr/>
            <p:nvPr/>
          </p:nvSpPr>
          <p:spPr>
            <a:xfrm>
              <a:off x="3714564" y="4948843"/>
              <a:ext cx="236671" cy="256419"/>
            </a:xfrm>
            <a:custGeom>
              <a:avLst/>
              <a:gdLst>
                <a:gd name="connsiteX0" fmla="*/ 236166 w 236671"/>
                <a:gd name="connsiteY0" fmla="*/ 162526 h 256419"/>
                <a:gd name="connsiteX1" fmla="*/ 228797 w 236671"/>
                <a:gd name="connsiteY1" fmla="*/ 193984 h 256419"/>
                <a:gd name="connsiteX2" fmla="*/ 228657 w 236671"/>
                <a:gd name="connsiteY2" fmla="*/ 195470 h 256419"/>
                <a:gd name="connsiteX3" fmla="*/ 223444 w 236671"/>
                <a:gd name="connsiteY3" fmla="*/ 219041 h 256419"/>
                <a:gd name="connsiteX4" fmla="*/ 216340 w 236671"/>
                <a:gd name="connsiteY4" fmla="*/ 231462 h 256419"/>
                <a:gd name="connsiteX5" fmla="*/ 209960 w 236671"/>
                <a:gd name="connsiteY5" fmla="*/ 237672 h 256419"/>
                <a:gd name="connsiteX6" fmla="*/ 202147 w 236671"/>
                <a:gd name="connsiteY6" fmla="*/ 240504 h 256419"/>
                <a:gd name="connsiteX7" fmla="*/ 194917 w 236671"/>
                <a:gd name="connsiteY7" fmla="*/ 253153 h 256419"/>
                <a:gd name="connsiteX8" fmla="*/ 186419 w 236671"/>
                <a:gd name="connsiteY8" fmla="*/ 251312 h 256419"/>
                <a:gd name="connsiteX9" fmla="*/ 176614 w 236671"/>
                <a:gd name="connsiteY9" fmla="*/ 256303 h 256419"/>
                <a:gd name="connsiteX10" fmla="*/ 163676 w 236671"/>
                <a:gd name="connsiteY10" fmla="*/ 253420 h 256419"/>
                <a:gd name="connsiteX11" fmla="*/ 154201 w 236671"/>
                <a:gd name="connsiteY11" fmla="*/ 253737 h 256419"/>
                <a:gd name="connsiteX12" fmla="*/ 134655 w 236671"/>
                <a:gd name="connsiteY12" fmla="*/ 249775 h 256419"/>
                <a:gd name="connsiteX13" fmla="*/ 119281 w 236671"/>
                <a:gd name="connsiteY13" fmla="*/ 248517 h 256419"/>
                <a:gd name="connsiteX14" fmla="*/ 117531 w 236671"/>
                <a:gd name="connsiteY14" fmla="*/ 242853 h 256419"/>
                <a:gd name="connsiteX15" fmla="*/ 123873 w 236671"/>
                <a:gd name="connsiteY15" fmla="*/ 231601 h 256419"/>
                <a:gd name="connsiteX16" fmla="*/ 125661 w 236671"/>
                <a:gd name="connsiteY16" fmla="*/ 223410 h 256419"/>
                <a:gd name="connsiteX17" fmla="*/ 132232 w 236671"/>
                <a:gd name="connsiteY17" fmla="*/ 212526 h 256419"/>
                <a:gd name="connsiteX18" fmla="*/ 140629 w 236671"/>
                <a:gd name="connsiteY18" fmla="*/ 197717 h 256419"/>
                <a:gd name="connsiteX19" fmla="*/ 142252 w 236671"/>
                <a:gd name="connsiteY19" fmla="*/ 187684 h 256419"/>
                <a:gd name="connsiteX20" fmla="*/ 122072 w 236671"/>
                <a:gd name="connsiteY20" fmla="*/ 176026 h 256419"/>
                <a:gd name="connsiteX21" fmla="*/ 105988 w 236671"/>
                <a:gd name="connsiteY21" fmla="*/ 166628 h 256419"/>
                <a:gd name="connsiteX22" fmla="*/ 76003 w 236671"/>
                <a:gd name="connsiteY22" fmla="*/ 147464 h 256419"/>
                <a:gd name="connsiteX23" fmla="*/ 68329 w 236671"/>
                <a:gd name="connsiteY23" fmla="*/ 146028 h 256419"/>
                <a:gd name="connsiteX24" fmla="*/ 58752 w 236671"/>
                <a:gd name="connsiteY24" fmla="*/ 143324 h 256419"/>
                <a:gd name="connsiteX25" fmla="*/ 46842 w 236671"/>
                <a:gd name="connsiteY25" fmla="*/ 141520 h 256419"/>
                <a:gd name="connsiteX26" fmla="*/ 37494 w 236671"/>
                <a:gd name="connsiteY26" fmla="*/ 131487 h 256419"/>
                <a:gd name="connsiteX27" fmla="*/ 24277 w 236671"/>
                <a:gd name="connsiteY27" fmla="*/ 123080 h 256419"/>
                <a:gd name="connsiteX28" fmla="*/ 12189 w 236671"/>
                <a:gd name="connsiteY28" fmla="*/ 102912 h 256419"/>
                <a:gd name="connsiteX29" fmla="*/ -26 w 236671"/>
                <a:gd name="connsiteY29" fmla="*/ 91126 h 256419"/>
                <a:gd name="connsiteX30" fmla="*/ 12189 w 236671"/>
                <a:gd name="connsiteY30" fmla="*/ 40288 h 256419"/>
                <a:gd name="connsiteX31" fmla="*/ 47958 w 236671"/>
                <a:gd name="connsiteY31" fmla="*/ 7027 h 256419"/>
                <a:gd name="connsiteX32" fmla="*/ 92860 w 236671"/>
                <a:gd name="connsiteY32" fmla="*/ 817 h 256419"/>
                <a:gd name="connsiteX33" fmla="*/ 119370 w 236671"/>
                <a:gd name="connsiteY33" fmla="*/ 13009 h 256419"/>
                <a:gd name="connsiteX34" fmla="*/ 129302 w 236671"/>
                <a:gd name="connsiteY34" fmla="*/ 26420 h 256419"/>
                <a:gd name="connsiteX35" fmla="*/ 126739 w 236671"/>
                <a:gd name="connsiteY35" fmla="*/ 28262 h 256419"/>
                <a:gd name="connsiteX36" fmla="*/ 130963 w 236671"/>
                <a:gd name="connsiteY36" fmla="*/ 38752 h 256419"/>
                <a:gd name="connsiteX37" fmla="*/ 134109 w 236671"/>
                <a:gd name="connsiteY37" fmla="*/ 50906 h 256419"/>
                <a:gd name="connsiteX38" fmla="*/ 133881 w 236671"/>
                <a:gd name="connsiteY38" fmla="*/ 69663 h 256419"/>
                <a:gd name="connsiteX39" fmla="*/ 133881 w 236671"/>
                <a:gd name="connsiteY39" fmla="*/ 87748 h 256419"/>
                <a:gd name="connsiteX40" fmla="*/ 143863 w 236671"/>
                <a:gd name="connsiteY40" fmla="*/ 89018 h 256419"/>
                <a:gd name="connsiteX41" fmla="*/ 153528 w 236671"/>
                <a:gd name="connsiteY41" fmla="*/ 89552 h 256419"/>
                <a:gd name="connsiteX42" fmla="*/ 166555 w 236671"/>
                <a:gd name="connsiteY42" fmla="*/ 91215 h 256419"/>
                <a:gd name="connsiteX43" fmla="*/ 175992 w 236671"/>
                <a:gd name="connsiteY43" fmla="*/ 86084 h 256419"/>
                <a:gd name="connsiteX44" fmla="*/ 181611 w 236671"/>
                <a:gd name="connsiteY44" fmla="*/ 90314 h 256419"/>
                <a:gd name="connsiteX45" fmla="*/ 193154 w 236671"/>
                <a:gd name="connsiteY45" fmla="*/ 92434 h 256419"/>
                <a:gd name="connsiteX46" fmla="*/ 199356 w 236671"/>
                <a:gd name="connsiteY46" fmla="*/ 115333 h 256419"/>
                <a:gd name="connsiteX47" fmla="*/ 210595 w 236671"/>
                <a:gd name="connsiteY47" fmla="*/ 145749 h 256419"/>
                <a:gd name="connsiteX48" fmla="*/ 226552 w 236671"/>
                <a:gd name="connsiteY48" fmla="*/ 139145 h 256419"/>
                <a:gd name="connsiteX49" fmla="*/ 233655 w 236671"/>
                <a:gd name="connsiteY49" fmla="*/ 143324 h 256419"/>
                <a:gd name="connsiteX50" fmla="*/ 236166 w 236671"/>
                <a:gd name="connsiteY50" fmla="*/ 162526 h 256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236671" h="256419">
                  <a:moveTo>
                    <a:pt x="236166" y="162526"/>
                  </a:moveTo>
                  <a:cubicBezTo>
                    <a:pt x="235494" y="169282"/>
                    <a:pt x="229608" y="184179"/>
                    <a:pt x="228797" y="193984"/>
                  </a:cubicBezTo>
                  <a:lnTo>
                    <a:pt x="228657" y="195470"/>
                  </a:lnTo>
                  <a:cubicBezTo>
                    <a:pt x="228251" y="203559"/>
                    <a:pt x="226488" y="211535"/>
                    <a:pt x="223444" y="219041"/>
                  </a:cubicBezTo>
                  <a:cubicBezTo>
                    <a:pt x="221605" y="220844"/>
                    <a:pt x="220970" y="228096"/>
                    <a:pt x="216340" y="231462"/>
                  </a:cubicBezTo>
                  <a:cubicBezTo>
                    <a:pt x="211711" y="234840"/>
                    <a:pt x="215668" y="236237"/>
                    <a:pt x="209960" y="237672"/>
                  </a:cubicBezTo>
                  <a:cubicBezTo>
                    <a:pt x="204214" y="239158"/>
                    <a:pt x="205914" y="237722"/>
                    <a:pt x="202147" y="240504"/>
                  </a:cubicBezTo>
                  <a:cubicBezTo>
                    <a:pt x="198329" y="243260"/>
                    <a:pt x="199902" y="247984"/>
                    <a:pt x="194917" y="253153"/>
                  </a:cubicBezTo>
                  <a:cubicBezTo>
                    <a:pt x="189920" y="258284"/>
                    <a:pt x="191771" y="250905"/>
                    <a:pt x="186419" y="251312"/>
                  </a:cubicBezTo>
                  <a:cubicBezTo>
                    <a:pt x="181066" y="251718"/>
                    <a:pt x="181738" y="257293"/>
                    <a:pt x="176614" y="256303"/>
                  </a:cubicBezTo>
                  <a:cubicBezTo>
                    <a:pt x="171452" y="255312"/>
                    <a:pt x="172174" y="253597"/>
                    <a:pt x="163676" y="253420"/>
                  </a:cubicBezTo>
                  <a:cubicBezTo>
                    <a:pt x="160517" y="253306"/>
                    <a:pt x="157346" y="253407"/>
                    <a:pt x="154201" y="253737"/>
                  </a:cubicBezTo>
                  <a:cubicBezTo>
                    <a:pt x="147605" y="252848"/>
                    <a:pt x="141073" y="251527"/>
                    <a:pt x="134655" y="249775"/>
                  </a:cubicBezTo>
                  <a:cubicBezTo>
                    <a:pt x="129568" y="248937"/>
                    <a:pt x="124431" y="248505"/>
                    <a:pt x="119281" y="248517"/>
                  </a:cubicBezTo>
                  <a:cubicBezTo>
                    <a:pt x="115007" y="247984"/>
                    <a:pt x="115691" y="246219"/>
                    <a:pt x="117531" y="242853"/>
                  </a:cubicBezTo>
                  <a:cubicBezTo>
                    <a:pt x="120347" y="239539"/>
                    <a:pt x="122503" y="235729"/>
                    <a:pt x="123873" y="231601"/>
                  </a:cubicBezTo>
                  <a:cubicBezTo>
                    <a:pt x="124900" y="226242"/>
                    <a:pt x="125534" y="225124"/>
                    <a:pt x="125661" y="223410"/>
                  </a:cubicBezTo>
                  <a:cubicBezTo>
                    <a:pt x="125852" y="221657"/>
                    <a:pt x="127729" y="213821"/>
                    <a:pt x="132232" y="212526"/>
                  </a:cubicBezTo>
                  <a:cubicBezTo>
                    <a:pt x="136722" y="211218"/>
                    <a:pt x="138929" y="201540"/>
                    <a:pt x="140629" y="197717"/>
                  </a:cubicBezTo>
                  <a:cubicBezTo>
                    <a:pt x="142379" y="193933"/>
                    <a:pt x="146070" y="196194"/>
                    <a:pt x="142252" y="187684"/>
                  </a:cubicBezTo>
                  <a:cubicBezTo>
                    <a:pt x="138041" y="180522"/>
                    <a:pt x="130380" y="176089"/>
                    <a:pt x="122072" y="176026"/>
                  </a:cubicBezTo>
                  <a:cubicBezTo>
                    <a:pt x="117265" y="176344"/>
                    <a:pt x="105988" y="166628"/>
                    <a:pt x="105988" y="166628"/>
                  </a:cubicBezTo>
                  <a:cubicBezTo>
                    <a:pt x="105988" y="166628"/>
                    <a:pt x="80455" y="150613"/>
                    <a:pt x="76003" y="147464"/>
                  </a:cubicBezTo>
                  <a:cubicBezTo>
                    <a:pt x="71564" y="144314"/>
                    <a:pt x="73047" y="145254"/>
                    <a:pt x="68329" y="146028"/>
                  </a:cubicBezTo>
                  <a:cubicBezTo>
                    <a:pt x="63610" y="146790"/>
                    <a:pt x="64460" y="145343"/>
                    <a:pt x="58752" y="143324"/>
                  </a:cubicBezTo>
                  <a:cubicBezTo>
                    <a:pt x="53044" y="141291"/>
                    <a:pt x="50711" y="143234"/>
                    <a:pt x="46842" y="141520"/>
                  </a:cubicBezTo>
                  <a:cubicBezTo>
                    <a:pt x="43024" y="139856"/>
                    <a:pt x="43785" y="135678"/>
                    <a:pt x="37494" y="131487"/>
                  </a:cubicBezTo>
                  <a:cubicBezTo>
                    <a:pt x="31152" y="127258"/>
                    <a:pt x="30758" y="125188"/>
                    <a:pt x="24277" y="123080"/>
                  </a:cubicBezTo>
                  <a:cubicBezTo>
                    <a:pt x="17808" y="120959"/>
                    <a:pt x="14307" y="107865"/>
                    <a:pt x="12189" y="102912"/>
                  </a:cubicBezTo>
                  <a:cubicBezTo>
                    <a:pt x="8929" y="98213"/>
                    <a:pt x="4781" y="94213"/>
                    <a:pt x="-26" y="91126"/>
                  </a:cubicBezTo>
                  <a:cubicBezTo>
                    <a:pt x="2130" y="73778"/>
                    <a:pt x="6240" y="56722"/>
                    <a:pt x="12189" y="40288"/>
                  </a:cubicBezTo>
                  <a:cubicBezTo>
                    <a:pt x="19393" y="24997"/>
                    <a:pt x="32204" y="13085"/>
                    <a:pt x="47958" y="7027"/>
                  </a:cubicBezTo>
                  <a:cubicBezTo>
                    <a:pt x="62063" y="804"/>
                    <a:pt x="77614" y="-1342"/>
                    <a:pt x="92860" y="817"/>
                  </a:cubicBezTo>
                  <a:cubicBezTo>
                    <a:pt x="102589" y="2557"/>
                    <a:pt x="111709" y="6761"/>
                    <a:pt x="119370" y="13009"/>
                  </a:cubicBezTo>
                  <a:cubicBezTo>
                    <a:pt x="123708" y="16615"/>
                    <a:pt x="127120" y="21213"/>
                    <a:pt x="129302" y="26420"/>
                  </a:cubicBezTo>
                  <a:cubicBezTo>
                    <a:pt x="127907" y="27461"/>
                    <a:pt x="126739" y="28262"/>
                    <a:pt x="126739" y="28262"/>
                  </a:cubicBezTo>
                  <a:cubicBezTo>
                    <a:pt x="126739" y="28262"/>
                    <a:pt x="129657" y="34967"/>
                    <a:pt x="130963" y="38752"/>
                  </a:cubicBezTo>
                  <a:cubicBezTo>
                    <a:pt x="132270" y="42536"/>
                    <a:pt x="132219" y="44733"/>
                    <a:pt x="134109" y="50906"/>
                  </a:cubicBezTo>
                  <a:cubicBezTo>
                    <a:pt x="135745" y="57052"/>
                    <a:pt x="135669" y="63555"/>
                    <a:pt x="133881" y="69663"/>
                  </a:cubicBezTo>
                  <a:cubicBezTo>
                    <a:pt x="132384" y="75607"/>
                    <a:pt x="132384" y="81817"/>
                    <a:pt x="133881" y="87748"/>
                  </a:cubicBezTo>
                  <a:cubicBezTo>
                    <a:pt x="135276" y="92206"/>
                    <a:pt x="136443" y="87710"/>
                    <a:pt x="143863" y="89018"/>
                  </a:cubicBezTo>
                  <a:cubicBezTo>
                    <a:pt x="151271" y="90276"/>
                    <a:pt x="148531" y="87837"/>
                    <a:pt x="153528" y="89552"/>
                  </a:cubicBezTo>
                  <a:cubicBezTo>
                    <a:pt x="157740" y="90872"/>
                    <a:pt x="162141" y="91444"/>
                    <a:pt x="166555" y="91215"/>
                  </a:cubicBezTo>
                  <a:cubicBezTo>
                    <a:pt x="172530" y="91444"/>
                    <a:pt x="171452" y="88917"/>
                    <a:pt x="175992" y="86084"/>
                  </a:cubicBezTo>
                  <a:cubicBezTo>
                    <a:pt x="180533" y="83214"/>
                    <a:pt x="176576" y="86986"/>
                    <a:pt x="181611" y="90314"/>
                  </a:cubicBezTo>
                  <a:cubicBezTo>
                    <a:pt x="186647" y="93692"/>
                    <a:pt x="188169" y="90682"/>
                    <a:pt x="193154" y="92434"/>
                  </a:cubicBezTo>
                  <a:cubicBezTo>
                    <a:pt x="198151" y="94149"/>
                    <a:pt x="200714" y="97476"/>
                    <a:pt x="199356" y="115333"/>
                  </a:cubicBezTo>
                  <a:cubicBezTo>
                    <a:pt x="197543" y="126737"/>
                    <a:pt x="201804" y="138269"/>
                    <a:pt x="210595" y="145749"/>
                  </a:cubicBezTo>
                  <a:cubicBezTo>
                    <a:pt x="214641" y="148188"/>
                    <a:pt x="224573" y="140212"/>
                    <a:pt x="226552" y="139145"/>
                  </a:cubicBezTo>
                  <a:cubicBezTo>
                    <a:pt x="228530" y="138015"/>
                    <a:pt x="230686" y="138244"/>
                    <a:pt x="233655" y="143324"/>
                  </a:cubicBezTo>
                  <a:cubicBezTo>
                    <a:pt x="236420" y="149318"/>
                    <a:pt x="237295" y="156024"/>
                    <a:pt x="236166" y="162526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7" name="Vrije vorm 346">
              <a:extLst>
                <a:ext uri="{FF2B5EF4-FFF2-40B4-BE49-F238E27FC236}">
                  <a16:creationId xmlns:a16="http://schemas.microsoft.com/office/drawing/2014/main" id="{8A3605D7-879F-984A-854F-BC82463B61FF}"/>
                </a:ext>
              </a:extLst>
            </p:cNvPr>
            <p:cNvSpPr/>
            <p:nvPr/>
          </p:nvSpPr>
          <p:spPr>
            <a:xfrm>
              <a:off x="3390855" y="4247036"/>
              <a:ext cx="1111141" cy="1161486"/>
            </a:xfrm>
            <a:custGeom>
              <a:avLst/>
              <a:gdLst>
                <a:gd name="connsiteX0" fmla="*/ 1110254 w 1111141"/>
                <a:gd name="connsiteY0" fmla="*/ 350033 h 1161486"/>
                <a:gd name="connsiteX1" fmla="*/ 1109759 w 1111141"/>
                <a:gd name="connsiteY1" fmla="*/ 346617 h 1161486"/>
                <a:gd name="connsiteX2" fmla="*/ 1096631 w 1111141"/>
                <a:gd name="connsiteY2" fmla="*/ 302612 h 1161486"/>
                <a:gd name="connsiteX3" fmla="*/ 1096454 w 1111141"/>
                <a:gd name="connsiteY3" fmla="*/ 302027 h 1161486"/>
                <a:gd name="connsiteX4" fmla="*/ 1088945 w 1111141"/>
                <a:gd name="connsiteY4" fmla="*/ 295042 h 1161486"/>
                <a:gd name="connsiteX5" fmla="*/ 1088767 w 1111141"/>
                <a:gd name="connsiteY5" fmla="*/ 294915 h 1161486"/>
                <a:gd name="connsiteX6" fmla="*/ 1082298 w 1111141"/>
                <a:gd name="connsiteY6" fmla="*/ 293290 h 1161486"/>
                <a:gd name="connsiteX7" fmla="*/ 1066443 w 1111141"/>
                <a:gd name="connsiteY7" fmla="*/ 292655 h 1161486"/>
                <a:gd name="connsiteX8" fmla="*/ 1059657 w 1111141"/>
                <a:gd name="connsiteY8" fmla="*/ 291169 h 1161486"/>
                <a:gd name="connsiteX9" fmla="*/ 1012066 w 1111141"/>
                <a:gd name="connsiteY9" fmla="*/ 260219 h 1161486"/>
                <a:gd name="connsiteX10" fmla="*/ 1011926 w 1111141"/>
                <a:gd name="connsiteY10" fmla="*/ 260079 h 1161486"/>
                <a:gd name="connsiteX11" fmla="*/ 945816 w 1111141"/>
                <a:gd name="connsiteY11" fmla="*/ 228367 h 1161486"/>
                <a:gd name="connsiteX12" fmla="*/ 932435 w 1111141"/>
                <a:gd name="connsiteY12" fmla="*/ 229803 h 1161486"/>
                <a:gd name="connsiteX13" fmla="*/ 905734 w 1111141"/>
                <a:gd name="connsiteY13" fmla="*/ 227733 h 1161486"/>
                <a:gd name="connsiteX14" fmla="*/ 889828 w 1111141"/>
                <a:gd name="connsiteY14" fmla="*/ 222246 h 1161486"/>
                <a:gd name="connsiteX15" fmla="*/ 888750 w 1111141"/>
                <a:gd name="connsiteY15" fmla="*/ 221840 h 1161486"/>
                <a:gd name="connsiteX16" fmla="*/ 888471 w 1111141"/>
                <a:gd name="connsiteY16" fmla="*/ 221700 h 1161486"/>
                <a:gd name="connsiteX17" fmla="*/ 867174 w 1111141"/>
                <a:gd name="connsiteY17" fmla="*/ 218868 h 1161486"/>
                <a:gd name="connsiteX18" fmla="*/ 865919 w 1111141"/>
                <a:gd name="connsiteY18" fmla="*/ 219096 h 1161486"/>
                <a:gd name="connsiteX19" fmla="*/ 864752 w 1111141"/>
                <a:gd name="connsiteY19" fmla="*/ 219274 h 1161486"/>
                <a:gd name="connsiteX20" fmla="*/ 863217 w 1111141"/>
                <a:gd name="connsiteY20" fmla="*/ 219630 h 1161486"/>
                <a:gd name="connsiteX21" fmla="*/ 860706 w 1111141"/>
                <a:gd name="connsiteY21" fmla="*/ 220265 h 1161486"/>
                <a:gd name="connsiteX22" fmla="*/ 860122 w 1111141"/>
                <a:gd name="connsiteY22" fmla="*/ 220443 h 1161486"/>
                <a:gd name="connsiteX23" fmla="*/ 855403 w 1111141"/>
                <a:gd name="connsiteY23" fmla="*/ 222157 h 1161486"/>
                <a:gd name="connsiteX24" fmla="*/ 855086 w 1111141"/>
                <a:gd name="connsiteY24" fmla="*/ 222284 h 1161486"/>
                <a:gd name="connsiteX25" fmla="*/ 852702 w 1111141"/>
                <a:gd name="connsiteY25" fmla="*/ 223376 h 1161486"/>
                <a:gd name="connsiteX26" fmla="*/ 851535 w 1111141"/>
                <a:gd name="connsiteY26" fmla="*/ 223910 h 1161486"/>
                <a:gd name="connsiteX27" fmla="*/ 843354 w 1111141"/>
                <a:gd name="connsiteY27" fmla="*/ 227961 h 1161486"/>
                <a:gd name="connsiteX28" fmla="*/ 839041 w 1111141"/>
                <a:gd name="connsiteY28" fmla="*/ 230069 h 1161486"/>
                <a:gd name="connsiteX29" fmla="*/ 834373 w 1111141"/>
                <a:gd name="connsiteY29" fmla="*/ 232419 h 1161486"/>
                <a:gd name="connsiteX30" fmla="*/ 827498 w 1111141"/>
                <a:gd name="connsiteY30" fmla="*/ 235835 h 1161486"/>
                <a:gd name="connsiteX31" fmla="*/ 834195 w 1111141"/>
                <a:gd name="connsiteY31" fmla="*/ 212480 h 1161486"/>
                <a:gd name="connsiteX32" fmla="*/ 834005 w 1111141"/>
                <a:gd name="connsiteY32" fmla="*/ 210498 h 1161486"/>
                <a:gd name="connsiteX33" fmla="*/ 818010 w 1111141"/>
                <a:gd name="connsiteY33" fmla="*/ 192414 h 1161486"/>
                <a:gd name="connsiteX34" fmla="*/ 813698 w 1111141"/>
                <a:gd name="connsiteY34" fmla="*/ 190521 h 1161486"/>
                <a:gd name="connsiteX35" fmla="*/ 811998 w 1111141"/>
                <a:gd name="connsiteY35" fmla="*/ 189798 h 1161486"/>
                <a:gd name="connsiteX36" fmla="*/ 811947 w 1111141"/>
                <a:gd name="connsiteY36" fmla="*/ 189798 h 1161486"/>
                <a:gd name="connsiteX37" fmla="*/ 810324 w 1111141"/>
                <a:gd name="connsiteY37" fmla="*/ 189213 h 1161486"/>
                <a:gd name="connsiteX38" fmla="*/ 808890 w 1111141"/>
                <a:gd name="connsiteY38" fmla="*/ 188680 h 1161486"/>
                <a:gd name="connsiteX39" fmla="*/ 808662 w 1111141"/>
                <a:gd name="connsiteY39" fmla="*/ 188591 h 1161486"/>
                <a:gd name="connsiteX40" fmla="*/ 802155 w 1111141"/>
                <a:gd name="connsiteY40" fmla="*/ 186292 h 1161486"/>
                <a:gd name="connsiteX41" fmla="*/ 800265 w 1111141"/>
                <a:gd name="connsiteY41" fmla="*/ 185568 h 1161486"/>
                <a:gd name="connsiteX42" fmla="*/ 800177 w 1111141"/>
                <a:gd name="connsiteY42" fmla="*/ 185530 h 1161486"/>
                <a:gd name="connsiteX43" fmla="*/ 789978 w 1111141"/>
                <a:gd name="connsiteY43" fmla="*/ 181162 h 1161486"/>
                <a:gd name="connsiteX44" fmla="*/ 788672 w 1111141"/>
                <a:gd name="connsiteY44" fmla="*/ 180577 h 1161486"/>
                <a:gd name="connsiteX45" fmla="*/ 786642 w 1111141"/>
                <a:gd name="connsiteY45" fmla="*/ 179638 h 1161486"/>
                <a:gd name="connsiteX46" fmla="*/ 786287 w 1111141"/>
                <a:gd name="connsiteY46" fmla="*/ 179460 h 1161486"/>
                <a:gd name="connsiteX47" fmla="*/ 785247 w 1111141"/>
                <a:gd name="connsiteY47" fmla="*/ 179003 h 1161486"/>
                <a:gd name="connsiteX48" fmla="*/ 785120 w 1111141"/>
                <a:gd name="connsiteY48" fmla="*/ 178914 h 1161486"/>
                <a:gd name="connsiteX49" fmla="*/ 783370 w 1111141"/>
                <a:gd name="connsiteY49" fmla="*/ 178063 h 1161486"/>
                <a:gd name="connsiteX50" fmla="*/ 781848 w 1111141"/>
                <a:gd name="connsiteY50" fmla="*/ 177390 h 1161486"/>
                <a:gd name="connsiteX51" fmla="*/ 777929 w 1111141"/>
                <a:gd name="connsiteY51" fmla="*/ 175497 h 1161486"/>
                <a:gd name="connsiteX52" fmla="*/ 777751 w 1111141"/>
                <a:gd name="connsiteY52" fmla="*/ 175408 h 1161486"/>
                <a:gd name="connsiteX53" fmla="*/ 775240 w 1111141"/>
                <a:gd name="connsiteY53" fmla="*/ 174240 h 1161486"/>
                <a:gd name="connsiteX54" fmla="*/ 774389 w 1111141"/>
                <a:gd name="connsiteY54" fmla="*/ 173872 h 1161486"/>
                <a:gd name="connsiteX55" fmla="*/ 773083 w 1111141"/>
                <a:gd name="connsiteY55" fmla="*/ 173288 h 1161486"/>
                <a:gd name="connsiteX56" fmla="*/ 772817 w 1111141"/>
                <a:gd name="connsiteY56" fmla="*/ 173160 h 1161486"/>
                <a:gd name="connsiteX57" fmla="*/ 770293 w 1111141"/>
                <a:gd name="connsiteY57" fmla="*/ 172119 h 1161486"/>
                <a:gd name="connsiteX58" fmla="*/ 768403 w 1111141"/>
                <a:gd name="connsiteY58" fmla="*/ 171357 h 1161486"/>
                <a:gd name="connsiteX59" fmla="*/ 766614 w 1111141"/>
                <a:gd name="connsiteY59" fmla="*/ 170684 h 1161486"/>
                <a:gd name="connsiteX60" fmla="*/ 764673 w 1111141"/>
                <a:gd name="connsiteY60" fmla="*/ 170011 h 1161486"/>
                <a:gd name="connsiteX61" fmla="*/ 763684 w 1111141"/>
                <a:gd name="connsiteY61" fmla="*/ 169693 h 1161486"/>
                <a:gd name="connsiteX62" fmla="*/ 762378 w 1111141"/>
                <a:gd name="connsiteY62" fmla="*/ 169287 h 1161486"/>
                <a:gd name="connsiteX63" fmla="*/ 760767 w 1111141"/>
                <a:gd name="connsiteY63" fmla="*/ 168843 h 1161486"/>
                <a:gd name="connsiteX64" fmla="*/ 760133 w 1111141"/>
                <a:gd name="connsiteY64" fmla="*/ 168652 h 1161486"/>
                <a:gd name="connsiteX65" fmla="*/ 756492 w 1111141"/>
                <a:gd name="connsiteY65" fmla="*/ 167801 h 1161486"/>
                <a:gd name="connsiteX66" fmla="*/ 755554 w 1111141"/>
                <a:gd name="connsiteY66" fmla="*/ 167674 h 1161486"/>
                <a:gd name="connsiteX67" fmla="*/ 753575 w 1111141"/>
                <a:gd name="connsiteY67" fmla="*/ 167395 h 1161486"/>
                <a:gd name="connsiteX68" fmla="*/ 752091 w 1111141"/>
                <a:gd name="connsiteY68" fmla="*/ 167306 h 1161486"/>
                <a:gd name="connsiteX69" fmla="*/ 750340 w 1111141"/>
                <a:gd name="connsiteY69" fmla="*/ 167217 h 1161486"/>
                <a:gd name="connsiteX70" fmla="*/ 746116 w 1111141"/>
                <a:gd name="connsiteY70" fmla="*/ 167484 h 1161486"/>
                <a:gd name="connsiteX71" fmla="*/ 742337 w 1111141"/>
                <a:gd name="connsiteY71" fmla="*/ 168246 h 1161486"/>
                <a:gd name="connsiteX72" fmla="*/ 742197 w 1111141"/>
                <a:gd name="connsiteY72" fmla="*/ 168385 h 1161486"/>
                <a:gd name="connsiteX73" fmla="*/ 741309 w 1111141"/>
                <a:gd name="connsiteY73" fmla="*/ 169236 h 1161486"/>
                <a:gd name="connsiteX74" fmla="*/ 730426 w 1111141"/>
                <a:gd name="connsiteY74" fmla="*/ 179765 h 1161486"/>
                <a:gd name="connsiteX75" fmla="*/ 719733 w 1111141"/>
                <a:gd name="connsiteY75" fmla="*/ 190204 h 1161486"/>
                <a:gd name="connsiteX76" fmla="*/ 713937 w 1111141"/>
                <a:gd name="connsiteY76" fmla="*/ 195830 h 1161486"/>
                <a:gd name="connsiteX77" fmla="*/ 711603 w 1111141"/>
                <a:gd name="connsiteY77" fmla="*/ 198078 h 1161486"/>
                <a:gd name="connsiteX78" fmla="*/ 702977 w 1111141"/>
                <a:gd name="connsiteY78" fmla="*/ 206447 h 1161486"/>
                <a:gd name="connsiteX79" fmla="*/ 702838 w 1111141"/>
                <a:gd name="connsiteY79" fmla="*/ 206447 h 1161486"/>
                <a:gd name="connsiteX80" fmla="*/ 698526 w 1111141"/>
                <a:gd name="connsiteY80" fmla="*/ 205685 h 1161486"/>
                <a:gd name="connsiteX81" fmla="*/ 686615 w 1111141"/>
                <a:gd name="connsiteY81" fmla="*/ 203577 h 1161486"/>
                <a:gd name="connsiteX82" fmla="*/ 685309 w 1111141"/>
                <a:gd name="connsiteY82" fmla="*/ 203348 h 1161486"/>
                <a:gd name="connsiteX83" fmla="*/ 678307 w 1111141"/>
                <a:gd name="connsiteY83" fmla="*/ 202091 h 1161486"/>
                <a:gd name="connsiteX84" fmla="*/ 664557 w 1111141"/>
                <a:gd name="connsiteY84" fmla="*/ 199665 h 1161486"/>
                <a:gd name="connsiteX85" fmla="*/ 667018 w 1111141"/>
                <a:gd name="connsiteY85" fmla="*/ 198941 h 1161486"/>
                <a:gd name="connsiteX86" fmla="*/ 673994 w 1111141"/>
                <a:gd name="connsiteY86" fmla="*/ 197100 h 1161486"/>
                <a:gd name="connsiteX87" fmla="*/ 675605 w 1111141"/>
                <a:gd name="connsiteY87" fmla="*/ 196694 h 1161486"/>
                <a:gd name="connsiteX88" fmla="*/ 722473 w 1111141"/>
                <a:gd name="connsiteY88" fmla="*/ 157095 h 1161486"/>
                <a:gd name="connsiteX89" fmla="*/ 706301 w 1111141"/>
                <a:gd name="connsiteY89" fmla="*/ 153628 h 1161486"/>
                <a:gd name="connsiteX90" fmla="*/ 706123 w 1111141"/>
                <a:gd name="connsiteY90" fmla="*/ 153628 h 1161486"/>
                <a:gd name="connsiteX91" fmla="*/ 674793 w 1111141"/>
                <a:gd name="connsiteY91" fmla="*/ 153222 h 1161486"/>
                <a:gd name="connsiteX92" fmla="*/ 666168 w 1111141"/>
                <a:gd name="connsiteY92" fmla="*/ 154847 h 1161486"/>
                <a:gd name="connsiteX93" fmla="*/ 662896 w 1111141"/>
                <a:gd name="connsiteY93" fmla="*/ 155698 h 1161486"/>
                <a:gd name="connsiteX94" fmla="*/ 662261 w 1111141"/>
                <a:gd name="connsiteY94" fmla="*/ 159305 h 1161486"/>
                <a:gd name="connsiteX95" fmla="*/ 662211 w 1111141"/>
                <a:gd name="connsiteY95" fmla="*/ 159432 h 1161486"/>
                <a:gd name="connsiteX96" fmla="*/ 661450 w 1111141"/>
                <a:gd name="connsiteY96" fmla="*/ 163940 h 1161486"/>
                <a:gd name="connsiteX97" fmla="*/ 661450 w 1111141"/>
                <a:gd name="connsiteY97" fmla="*/ 163978 h 1161486"/>
                <a:gd name="connsiteX98" fmla="*/ 661183 w 1111141"/>
                <a:gd name="connsiteY98" fmla="*/ 165693 h 1161486"/>
                <a:gd name="connsiteX99" fmla="*/ 659293 w 1111141"/>
                <a:gd name="connsiteY99" fmla="*/ 176437 h 1161486"/>
                <a:gd name="connsiteX100" fmla="*/ 658850 w 1111141"/>
                <a:gd name="connsiteY100" fmla="*/ 179003 h 1161486"/>
                <a:gd name="connsiteX101" fmla="*/ 658710 w 1111141"/>
                <a:gd name="connsiteY101" fmla="*/ 179866 h 1161486"/>
                <a:gd name="connsiteX102" fmla="*/ 651391 w 1111141"/>
                <a:gd name="connsiteY102" fmla="*/ 179003 h 1161486"/>
                <a:gd name="connsiteX103" fmla="*/ 646317 w 1111141"/>
                <a:gd name="connsiteY103" fmla="*/ 178469 h 1161486"/>
                <a:gd name="connsiteX104" fmla="*/ 641865 w 1111141"/>
                <a:gd name="connsiteY104" fmla="*/ 158937 h 1161486"/>
                <a:gd name="connsiteX105" fmla="*/ 656021 w 1111141"/>
                <a:gd name="connsiteY105" fmla="*/ 141385 h 1161486"/>
                <a:gd name="connsiteX106" fmla="*/ 678763 w 1111141"/>
                <a:gd name="connsiteY106" fmla="*/ 116645 h 1161486"/>
                <a:gd name="connsiteX107" fmla="*/ 677812 w 1111141"/>
                <a:gd name="connsiteY107" fmla="*/ 100936 h 1161486"/>
                <a:gd name="connsiteX108" fmla="*/ 672916 w 1111141"/>
                <a:gd name="connsiteY108" fmla="*/ 97875 h 1161486"/>
                <a:gd name="connsiteX109" fmla="*/ 660067 w 1111141"/>
                <a:gd name="connsiteY109" fmla="*/ 83702 h 1161486"/>
                <a:gd name="connsiteX110" fmla="*/ 660016 w 1111141"/>
                <a:gd name="connsiteY110" fmla="*/ 83575 h 1161486"/>
                <a:gd name="connsiteX111" fmla="*/ 648601 w 1111141"/>
                <a:gd name="connsiteY111" fmla="*/ 45818 h 1161486"/>
                <a:gd name="connsiteX112" fmla="*/ 643793 w 1111141"/>
                <a:gd name="connsiteY112" fmla="*/ 33943 h 1161486"/>
                <a:gd name="connsiteX113" fmla="*/ 639709 w 1111141"/>
                <a:gd name="connsiteY113" fmla="*/ 31517 h 1161486"/>
                <a:gd name="connsiteX114" fmla="*/ 639709 w 1111141"/>
                <a:gd name="connsiteY114" fmla="*/ 31467 h 1161486"/>
                <a:gd name="connsiteX115" fmla="*/ 639252 w 1111141"/>
                <a:gd name="connsiteY115" fmla="*/ 31149 h 1161486"/>
                <a:gd name="connsiteX116" fmla="*/ 626352 w 1111141"/>
                <a:gd name="connsiteY116" fmla="*/ 43887 h 1161486"/>
                <a:gd name="connsiteX117" fmla="*/ 619934 w 1111141"/>
                <a:gd name="connsiteY117" fmla="*/ 54365 h 1161486"/>
                <a:gd name="connsiteX118" fmla="*/ 610586 w 1111141"/>
                <a:gd name="connsiteY118" fmla="*/ 72272 h 1161486"/>
                <a:gd name="connsiteX119" fmla="*/ 602633 w 1111141"/>
                <a:gd name="connsiteY119" fmla="*/ 84464 h 1161486"/>
                <a:gd name="connsiteX120" fmla="*/ 586993 w 1111141"/>
                <a:gd name="connsiteY120" fmla="*/ 82711 h 1161486"/>
                <a:gd name="connsiteX121" fmla="*/ 578368 w 1111141"/>
                <a:gd name="connsiteY121" fmla="*/ 86000 h 1161486"/>
                <a:gd name="connsiteX122" fmla="*/ 572483 w 1111141"/>
                <a:gd name="connsiteY122" fmla="*/ 84070 h 1161486"/>
                <a:gd name="connsiteX123" fmla="*/ 560928 w 1111141"/>
                <a:gd name="connsiteY123" fmla="*/ 88426 h 1161486"/>
                <a:gd name="connsiteX124" fmla="*/ 549334 w 1111141"/>
                <a:gd name="connsiteY124" fmla="*/ 83651 h 1161486"/>
                <a:gd name="connsiteX125" fmla="*/ 544527 w 1111141"/>
                <a:gd name="connsiteY125" fmla="*/ 80374 h 1161486"/>
                <a:gd name="connsiteX126" fmla="*/ 536612 w 1111141"/>
                <a:gd name="connsiteY126" fmla="*/ 77758 h 1161486"/>
                <a:gd name="connsiteX127" fmla="*/ 523940 w 1111141"/>
                <a:gd name="connsiteY127" fmla="*/ 80412 h 1161486"/>
                <a:gd name="connsiteX128" fmla="*/ 512487 w 1111141"/>
                <a:gd name="connsiteY128" fmla="*/ 77618 h 1161486"/>
                <a:gd name="connsiteX129" fmla="*/ 509074 w 1111141"/>
                <a:gd name="connsiteY129" fmla="*/ 82660 h 1161486"/>
                <a:gd name="connsiteX130" fmla="*/ 509924 w 1111141"/>
                <a:gd name="connsiteY130" fmla="*/ 89950 h 1161486"/>
                <a:gd name="connsiteX131" fmla="*/ 511142 w 1111141"/>
                <a:gd name="connsiteY131" fmla="*/ 97291 h 1161486"/>
                <a:gd name="connsiteX132" fmla="*/ 495363 w 1111141"/>
                <a:gd name="connsiteY132" fmla="*/ 95259 h 1161486"/>
                <a:gd name="connsiteX133" fmla="*/ 483985 w 1111141"/>
                <a:gd name="connsiteY133" fmla="*/ 94992 h 1161486"/>
                <a:gd name="connsiteX134" fmla="*/ 468130 w 1111141"/>
                <a:gd name="connsiteY134" fmla="*/ 98192 h 1161486"/>
                <a:gd name="connsiteX135" fmla="*/ 461788 w 1111141"/>
                <a:gd name="connsiteY135" fmla="*/ 100656 h 1161486"/>
                <a:gd name="connsiteX136" fmla="*/ 455357 w 1111141"/>
                <a:gd name="connsiteY136" fmla="*/ 102231 h 1161486"/>
                <a:gd name="connsiteX137" fmla="*/ 452985 w 1111141"/>
                <a:gd name="connsiteY137" fmla="*/ 106422 h 1161486"/>
                <a:gd name="connsiteX138" fmla="*/ 444119 w 1111141"/>
                <a:gd name="connsiteY138" fmla="*/ 105660 h 1161486"/>
                <a:gd name="connsiteX139" fmla="*/ 439984 w 1111141"/>
                <a:gd name="connsiteY139" fmla="*/ 110740 h 1161486"/>
                <a:gd name="connsiteX140" fmla="*/ 435582 w 1111141"/>
                <a:gd name="connsiteY140" fmla="*/ 112848 h 1161486"/>
                <a:gd name="connsiteX141" fmla="*/ 427997 w 1111141"/>
                <a:gd name="connsiteY141" fmla="*/ 112721 h 1161486"/>
                <a:gd name="connsiteX142" fmla="*/ 418471 w 1111141"/>
                <a:gd name="connsiteY142" fmla="*/ 108530 h 1161486"/>
                <a:gd name="connsiteX143" fmla="*/ 410328 w 1111141"/>
                <a:gd name="connsiteY143" fmla="*/ 100301 h 1161486"/>
                <a:gd name="connsiteX144" fmla="*/ 405381 w 1111141"/>
                <a:gd name="connsiteY144" fmla="*/ 94040 h 1161486"/>
                <a:gd name="connsiteX145" fmla="*/ 401068 w 1111141"/>
                <a:gd name="connsiteY145" fmla="*/ 81403 h 1161486"/>
                <a:gd name="connsiteX146" fmla="*/ 399952 w 1111141"/>
                <a:gd name="connsiteY146" fmla="*/ 58187 h 1161486"/>
                <a:gd name="connsiteX147" fmla="*/ 401792 w 1111141"/>
                <a:gd name="connsiteY147" fmla="*/ 50669 h 1161486"/>
                <a:gd name="connsiteX148" fmla="*/ 405965 w 1111141"/>
                <a:gd name="connsiteY148" fmla="*/ 43240 h 1161486"/>
                <a:gd name="connsiteX149" fmla="*/ 408172 w 1111141"/>
                <a:gd name="connsiteY149" fmla="*/ 33524 h 1161486"/>
                <a:gd name="connsiteX150" fmla="*/ 403136 w 1111141"/>
                <a:gd name="connsiteY150" fmla="*/ 23224 h 1161486"/>
                <a:gd name="connsiteX151" fmla="*/ 395044 w 1111141"/>
                <a:gd name="connsiteY151" fmla="*/ 19491 h 1161486"/>
                <a:gd name="connsiteX152" fmla="*/ 396667 w 1111141"/>
                <a:gd name="connsiteY152" fmla="*/ 5000 h 1161486"/>
                <a:gd name="connsiteX153" fmla="*/ 387547 w 1111141"/>
                <a:gd name="connsiteY153" fmla="*/ 98 h 1161486"/>
                <a:gd name="connsiteX154" fmla="*/ 380178 w 1111141"/>
                <a:gd name="connsiteY154" fmla="*/ 3958 h 1161486"/>
                <a:gd name="connsiteX155" fmla="*/ 376766 w 1111141"/>
                <a:gd name="connsiteY155" fmla="*/ 14982 h 1161486"/>
                <a:gd name="connsiteX156" fmla="*/ 366745 w 1111141"/>
                <a:gd name="connsiteY156" fmla="*/ 21192 h 1161486"/>
                <a:gd name="connsiteX157" fmla="*/ 359059 w 1111141"/>
                <a:gd name="connsiteY157" fmla="*/ 24253 h 1161486"/>
                <a:gd name="connsiteX158" fmla="*/ 354873 w 1111141"/>
                <a:gd name="connsiteY158" fmla="*/ 27949 h 1161486"/>
                <a:gd name="connsiteX159" fmla="*/ 349482 w 1111141"/>
                <a:gd name="connsiteY159" fmla="*/ 28888 h 1161486"/>
                <a:gd name="connsiteX160" fmla="*/ 344091 w 1111141"/>
                <a:gd name="connsiteY160" fmla="*/ 31949 h 1161486"/>
                <a:gd name="connsiteX161" fmla="*/ 337166 w 1111141"/>
                <a:gd name="connsiteY161" fmla="*/ 31949 h 1161486"/>
                <a:gd name="connsiteX162" fmla="*/ 331052 w 1111141"/>
                <a:gd name="connsiteY162" fmla="*/ 31365 h 1161486"/>
                <a:gd name="connsiteX163" fmla="*/ 324811 w 1111141"/>
                <a:gd name="connsiteY163" fmla="*/ 31949 h 1161486"/>
                <a:gd name="connsiteX164" fmla="*/ 320537 w 1111141"/>
                <a:gd name="connsiteY164" fmla="*/ 35556 h 1161486"/>
                <a:gd name="connsiteX165" fmla="*/ 317213 w 1111141"/>
                <a:gd name="connsiteY165" fmla="*/ 41169 h 1161486"/>
                <a:gd name="connsiteX166" fmla="*/ 316275 w 1111141"/>
                <a:gd name="connsiteY166" fmla="*/ 50669 h 1161486"/>
                <a:gd name="connsiteX167" fmla="*/ 307650 w 1111141"/>
                <a:gd name="connsiteY167" fmla="*/ 43240 h 1161486"/>
                <a:gd name="connsiteX168" fmla="*/ 302031 w 1111141"/>
                <a:gd name="connsiteY168" fmla="*/ 36902 h 1161486"/>
                <a:gd name="connsiteX169" fmla="*/ 294116 w 1111141"/>
                <a:gd name="connsiteY169" fmla="*/ 37626 h 1161486"/>
                <a:gd name="connsiteX170" fmla="*/ 288319 w 1111141"/>
                <a:gd name="connsiteY170" fmla="*/ 37486 h 1161486"/>
                <a:gd name="connsiteX171" fmla="*/ 280632 w 1111141"/>
                <a:gd name="connsiteY171" fmla="*/ 36851 h 1161486"/>
                <a:gd name="connsiteX172" fmla="*/ 274430 w 1111141"/>
                <a:gd name="connsiteY172" fmla="*/ 31771 h 1161486"/>
                <a:gd name="connsiteX173" fmla="*/ 263471 w 1111141"/>
                <a:gd name="connsiteY173" fmla="*/ 30920 h 1161486"/>
                <a:gd name="connsiteX174" fmla="*/ 274925 w 1111141"/>
                <a:gd name="connsiteY174" fmla="*/ 44687 h 1161486"/>
                <a:gd name="connsiteX175" fmla="*/ 280632 w 1111141"/>
                <a:gd name="connsiteY175" fmla="*/ 66557 h 1161486"/>
                <a:gd name="connsiteX176" fmla="*/ 283651 w 1111141"/>
                <a:gd name="connsiteY176" fmla="*/ 78253 h 1161486"/>
                <a:gd name="connsiteX177" fmla="*/ 293177 w 1111141"/>
                <a:gd name="connsiteY177" fmla="*/ 80235 h 1161486"/>
                <a:gd name="connsiteX178" fmla="*/ 300369 w 1111141"/>
                <a:gd name="connsiteY178" fmla="*/ 82178 h 1161486"/>
                <a:gd name="connsiteX179" fmla="*/ 298390 w 1111141"/>
                <a:gd name="connsiteY179" fmla="*/ 89061 h 1161486"/>
                <a:gd name="connsiteX180" fmla="*/ 287013 w 1111141"/>
                <a:gd name="connsiteY180" fmla="*/ 93328 h 1161486"/>
                <a:gd name="connsiteX181" fmla="*/ 282928 w 1111141"/>
                <a:gd name="connsiteY181" fmla="*/ 98777 h 1161486"/>
                <a:gd name="connsiteX182" fmla="*/ 276865 w 1111141"/>
                <a:gd name="connsiteY182" fmla="*/ 108543 h 1161486"/>
                <a:gd name="connsiteX183" fmla="*/ 271246 w 1111141"/>
                <a:gd name="connsiteY183" fmla="*/ 106422 h 1161486"/>
                <a:gd name="connsiteX184" fmla="*/ 265399 w 1111141"/>
                <a:gd name="connsiteY184" fmla="*/ 113001 h 1161486"/>
                <a:gd name="connsiteX185" fmla="*/ 257852 w 1111141"/>
                <a:gd name="connsiteY185" fmla="*/ 113128 h 1161486"/>
                <a:gd name="connsiteX186" fmla="*/ 253590 w 1111141"/>
                <a:gd name="connsiteY186" fmla="*/ 116950 h 1161486"/>
                <a:gd name="connsiteX187" fmla="*/ 251560 w 1111141"/>
                <a:gd name="connsiteY187" fmla="*/ 123250 h 1161486"/>
                <a:gd name="connsiteX188" fmla="*/ 244685 w 1111141"/>
                <a:gd name="connsiteY188" fmla="*/ 124824 h 1161486"/>
                <a:gd name="connsiteX189" fmla="*/ 239155 w 1111141"/>
                <a:gd name="connsiteY189" fmla="*/ 130095 h 1161486"/>
                <a:gd name="connsiteX190" fmla="*/ 238571 w 1111141"/>
                <a:gd name="connsiteY190" fmla="*/ 121319 h 1161486"/>
                <a:gd name="connsiteX191" fmla="*/ 228373 w 1111141"/>
                <a:gd name="connsiteY191" fmla="*/ 125955 h 1161486"/>
                <a:gd name="connsiteX192" fmla="*/ 222120 w 1111141"/>
                <a:gd name="connsiteY192" fmla="*/ 127479 h 1161486"/>
                <a:gd name="connsiteX193" fmla="*/ 214573 w 1111141"/>
                <a:gd name="connsiteY193" fmla="*/ 124824 h 1161486"/>
                <a:gd name="connsiteX194" fmla="*/ 203246 w 1111141"/>
                <a:gd name="connsiteY194" fmla="*/ 114525 h 1161486"/>
                <a:gd name="connsiteX195" fmla="*/ 197855 w 1111141"/>
                <a:gd name="connsiteY195" fmla="*/ 115922 h 1161486"/>
                <a:gd name="connsiteX196" fmla="*/ 195166 w 1111141"/>
                <a:gd name="connsiteY196" fmla="*/ 98777 h 1161486"/>
                <a:gd name="connsiteX197" fmla="*/ 187201 w 1111141"/>
                <a:gd name="connsiteY197" fmla="*/ 88642 h 1161486"/>
                <a:gd name="connsiteX198" fmla="*/ 175430 w 1111141"/>
                <a:gd name="connsiteY198" fmla="*/ 98777 h 1161486"/>
                <a:gd name="connsiteX199" fmla="*/ 168428 w 1111141"/>
                <a:gd name="connsiteY199" fmla="*/ 95538 h 1161486"/>
                <a:gd name="connsiteX200" fmla="*/ 164115 w 1111141"/>
                <a:gd name="connsiteY200" fmla="*/ 94852 h 1161486"/>
                <a:gd name="connsiteX201" fmla="*/ 164559 w 1111141"/>
                <a:gd name="connsiteY201" fmla="*/ 100440 h 1161486"/>
                <a:gd name="connsiteX202" fmla="*/ 132963 w 1111141"/>
                <a:gd name="connsiteY202" fmla="*/ 100478 h 1161486"/>
                <a:gd name="connsiteX203" fmla="*/ 122308 w 1111141"/>
                <a:gd name="connsiteY203" fmla="*/ 99945 h 1161486"/>
                <a:gd name="connsiteX204" fmla="*/ 118630 w 1111141"/>
                <a:gd name="connsiteY204" fmla="*/ 110016 h 1161486"/>
                <a:gd name="connsiteX205" fmla="*/ 119429 w 1111141"/>
                <a:gd name="connsiteY205" fmla="*/ 119198 h 1161486"/>
                <a:gd name="connsiteX206" fmla="*/ 125416 w 1111141"/>
                <a:gd name="connsiteY206" fmla="*/ 118754 h 1161486"/>
                <a:gd name="connsiteX207" fmla="*/ 132912 w 1111141"/>
                <a:gd name="connsiteY207" fmla="*/ 118932 h 1161486"/>
                <a:gd name="connsiteX208" fmla="*/ 136832 w 1111141"/>
                <a:gd name="connsiteY208" fmla="*/ 124824 h 1161486"/>
                <a:gd name="connsiteX209" fmla="*/ 136109 w 1111141"/>
                <a:gd name="connsiteY209" fmla="*/ 131708 h 1161486"/>
                <a:gd name="connsiteX210" fmla="*/ 129411 w 1111141"/>
                <a:gd name="connsiteY210" fmla="*/ 130679 h 1161486"/>
                <a:gd name="connsiteX211" fmla="*/ 123386 w 1111141"/>
                <a:gd name="connsiteY211" fmla="*/ 131797 h 1161486"/>
                <a:gd name="connsiteX212" fmla="*/ 115928 w 1111141"/>
                <a:gd name="connsiteY212" fmla="*/ 132470 h 1161486"/>
                <a:gd name="connsiteX213" fmla="*/ 112250 w 1111141"/>
                <a:gd name="connsiteY213" fmla="*/ 134997 h 1161486"/>
                <a:gd name="connsiteX214" fmla="*/ 127610 w 1111141"/>
                <a:gd name="connsiteY214" fmla="*/ 192223 h 1161486"/>
                <a:gd name="connsiteX215" fmla="*/ 115611 w 1111141"/>
                <a:gd name="connsiteY215" fmla="*/ 268626 h 1161486"/>
                <a:gd name="connsiteX216" fmla="*/ 113721 w 1111141"/>
                <a:gd name="connsiteY216" fmla="*/ 266467 h 1161486"/>
                <a:gd name="connsiteX217" fmla="*/ 107836 w 1111141"/>
                <a:gd name="connsiteY217" fmla="*/ 270481 h 1161486"/>
                <a:gd name="connsiteX218" fmla="*/ 99971 w 1111141"/>
                <a:gd name="connsiteY218" fmla="*/ 267102 h 1161486"/>
                <a:gd name="connsiteX219" fmla="*/ 97726 w 1111141"/>
                <a:gd name="connsiteY219" fmla="*/ 266785 h 1161486"/>
                <a:gd name="connsiteX220" fmla="*/ 94936 w 1111141"/>
                <a:gd name="connsiteY220" fmla="*/ 268182 h 1161486"/>
                <a:gd name="connsiteX221" fmla="*/ 84332 w 1111141"/>
                <a:gd name="connsiteY221" fmla="*/ 274176 h 1161486"/>
                <a:gd name="connsiteX222" fmla="*/ 73005 w 1111141"/>
                <a:gd name="connsiteY222" fmla="*/ 274976 h 1161486"/>
                <a:gd name="connsiteX223" fmla="*/ 67386 w 1111141"/>
                <a:gd name="connsiteY223" fmla="*/ 276285 h 1161486"/>
                <a:gd name="connsiteX224" fmla="*/ 55881 w 1111141"/>
                <a:gd name="connsiteY224" fmla="*/ 279079 h 1161486"/>
                <a:gd name="connsiteX225" fmla="*/ 47167 w 1111141"/>
                <a:gd name="connsiteY225" fmla="*/ 284832 h 1161486"/>
                <a:gd name="connsiteX226" fmla="*/ 41637 w 1111141"/>
                <a:gd name="connsiteY226" fmla="*/ 289289 h 1161486"/>
                <a:gd name="connsiteX227" fmla="*/ 34318 w 1111141"/>
                <a:gd name="connsiteY227" fmla="*/ 292985 h 1161486"/>
                <a:gd name="connsiteX228" fmla="*/ 29688 w 1111141"/>
                <a:gd name="connsiteY228" fmla="*/ 304720 h 1161486"/>
                <a:gd name="connsiteX229" fmla="*/ 18184 w 1111141"/>
                <a:gd name="connsiteY229" fmla="*/ 332215 h 1161486"/>
                <a:gd name="connsiteX230" fmla="*/ 8607 w 1111141"/>
                <a:gd name="connsiteY230" fmla="*/ 353450 h 1161486"/>
                <a:gd name="connsiteX231" fmla="*/ 1644 w 1111141"/>
                <a:gd name="connsiteY231" fmla="*/ 358314 h 1161486"/>
                <a:gd name="connsiteX232" fmla="*/ 3077 w 1111141"/>
                <a:gd name="connsiteY232" fmla="*/ 364664 h 1161486"/>
                <a:gd name="connsiteX233" fmla="*/ 6996 w 1111141"/>
                <a:gd name="connsiteY233" fmla="*/ 370201 h 1161486"/>
                <a:gd name="connsiteX234" fmla="*/ 10091 w 1111141"/>
                <a:gd name="connsiteY234" fmla="*/ 378608 h 1161486"/>
                <a:gd name="connsiteX235" fmla="*/ 26086 w 1111141"/>
                <a:gd name="connsiteY235" fmla="*/ 397557 h 1161486"/>
                <a:gd name="connsiteX236" fmla="*/ 27938 w 1111141"/>
                <a:gd name="connsiteY236" fmla="*/ 405926 h 1161486"/>
                <a:gd name="connsiteX237" fmla="*/ 22902 w 1111141"/>
                <a:gd name="connsiteY237" fmla="*/ 413445 h 1161486"/>
                <a:gd name="connsiteX238" fmla="*/ 24424 w 1111141"/>
                <a:gd name="connsiteY238" fmla="*/ 414753 h 1161486"/>
                <a:gd name="connsiteX239" fmla="*/ 31337 w 1111141"/>
                <a:gd name="connsiteY239" fmla="*/ 415693 h 1161486"/>
                <a:gd name="connsiteX240" fmla="*/ 43971 w 1111141"/>
                <a:gd name="connsiteY240" fmla="*/ 417851 h 1161486"/>
                <a:gd name="connsiteX241" fmla="*/ 51974 w 1111141"/>
                <a:gd name="connsiteY241" fmla="*/ 428024 h 1161486"/>
                <a:gd name="connsiteX242" fmla="*/ 69542 w 1111141"/>
                <a:gd name="connsiteY242" fmla="*/ 433104 h 1161486"/>
                <a:gd name="connsiteX243" fmla="*/ 79423 w 1111141"/>
                <a:gd name="connsiteY243" fmla="*/ 429370 h 1161486"/>
                <a:gd name="connsiteX244" fmla="*/ 92640 w 1111141"/>
                <a:gd name="connsiteY244" fmla="*/ 419198 h 1161486"/>
                <a:gd name="connsiteX245" fmla="*/ 98297 w 1111141"/>
                <a:gd name="connsiteY245" fmla="*/ 418474 h 1161486"/>
                <a:gd name="connsiteX246" fmla="*/ 98297 w 1111141"/>
                <a:gd name="connsiteY246" fmla="*/ 431974 h 1161486"/>
                <a:gd name="connsiteX247" fmla="*/ 96953 w 1111141"/>
                <a:gd name="connsiteY247" fmla="*/ 459965 h 1161486"/>
                <a:gd name="connsiteX248" fmla="*/ 104906 w 1111141"/>
                <a:gd name="connsiteY248" fmla="*/ 463152 h 1161486"/>
                <a:gd name="connsiteX249" fmla="*/ 118122 w 1111141"/>
                <a:gd name="connsiteY249" fmla="*/ 459203 h 1161486"/>
                <a:gd name="connsiteX250" fmla="*/ 125936 w 1111141"/>
                <a:gd name="connsiteY250" fmla="*/ 458657 h 1161486"/>
                <a:gd name="connsiteX251" fmla="*/ 131745 w 1111141"/>
                <a:gd name="connsiteY251" fmla="*/ 459381 h 1161486"/>
                <a:gd name="connsiteX252" fmla="*/ 144227 w 1111141"/>
                <a:gd name="connsiteY252" fmla="*/ 461273 h 1161486"/>
                <a:gd name="connsiteX253" fmla="*/ 149808 w 1111141"/>
                <a:gd name="connsiteY253" fmla="*/ 465324 h 1161486"/>
                <a:gd name="connsiteX254" fmla="*/ 164902 w 1111141"/>
                <a:gd name="connsiteY254" fmla="*/ 458923 h 1161486"/>
                <a:gd name="connsiteX255" fmla="*/ 173261 w 1111141"/>
                <a:gd name="connsiteY255" fmla="*/ 451545 h 1161486"/>
                <a:gd name="connsiteX256" fmla="*/ 185311 w 1111141"/>
                <a:gd name="connsiteY256" fmla="*/ 447277 h 1161486"/>
                <a:gd name="connsiteX257" fmla="*/ 198743 w 1111141"/>
                <a:gd name="connsiteY257" fmla="*/ 438819 h 1161486"/>
                <a:gd name="connsiteX258" fmla="*/ 217617 w 1111141"/>
                <a:gd name="connsiteY258" fmla="*/ 429230 h 1161486"/>
                <a:gd name="connsiteX259" fmla="*/ 233257 w 1111141"/>
                <a:gd name="connsiteY259" fmla="*/ 426436 h 1161486"/>
                <a:gd name="connsiteX260" fmla="*/ 243861 w 1111141"/>
                <a:gd name="connsiteY260" fmla="*/ 425941 h 1161486"/>
                <a:gd name="connsiteX261" fmla="*/ 248136 w 1111141"/>
                <a:gd name="connsiteY261" fmla="*/ 438502 h 1161486"/>
                <a:gd name="connsiteX262" fmla="*/ 248136 w 1111141"/>
                <a:gd name="connsiteY262" fmla="*/ 475751 h 1161486"/>
                <a:gd name="connsiteX263" fmla="*/ 255327 w 1111141"/>
                <a:gd name="connsiteY263" fmla="*/ 485924 h 1161486"/>
                <a:gd name="connsiteX264" fmla="*/ 264130 w 1111141"/>
                <a:gd name="connsiteY264" fmla="*/ 494331 h 1161486"/>
                <a:gd name="connsiteX265" fmla="*/ 272540 w 1111141"/>
                <a:gd name="connsiteY265" fmla="*/ 502484 h 1161486"/>
                <a:gd name="connsiteX266" fmla="*/ 281393 w 1111141"/>
                <a:gd name="connsiteY266" fmla="*/ 504186 h 1161486"/>
                <a:gd name="connsiteX267" fmla="*/ 290424 w 1111141"/>
                <a:gd name="connsiteY267" fmla="*/ 503157 h 1161486"/>
                <a:gd name="connsiteX268" fmla="*/ 301929 w 1111141"/>
                <a:gd name="connsiteY268" fmla="*/ 508821 h 1161486"/>
                <a:gd name="connsiteX269" fmla="*/ 311810 w 1111141"/>
                <a:gd name="connsiteY269" fmla="*/ 510346 h 1161486"/>
                <a:gd name="connsiteX270" fmla="*/ 322021 w 1111141"/>
                <a:gd name="connsiteY270" fmla="*/ 519388 h 1161486"/>
                <a:gd name="connsiteX271" fmla="*/ 335491 w 1111141"/>
                <a:gd name="connsiteY271" fmla="*/ 522410 h 1161486"/>
                <a:gd name="connsiteX272" fmla="*/ 341110 w 1111141"/>
                <a:gd name="connsiteY272" fmla="*/ 528976 h 1161486"/>
                <a:gd name="connsiteX273" fmla="*/ 349025 w 1111141"/>
                <a:gd name="connsiteY273" fmla="*/ 534514 h 1161486"/>
                <a:gd name="connsiteX274" fmla="*/ 359985 w 1111141"/>
                <a:gd name="connsiteY274" fmla="*/ 533256 h 1161486"/>
                <a:gd name="connsiteX275" fmla="*/ 371045 w 1111141"/>
                <a:gd name="connsiteY275" fmla="*/ 534145 h 1161486"/>
                <a:gd name="connsiteX276" fmla="*/ 387712 w 1111141"/>
                <a:gd name="connsiteY276" fmla="*/ 554211 h 1161486"/>
                <a:gd name="connsiteX277" fmla="*/ 390554 w 1111141"/>
                <a:gd name="connsiteY277" fmla="*/ 571852 h 1161486"/>
                <a:gd name="connsiteX278" fmla="*/ 389107 w 1111141"/>
                <a:gd name="connsiteY278" fmla="*/ 586660 h 1161486"/>
                <a:gd name="connsiteX279" fmla="*/ 390629 w 1111141"/>
                <a:gd name="connsiteY279" fmla="*/ 607272 h 1161486"/>
                <a:gd name="connsiteX280" fmla="*/ 424027 w 1111141"/>
                <a:gd name="connsiteY280" fmla="*/ 616987 h 1161486"/>
                <a:gd name="connsiteX281" fmla="*/ 441772 w 1111141"/>
                <a:gd name="connsiteY281" fmla="*/ 616137 h 1161486"/>
                <a:gd name="connsiteX282" fmla="*/ 442762 w 1111141"/>
                <a:gd name="connsiteY282" fmla="*/ 632875 h 1161486"/>
                <a:gd name="connsiteX283" fmla="*/ 448926 w 1111141"/>
                <a:gd name="connsiteY283" fmla="*/ 647671 h 1161486"/>
                <a:gd name="connsiteX284" fmla="*/ 459758 w 1111141"/>
                <a:gd name="connsiteY284" fmla="*/ 654465 h 1161486"/>
                <a:gd name="connsiteX285" fmla="*/ 464464 w 1111141"/>
                <a:gd name="connsiteY285" fmla="*/ 666340 h 1161486"/>
                <a:gd name="connsiteX286" fmla="*/ 468777 w 1111141"/>
                <a:gd name="connsiteY286" fmla="*/ 673630 h 1161486"/>
                <a:gd name="connsiteX287" fmla="*/ 459746 w 1111141"/>
                <a:gd name="connsiteY287" fmla="*/ 696451 h 1161486"/>
                <a:gd name="connsiteX288" fmla="*/ 454038 w 1111141"/>
                <a:gd name="connsiteY288" fmla="*/ 713101 h 1161486"/>
                <a:gd name="connsiteX289" fmla="*/ 457285 w 1111141"/>
                <a:gd name="connsiteY289" fmla="*/ 723134 h 1161486"/>
                <a:gd name="connsiteX290" fmla="*/ 456105 w 1111141"/>
                <a:gd name="connsiteY290" fmla="*/ 725928 h 1161486"/>
                <a:gd name="connsiteX291" fmla="*/ 453010 w 1111141"/>
                <a:gd name="connsiteY291" fmla="*/ 728214 h 1161486"/>
                <a:gd name="connsiteX292" fmla="*/ 450448 w 1111141"/>
                <a:gd name="connsiteY292" fmla="*/ 730068 h 1161486"/>
                <a:gd name="connsiteX293" fmla="*/ 454672 w 1111141"/>
                <a:gd name="connsiteY293" fmla="*/ 740546 h 1161486"/>
                <a:gd name="connsiteX294" fmla="*/ 457818 w 1111141"/>
                <a:gd name="connsiteY294" fmla="*/ 752700 h 1161486"/>
                <a:gd name="connsiteX295" fmla="*/ 457589 w 1111141"/>
                <a:gd name="connsiteY295" fmla="*/ 771458 h 1161486"/>
                <a:gd name="connsiteX296" fmla="*/ 457589 w 1111141"/>
                <a:gd name="connsiteY296" fmla="*/ 789542 h 1161486"/>
                <a:gd name="connsiteX297" fmla="*/ 467572 w 1111141"/>
                <a:gd name="connsiteY297" fmla="*/ 790812 h 1161486"/>
                <a:gd name="connsiteX298" fmla="*/ 477237 w 1111141"/>
                <a:gd name="connsiteY298" fmla="*/ 791346 h 1161486"/>
                <a:gd name="connsiteX299" fmla="*/ 490264 w 1111141"/>
                <a:gd name="connsiteY299" fmla="*/ 793009 h 1161486"/>
                <a:gd name="connsiteX300" fmla="*/ 499701 w 1111141"/>
                <a:gd name="connsiteY300" fmla="*/ 787879 h 1161486"/>
                <a:gd name="connsiteX301" fmla="*/ 505320 w 1111141"/>
                <a:gd name="connsiteY301" fmla="*/ 792108 h 1161486"/>
                <a:gd name="connsiteX302" fmla="*/ 516875 w 1111141"/>
                <a:gd name="connsiteY302" fmla="*/ 794229 h 1161486"/>
                <a:gd name="connsiteX303" fmla="*/ 523065 w 1111141"/>
                <a:gd name="connsiteY303" fmla="*/ 817127 h 1161486"/>
                <a:gd name="connsiteX304" fmla="*/ 534304 w 1111141"/>
                <a:gd name="connsiteY304" fmla="*/ 847543 h 1161486"/>
                <a:gd name="connsiteX305" fmla="*/ 550260 w 1111141"/>
                <a:gd name="connsiteY305" fmla="*/ 840939 h 1161486"/>
                <a:gd name="connsiteX306" fmla="*/ 557363 w 1111141"/>
                <a:gd name="connsiteY306" fmla="*/ 845118 h 1161486"/>
                <a:gd name="connsiteX307" fmla="*/ 559875 w 1111141"/>
                <a:gd name="connsiteY307" fmla="*/ 864333 h 1161486"/>
                <a:gd name="connsiteX308" fmla="*/ 552505 w 1111141"/>
                <a:gd name="connsiteY308" fmla="*/ 895778 h 1161486"/>
                <a:gd name="connsiteX309" fmla="*/ 552378 w 1111141"/>
                <a:gd name="connsiteY309" fmla="*/ 897264 h 1161486"/>
                <a:gd name="connsiteX310" fmla="*/ 559875 w 1111141"/>
                <a:gd name="connsiteY310" fmla="*/ 895244 h 1161486"/>
                <a:gd name="connsiteX311" fmla="*/ 568690 w 1111141"/>
                <a:gd name="connsiteY311" fmla="*/ 896413 h 1161486"/>
                <a:gd name="connsiteX312" fmla="*/ 572863 w 1111141"/>
                <a:gd name="connsiteY312" fmla="*/ 907030 h 1161486"/>
                <a:gd name="connsiteX313" fmla="*/ 574487 w 1111141"/>
                <a:gd name="connsiteY313" fmla="*/ 919400 h 1161486"/>
                <a:gd name="connsiteX314" fmla="*/ 574487 w 1111141"/>
                <a:gd name="connsiteY314" fmla="*/ 936278 h 1161486"/>
                <a:gd name="connsiteX315" fmla="*/ 568906 w 1111141"/>
                <a:gd name="connsiteY315" fmla="*/ 947035 h 1161486"/>
                <a:gd name="connsiteX316" fmla="*/ 560242 w 1111141"/>
                <a:gd name="connsiteY316" fmla="*/ 951582 h 1161486"/>
                <a:gd name="connsiteX317" fmla="*/ 552505 w 1111141"/>
                <a:gd name="connsiteY317" fmla="*/ 958109 h 1161486"/>
                <a:gd name="connsiteX318" fmla="*/ 543157 w 1111141"/>
                <a:gd name="connsiteY318" fmla="*/ 960573 h 1161486"/>
                <a:gd name="connsiteX319" fmla="*/ 537056 w 1111141"/>
                <a:gd name="connsiteY319" fmla="*/ 965933 h 1161486"/>
                <a:gd name="connsiteX320" fmla="*/ 529002 w 1111141"/>
                <a:gd name="connsiteY320" fmla="*/ 970213 h 1161486"/>
                <a:gd name="connsiteX321" fmla="*/ 522900 w 1111141"/>
                <a:gd name="connsiteY321" fmla="*/ 976410 h 1161486"/>
                <a:gd name="connsiteX322" fmla="*/ 518537 w 1111141"/>
                <a:gd name="connsiteY322" fmla="*/ 981096 h 1161486"/>
                <a:gd name="connsiteX323" fmla="*/ 510127 w 1111141"/>
                <a:gd name="connsiteY323" fmla="*/ 991307 h 1161486"/>
                <a:gd name="connsiteX324" fmla="*/ 466811 w 1111141"/>
                <a:gd name="connsiteY324" fmla="*/ 1043771 h 1161486"/>
                <a:gd name="connsiteX325" fmla="*/ 475614 w 1111141"/>
                <a:gd name="connsiteY325" fmla="*/ 1046298 h 1161486"/>
                <a:gd name="connsiteX326" fmla="*/ 481093 w 1111141"/>
                <a:gd name="connsiteY326" fmla="*/ 1040761 h 1161486"/>
                <a:gd name="connsiteX327" fmla="*/ 489769 w 1111141"/>
                <a:gd name="connsiteY327" fmla="*/ 1043644 h 1161486"/>
                <a:gd name="connsiteX328" fmla="*/ 497316 w 1111141"/>
                <a:gd name="connsiteY328" fmla="*/ 1049270 h 1161486"/>
                <a:gd name="connsiteX329" fmla="*/ 512106 w 1111141"/>
                <a:gd name="connsiteY329" fmla="*/ 1067177 h 1161486"/>
                <a:gd name="connsiteX330" fmla="*/ 513945 w 1111141"/>
                <a:gd name="connsiteY330" fmla="*/ 1072790 h 1161486"/>
                <a:gd name="connsiteX331" fmla="*/ 523433 w 1111141"/>
                <a:gd name="connsiteY331" fmla="*/ 1067177 h 1161486"/>
                <a:gd name="connsiteX332" fmla="*/ 531931 w 1111141"/>
                <a:gd name="connsiteY332" fmla="*/ 1075851 h 1161486"/>
                <a:gd name="connsiteX333" fmla="*/ 543169 w 1111141"/>
                <a:gd name="connsiteY333" fmla="*/ 1082062 h 1161486"/>
                <a:gd name="connsiteX334" fmla="*/ 551934 w 1111141"/>
                <a:gd name="connsiteY334" fmla="*/ 1086481 h 1161486"/>
                <a:gd name="connsiteX335" fmla="*/ 561727 w 1111141"/>
                <a:gd name="connsiteY335" fmla="*/ 1098444 h 1161486"/>
                <a:gd name="connsiteX336" fmla="*/ 573954 w 1111141"/>
                <a:gd name="connsiteY336" fmla="*/ 1106814 h 1161486"/>
                <a:gd name="connsiteX337" fmla="*/ 587526 w 1111141"/>
                <a:gd name="connsiteY337" fmla="*/ 1122016 h 1161486"/>
                <a:gd name="connsiteX338" fmla="*/ 585547 w 1111141"/>
                <a:gd name="connsiteY338" fmla="*/ 1137180 h 1161486"/>
                <a:gd name="connsiteX339" fmla="*/ 581996 w 1111141"/>
                <a:gd name="connsiteY339" fmla="*/ 1155048 h 1161486"/>
                <a:gd name="connsiteX340" fmla="*/ 585268 w 1111141"/>
                <a:gd name="connsiteY340" fmla="*/ 1161487 h 1161486"/>
                <a:gd name="connsiteX341" fmla="*/ 587475 w 1111141"/>
                <a:gd name="connsiteY341" fmla="*/ 1159277 h 1161486"/>
                <a:gd name="connsiteX342" fmla="*/ 618260 w 1111141"/>
                <a:gd name="connsiteY342" fmla="*/ 1100604 h 1161486"/>
                <a:gd name="connsiteX343" fmla="*/ 645404 w 1111141"/>
                <a:gd name="connsiteY343" fmla="*/ 1045981 h 1161486"/>
                <a:gd name="connsiteX344" fmla="*/ 645899 w 1111141"/>
                <a:gd name="connsiteY344" fmla="*/ 1045524 h 1161486"/>
                <a:gd name="connsiteX345" fmla="*/ 647560 w 1111141"/>
                <a:gd name="connsiteY345" fmla="*/ 1044850 h 1161486"/>
                <a:gd name="connsiteX346" fmla="*/ 649983 w 1111141"/>
                <a:gd name="connsiteY346" fmla="*/ 1045219 h 1161486"/>
                <a:gd name="connsiteX347" fmla="*/ 658925 w 1111141"/>
                <a:gd name="connsiteY347" fmla="*/ 1046514 h 1161486"/>
                <a:gd name="connsiteX348" fmla="*/ 658976 w 1111141"/>
                <a:gd name="connsiteY348" fmla="*/ 1046514 h 1161486"/>
                <a:gd name="connsiteX349" fmla="*/ 664633 w 1111141"/>
                <a:gd name="connsiteY349" fmla="*/ 1047378 h 1161486"/>
                <a:gd name="connsiteX350" fmla="*/ 664633 w 1111141"/>
                <a:gd name="connsiteY350" fmla="*/ 1058312 h 1161486"/>
                <a:gd name="connsiteX351" fmla="*/ 696585 w 1111141"/>
                <a:gd name="connsiteY351" fmla="*/ 1005798 h 1161486"/>
                <a:gd name="connsiteX352" fmla="*/ 718300 w 1111141"/>
                <a:gd name="connsiteY352" fmla="*/ 940380 h 1161486"/>
                <a:gd name="connsiteX353" fmla="*/ 717222 w 1111141"/>
                <a:gd name="connsiteY353" fmla="*/ 916073 h 1161486"/>
                <a:gd name="connsiteX354" fmla="*/ 717349 w 1111141"/>
                <a:gd name="connsiteY354" fmla="*/ 915133 h 1161486"/>
                <a:gd name="connsiteX355" fmla="*/ 719873 w 1111141"/>
                <a:gd name="connsiteY355" fmla="*/ 905049 h 1161486"/>
                <a:gd name="connsiteX356" fmla="*/ 720457 w 1111141"/>
                <a:gd name="connsiteY356" fmla="*/ 903296 h 1161486"/>
                <a:gd name="connsiteX357" fmla="*/ 724503 w 1111141"/>
                <a:gd name="connsiteY357" fmla="*/ 894889 h 1161486"/>
                <a:gd name="connsiteX358" fmla="*/ 725974 w 1111141"/>
                <a:gd name="connsiteY358" fmla="*/ 892501 h 1161486"/>
                <a:gd name="connsiteX359" fmla="*/ 726430 w 1111141"/>
                <a:gd name="connsiteY359" fmla="*/ 891739 h 1161486"/>
                <a:gd name="connsiteX360" fmla="*/ 729259 w 1111141"/>
                <a:gd name="connsiteY360" fmla="*/ 887777 h 1161486"/>
                <a:gd name="connsiteX361" fmla="*/ 752902 w 1111141"/>
                <a:gd name="connsiteY361" fmla="*/ 865768 h 1161486"/>
                <a:gd name="connsiteX362" fmla="*/ 767553 w 1111141"/>
                <a:gd name="connsiteY362" fmla="*/ 856192 h 1161486"/>
                <a:gd name="connsiteX363" fmla="*/ 767642 w 1111141"/>
                <a:gd name="connsiteY363" fmla="*/ 856141 h 1161486"/>
                <a:gd name="connsiteX364" fmla="*/ 794240 w 1111141"/>
                <a:gd name="connsiteY364" fmla="*/ 842057 h 1161486"/>
                <a:gd name="connsiteX365" fmla="*/ 813482 w 1111141"/>
                <a:gd name="connsiteY365" fmla="*/ 832113 h 1161486"/>
                <a:gd name="connsiteX366" fmla="*/ 832800 w 1111141"/>
                <a:gd name="connsiteY366" fmla="*/ 821851 h 1161486"/>
                <a:gd name="connsiteX367" fmla="*/ 845028 w 1111141"/>
                <a:gd name="connsiteY367" fmla="*/ 816543 h 1161486"/>
                <a:gd name="connsiteX368" fmla="*/ 871322 w 1111141"/>
                <a:gd name="connsiteY368" fmla="*/ 811551 h 1161486"/>
                <a:gd name="connsiteX369" fmla="*/ 877246 w 1111141"/>
                <a:gd name="connsiteY369" fmla="*/ 811551 h 1161486"/>
                <a:gd name="connsiteX370" fmla="*/ 899354 w 1111141"/>
                <a:gd name="connsiteY370" fmla="*/ 811551 h 1161486"/>
                <a:gd name="connsiteX371" fmla="*/ 912660 w 1111141"/>
                <a:gd name="connsiteY371" fmla="*/ 800299 h 1161486"/>
                <a:gd name="connsiteX372" fmla="*/ 912710 w 1111141"/>
                <a:gd name="connsiteY372" fmla="*/ 800261 h 1161486"/>
                <a:gd name="connsiteX373" fmla="*/ 921970 w 1111141"/>
                <a:gd name="connsiteY373" fmla="*/ 792387 h 1161486"/>
                <a:gd name="connsiteX374" fmla="*/ 928160 w 1111141"/>
                <a:gd name="connsiteY374" fmla="*/ 787117 h 1161486"/>
                <a:gd name="connsiteX375" fmla="*/ 938092 w 1111141"/>
                <a:gd name="connsiteY375" fmla="*/ 767546 h 1161486"/>
                <a:gd name="connsiteX376" fmla="*/ 947491 w 1111141"/>
                <a:gd name="connsiteY376" fmla="*/ 748242 h 1161486"/>
                <a:gd name="connsiteX377" fmla="*/ 949013 w 1111141"/>
                <a:gd name="connsiteY377" fmla="*/ 744775 h 1161486"/>
                <a:gd name="connsiteX378" fmla="*/ 971616 w 1111141"/>
                <a:gd name="connsiteY378" fmla="*/ 683040 h 1161486"/>
                <a:gd name="connsiteX379" fmla="*/ 976106 w 1111141"/>
                <a:gd name="connsiteY379" fmla="*/ 668283 h 1161486"/>
                <a:gd name="connsiteX380" fmla="*/ 992063 w 1111141"/>
                <a:gd name="connsiteY380" fmla="*/ 581084 h 1161486"/>
                <a:gd name="connsiteX381" fmla="*/ 990629 w 1111141"/>
                <a:gd name="connsiteY381" fmla="*/ 542159 h 1161486"/>
                <a:gd name="connsiteX382" fmla="*/ 990896 w 1111141"/>
                <a:gd name="connsiteY382" fmla="*/ 539556 h 1161486"/>
                <a:gd name="connsiteX383" fmla="*/ 991568 w 1111141"/>
                <a:gd name="connsiteY383" fmla="*/ 534514 h 1161486"/>
                <a:gd name="connsiteX384" fmla="*/ 991568 w 1111141"/>
                <a:gd name="connsiteY384" fmla="*/ 534463 h 1161486"/>
                <a:gd name="connsiteX385" fmla="*/ 992152 w 1111141"/>
                <a:gd name="connsiteY385" fmla="*/ 531592 h 1161486"/>
                <a:gd name="connsiteX386" fmla="*/ 998177 w 1111141"/>
                <a:gd name="connsiteY386" fmla="*/ 514079 h 1161486"/>
                <a:gd name="connsiteX387" fmla="*/ 998227 w 1111141"/>
                <a:gd name="connsiteY387" fmla="*/ 513990 h 1161486"/>
                <a:gd name="connsiteX388" fmla="*/ 1000422 w 1111141"/>
                <a:gd name="connsiteY388" fmla="*/ 509850 h 1161486"/>
                <a:gd name="connsiteX389" fmla="*/ 1001284 w 1111141"/>
                <a:gd name="connsiteY389" fmla="*/ 510041 h 1161486"/>
                <a:gd name="connsiteX390" fmla="*/ 1006675 w 1111141"/>
                <a:gd name="connsiteY390" fmla="*/ 511298 h 1161486"/>
                <a:gd name="connsiteX391" fmla="*/ 1014844 w 1111141"/>
                <a:gd name="connsiteY391" fmla="*/ 513228 h 1161486"/>
                <a:gd name="connsiteX392" fmla="*/ 1031612 w 1111141"/>
                <a:gd name="connsiteY392" fmla="*/ 486279 h 1161486"/>
                <a:gd name="connsiteX393" fmla="*/ 1045273 w 1111141"/>
                <a:gd name="connsiteY393" fmla="*/ 463419 h 1161486"/>
                <a:gd name="connsiteX394" fmla="*/ 1046706 w 1111141"/>
                <a:gd name="connsiteY394" fmla="*/ 461794 h 1161486"/>
                <a:gd name="connsiteX395" fmla="*/ 1064464 w 1111141"/>
                <a:gd name="connsiteY395" fmla="*/ 444064 h 1161486"/>
                <a:gd name="connsiteX396" fmla="*/ 1082349 w 1111141"/>
                <a:gd name="connsiteY396" fmla="*/ 424722 h 1161486"/>
                <a:gd name="connsiteX397" fmla="*/ 1083034 w 1111141"/>
                <a:gd name="connsiteY397" fmla="*/ 423820 h 1161486"/>
                <a:gd name="connsiteX398" fmla="*/ 1084734 w 1111141"/>
                <a:gd name="connsiteY398" fmla="*/ 421662 h 1161486"/>
                <a:gd name="connsiteX399" fmla="*/ 1085368 w 1111141"/>
                <a:gd name="connsiteY399" fmla="*/ 420810 h 1161486"/>
                <a:gd name="connsiteX400" fmla="*/ 1104153 w 1111141"/>
                <a:gd name="connsiteY400" fmla="*/ 390483 h 1161486"/>
                <a:gd name="connsiteX401" fmla="*/ 1110254 w 1111141"/>
                <a:gd name="connsiteY401" fmla="*/ 350033 h 1161486"/>
                <a:gd name="connsiteX402" fmla="*/ 616852 w 1111141"/>
                <a:gd name="connsiteY402" fmla="*/ 193442 h 1161486"/>
                <a:gd name="connsiteX403" fmla="*/ 613123 w 1111141"/>
                <a:gd name="connsiteY403" fmla="*/ 194255 h 1161486"/>
                <a:gd name="connsiteX404" fmla="*/ 612768 w 1111141"/>
                <a:gd name="connsiteY404" fmla="*/ 192680 h 1161486"/>
                <a:gd name="connsiteX405" fmla="*/ 612730 w 1111141"/>
                <a:gd name="connsiteY405" fmla="*/ 192680 h 1161486"/>
                <a:gd name="connsiteX406" fmla="*/ 612133 w 1111141"/>
                <a:gd name="connsiteY406" fmla="*/ 190153 h 1161486"/>
                <a:gd name="connsiteX407" fmla="*/ 611918 w 1111141"/>
                <a:gd name="connsiteY407" fmla="*/ 189302 h 1161486"/>
                <a:gd name="connsiteX408" fmla="*/ 623600 w 1111141"/>
                <a:gd name="connsiteY408" fmla="*/ 186292 h 1161486"/>
                <a:gd name="connsiteX409" fmla="*/ 623638 w 1111141"/>
                <a:gd name="connsiteY409" fmla="*/ 186241 h 1161486"/>
                <a:gd name="connsiteX410" fmla="*/ 626517 w 1111141"/>
                <a:gd name="connsiteY410" fmla="*/ 185530 h 1161486"/>
                <a:gd name="connsiteX411" fmla="*/ 627875 w 1111141"/>
                <a:gd name="connsiteY411" fmla="*/ 191106 h 1161486"/>
                <a:gd name="connsiteX412" fmla="*/ 616852 w 1111141"/>
                <a:gd name="connsiteY412" fmla="*/ 193442 h 116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</a:cxnLst>
              <a:rect l="l" t="t" r="r" b="b"/>
              <a:pathLst>
                <a:path w="1111141" h="1161486">
                  <a:moveTo>
                    <a:pt x="1110254" y="350033"/>
                  </a:moveTo>
                  <a:cubicBezTo>
                    <a:pt x="1110115" y="348903"/>
                    <a:pt x="1109937" y="347785"/>
                    <a:pt x="1109759" y="346617"/>
                  </a:cubicBezTo>
                  <a:cubicBezTo>
                    <a:pt x="1106614" y="331606"/>
                    <a:pt x="1102225" y="316886"/>
                    <a:pt x="1096631" y="302612"/>
                  </a:cubicBezTo>
                  <a:cubicBezTo>
                    <a:pt x="1096593" y="302434"/>
                    <a:pt x="1096505" y="302205"/>
                    <a:pt x="1096454" y="302027"/>
                  </a:cubicBezTo>
                  <a:cubicBezTo>
                    <a:pt x="1094843" y="298891"/>
                    <a:pt x="1092192" y="296427"/>
                    <a:pt x="1088945" y="295042"/>
                  </a:cubicBezTo>
                  <a:cubicBezTo>
                    <a:pt x="1088868" y="295004"/>
                    <a:pt x="1088818" y="295004"/>
                    <a:pt x="1088767" y="294915"/>
                  </a:cubicBezTo>
                  <a:cubicBezTo>
                    <a:pt x="1086788" y="293823"/>
                    <a:pt x="1084569" y="293264"/>
                    <a:pt x="1082298" y="293290"/>
                  </a:cubicBezTo>
                  <a:cubicBezTo>
                    <a:pt x="1077009" y="293747"/>
                    <a:pt x="1071682" y="293531"/>
                    <a:pt x="1066443" y="292655"/>
                  </a:cubicBezTo>
                  <a:cubicBezTo>
                    <a:pt x="1064147" y="292312"/>
                    <a:pt x="1061877" y="291817"/>
                    <a:pt x="1059657" y="291169"/>
                  </a:cubicBezTo>
                  <a:cubicBezTo>
                    <a:pt x="1041722" y="284451"/>
                    <a:pt x="1025486" y="273884"/>
                    <a:pt x="1012066" y="260219"/>
                  </a:cubicBezTo>
                  <a:lnTo>
                    <a:pt x="1011926" y="260079"/>
                  </a:lnTo>
                  <a:cubicBezTo>
                    <a:pt x="992786" y="243658"/>
                    <a:pt x="972783" y="227910"/>
                    <a:pt x="945816" y="228367"/>
                  </a:cubicBezTo>
                  <a:cubicBezTo>
                    <a:pt x="941326" y="228418"/>
                    <a:pt x="936836" y="228901"/>
                    <a:pt x="932435" y="229803"/>
                  </a:cubicBezTo>
                  <a:cubicBezTo>
                    <a:pt x="923492" y="231174"/>
                    <a:pt x="914359" y="230463"/>
                    <a:pt x="905734" y="227733"/>
                  </a:cubicBezTo>
                  <a:cubicBezTo>
                    <a:pt x="900331" y="226221"/>
                    <a:pt x="895016" y="224392"/>
                    <a:pt x="889828" y="222246"/>
                  </a:cubicBezTo>
                  <a:cubicBezTo>
                    <a:pt x="889473" y="222081"/>
                    <a:pt x="889118" y="221954"/>
                    <a:pt x="888750" y="221840"/>
                  </a:cubicBezTo>
                  <a:lnTo>
                    <a:pt x="888471" y="221700"/>
                  </a:lnTo>
                  <a:cubicBezTo>
                    <a:pt x="881749" y="218919"/>
                    <a:pt x="874404" y="217941"/>
                    <a:pt x="867174" y="218868"/>
                  </a:cubicBezTo>
                  <a:cubicBezTo>
                    <a:pt x="866743" y="218893"/>
                    <a:pt x="866325" y="218969"/>
                    <a:pt x="865919" y="219096"/>
                  </a:cubicBezTo>
                  <a:cubicBezTo>
                    <a:pt x="865525" y="219109"/>
                    <a:pt x="865132" y="219173"/>
                    <a:pt x="864752" y="219274"/>
                  </a:cubicBezTo>
                  <a:cubicBezTo>
                    <a:pt x="864232" y="219350"/>
                    <a:pt x="863724" y="219465"/>
                    <a:pt x="863217" y="219630"/>
                  </a:cubicBezTo>
                  <a:cubicBezTo>
                    <a:pt x="862367" y="219782"/>
                    <a:pt x="861530" y="219986"/>
                    <a:pt x="860706" y="220265"/>
                  </a:cubicBezTo>
                  <a:cubicBezTo>
                    <a:pt x="860502" y="220303"/>
                    <a:pt x="860312" y="220366"/>
                    <a:pt x="860122" y="220443"/>
                  </a:cubicBezTo>
                  <a:cubicBezTo>
                    <a:pt x="858524" y="220938"/>
                    <a:pt x="856938" y="221509"/>
                    <a:pt x="855403" y="222157"/>
                  </a:cubicBezTo>
                  <a:lnTo>
                    <a:pt x="855086" y="222284"/>
                  </a:lnTo>
                  <a:cubicBezTo>
                    <a:pt x="854275" y="222652"/>
                    <a:pt x="853513" y="223008"/>
                    <a:pt x="852702" y="223376"/>
                  </a:cubicBezTo>
                  <a:cubicBezTo>
                    <a:pt x="852296" y="223554"/>
                    <a:pt x="851941" y="223732"/>
                    <a:pt x="851535" y="223910"/>
                  </a:cubicBezTo>
                  <a:cubicBezTo>
                    <a:pt x="849061" y="225129"/>
                    <a:pt x="846499" y="226386"/>
                    <a:pt x="843354" y="227961"/>
                  </a:cubicBezTo>
                  <a:cubicBezTo>
                    <a:pt x="842060" y="228596"/>
                    <a:pt x="840614" y="229307"/>
                    <a:pt x="839041" y="230069"/>
                  </a:cubicBezTo>
                  <a:lnTo>
                    <a:pt x="834373" y="232419"/>
                  </a:lnTo>
                  <a:cubicBezTo>
                    <a:pt x="832306" y="233447"/>
                    <a:pt x="830010" y="234578"/>
                    <a:pt x="827498" y="235835"/>
                  </a:cubicBezTo>
                  <a:cubicBezTo>
                    <a:pt x="831760" y="228787"/>
                    <a:pt x="834069" y="220722"/>
                    <a:pt x="834195" y="212480"/>
                  </a:cubicBezTo>
                  <a:cubicBezTo>
                    <a:pt x="834145" y="211807"/>
                    <a:pt x="834107" y="211134"/>
                    <a:pt x="834005" y="210498"/>
                  </a:cubicBezTo>
                  <a:cubicBezTo>
                    <a:pt x="832242" y="202066"/>
                    <a:pt x="826154" y="195195"/>
                    <a:pt x="818010" y="192414"/>
                  </a:cubicBezTo>
                  <a:cubicBezTo>
                    <a:pt x="816615" y="191741"/>
                    <a:pt x="815182" y="191106"/>
                    <a:pt x="813698" y="190521"/>
                  </a:cubicBezTo>
                  <a:cubicBezTo>
                    <a:pt x="813114" y="190293"/>
                    <a:pt x="812582" y="190077"/>
                    <a:pt x="811998" y="189798"/>
                  </a:cubicBezTo>
                  <a:lnTo>
                    <a:pt x="811947" y="189798"/>
                  </a:lnTo>
                  <a:cubicBezTo>
                    <a:pt x="811415" y="189620"/>
                    <a:pt x="810869" y="189404"/>
                    <a:pt x="810324" y="189213"/>
                  </a:cubicBezTo>
                  <a:cubicBezTo>
                    <a:pt x="809829" y="189035"/>
                    <a:pt x="809385" y="188858"/>
                    <a:pt x="808890" y="188680"/>
                  </a:cubicBezTo>
                  <a:lnTo>
                    <a:pt x="808662" y="188591"/>
                  </a:lnTo>
                  <a:cubicBezTo>
                    <a:pt x="806468" y="187829"/>
                    <a:pt x="804312" y="187054"/>
                    <a:pt x="802155" y="186292"/>
                  </a:cubicBezTo>
                  <a:cubicBezTo>
                    <a:pt x="801521" y="186064"/>
                    <a:pt x="800899" y="185848"/>
                    <a:pt x="800265" y="185568"/>
                  </a:cubicBezTo>
                  <a:lnTo>
                    <a:pt x="800177" y="185530"/>
                  </a:lnTo>
                  <a:cubicBezTo>
                    <a:pt x="796714" y="184273"/>
                    <a:pt x="793340" y="182736"/>
                    <a:pt x="789978" y="181162"/>
                  </a:cubicBezTo>
                  <a:cubicBezTo>
                    <a:pt x="789522" y="180996"/>
                    <a:pt x="789090" y="180806"/>
                    <a:pt x="788672" y="180577"/>
                  </a:cubicBezTo>
                  <a:lnTo>
                    <a:pt x="786642" y="179638"/>
                  </a:lnTo>
                  <a:cubicBezTo>
                    <a:pt x="786515" y="179599"/>
                    <a:pt x="786402" y="179536"/>
                    <a:pt x="786287" y="179460"/>
                  </a:cubicBezTo>
                  <a:cubicBezTo>
                    <a:pt x="785932" y="179320"/>
                    <a:pt x="785615" y="179142"/>
                    <a:pt x="785247" y="179003"/>
                  </a:cubicBezTo>
                  <a:lnTo>
                    <a:pt x="785120" y="178914"/>
                  </a:lnTo>
                  <a:cubicBezTo>
                    <a:pt x="784537" y="178647"/>
                    <a:pt x="783953" y="178380"/>
                    <a:pt x="783370" y="178063"/>
                  </a:cubicBezTo>
                  <a:cubicBezTo>
                    <a:pt x="782875" y="177834"/>
                    <a:pt x="782381" y="177606"/>
                    <a:pt x="781848" y="177390"/>
                  </a:cubicBezTo>
                  <a:cubicBezTo>
                    <a:pt x="780542" y="176704"/>
                    <a:pt x="779235" y="176082"/>
                    <a:pt x="777929" y="175497"/>
                  </a:cubicBezTo>
                  <a:lnTo>
                    <a:pt x="777751" y="175408"/>
                  </a:lnTo>
                  <a:cubicBezTo>
                    <a:pt x="776901" y="175002"/>
                    <a:pt x="776089" y="174646"/>
                    <a:pt x="775240" y="174240"/>
                  </a:cubicBezTo>
                  <a:cubicBezTo>
                    <a:pt x="774973" y="174100"/>
                    <a:pt x="774656" y="174011"/>
                    <a:pt x="774389" y="173872"/>
                  </a:cubicBezTo>
                  <a:cubicBezTo>
                    <a:pt x="773933" y="173656"/>
                    <a:pt x="773527" y="173465"/>
                    <a:pt x="773083" y="173288"/>
                  </a:cubicBezTo>
                  <a:lnTo>
                    <a:pt x="772817" y="173160"/>
                  </a:lnTo>
                  <a:cubicBezTo>
                    <a:pt x="771954" y="172792"/>
                    <a:pt x="771143" y="172437"/>
                    <a:pt x="770293" y="172119"/>
                  </a:cubicBezTo>
                  <a:cubicBezTo>
                    <a:pt x="769658" y="171852"/>
                    <a:pt x="769037" y="171573"/>
                    <a:pt x="768403" y="171357"/>
                  </a:cubicBezTo>
                  <a:cubicBezTo>
                    <a:pt x="767819" y="171090"/>
                    <a:pt x="767223" y="170875"/>
                    <a:pt x="766614" y="170684"/>
                  </a:cubicBezTo>
                  <a:cubicBezTo>
                    <a:pt x="765980" y="170417"/>
                    <a:pt x="765333" y="170189"/>
                    <a:pt x="764673" y="170011"/>
                  </a:cubicBezTo>
                  <a:cubicBezTo>
                    <a:pt x="764369" y="169859"/>
                    <a:pt x="764027" y="169757"/>
                    <a:pt x="763684" y="169693"/>
                  </a:cubicBezTo>
                  <a:cubicBezTo>
                    <a:pt x="763266" y="169516"/>
                    <a:pt x="762834" y="169376"/>
                    <a:pt x="762378" y="169287"/>
                  </a:cubicBezTo>
                  <a:cubicBezTo>
                    <a:pt x="761870" y="169071"/>
                    <a:pt x="761325" y="168931"/>
                    <a:pt x="760767" y="168843"/>
                  </a:cubicBezTo>
                  <a:cubicBezTo>
                    <a:pt x="760577" y="168728"/>
                    <a:pt x="760361" y="168665"/>
                    <a:pt x="760133" y="168652"/>
                  </a:cubicBezTo>
                  <a:cubicBezTo>
                    <a:pt x="758940" y="168309"/>
                    <a:pt x="757723" y="168030"/>
                    <a:pt x="756492" y="167801"/>
                  </a:cubicBezTo>
                  <a:lnTo>
                    <a:pt x="755554" y="167674"/>
                  </a:lnTo>
                  <a:cubicBezTo>
                    <a:pt x="754881" y="167573"/>
                    <a:pt x="754247" y="167484"/>
                    <a:pt x="753575" y="167395"/>
                  </a:cubicBezTo>
                  <a:cubicBezTo>
                    <a:pt x="753080" y="167357"/>
                    <a:pt x="752585" y="167306"/>
                    <a:pt x="752091" y="167306"/>
                  </a:cubicBezTo>
                  <a:cubicBezTo>
                    <a:pt x="751507" y="167268"/>
                    <a:pt x="750924" y="167217"/>
                    <a:pt x="750340" y="167217"/>
                  </a:cubicBezTo>
                  <a:cubicBezTo>
                    <a:pt x="748920" y="167191"/>
                    <a:pt x="747512" y="167280"/>
                    <a:pt x="746116" y="167484"/>
                  </a:cubicBezTo>
                  <a:cubicBezTo>
                    <a:pt x="744835" y="167661"/>
                    <a:pt x="743580" y="167915"/>
                    <a:pt x="742337" y="168246"/>
                  </a:cubicBezTo>
                  <a:lnTo>
                    <a:pt x="742197" y="168385"/>
                  </a:lnTo>
                  <a:cubicBezTo>
                    <a:pt x="741880" y="168652"/>
                    <a:pt x="741614" y="168969"/>
                    <a:pt x="741309" y="169236"/>
                  </a:cubicBezTo>
                  <a:cubicBezTo>
                    <a:pt x="737441" y="173021"/>
                    <a:pt x="733838" y="176475"/>
                    <a:pt x="730426" y="179765"/>
                  </a:cubicBezTo>
                  <a:cubicBezTo>
                    <a:pt x="726608" y="183498"/>
                    <a:pt x="723057" y="186965"/>
                    <a:pt x="719733" y="190204"/>
                  </a:cubicBezTo>
                  <a:cubicBezTo>
                    <a:pt x="717704" y="192147"/>
                    <a:pt x="715776" y="194039"/>
                    <a:pt x="713937" y="195830"/>
                  </a:cubicBezTo>
                  <a:cubicBezTo>
                    <a:pt x="713125" y="196592"/>
                    <a:pt x="712364" y="197354"/>
                    <a:pt x="711603" y="198078"/>
                  </a:cubicBezTo>
                  <a:cubicBezTo>
                    <a:pt x="708546" y="201050"/>
                    <a:pt x="705705" y="203793"/>
                    <a:pt x="702977" y="206447"/>
                  </a:cubicBezTo>
                  <a:lnTo>
                    <a:pt x="702838" y="206447"/>
                  </a:lnTo>
                  <a:cubicBezTo>
                    <a:pt x="701354" y="206181"/>
                    <a:pt x="699921" y="205914"/>
                    <a:pt x="698526" y="205685"/>
                  </a:cubicBezTo>
                  <a:cubicBezTo>
                    <a:pt x="694479" y="204974"/>
                    <a:pt x="690572" y="204288"/>
                    <a:pt x="686615" y="203577"/>
                  </a:cubicBezTo>
                  <a:cubicBezTo>
                    <a:pt x="686209" y="203488"/>
                    <a:pt x="685765" y="203437"/>
                    <a:pt x="685309" y="203348"/>
                  </a:cubicBezTo>
                  <a:cubicBezTo>
                    <a:pt x="683025" y="202942"/>
                    <a:pt x="680691" y="202536"/>
                    <a:pt x="678307" y="202091"/>
                  </a:cubicBezTo>
                  <a:cubicBezTo>
                    <a:pt x="674032" y="201329"/>
                    <a:pt x="669542" y="200516"/>
                    <a:pt x="664557" y="199665"/>
                  </a:cubicBezTo>
                  <a:cubicBezTo>
                    <a:pt x="665357" y="199386"/>
                    <a:pt x="666219" y="199170"/>
                    <a:pt x="667018" y="198941"/>
                  </a:cubicBezTo>
                  <a:cubicBezTo>
                    <a:pt x="669314" y="198268"/>
                    <a:pt x="671648" y="197633"/>
                    <a:pt x="673994" y="197100"/>
                  </a:cubicBezTo>
                  <a:lnTo>
                    <a:pt x="675605" y="196694"/>
                  </a:lnTo>
                  <a:cubicBezTo>
                    <a:pt x="698703" y="191156"/>
                    <a:pt x="721484" y="188273"/>
                    <a:pt x="722473" y="157095"/>
                  </a:cubicBezTo>
                  <a:cubicBezTo>
                    <a:pt x="717159" y="155635"/>
                    <a:pt x="711755" y="154479"/>
                    <a:pt x="706301" y="153628"/>
                  </a:cubicBezTo>
                  <a:lnTo>
                    <a:pt x="706123" y="153628"/>
                  </a:lnTo>
                  <a:cubicBezTo>
                    <a:pt x="695760" y="151901"/>
                    <a:pt x="685195" y="151761"/>
                    <a:pt x="674793" y="153222"/>
                  </a:cubicBezTo>
                  <a:cubicBezTo>
                    <a:pt x="671927" y="153628"/>
                    <a:pt x="669047" y="154174"/>
                    <a:pt x="666168" y="154847"/>
                  </a:cubicBezTo>
                  <a:cubicBezTo>
                    <a:pt x="665052" y="155114"/>
                    <a:pt x="663974" y="155381"/>
                    <a:pt x="662896" y="155698"/>
                  </a:cubicBezTo>
                  <a:cubicBezTo>
                    <a:pt x="662667" y="156917"/>
                    <a:pt x="662490" y="158136"/>
                    <a:pt x="662261" y="159305"/>
                  </a:cubicBezTo>
                  <a:lnTo>
                    <a:pt x="662211" y="159432"/>
                  </a:lnTo>
                  <a:cubicBezTo>
                    <a:pt x="661995" y="160956"/>
                    <a:pt x="661716" y="162493"/>
                    <a:pt x="661450" y="163940"/>
                  </a:cubicBezTo>
                  <a:lnTo>
                    <a:pt x="661450" y="163978"/>
                  </a:lnTo>
                  <a:cubicBezTo>
                    <a:pt x="661361" y="164563"/>
                    <a:pt x="661272" y="165109"/>
                    <a:pt x="661183" y="165693"/>
                  </a:cubicBezTo>
                  <a:cubicBezTo>
                    <a:pt x="660511" y="169376"/>
                    <a:pt x="659928" y="172894"/>
                    <a:pt x="659293" y="176437"/>
                  </a:cubicBezTo>
                  <a:cubicBezTo>
                    <a:pt x="659154" y="177301"/>
                    <a:pt x="659027" y="178152"/>
                    <a:pt x="658850" y="179003"/>
                  </a:cubicBezTo>
                  <a:lnTo>
                    <a:pt x="658710" y="179866"/>
                  </a:lnTo>
                  <a:cubicBezTo>
                    <a:pt x="656110" y="179549"/>
                    <a:pt x="653674" y="179282"/>
                    <a:pt x="651391" y="179003"/>
                  </a:cubicBezTo>
                  <a:cubicBezTo>
                    <a:pt x="649590" y="178825"/>
                    <a:pt x="647928" y="178647"/>
                    <a:pt x="646317" y="178469"/>
                  </a:cubicBezTo>
                  <a:cubicBezTo>
                    <a:pt x="642575" y="172691"/>
                    <a:pt x="640990" y="165769"/>
                    <a:pt x="641865" y="158937"/>
                  </a:cubicBezTo>
                  <a:cubicBezTo>
                    <a:pt x="643907" y="151355"/>
                    <a:pt x="649045" y="144992"/>
                    <a:pt x="656021" y="141385"/>
                  </a:cubicBezTo>
                  <a:cubicBezTo>
                    <a:pt x="665166" y="134743"/>
                    <a:pt x="672903" y="126323"/>
                    <a:pt x="678763" y="116645"/>
                  </a:cubicBezTo>
                  <a:cubicBezTo>
                    <a:pt x="681237" y="113039"/>
                    <a:pt x="680425" y="102333"/>
                    <a:pt x="677812" y="100936"/>
                  </a:cubicBezTo>
                  <a:cubicBezTo>
                    <a:pt x="676113" y="100034"/>
                    <a:pt x="674476" y="99018"/>
                    <a:pt x="672916" y="97875"/>
                  </a:cubicBezTo>
                  <a:cubicBezTo>
                    <a:pt x="667627" y="94179"/>
                    <a:pt x="663226" y="89341"/>
                    <a:pt x="660067" y="83702"/>
                  </a:cubicBezTo>
                  <a:lnTo>
                    <a:pt x="660016" y="83575"/>
                  </a:lnTo>
                  <a:cubicBezTo>
                    <a:pt x="654499" y="71573"/>
                    <a:pt x="650655" y="58873"/>
                    <a:pt x="648601" y="45818"/>
                  </a:cubicBezTo>
                  <a:cubicBezTo>
                    <a:pt x="647611" y="41639"/>
                    <a:pt x="646711" y="35556"/>
                    <a:pt x="643793" y="33943"/>
                  </a:cubicBezTo>
                  <a:cubicBezTo>
                    <a:pt x="642398" y="33181"/>
                    <a:pt x="641053" y="32368"/>
                    <a:pt x="639709" y="31517"/>
                  </a:cubicBezTo>
                  <a:lnTo>
                    <a:pt x="639709" y="31467"/>
                  </a:lnTo>
                  <a:cubicBezTo>
                    <a:pt x="639544" y="31378"/>
                    <a:pt x="639392" y="31276"/>
                    <a:pt x="639252" y="31149"/>
                  </a:cubicBezTo>
                  <a:cubicBezTo>
                    <a:pt x="634356" y="36051"/>
                    <a:pt x="627659" y="41944"/>
                    <a:pt x="626352" y="43887"/>
                  </a:cubicBezTo>
                  <a:cubicBezTo>
                    <a:pt x="624653" y="46491"/>
                    <a:pt x="621824" y="51266"/>
                    <a:pt x="619934" y="54365"/>
                  </a:cubicBezTo>
                  <a:cubicBezTo>
                    <a:pt x="617994" y="57476"/>
                    <a:pt x="613770" y="65973"/>
                    <a:pt x="610586" y="72272"/>
                  </a:cubicBezTo>
                  <a:cubicBezTo>
                    <a:pt x="607390" y="78622"/>
                    <a:pt x="611753" y="82533"/>
                    <a:pt x="602633" y="84464"/>
                  </a:cubicBezTo>
                  <a:cubicBezTo>
                    <a:pt x="593551" y="86407"/>
                    <a:pt x="592333" y="79828"/>
                    <a:pt x="586993" y="82711"/>
                  </a:cubicBezTo>
                  <a:cubicBezTo>
                    <a:pt x="581692" y="85632"/>
                    <a:pt x="584292" y="87982"/>
                    <a:pt x="578368" y="86000"/>
                  </a:cubicBezTo>
                  <a:cubicBezTo>
                    <a:pt x="572483" y="84070"/>
                    <a:pt x="577874" y="80819"/>
                    <a:pt x="572483" y="84070"/>
                  </a:cubicBezTo>
                  <a:cubicBezTo>
                    <a:pt x="567041" y="87258"/>
                    <a:pt x="567713" y="90991"/>
                    <a:pt x="560928" y="88426"/>
                  </a:cubicBezTo>
                  <a:cubicBezTo>
                    <a:pt x="554142" y="85823"/>
                    <a:pt x="551313" y="87931"/>
                    <a:pt x="549334" y="83651"/>
                  </a:cubicBezTo>
                  <a:cubicBezTo>
                    <a:pt x="547317" y="79435"/>
                    <a:pt x="550679" y="79790"/>
                    <a:pt x="544527" y="80374"/>
                  </a:cubicBezTo>
                  <a:cubicBezTo>
                    <a:pt x="538375" y="80908"/>
                    <a:pt x="547672" y="75294"/>
                    <a:pt x="536612" y="77758"/>
                  </a:cubicBezTo>
                  <a:cubicBezTo>
                    <a:pt x="525513" y="80286"/>
                    <a:pt x="528342" y="79435"/>
                    <a:pt x="523940" y="80412"/>
                  </a:cubicBezTo>
                  <a:cubicBezTo>
                    <a:pt x="519501" y="81403"/>
                    <a:pt x="515898" y="72589"/>
                    <a:pt x="512487" y="77618"/>
                  </a:cubicBezTo>
                  <a:cubicBezTo>
                    <a:pt x="509074" y="82660"/>
                    <a:pt x="508580" y="78571"/>
                    <a:pt x="509074" y="82660"/>
                  </a:cubicBezTo>
                  <a:cubicBezTo>
                    <a:pt x="509607" y="86762"/>
                    <a:pt x="506690" y="83613"/>
                    <a:pt x="509924" y="89950"/>
                  </a:cubicBezTo>
                  <a:cubicBezTo>
                    <a:pt x="513108" y="96300"/>
                    <a:pt x="520972" y="99983"/>
                    <a:pt x="511142" y="97291"/>
                  </a:cubicBezTo>
                  <a:cubicBezTo>
                    <a:pt x="501248" y="94586"/>
                    <a:pt x="501565" y="94370"/>
                    <a:pt x="495363" y="95259"/>
                  </a:cubicBezTo>
                  <a:cubicBezTo>
                    <a:pt x="489211" y="96161"/>
                    <a:pt x="496263" y="94763"/>
                    <a:pt x="483985" y="94992"/>
                  </a:cubicBezTo>
                  <a:cubicBezTo>
                    <a:pt x="471719" y="95221"/>
                    <a:pt x="471060" y="95221"/>
                    <a:pt x="468130" y="98192"/>
                  </a:cubicBezTo>
                  <a:cubicBezTo>
                    <a:pt x="465200" y="101151"/>
                    <a:pt x="464629" y="99539"/>
                    <a:pt x="461788" y="100656"/>
                  </a:cubicBezTo>
                  <a:cubicBezTo>
                    <a:pt x="458947" y="101787"/>
                    <a:pt x="457742" y="98053"/>
                    <a:pt x="455357" y="102231"/>
                  </a:cubicBezTo>
                  <a:cubicBezTo>
                    <a:pt x="452972" y="106422"/>
                    <a:pt x="458680" y="105520"/>
                    <a:pt x="452985" y="106422"/>
                  </a:cubicBezTo>
                  <a:cubicBezTo>
                    <a:pt x="447277" y="107362"/>
                    <a:pt x="446377" y="102815"/>
                    <a:pt x="444119" y="105660"/>
                  </a:cubicBezTo>
                  <a:cubicBezTo>
                    <a:pt x="441874" y="108492"/>
                    <a:pt x="444398" y="108670"/>
                    <a:pt x="439984" y="110740"/>
                  </a:cubicBezTo>
                  <a:cubicBezTo>
                    <a:pt x="435582" y="112848"/>
                    <a:pt x="439895" y="110105"/>
                    <a:pt x="435582" y="112848"/>
                  </a:cubicBezTo>
                  <a:cubicBezTo>
                    <a:pt x="431320" y="115553"/>
                    <a:pt x="434009" y="114652"/>
                    <a:pt x="427997" y="112721"/>
                  </a:cubicBezTo>
                  <a:cubicBezTo>
                    <a:pt x="421972" y="110778"/>
                    <a:pt x="422201" y="112175"/>
                    <a:pt x="418471" y="108530"/>
                  </a:cubicBezTo>
                  <a:cubicBezTo>
                    <a:pt x="415973" y="105584"/>
                    <a:pt x="413258" y="102828"/>
                    <a:pt x="410328" y="100301"/>
                  </a:cubicBezTo>
                  <a:cubicBezTo>
                    <a:pt x="407918" y="98955"/>
                    <a:pt x="406142" y="96707"/>
                    <a:pt x="405381" y="94040"/>
                  </a:cubicBezTo>
                  <a:cubicBezTo>
                    <a:pt x="403441" y="90026"/>
                    <a:pt x="401982" y="85772"/>
                    <a:pt x="401068" y="81403"/>
                  </a:cubicBezTo>
                  <a:cubicBezTo>
                    <a:pt x="399166" y="73808"/>
                    <a:pt x="398785" y="65922"/>
                    <a:pt x="399952" y="58187"/>
                  </a:cubicBezTo>
                  <a:cubicBezTo>
                    <a:pt x="402109" y="54174"/>
                    <a:pt x="399902" y="54174"/>
                    <a:pt x="401792" y="50669"/>
                  </a:cubicBezTo>
                  <a:cubicBezTo>
                    <a:pt x="403682" y="47164"/>
                    <a:pt x="401652" y="46491"/>
                    <a:pt x="405965" y="43240"/>
                  </a:cubicBezTo>
                  <a:cubicBezTo>
                    <a:pt x="410277" y="40052"/>
                    <a:pt x="409973" y="39874"/>
                    <a:pt x="408172" y="33524"/>
                  </a:cubicBezTo>
                  <a:cubicBezTo>
                    <a:pt x="406422" y="27174"/>
                    <a:pt x="407094" y="24710"/>
                    <a:pt x="403136" y="23224"/>
                  </a:cubicBezTo>
                  <a:cubicBezTo>
                    <a:pt x="399229" y="21776"/>
                    <a:pt x="395323" y="25701"/>
                    <a:pt x="395044" y="19491"/>
                  </a:cubicBezTo>
                  <a:cubicBezTo>
                    <a:pt x="394777" y="13318"/>
                    <a:pt x="401120" y="9775"/>
                    <a:pt x="396667" y="5000"/>
                  </a:cubicBezTo>
                  <a:cubicBezTo>
                    <a:pt x="392177" y="225"/>
                    <a:pt x="392443" y="-271"/>
                    <a:pt x="387547" y="98"/>
                  </a:cubicBezTo>
                  <a:cubicBezTo>
                    <a:pt x="383945" y="364"/>
                    <a:pt x="382474" y="4009"/>
                    <a:pt x="380178" y="3958"/>
                  </a:cubicBezTo>
                  <a:cubicBezTo>
                    <a:pt x="379785" y="7832"/>
                    <a:pt x="378618" y="11578"/>
                    <a:pt x="376766" y="14982"/>
                  </a:cubicBezTo>
                  <a:cubicBezTo>
                    <a:pt x="374686" y="16874"/>
                    <a:pt x="371996" y="21103"/>
                    <a:pt x="366745" y="21192"/>
                  </a:cubicBezTo>
                  <a:cubicBezTo>
                    <a:pt x="361430" y="21281"/>
                    <a:pt x="359414" y="21650"/>
                    <a:pt x="359059" y="24253"/>
                  </a:cubicBezTo>
                  <a:cubicBezTo>
                    <a:pt x="358691" y="26907"/>
                    <a:pt x="358019" y="26641"/>
                    <a:pt x="354873" y="27949"/>
                  </a:cubicBezTo>
                  <a:cubicBezTo>
                    <a:pt x="351689" y="29257"/>
                    <a:pt x="352666" y="26818"/>
                    <a:pt x="349482" y="28888"/>
                  </a:cubicBezTo>
                  <a:cubicBezTo>
                    <a:pt x="346298" y="30959"/>
                    <a:pt x="347820" y="32178"/>
                    <a:pt x="344091" y="31949"/>
                  </a:cubicBezTo>
                  <a:cubicBezTo>
                    <a:pt x="340362" y="31771"/>
                    <a:pt x="339094" y="30870"/>
                    <a:pt x="337166" y="31949"/>
                  </a:cubicBezTo>
                  <a:cubicBezTo>
                    <a:pt x="335187" y="33079"/>
                    <a:pt x="332764" y="31860"/>
                    <a:pt x="331052" y="31365"/>
                  </a:cubicBezTo>
                  <a:cubicBezTo>
                    <a:pt x="329352" y="30920"/>
                    <a:pt x="326105" y="28888"/>
                    <a:pt x="324811" y="31949"/>
                  </a:cubicBezTo>
                  <a:cubicBezTo>
                    <a:pt x="323518" y="35010"/>
                    <a:pt x="321615" y="34565"/>
                    <a:pt x="320537" y="35556"/>
                  </a:cubicBezTo>
                  <a:cubicBezTo>
                    <a:pt x="319459" y="36496"/>
                    <a:pt x="315197" y="35238"/>
                    <a:pt x="317213" y="41169"/>
                  </a:cubicBezTo>
                  <a:cubicBezTo>
                    <a:pt x="319243" y="47075"/>
                    <a:pt x="319915" y="51571"/>
                    <a:pt x="316275" y="50669"/>
                  </a:cubicBezTo>
                  <a:cubicBezTo>
                    <a:pt x="312635" y="49767"/>
                    <a:pt x="311556" y="46034"/>
                    <a:pt x="307650" y="43240"/>
                  </a:cubicBezTo>
                  <a:cubicBezTo>
                    <a:pt x="303692" y="40496"/>
                    <a:pt x="305443" y="33575"/>
                    <a:pt x="302031" y="36902"/>
                  </a:cubicBezTo>
                  <a:cubicBezTo>
                    <a:pt x="298657" y="40191"/>
                    <a:pt x="298479" y="37575"/>
                    <a:pt x="294116" y="37626"/>
                  </a:cubicBezTo>
                  <a:cubicBezTo>
                    <a:pt x="289714" y="37626"/>
                    <a:pt x="291782" y="35556"/>
                    <a:pt x="288319" y="37486"/>
                  </a:cubicBezTo>
                  <a:cubicBezTo>
                    <a:pt x="284907" y="39468"/>
                    <a:pt x="282167" y="41487"/>
                    <a:pt x="280632" y="36851"/>
                  </a:cubicBezTo>
                  <a:cubicBezTo>
                    <a:pt x="279161" y="32216"/>
                    <a:pt x="284006" y="29790"/>
                    <a:pt x="274430" y="31771"/>
                  </a:cubicBezTo>
                  <a:cubicBezTo>
                    <a:pt x="264866" y="33803"/>
                    <a:pt x="260820" y="25523"/>
                    <a:pt x="263471" y="30920"/>
                  </a:cubicBezTo>
                  <a:cubicBezTo>
                    <a:pt x="266122" y="36280"/>
                    <a:pt x="272502" y="40141"/>
                    <a:pt x="274925" y="44687"/>
                  </a:cubicBezTo>
                  <a:cubicBezTo>
                    <a:pt x="277360" y="49234"/>
                    <a:pt x="278298" y="59534"/>
                    <a:pt x="280632" y="66557"/>
                  </a:cubicBezTo>
                  <a:cubicBezTo>
                    <a:pt x="283017" y="73580"/>
                    <a:pt x="280417" y="76679"/>
                    <a:pt x="283651" y="78253"/>
                  </a:cubicBezTo>
                  <a:cubicBezTo>
                    <a:pt x="286556" y="79866"/>
                    <a:pt x="289879" y="80565"/>
                    <a:pt x="293177" y="80235"/>
                  </a:cubicBezTo>
                  <a:cubicBezTo>
                    <a:pt x="298428" y="80197"/>
                    <a:pt x="299151" y="77047"/>
                    <a:pt x="300369" y="82178"/>
                  </a:cubicBezTo>
                  <a:cubicBezTo>
                    <a:pt x="301536" y="87296"/>
                    <a:pt x="306254" y="87982"/>
                    <a:pt x="298390" y="89061"/>
                  </a:cubicBezTo>
                  <a:cubicBezTo>
                    <a:pt x="294319" y="89556"/>
                    <a:pt x="290412" y="91017"/>
                    <a:pt x="287013" y="93328"/>
                  </a:cubicBezTo>
                  <a:cubicBezTo>
                    <a:pt x="284057" y="94497"/>
                    <a:pt x="284374" y="94675"/>
                    <a:pt x="282928" y="98777"/>
                  </a:cubicBezTo>
                  <a:cubicBezTo>
                    <a:pt x="281533" y="102917"/>
                    <a:pt x="280049" y="107959"/>
                    <a:pt x="276865" y="108543"/>
                  </a:cubicBezTo>
                  <a:cubicBezTo>
                    <a:pt x="273669" y="109178"/>
                    <a:pt x="275914" y="104758"/>
                    <a:pt x="271246" y="106422"/>
                  </a:cubicBezTo>
                  <a:cubicBezTo>
                    <a:pt x="266566" y="108086"/>
                    <a:pt x="269851" y="112772"/>
                    <a:pt x="265399" y="113001"/>
                  </a:cubicBezTo>
                  <a:cubicBezTo>
                    <a:pt x="260997" y="113178"/>
                    <a:pt x="260997" y="109165"/>
                    <a:pt x="257852" y="113128"/>
                  </a:cubicBezTo>
                  <a:cubicBezTo>
                    <a:pt x="254757" y="117090"/>
                    <a:pt x="255467" y="113712"/>
                    <a:pt x="253590" y="116950"/>
                  </a:cubicBezTo>
                  <a:cubicBezTo>
                    <a:pt x="251700" y="120189"/>
                    <a:pt x="253311" y="119109"/>
                    <a:pt x="251560" y="123250"/>
                  </a:cubicBezTo>
                  <a:cubicBezTo>
                    <a:pt x="249759" y="127390"/>
                    <a:pt x="246753" y="122983"/>
                    <a:pt x="244685" y="124824"/>
                  </a:cubicBezTo>
                  <a:cubicBezTo>
                    <a:pt x="242618" y="126679"/>
                    <a:pt x="239650" y="134273"/>
                    <a:pt x="239155" y="130095"/>
                  </a:cubicBezTo>
                  <a:cubicBezTo>
                    <a:pt x="238711" y="125955"/>
                    <a:pt x="244229" y="119783"/>
                    <a:pt x="238571" y="121319"/>
                  </a:cubicBezTo>
                  <a:cubicBezTo>
                    <a:pt x="234906" y="122170"/>
                    <a:pt x="231430" y="123745"/>
                    <a:pt x="228373" y="125955"/>
                  </a:cubicBezTo>
                  <a:cubicBezTo>
                    <a:pt x="224239" y="128380"/>
                    <a:pt x="227828" y="128838"/>
                    <a:pt x="222120" y="127479"/>
                  </a:cubicBezTo>
                  <a:cubicBezTo>
                    <a:pt x="216463" y="126133"/>
                    <a:pt x="220598" y="130362"/>
                    <a:pt x="214573" y="124824"/>
                  </a:cubicBezTo>
                  <a:cubicBezTo>
                    <a:pt x="208548" y="119287"/>
                    <a:pt x="203703" y="116544"/>
                    <a:pt x="203246" y="114525"/>
                  </a:cubicBezTo>
                  <a:lnTo>
                    <a:pt x="197855" y="115922"/>
                  </a:lnTo>
                  <a:cubicBezTo>
                    <a:pt x="197855" y="115922"/>
                    <a:pt x="200506" y="103806"/>
                    <a:pt x="195166" y="98777"/>
                  </a:cubicBezTo>
                  <a:cubicBezTo>
                    <a:pt x="189775" y="93773"/>
                    <a:pt x="191209" y="86394"/>
                    <a:pt x="187201" y="88642"/>
                  </a:cubicBezTo>
                  <a:cubicBezTo>
                    <a:pt x="183256" y="90903"/>
                    <a:pt x="178537" y="97646"/>
                    <a:pt x="175430" y="98777"/>
                  </a:cubicBezTo>
                  <a:cubicBezTo>
                    <a:pt x="172614" y="99577"/>
                    <a:pt x="169633" y="98205"/>
                    <a:pt x="168428" y="95538"/>
                  </a:cubicBezTo>
                  <a:cubicBezTo>
                    <a:pt x="166944" y="93239"/>
                    <a:pt x="164014" y="92744"/>
                    <a:pt x="164115" y="94852"/>
                  </a:cubicBezTo>
                  <a:cubicBezTo>
                    <a:pt x="164154" y="96973"/>
                    <a:pt x="167933" y="100440"/>
                    <a:pt x="164559" y="100440"/>
                  </a:cubicBezTo>
                  <a:cubicBezTo>
                    <a:pt x="154044" y="101202"/>
                    <a:pt x="143491" y="101215"/>
                    <a:pt x="132963" y="100478"/>
                  </a:cubicBezTo>
                  <a:cubicBezTo>
                    <a:pt x="129564" y="99158"/>
                    <a:pt x="125834" y="98980"/>
                    <a:pt x="122308" y="99945"/>
                  </a:cubicBezTo>
                  <a:cubicBezTo>
                    <a:pt x="118668" y="100847"/>
                    <a:pt x="118579" y="104530"/>
                    <a:pt x="118630" y="110016"/>
                  </a:cubicBezTo>
                  <a:cubicBezTo>
                    <a:pt x="118668" y="115464"/>
                    <a:pt x="116245" y="119249"/>
                    <a:pt x="119429" y="119198"/>
                  </a:cubicBezTo>
                  <a:cubicBezTo>
                    <a:pt x="122676" y="119160"/>
                    <a:pt x="119657" y="117484"/>
                    <a:pt x="125416" y="118754"/>
                  </a:cubicBezTo>
                  <a:cubicBezTo>
                    <a:pt x="131124" y="120011"/>
                    <a:pt x="130895" y="117852"/>
                    <a:pt x="132912" y="118932"/>
                  </a:cubicBezTo>
                  <a:cubicBezTo>
                    <a:pt x="134942" y="119960"/>
                    <a:pt x="135297" y="121624"/>
                    <a:pt x="136832" y="124824"/>
                  </a:cubicBezTo>
                  <a:cubicBezTo>
                    <a:pt x="138404" y="128025"/>
                    <a:pt x="139521" y="132470"/>
                    <a:pt x="136109" y="131708"/>
                  </a:cubicBezTo>
                  <a:cubicBezTo>
                    <a:pt x="132697" y="130946"/>
                    <a:pt x="132874" y="131352"/>
                    <a:pt x="129411" y="130679"/>
                  </a:cubicBezTo>
                  <a:cubicBezTo>
                    <a:pt x="125949" y="129993"/>
                    <a:pt x="126989" y="131759"/>
                    <a:pt x="123386" y="131797"/>
                  </a:cubicBezTo>
                  <a:cubicBezTo>
                    <a:pt x="120888" y="131835"/>
                    <a:pt x="118402" y="132063"/>
                    <a:pt x="115928" y="132470"/>
                  </a:cubicBezTo>
                  <a:cubicBezTo>
                    <a:pt x="113505" y="132787"/>
                    <a:pt x="110043" y="133016"/>
                    <a:pt x="112250" y="134997"/>
                  </a:cubicBezTo>
                  <a:cubicBezTo>
                    <a:pt x="120266" y="153171"/>
                    <a:pt x="125454" y="172475"/>
                    <a:pt x="127610" y="192223"/>
                  </a:cubicBezTo>
                  <a:cubicBezTo>
                    <a:pt x="124934" y="217890"/>
                    <a:pt x="120926" y="243391"/>
                    <a:pt x="115611" y="268626"/>
                  </a:cubicBezTo>
                  <a:cubicBezTo>
                    <a:pt x="115611" y="268626"/>
                    <a:pt x="114850" y="267776"/>
                    <a:pt x="113721" y="266467"/>
                  </a:cubicBezTo>
                  <a:cubicBezTo>
                    <a:pt x="113721" y="266467"/>
                    <a:pt x="111933" y="272678"/>
                    <a:pt x="107836" y="270481"/>
                  </a:cubicBezTo>
                  <a:cubicBezTo>
                    <a:pt x="103701" y="268271"/>
                    <a:pt x="105007" y="267369"/>
                    <a:pt x="99971" y="267102"/>
                  </a:cubicBezTo>
                  <a:cubicBezTo>
                    <a:pt x="99210" y="267115"/>
                    <a:pt x="98462" y="267001"/>
                    <a:pt x="97726" y="266785"/>
                  </a:cubicBezTo>
                  <a:cubicBezTo>
                    <a:pt x="97726" y="266925"/>
                    <a:pt x="97371" y="267331"/>
                    <a:pt x="94936" y="268182"/>
                  </a:cubicBezTo>
                  <a:cubicBezTo>
                    <a:pt x="89190" y="270214"/>
                    <a:pt x="88201" y="272957"/>
                    <a:pt x="84332" y="274176"/>
                  </a:cubicBezTo>
                  <a:cubicBezTo>
                    <a:pt x="80590" y="274773"/>
                    <a:pt x="76797" y="275053"/>
                    <a:pt x="73005" y="274976"/>
                  </a:cubicBezTo>
                  <a:cubicBezTo>
                    <a:pt x="71064" y="274976"/>
                    <a:pt x="69136" y="275434"/>
                    <a:pt x="67386" y="276285"/>
                  </a:cubicBezTo>
                  <a:cubicBezTo>
                    <a:pt x="63707" y="277910"/>
                    <a:pt x="58037" y="276551"/>
                    <a:pt x="55881" y="279079"/>
                  </a:cubicBezTo>
                  <a:cubicBezTo>
                    <a:pt x="53687" y="281555"/>
                    <a:pt x="49869" y="282089"/>
                    <a:pt x="47167" y="284832"/>
                  </a:cubicBezTo>
                  <a:cubicBezTo>
                    <a:pt x="45556" y="286597"/>
                    <a:pt x="43692" y="288096"/>
                    <a:pt x="41637" y="289289"/>
                  </a:cubicBezTo>
                  <a:cubicBezTo>
                    <a:pt x="37819" y="292032"/>
                    <a:pt x="35802" y="286368"/>
                    <a:pt x="34318" y="292985"/>
                  </a:cubicBezTo>
                  <a:cubicBezTo>
                    <a:pt x="32834" y="299551"/>
                    <a:pt x="29549" y="299589"/>
                    <a:pt x="29688" y="304720"/>
                  </a:cubicBezTo>
                  <a:cubicBezTo>
                    <a:pt x="27114" y="314372"/>
                    <a:pt x="23245" y="323617"/>
                    <a:pt x="18184" y="332215"/>
                  </a:cubicBezTo>
                  <a:cubicBezTo>
                    <a:pt x="15622" y="336851"/>
                    <a:pt x="11170" y="350351"/>
                    <a:pt x="8607" y="353450"/>
                  </a:cubicBezTo>
                  <a:cubicBezTo>
                    <a:pt x="6045" y="356599"/>
                    <a:pt x="4244" y="354631"/>
                    <a:pt x="1644" y="358314"/>
                  </a:cubicBezTo>
                  <a:cubicBezTo>
                    <a:pt x="-919" y="361959"/>
                    <a:pt x="-602" y="361819"/>
                    <a:pt x="3077" y="364664"/>
                  </a:cubicBezTo>
                  <a:cubicBezTo>
                    <a:pt x="6806" y="367458"/>
                    <a:pt x="6502" y="366696"/>
                    <a:pt x="6996" y="370201"/>
                  </a:cubicBezTo>
                  <a:cubicBezTo>
                    <a:pt x="6692" y="373338"/>
                    <a:pt x="7834" y="376437"/>
                    <a:pt x="10091" y="378608"/>
                  </a:cubicBezTo>
                  <a:cubicBezTo>
                    <a:pt x="15901" y="384501"/>
                    <a:pt x="21253" y="390839"/>
                    <a:pt x="26086" y="397557"/>
                  </a:cubicBezTo>
                  <a:cubicBezTo>
                    <a:pt x="28737" y="402916"/>
                    <a:pt x="28877" y="400973"/>
                    <a:pt x="27938" y="405926"/>
                  </a:cubicBezTo>
                  <a:cubicBezTo>
                    <a:pt x="26949" y="410917"/>
                    <a:pt x="18552" y="410968"/>
                    <a:pt x="22902" y="413445"/>
                  </a:cubicBezTo>
                  <a:cubicBezTo>
                    <a:pt x="24564" y="414385"/>
                    <a:pt x="24513" y="414651"/>
                    <a:pt x="24424" y="414753"/>
                  </a:cubicBezTo>
                  <a:cubicBezTo>
                    <a:pt x="26746" y="414892"/>
                    <a:pt x="29067" y="415210"/>
                    <a:pt x="31337" y="415693"/>
                  </a:cubicBezTo>
                  <a:cubicBezTo>
                    <a:pt x="42981" y="417763"/>
                    <a:pt x="38174" y="412098"/>
                    <a:pt x="43971" y="417851"/>
                  </a:cubicBezTo>
                  <a:cubicBezTo>
                    <a:pt x="46837" y="421077"/>
                    <a:pt x="49514" y="424468"/>
                    <a:pt x="51974" y="428024"/>
                  </a:cubicBezTo>
                  <a:cubicBezTo>
                    <a:pt x="57112" y="431593"/>
                    <a:pt x="63289" y="433371"/>
                    <a:pt x="69542" y="433104"/>
                  </a:cubicBezTo>
                  <a:cubicBezTo>
                    <a:pt x="75161" y="432736"/>
                    <a:pt x="77000" y="432025"/>
                    <a:pt x="79423" y="429370"/>
                  </a:cubicBezTo>
                  <a:cubicBezTo>
                    <a:pt x="83076" y="425090"/>
                    <a:pt x="87579" y="421623"/>
                    <a:pt x="92640" y="419198"/>
                  </a:cubicBezTo>
                  <a:cubicBezTo>
                    <a:pt x="98297" y="416899"/>
                    <a:pt x="98487" y="410511"/>
                    <a:pt x="98297" y="418474"/>
                  </a:cubicBezTo>
                  <a:cubicBezTo>
                    <a:pt x="98170" y="426398"/>
                    <a:pt x="98297" y="423655"/>
                    <a:pt x="98297" y="431974"/>
                  </a:cubicBezTo>
                  <a:cubicBezTo>
                    <a:pt x="98348" y="440254"/>
                    <a:pt x="92729" y="458619"/>
                    <a:pt x="96953" y="459965"/>
                  </a:cubicBezTo>
                  <a:cubicBezTo>
                    <a:pt x="101227" y="461311"/>
                    <a:pt x="99388" y="464689"/>
                    <a:pt x="104906" y="463152"/>
                  </a:cubicBezTo>
                  <a:cubicBezTo>
                    <a:pt x="110487" y="461667"/>
                    <a:pt x="109675" y="458479"/>
                    <a:pt x="118122" y="459203"/>
                  </a:cubicBezTo>
                  <a:cubicBezTo>
                    <a:pt x="124465" y="459698"/>
                    <a:pt x="122524" y="458479"/>
                    <a:pt x="125936" y="458657"/>
                  </a:cubicBezTo>
                  <a:cubicBezTo>
                    <a:pt x="127889" y="458745"/>
                    <a:pt x="129830" y="458987"/>
                    <a:pt x="131745" y="459381"/>
                  </a:cubicBezTo>
                  <a:cubicBezTo>
                    <a:pt x="143161" y="461311"/>
                    <a:pt x="139013" y="460231"/>
                    <a:pt x="144227" y="461273"/>
                  </a:cubicBezTo>
                  <a:cubicBezTo>
                    <a:pt x="149440" y="462301"/>
                    <a:pt x="142349" y="464600"/>
                    <a:pt x="149808" y="465324"/>
                  </a:cubicBezTo>
                  <a:cubicBezTo>
                    <a:pt x="157266" y="466035"/>
                    <a:pt x="160767" y="459698"/>
                    <a:pt x="164902" y="458923"/>
                  </a:cubicBezTo>
                  <a:cubicBezTo>
                    <a:pt x="169024" y="458161"/>
                    <a:pt x="167236" y="451278"/>
                    <a:pt x="173261" y="451545"/>
                  </a:cubicBezTo>
                  <a:cubicBezTo>
                    <a:pt x="179235" y="451824"/>
                    <a:pt x="179184" y="452675"/>
                    <a:pt x="185311" y="447277"/>
                  </a:cubicBezTo>
                  <a:cubicBezTo>
                    <a:pt x="189090" y="443467"/>
                    <a:pt x="193682" y="440584"/>
                    <a:pt x="198743" y="438819"/>
                  </a:cubicBezTo>
                  <a:cubicBezTo>
                    <a:pt x="204768" y="436342"/>
                    <a:pt x="206201" y="429992"/>
                    <a:pt x="217617" y="429230"/>
                  </a:cubicBezTo>
                  <a:cubicBezTo>
                    <a:pt x="229033" y="428469"/>
                    <a:pt x="225304" y="426665"/>
                    <a:pt x="233257" y="426436"/>
                  </a:cubicBezTo>
                  <a:cubicBezTo>
                    <a:pt x="241172" y="426170"/>
                    <a:pt x="239726" y="426297"/>
                    <a:pt x="243861" y="425941"/>
                  </a:cubicBezTo>
                  <a:cubicBezTo>
                    <a:pt x="247996" y="425624"/>
                    <a:pt x="249353" y="431021"/>
                    <a:pt x="248136" y="438502"/>
                  </a:cubicBezTo>
                  <a:cubicBezTo>
                    <a:pt x="246880" y="445919"/>
                    <a:pt x="243062" y="470404"/>
                    <a:pt x="248136" y="475751"/>
                  </a:cubicBezTo>
                  <a:cubicBezTo>
                    <a:pt x="253209" y="481110"/>
                    <a:pt x="249797" y="483307"/>
                    <a:pt x="255327" y="485924"/>
                  </a:cubicBezTo>
                  <a:cubicBezTo>
                    <a:pt x="260858" y="488527"/>
                    <a:pt x="256900" y="489797"/>
                    <a:pt x="264130" y="494331"/>
                  </a:cubicBezTo>
                  <a:cubicBezTo>
                    <a:pt x="271360" y="498928"/>
                    <a:pt x="268227" y="500541"/>
                    <a:pt x="272540" y="502484"/>
                  </a:cubicBezTo>
                  <a:cubicBezTo>
                    <a:pt x="276891" y="504465"/>
                    <a:pt x="277208" y="503195"/>
                    <a:pt x="281393" y="504186"/>
                  </a:cubicBezTo>
                  <a:cubicBezTo>
                    <a:pt x="285566" y="505177"/>
                    <a:pt x="283055" y="500630"/>
                    <a:pt x="290424" y="503157"/>
                  </a:cubicBezTo>
                  <a:cubicBezTo>
                    <a:pt x="297743" y="505672"/>
                    <a:pt x="295143" y="506625"/>
                    <a:pt x="301929" y="508821"/>
                  </a:cubicBezTo>
                  <a:cubicBezTo>
                    <a:pt x="308715" y="511069"/>
                    <a:pt x="308538" y="506256"/>
                    <a:pt x="311810" y="510346"/>
                  </a:cubicBezTo>
                  <a:cubicBezTo>
                    <a:pt x="315146" y="514486"/>
                    <a:pt x="316529" y="517953"/>
                    <a:pt x="322021" y="519388"/>
                  </a:cubicBezTo>
                  <a:cubicBezTo>
                    <a:pt x="327538" y="520836"/>
                    <a:pt x="332625" y="519845"/>
                    <a:pt x="335491" y="522410"/>
                  </a:cubicBezTo>
                  <a:cubicBezTo>
                    <a:pt x="338371" y="525014"/>
                    <a:pt x="337876" y="526005"/>
                    <a:pt x="341110" y="528976"/>
                  </a:cubicBezTo>
                  <a:cubicBezTo>
                    <a:pt x="343483" y="531186"/>
                    <a:pt x="346146" y="533053"/>
                    <a:pt x="349025" y="534514"/>
                  </a:cubicBezTo>
                  <a:cubicBezTo>
                    <a:pt x="352260" y="536444"/>
                    <a:pt x="356217" y="532532"/>
                    <a:pt x="359985" y="533256"/>
                  </a:cubicBezTo>
                  <a:cubicBezTo>
                    <a:pt x="363765" y="533930"/>
                    <a:pt x="367544" y="531402"/>
                    <a:pt x="371045" y="534145"/>
                  </a:cubicBezTo>
                  <a:cubicBezTo>
                    <a:pt x="378275" y="539251"/>
                    <a:pt x="384034" y="546172"/>
                    <a:pt x="387712" y="554211"/>
                  </a:cubicBezTo>
                  <a:cubicBezTo>
                    <a:pt x="389856" y="559837"/>
                    <a:pt x="390820" y="565845"/>
                    <a:pt x="390554" y="571852"/>
                  </a:cubicBezTo>
                  <a:cubicBezTo>
                    <a:pt x="390097" y="578697"/>
                    <a:pt x="389285" y="585212"/>
                    <a:pt x="389107" y="586660"/>
                  </a:cubicBezTo>
                  <a:cubicBezTo>
                    <a:pt x="386571" y="593416"/>
                    <a:pt x="387129" y="600960"/>
                    <a:pt x="390629" y="607272"/>
                  </a:cubicBezTo>
                  <a:cubicBezTo>
                    <a:pt x="396566" y="616899"/>
                    <a:pt x="424027" y="616987"/>
                    <a:pt x="424027" y="616987"/>
                  </a:cubicBezTo>
                  <a:cubicBezTo>
                    <a:pt x="429875" y="615883"/>
                    <a:pt x="435849" y="615590"/>
                    <a:pt x="441772" y="616137"/>
                  </a:cubicBezTo>
                  <a:cubicBezTo>
                    <a:pt x="443840" y="617610"/>
                    <a:pt x="442762" y="632875"/>
                    <a:pt x="442762" y="632875"/>
                  </a:cubicBezTo>
                  <a:cubicBezTo>
                    <a:pt x="442203" y="638527"/>
                    <a:pt x="444512" y="644089"/>
                    <a:pt x="448926" y="647671"/>
                  </a:cubicBezTo>
                  <a:cubicBezTo>
                    <a:pt x="456207" y="652662"/>
                    <a:pt x="456879" y="650376"/>
                    <a:pt x="459758" y="654465"/>
                  </a:cubicBezTo>
                  <a:cubicBezTo>
                    <a:pt x="462663" y="658517"/>
                    <a:pt x="462270" y="663647"/>
                    <a:pt x="464464" y="666340"/>
                  </a:cubicBezTo>
                  <a:cubicBezTo>
                    <a:pt x="466671" y="669045"/>
                    <a:pt x="469500" y="671661"/>
                    <a:pt x="468777" y="673630"/>
                  </a:cubicBezTo>
                  <a:cubicBezTo>
                    <a:pt x="466253" y="681427"/>
                    <a:pt x="463246" y="689047"/>
                    <a:pt x="459746" y="696451"/>
                  </a:cubicBezTo>
                  <a:cubicBezTo>
                    <a:pt x="456156" y="701265"/>
                    <a:pt x="454165" y="707081"/>
                    <a:pt x="454038" y="713101"/>
                  </a:cubicBezTo>
                  <a:cubicBezTo>
                    <a:pt x="454761" y="719083"/>
                    <a:pt x="455611" y="721737"/>
                    <a:pt x="457285" y="723134"/>
                  </a:cubicBezTo>
                  <a:cubicBezTo>
                    <a:pt x="458896" y="724531"/>
                    <a:pt x="458046" y="724252"/>
                    <a:pt x="456105" y="725928"/>
                  </a:cubicBezTo>
                  <a:cubicBezTo>
                    <a:pt x="455116" y="726741"/>
                    <a:pt x="454076" y="727503"/>
                    <a:pt x="453010" y="728214"/>
                  </a:cubicBezTo>
                  <a:cubicBezTo>
                    <a:pt x="451615" y="729256"/>
                    <a:pt x="450448" y="730068"/>
                    <a:pt x="450448" y="730068"/>
                  </a:cubicBezTo>
                  <a:cubicBezTo>
                    <a:pt x="450448" y="730068"/>
                    <a:pt x="453366" y="736774"/>
                    <a:pt x="454672" y="740546"/>
                  </a:cubicBezTo>
                  <a:cubicBezTo>
                    <a:pt x="455978" y="744330"/>
                    <a:pt x="455928" y="746527"/>
                    <a:pt x="457818" y="752700"/>
                  </a:cubicBezTo>
                  <a:cubicBezTo>
                    <a:pt x="459466" y="758859"/>
                    <a:pt x="459378" y="765349"/>
                    <a:pt x="457589" y="771458"/>
                  </a:cubicBezTo>
                  <a:cubicBezTo>
                    <a:pt x="456093" y="777401"/>
                    <a:pt x="456093" y="783612"/>
                    <a:pt x="457589" y="789542"/>
                  </a:cubicBezTo>
                  <a:cubicBezTo>
                    <a:pt x="458985" y="794000"/>
                    <a:pt x="460152" y="789504"/>
                    <a:pt x="467572" y="790812"/>
                  </a:cubicBezTo>
                  <a:cubicBezTo>
                    <a:pt x="474980" y="792070"/>
                    <a:pt x="472240" y="789631"/>
                    <a:pt x="477237" y="791346"/>
                  </a:cubicBezTo>
                  <a:cubicBezTo>
                    <a:pt x="481448" y="792666"/>
                    <a:pt x="485850" y="793238"/>
                    <a:pt x="490264" y="793009"/>
                  </a:cubicBezTo>
                  <a:cubicBezTo>
                    <a:pt x="496238" y="793238"/>
                    <a:pt x="495160" y="790724"/>
                    <a:pt x="499701" y="787879"/>
                  </a:cubicBezTo>
                  <a:cubicBezTo>
                    <a:pt x="504242" y="785008"/>
                    <a:pt x="500284" y="788780"/>
                    <a:pt x="505320" y="792108"/>
                  </a:cubicBezTo>
                  <a:cubicBezTo>
                    <a:pt x="510356" y="795486"/>
                    <a:pt x="511878" y="792476"/>
                    <a:pt x="516875" y="794229"/>
                  </a:cubicBezTo>
                  <a:cubicBezTo>
                    <a:pt x="521860" y="795943"/>
                    <a:pt x="524422" y="799271"/>
                    <a:pt x="523065" y="817127"/>
                  </a:cubicBezTo>
                  <a:cubicBezTo>
                    <a:pt x="521251" y="828544"/>
                    <a:pt x="525513" y="840076"/>
                    <a:pt x="534304" y="847543"/>
                  </a:cubicBezTo>
                  <a:cubicBezTo>
                    <a:pt x="538350" y="849982"/>
                    <a:pt x="548281" y="842019"/>
                    <a:pt x="550260" y="840939"/>
                  </a:cubicBezTo>
                  <a:cubicBezTo>
                    <a:pt x="552239" y="839809"/>
                    <a:pt x="554395" y="840038"/>
                    <a:pt x="557363" y="845118"/>
                  </a:cubicBezTo>
                  <a:cubicBezTo>
                    <a:pt x="560128" y="851112"/>
                    <a:pt x="561016" y="857818"/>
                    <a:pt x="559875" y="864333"/>
                  </a:cubicBezTo>
                  <a:cubicBezTo>
                    <a:pt x="559202" y="871076"/>
                    <a:pt x="553317" y="885974"/>
                    <a:pt x="552505" y="895778"/>
                  </a:cubicBezTo>
                  <a:lnTo>
                    <a:pt x="552378" y="897264"/>
                  </a:lnTo>
                  <a:cubicBezTo>
                    <a:pt x="554217" y="895829"/>
                    <a:pt x="557769" y="895867"/>
                    <a:pt x="559875" y="895244"/>
                  </a:cubicBezTo>
                  <a:cubicBezTo>
                    <a:pt x="562767" y="893759"/>
                    <a:pt x="566280" y="894228"/>
                    <a:pt x="568690" y="896413"/>
                  </a:cubicBezTo>
                  <a:cubicBezTo>
                    <a:pt x="571430" y="899423"/>
                    <a:pt x="570973" y="904604"/>
                    <a:pt x="572863" y="907030"/>
                  </a:cubicBezTo>
                  <a:cubicBezTo>
                    <a:pt x="574753" y="909417"/>
                    <a:pt x="573903" y="915488"/>
                    <a:pt x="574487" y="919400"/>
                  </a:cubicBezTo>
                  <a:cubicBezTo>
                    <a:pt x="575121" y="923362"/>
                    <a:pt x="574132" y="930246"/>
                    <a:pt x="574487" y="936278"/>
                  </a:cubicBezTo>
                  <a:cubicBezTo>
                    <a:pt x="575273" y="940711"/>
                    <a:pt x="572990" y="945130"/>
                    <a:pt x="568906" y="947035"/>
                  </a:cubicBezTo>
                  <a:cubicBezTo>
                    <a:pt x="564733" y="950007"/>
                    <a:pt x="562564" y="947848"/>
                    <a:pt x="560242" y="951582"/>
                  </a:cubicBezTo>
                  <a:cubicBezTo>
                    <a:pt x="557858" y="955265"/>
                    <a:pt x="557097" y="957881"/>
                    <a:pt x="552505" y="958109"/>
                  </a:cubicBezTo>
                  <a:cubicBezTo>
                    <a:pt x="547926" y="958376"/>
                    <a:pt x="547292" y="955531"/>
                    <a:pt x="543157" y="960573"/>
                  </a:cubicBezTo>
                  <a:cubicBezTo>
                    <a:pt x="538971" y="965615"/>
                    <a:pt x="539072" y="963863"/>
                    <a:pt x="537056" y="965933"/>
                  </a:cubicBezTo>
                  <a:cubicBezTo>
                    <a:pt x="534988" y="968003"/>
                    <a:pt x="529991" y="965793"/>
                    <a:pt x="529002" y="970213"/>
                  </a:cubicBezTo>
                  <a:cubicBezTo>
                    <a:pt x="528012" y="974619"/>
                    <a:pt x="524283" y="975293"/>
                    <a:pt x="522900" y="976410"/>
                  </a:cubicBezTo>
                  <a:cubicBezTo>
                    <a:pt x="521454" y="977591"/>
                    <a:pt x="519793" y="975915"/>
                    <a:pt x="518537" y="981096"/>
                  </a:cubicBezTo>
                  <a:cubicBezTo>
                    <a:pt x="516749" y="985224"/>
                    <a:pt x="513844" y="988767"/>
                    <a:pt x="510127" y="991307"/>
                  </a:cubicBezTo>
                  <a:cubicBezTo>
                    <a:pt x="510127" y="991307"/>
                    <a:pt x="475791" y="1032620"/>
                    <a:pt x="466811" y="1043771"/>
                  </a:cubicBezTo>
                  <a:cubicBezTo>
                    <a:pt x="468701" y="1044901"/>
                    <a:pt x="473318" y="1047289"/>
                    <a:pt x="475614" y="1046298"/>
                  </a:cubicBezTo>
                  <a:cubicBezTo>
                    <a:pt x="478582" y="1045041"/>
                    <a:pt x="477643" y="1041078"/>
                    <a:pt x="481093" y="1040761"/>
                  </a:cubicBezTo>
                  <a:cubicBezTo>
                    <a:pt x="484607" y="1040444"/>
                    <a:pt x="486446" y="1042158"/>
                    <a:pt x="489769" y="1043644"/>
                  </a:cubicBezTo>
                  <a:cubicBezTo>
                    <a:pt x="493143" y="1045130"/>
                    <a:pt x="490847" y="1043644"/>
                    <a:pt x="497316" y="1049270"/>
                  </a:cubicBezTo>
                  <a:cubicBezTo>
                    <a:pt x="503747" y="1054934"/>
                    <a:pt x="511294" y="1061589"/>
                    <a:pt x="512106" y="1067177"/>
                  </a:cubicBezTo>
                  <a:cubicBezTo>
                    <a:pt x="512867" y="1072753"/>
                    <a:pt x="509227" y="1076219"/>
                    <a:pt x="513945" y="1072790"/>
                  </a:cubicBezTo>
                  <a:cubicBezTo>
                    <a:pt x="518664" y="1069425"/>
                    <a:pt x="518448" y="1063977"/>
                    <a:pt x="523433" y="1067177"/>
                  </a:cubicBezTo>
                  <a:cubicBezTo>
                    <a:pt x="528418" y="1070365"/>
                    <a:pt x="522849" y="1070415"/>
                    <a:pt x="531931" y="1075851"/>
                  </a:cubicBezTo>
                  <a:cubicBezTo>
                    <a:pt x="540963" y="1081350"/>
                    <a:pt x="538400" y="1079140"/>
                    <a:pt x="543169" y="1082062"/>
                  </a:cubicBezTo>
                  <a:cubicBezTo>
                    <a:pt x="547939" y="1084995"/>
                    <a:pt x="546493" y="1079090"/>
                    <a:pt x="551934" y="1086481"/>
                  </a:cubicBezTo>
                  <a:cubicBezTo>
                    <a:pt x="557363" y="1093898"/>
                    <a:pt x="555524" y="1095841"/>
                    <a:pt x="561727" y="1098444"/>
                  </a:cubicBezTo>
                  <a:cubicBezTo>
                    <a:pt x="566483" y="1100083"/>
                    <a:pt x="570707" y="1102966"/>
                    <a:pt x="573954" y="1106814"/>
                  </a:cubicBezTo>
                  <a:cubicBezTo>
                    <a:pt x="578939" y="1111437"/>
                    <a:pt x="583493" y="1116529"/>
                    <a:pt x="587526" y="1122016"/>
                  </a:cubicBezTo>
                  <a:cubicBezTo>
                    <a:pt x="588401" y="1127159"/>
                    <a:pt x="587717" y="1132442"/>
                    <a:pt x="585547" y="1137180"/>
                  </a:cubicBezTo>
                  <a:cubicBezTo>
                    <a:pt x="583746" y="1141637"/>
                    <a:pt x="579028" y="1148343"/>
                    <a:pt x="581996" y="1155048"/>
                  </a:cubicBezTo>
                  <a:cubicBezTo>
                    <a:pt x="582846" y="1156941"/>
                    <a:pt x="584013" y="1159189"/>
                    <a:pt x="585268" y="1161487"/>
                  </a:cubicBezTo>
                  <a:cubicBezTo>
                    <a:pt x="585991" y="1160725"/>
                    <a:pt x="586714" y="1160001"/>
                    <a:pt x="587475" y="1159277"/>
                  </a:cubicBezTo>
                  <a:cubicBezTo>
                    <a:pt x="602950" y="1142945"/>
                    <a:pt x="613605" y="1122638"/>
                    <a:pt x="618260" y="1100604"/>
                  </a:cubicBezTo>
                  <a:cubicBezTo>
                    <a:pt x="625794" y="1081681"/>
                    <a:pt x="634863" y="1063405"/>
                    <a:pt x="645404" y="1045981"/>
                  </a:cubicBezTo>
                  <a:cubicBezTo>
                    <a:pt x="645518" y="1045790"/>
                    <a:pt x="645696" y="1045625"/>
                    <a:pt x="645899" y="1045524"/>
                  </a:cubicBezTo>
                  <a:cubicBezTo>
                    <a:pt x="646393" y="1045257"/>
                    <a:pt x="647066" y="1045130"/>
                    <a:pt x="647560" y="1044850"/>
                  </a:cubicBezTo>
                  <a:cubicBezTo>
                    <a:pt x="648372" y="1044990"/>
                    <a:pt x="649184" y="1045079"/>
                    <a:pt x="649983" y="1045219"/>
                  </a:cubicBezTo>
                  <a:cubicBezTo>
                    <a:pt x="652951" y="1045625"/>
                    <a:pt x="655919" y="1046070"/>
                    <a:pt x="658925" y="1046514"/>
                  </a:cubicBezTo>
                  <a:lnTo>
                    <a:pt x="658976" y="1046514"/>
                  </a:lnTo>
                  <a:cubicBezTo>
                    <a:pt x="660816" y="1046794"/>
                    <a:pt x="662705" y="1047111"/>
                    <a:pt x="664633" y="1047378"/>
                  </a:cubicBezTo>
                  <a:lnTo>
                    <a:pt x="664633" y="1058312"/>
                  </a:lnTo>
                  <a:cubicBezTo>
                    <a:pt x="675783" y="1039237"/>
                    <a:pt x="682429" y="1018219"/>
                    <a:pt x="696585" y="1005798"/>
                  </a:cubicBezTo>
                  <a:cubicBezTo>
                    <a:pt x="716030" y="990152"/>
                    <a:pt x="724528" y="964561"/>
                    <a:pt x="718300" y="940380"/>
                  </a:cubicBezTo>
                  <a:cubicBezTo>
                    <a:pt x="716575" y="932392"/>
                    <a:pt x="716220" y="924175"/>
                    <a:pt x="717222" y="916073"/>
                  </a:cubicBezTo>
                  <a:cubicBezTo>
                    <a:pt x="717222" y="915755"/>
                    <a:pt x="717260" y="915437"/>
                    <a:pt x="717349" y="915133"/>
                  </a:cubicBezTo>
                  <a:cubicBezTo>
                    <a:pt x="717831" y="911691"/>
                    <a:pt x="718681" y="908313"/>
                    <a:pt x="719873" y="905049"/>
                  </a:cubicBezTo>
                  <a:cubicBezTo>
                    <a:pt x="720025" y="904452"/>
                    <a:pt x="720215" y="903868"/>
                    <a:pt x="720457" y="903296"/>
                  </a:cubicBezTo>
                  <a:cubicBezTo>
                    <a:pt x="721573" y="900388"/>
                    <a:pt x="722930" y="897569"/>
                    <a:pt x="724503" y="894889"/>
                  </a:cubicBezTo>
                  <a:cubicBezTo>
                    <a:pt x="724947" y="894063"/>
                    <a:pt x="725441" y="893263"/>
                    <a:pt x="725974" y="892501"/>
                  </a:cubicBezTo>
                  <a:cubicBezTo>
                    <a:pt x="726101" y="892222"/>
                    <a:pt x="726253" y="891968"/>
                    <a:pt x="726430" y="891739"/>
                  </a:cubicBezTo>
                  <a:cubicBezTo>
                    <a:pt x="727331" y="890393"/>
                    <a:pt x="728232" y="889085"/>
                    <a:pt x="729259" y="887777"/>
                  </a:cubicBezTo>
                  <a:cubicBezTo>
                    <a:pt x="736033" y="879331"/>
                    <a:pt x="743998" y="871927"/>
                    <a:pt x="752902" y="865768"/>
                  </a:cubicBezTo>
                  <a:cubicBezTo>
                    <a:pt x="757659" y="862313"/>
                    <a:pt x="762555" y="859164"/>
                    <a:pt x="767553" y="856192"/>
                  </a:cubicBezTo>
                  <a:lnTo>
                    <a:pt x="767642" y="856141"/>
                  </a:lnTo>
                  <a:cubicBezTo>
                    <a:pt x="776356" y="851010"/>
                    <a:pt x="785298" y="846515"/>
                    <a:pt x="794240" y="842057"/>
                  </a:cubicBezTo>
                  <a:cubicBezTo>
                    <a:pt x="800671" y="838818"/>
                    <a:pt x="807102" y="835580"/>
                    <a:pt x="813482" y="832113"/>
                  </a:cubicBezTo>
                  <a:cubicBezTo>
                    <a:pt x="820002" y="828557"/>
                    <a:pt x="826382" y="825001"/>
                    <a:pt x="832800" y="821851"/>
                  </a:cubicBezTo>
                  <a:cubicBezTo>
                    <a:pt x="836847" y="819921"/>
                    <a:pt x="840893" y="818117"/>
                    <a:pt x="845028" y="816543"/>
                  </a:cubicBezTo>
                  <a:cubicBezTo>
                    <a:pt x="853437" y="813393"/>
                    <a:pt x="862329" y="811704"/>
                    <a:pt x="871322" y="811551"/>
                  </a:cubicBezTo>
                  <a:lnTo>
                    <a:pt x="877246" y="811551"/>
                  </a:lnTo>
                  <a:cubicBezTo>
                    <a:pt x="886011" y="811513"/>
                    <a:pt x="894242" y="811551"/>
                    <a:pt x="899354" y="811551"/>
                  </a:cubicBezTo>
                  <a:cubicBezTo>
                    <a:pt x="904212" y="807411"/>
                    <a:pt x="908703" y="803639"/>
                    <a:pt x="912660" y="800299"/>
                  </a:cubicBezTo>
                  <a:lnTo>
                    <a:pt x="912710" y="800261"/>
                  </a:lnTo>
                  <a:cubicBezTo>
                    <a:pt x="916173" y="797289"/>
                    <a:pt x="919307" y="794635"/>
                    <a:pt x="921970" y="792387"/>
                  </a:cubicBezTo>
                  <a:cubicBezTo>
                    <a:pt x="924393" y="790317"/>
                    <a:pt x="926460" y="788564"/>
                    <a:pt x="928160" y="787117"/>
                  </a:cubicBezTo>
                  <a:cubicBezTo>
                    <a:pt x="931762" y="779916"/>
                    <a:pt x="935048" y="773490"/>
                    <a:pt x="938092" y="767546"/>
                  </a:cubicBezTo>
                  <a:cubicBezTo>
                    <a:pt x="941516" y="760713"/>
                    <a:pt x="944662" y="754503"/>
                    <a:pt x="947491" y="748242"/>
                  </a:cubicBezTo>
                  <a:cubicBezTo>
                    <a:pt x="948023" y="747074"/>
                    <a:pt x="948518" y="745943"/>
                    <a:pt x="949013" y="744775"/>
                  </a:cubicBezTo>
                  <a:cubicBezTo>
                    <a:pt x="957778" y="724709"/>
                    <a:pt x="976740" y="708516"/>
                    <a:pt x="971616" y="683040"/>
                  </a:cubicBezTo>
                  <a:cubicBezTo>
                    <a:pt x="971578" y="677782"/>
                    <a:pt x="973151" y="672639"/>
                    <a:pt x="976106" y="668283"/>
                  </a:cubicBezTo>
                  <a:cubicBezTo>
                    <a:pt x="988435" y="640952"/>
                    <a:pt x="993915" y="611019"/>
                    <a:pt x="992063" y="581084"/>
                  </a:cubicBezTo>
                  <a:cubicBezTo>
                    <a:pt x="990401" y="568181"/>
                    <a:pt x="989919" y="555151"/>
                    <a:pt x="990629" y="542159"/>
                  </a:cubicBezTo>
                  <a:cubicBezTo>
                    <a:pt x="990667" y="541283"/>
                    <a:pt x="990756" y="540419"/>
                    <a:pt x="990896" y="539556"/>
                  </a:cubicBezTo>
                  <a:cubicBezTo>
                    <a:pt x="991073" y="537841"/>
                    <a:pt x="991302" y="536177"/>
                    <a:pt x="991568" y="534514"/>
                  </a:cubicBezTo>
                  <a:lnTo>
                    <a:pt x="991568" y="534463"/>
                  </a:lnTo>
                  <a:cubicBezTo>
                    <a:pt x="991746" y="533523"/>
                    <a:pt x="991936" y="532532"/>
                    <a:pt x="992152" y="531592"/>
                  </a:cubicBezTo>
                  <a:cubicBezTo>
                    <a:pt x="993395" y="525510"/>
                    <a:pt x="995412" y="519629"/>
                    <a:pt x="998177" y="514079"/>
                  </a:cubicBezTo>
                  <a:lnTo>
                    <a:pt x="998227" y="513990"/>
                  </a:lnTo>
                  <a:cubicBezTo>
                    <a:pt x="998900" y="512594"/>
                    <a:pt x="999610" y="511247"/>
                    <a:pt x="1000422" y="509850"/>
                  </a:cubicBezTo>
                  <a:cubicBezTo>
                    <a:pt x="1000688" y="509901"/>
                    <a:pt x="1000967" y="509990"/>
                    <a:pt x="1001284" y="510041"/>
                  </a:cubicBezTo>
                  <a:cubicBezTo>
                    <a:pt x="1002984" y="510434"/>
                    <a:pt x="1004785" y="510841"/>
                    <a:pt x="1006675" y="511298"/>
                  </a:cubicBezTo>
                  <a:cubicBezTo>
                    <a:pt x="1009187" y="511882"/>
                    <a:pt x="1011888" y="512504"/>
                    <a:pt x="1014844" y="513228"/>
                  </a:cubicBezTo>
                  <a:cubicBezTo>
                    <a:pt x="1021325" y="504834"/>
                    <a:pt x="1026944" y="495804"/>
                    <a:pt x="1031612" y="486279"/>
                  </a:cubicBezTo>
                  <a:cubicBezTo>
                    <a:pt x="1034783" y="477910"/>
                    <a:pt x="1039413" y="470175"/>
                    <a:pt x="1045273" y="463419"/>
                  </a:cubicBezTo>
                  <a:cubicBezTo>
                    <a:pt x="1045717" y="462847"/>
                    <a:pt x="1046199" y="462301"/>
                    <a:pt x="1046706" y="461794"/>
                  </a:cubicBezTo>
                  <a:cubicBezTo>
                    <a:pt x="1052262" y="455532"/>
                    <a:pt x="1058198" y="449614"/>
                    <a:pt x="1064464" y="444064"/>
                  </a:cubicBezTo>
                  <a:cubicBezTo>
                    <a:pt x="1070933" y="438108"/>
                    <a:pt x="1076907" y="431631"/>
                    <a:pt x="1082349" y="424722"/>
                  </a:cubicBezTo>
                  <a:cubicBezTo>
                    <a:pt x="1082577" y="424405"/>
                    <a:pt x="1082805" y="424138"/>
                    <a:pt x="1083034" y="423820"/>
                  </a:cubicBezTo>
                  <a:cubicBezTo>
                    <a:pt x="1083617" y="423096"/>
                    <a:pt x="1084150" y="422385"/>
                    <a:pt x="1084734" y="421662"/>
                  </a:cubicBezTo>
                  <a:cubicBezTo>
                    <a:pt x="1084911" y="421395"/>
                    <a:pt x="1085139" y="421115"/>
                    <a:pt x="1085368" y="420810"/>
                  </a:cubicBezTo>
                  <a:cubicBezTo>
                    <a:pt x="1092509" y="411273"/>
                    <a:pt x="1098800" y="401126"/>
                    <a:pt x="1104153" y="390483"/>
                  </a:cubicBezTo>
                  <a:cubicBezTo>
                    <a:pt x="1110355" y="377961"/>
                    <a:pt x="1112486" y="363826"/>
                    <a:pt x="1110254" y="350033"/>
                  </a:cubicBezTo>
                  <a:close/>
                  <a:moveTo>
                    <a:pt x="616852" y="193442"/>
                  </a:moveTo>
                  <a:cubicBezTo>
                    <a:pt x="615647" y="193709"/>
                    <a:pt x="614391" y="193988"/>
                    <a:pt x="613123" y="194255"/>
                  </a:cubicBezTo>
                  <a:cubicBezTo>
                    <a:pt x="612996" y="193709"/>
                    <a:pt x="612857" y="193214"/>
                    <a:pt x="612768" y="192680"/>
                  </a:cubicBezTo>
                  <a:lnTo>
                    <a:pt x="612730" y="192680"/>
                  </a:lnTo>
                  <a:cubicBezTo>
                    <a:pt x="612540" y="191829"/>
                    <a:pt x="612324" y="191017"/>
                    <a:pt x="612133" y="190153"/>
                  </a:cubicBezTo>
                  <a:cubicBezTo>
                    <a:pt x="612045" y="189886"/>
                    <a:pt x="612007" y="189569"/>
                    <a:pt x="611918" y="189302"/>
                  </a:cubicBezTo>
                  <a:cubicBezTo>
                    <a:pt x="615774" y="188312"/>
                    <a:pt x="619693" y="187270"/>
                    <a:pt x="623600" y="186292"/>
                  </a:cubicBezTo>
                  <a:lnTo>
                    <a:pt x="623638" y="186241"/>
                  </a:lnTo>
                  <a:cubicBezTo>
                    <a:pt x="624589" y="186013"/>
                    <a:pt x="625579" y="185797"/>
                    <a:pt x="626517" y="185530"/>
                  </a:cubicBezTo>
                  <a:cubicBezTo>
                    <a:pt x="626974" y="187372"/>
                    <a:pt x="627418" y="189213"/>
                    <a:pt x="627875" y="191106"/>
                  </a:cubicBezTo>
                  <a:cubicBezTo>
                    <a:pt x="624234" y="191868"/>
                    <a:pt x="620543" y="192642"/>
                    <a:pt x="616852" y="193442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8" name="Vrije vorm 347">
              <a:extLst>
                <a:ext uri="{FF2B5EF4-FFF2-40B4-BE49-F238E27FC236}">
                  <a16:creationId xmlns:a16="http://schemas.microsoft.com/office/drawing/2014/main" id="{38978904-D0D1-3747-A8ED-643CC1C8BE54}"/>
                </a:ext>
              </a:extLst>
            </p:cNvPr>
            <p:cNvSpPr/>
            <p:nvPr/>
          </p:nvSpPr>
          <p:spPr>
            <a:xfrm>
              <a:off x="3832055" y="5287771"/>
              <a:ext cx="146719" cy="160364"/>
            </a:xfrm>
            <a:custGeom>
              <a:avLst/>
              <a:gdLst>
                <a:gd name="connsiteX0" fmla="*/ 144334 w 146719"/>
                <a:gd name="connsiteY0" fmla="*/ 96458 h 160364"/>
                <a:gd name="connsiteX1" fmla="*/ 140782 w 146719"/>
                <a:gd name="connsiteY1" fmla="*/ 114327 h 160364"/>
                <a:gd name="connsiteX2" fmla="*/ 144068 w 146719"/>
                <a:gd name="connsiteY2" fmla="*/ 120753 h 160364"/>
                <a:gd name="connsiteX3" fmla="*/ 113283 w 146719"/>
                <a:gd name="connsiteY3" fmla="*/ 154141 h 160364"/>
                <a:gd name="connsiteX4" fmla="*/ 101728 w 146719"/>
                <a:gd name="connsiteY4" fmla="*/ 159501 h 160364"/>
                <a:gd name="connsiteX5" fmla="*/ 94498 w 146719"/>
                <a:gd name="connsiteY5" fmla="*/ 159818 h 160364"/>
                <a:gd name="connsiteX6" fmla="*/ 67760 w 146719"/>
                <a:gd name="connsiteY6" fmla="*/ 159589 h 160364"/>
                <a:gd name="connsiteX7" fmla="*/ 61240 w 146719"/>
                <a:gd name="connsiteY7" fmla="*/ 158154 h 160364"/>
                <a:gd name="connsiteX8" fmla="*/ 60479 w 146719"/>
                <a:gd name="connsiteY8" fmla="*/ 157926 h 160364"/>
                <a:gd name="connsiteX9" fmla="*/ 50015 w 146719"/>
                <a:gd name="connsiteY9" fmla="*/ 154408 h 160364"/>
                <a:gd name="connsiteX10" fmla="*/ 16757 w 146719"/>
                <a:gd name="connsiteY10" fmla="*/ 139968 h 160364"/>
                <a:gd name="connsiteX11" fmla="*/ 2918 w 146719"/>
                <a:gd name="connsiteY11" fmla="*/ 133758 h 160364"/>
                <a:gd name="connsiteX12" fmla="*/ 128 w 146719"/>
                <a:gd name="connsiteY12" fmla="*/ 116117 h 160364"/>
                <a:gd name="connsiteX13" fmla="*/ 6051 w 146719"/>
                <a:gd name="connsiteY13" fmla="*/ 99963 h 160364"/>
                <a:gd name="connsiteX14" fmla="*/ 9831 w 146719"/>
                <a:gd name="connsiteY14" fmla="*/ 85346 h 160364"/>
                <a:gd name="connsiteX15" fmla="*/ 8525 w 146719"/>
                <a:gd name="connsiteY15" fmla="*/ 74906 h 160364"/>
                <a:gd name="connsiteX16" fmla="*/ 18862 w 146719"/>
                <a:gd name="connsiteY16" fmla="*/ 26443 h 160364"/>
                <a:gd name="connsiteX17" fmla="*/ 23581 w 146719"/>
                <a:gd name="connsiteY17" fmla="*/ 5615 h 160364"/>
                <a:gd name="connsiteX18" fmla="*/ 25610 w 146719"/>
                <a:gd name="connsiteY18" fmla="*/ 3049 h 160364"/>
                <a:gd name="connsiteX19" fmla="*/ 34413 w 146719"/>
                <a:gd name="connsiteY19" fmla="*/ 5577 h 160364"/>
                <a:gd name="connsiteX20" fmla="*/ 39893 w 146719"/>
                <a:gd name="connsiteY20" fmla="*/ 39 h 160364"/>
                <a:gd name="connsiteX21" fmla="*/ 48569 w 146719"/>
                <a:gd name="connsiteY21" fmla="*/ 2922 h 160364"/>
                <a:gd name="connsiteX22" fmla="*/ 56116 w 146719"/>
                <a:gd name="connsiteY22" fmla="*/ 8536 h 160364"/>
                <a:gd name="connsiteX23" fmla="*/ 70906 w 146719"/>
                <a:gd name="connsiteY23" fmla="*/ 26455 h 160364"/>
                <a:gd name="connsiteX24" fmla="*/ 72745 w 146719"/>
                <a:gd name="connsiteY24" fmla="*/ 32069 h 160364"/>
                <a:gd name="connsiteX25" fmla="*/ 82232 w 146719"/>
                <a:gd name="connsiteY25" fmla="*/ 26455 h 160364"/>
                <a:gd name="connsiteX26" fmla="*/ 90731 w 146719"/>
                <a:gd name="connsiteY26" fmla="*/ 35130 h 160364"/>
                <a:gd name="connsiteX27" fmla="*/ 101969 w 146719"/>
                <a:gd name="connsiteY27" fmla="*/ 41340 h 160364"/>
                <a:gd name="connsiteX28" fmla="*/ 110721 w 146719"/>
                <a:gd name="connsiteY28" fmla="*/ 45747 h 160364"/>
                <a:gd name="connsiteX29" fmla="*/ 120526 w 146719"/>
                <a:gd name="connsiteY29" fmla="*/ 57723 h 160364"/>
                <a:gd name="connsiteX30" fmla="*/ 132753 w 146719"/>
                <a:gd name="connsiteY30" fmla="*/ 66092 h 160364"/>
                <a:gd name="connsiteX31" fmla="*/ 146326 w 146719"/>
                <a:gd name="connsiteY31" fmla="*/ 81294 h 160364"/>
                <a:gd name="connsiteX32" fmla="*/ 144334 w 146719"/>
                <a:gd name="connsiteY32" fmla="*/ 96458 h 16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46719" h="160364">
                  <a:moveTo>
                    <a:pt x="144334" y="96458"/>
                  </a:moveTo>
                  <a:cubicBezTo>
                    <a:pt x="142533" y="100916"/>
                    <a:pt x="137815" y="107621"/>
                    <a:pt x="140782" y="114327"/>
                  </a:cubicBezTo>
                  <a:cubicBezTo>
                    <a:pt x="141633" y="116206"/>
                    <a:pt x="142800" y="118467"/>
                    <a:pt x="144068" y="120753"/>
                  </a:cubicBezTo>
                  <a:cubicBezTo>
                    <a:pt x="133857" y="131599"/>
                    <a:pt x="128695" y="147613"/>
                    <a:pt x="113283" y="154141"/>
                  </a:cubicBezTo>
                  <a:cubicBezTo>
                    <a:pt x="109326" y="155767"/>
                    <a:pt x="105597" y="159361"/>
                    <a:pt x="101728" y="159501"/>
                  </a:cubicBezTo>
                  <a:cubicBezTo>
                    <a:pt x="99343" y="159539"/>
                    <a:pt x="96921" y="159679"/>
                    <a:pt x="94498" y="159818"/>
                  </a:cubicBezTo>
                  <a:cubicBezTo>
                    <a:pt x="85607" y="160618"/>
                    <a:pt x="76639" y="160542"/>
                    <a:pt x="67760" y="159589"/>
                  </a:cubicBezTo>
                  <a:cubicBezTo>
                    <a:pt x="65565" y="159247"/>
                    <a:pt x="63384" y="158764"/>
                    <a:pt x="61240" y="158154"/>
                  </a:cubicBezTo>
                  <a:cubicBezTo>
                    <a:pt x="60974" y="158066"/>
                    <a:pt x="60745" y="158015"/>
                    <a:pt x="60479" y="157926"/>
                  </a:cubicBezTo>
                  <a:cubicBezTo>
                    <a:pt x="56927" y="156846"/>
                    <a:pt x="53477" y="155678"/>
                    <a:pt x="50015" y="154408"/>
                  </a:cubicBezTo>
                  <a:cubicBezTo>
                    <a:pt x="38738" y="150179"/>
                    <a:pt x="27716" y="145023"/>
                    <a:pt x="16757" y="139968"/>
                  </a:cubicBezTo>
                  <a:cubicBezTo>
                    <a:pt x="12127" y="137860"/>
                    <a:pt x="7548" y="135790"/>
                    <a:pt x="2918" y="133758"/>
                  </a:cubicBezTo>
                  <a:cubicBezTo>
                    <a:pt x="1219" y="128030"/>
                    <a:pt x="280" y="122099"/>
                    <a:pt x="128" y="116117"/>
                  </a:cubicBezTo>
                  <a:cubicBezTo>
                    <a:pt x="-595" y="108155"/>
                    <a:pt x="1206" y="110504"/>
                    <a:pt x="6051" y="99963"/>
                  </a:cubicBezTo>
                  <a:cubicBezTo>
                    <a:pt x="10859" y="89486"/>
                    <a:pt x="9692" y="89435"/>
                    <a:pt x="9831" y="85346"/>
                  </a:cubicBezTo>
                  <a:cubicBezTo>
                    <a:pt x="9971" y="81294"/>
                    <a:pt x="8081" y="77420"/>
                    <a:pt x="8525" y="74906"/>
                  </a:cubicBezTo>
                  <a:cubicBezTo>
                    <a:pt x="9019" y="72391"/>
                    <a:pt x="16211" y="33466"/>
                    <a:pt x="18862" y="26443"/>
                  </a:cubicBezTo>
                  <a:cubicBezTo>
                    <a:pt x="21475" y="19420"/>
                    <a:pt x="21019" y="9171"/>
                    <a:pt x="23581" y="5615"/>
                  </a:cubicBezTo>
                  <a:cubicBezTo>
                    <a:pt x="23847" y="5259"/>
                    <a:pt x="24570" y="4357"/>
                    <a:pt x="25610" y="3049"/>
                  </a:cubicBezTo>
                  <a:cubicBezTo>
                    <a:pt x="27488" y="4180"/>
                    <a:pt x="32117" y="6567"/>
                    <a:pt x="34413" y="5577"/>
                  </a:cubicBezTo>
                  <a:cubicBezTo>
                    <a:pt x="37381" y="4307"/>
                    <a:pt x="36443" y="357"/>
                    <a:pt x="39893" y="39"/>
                  </a:cubicBezTo>
                  <a:cubicBezTo>
                    <a:pt x="43406" y="-278"/>
                    <a:pt x="45245" y="1436"/>
                    <a:pt x="48569" y="2922"/>
                  </a:cubicBezTo>
                  <a:cubicBezTo>
                    <a:pt x="51942" y="4408"/>
                    <a:pt x="49647" y="2922"/>
                    <a:pt x="56116" y="8536"/>
                  </a:cubicBezTo>
                  <a:cubicBezTo>
                    <a:pt x="62546" y="14213"/>
                    <a:pt x="70094" y="20867"/>
                    <a:pt x="70906" y="26455"/>
                  </a:cubicBezTo>
                  <a:cubicBezTo>
                    <a:pt x="71667" y="32031"/>
                    <a:pt x="68026" y="35498"/>
                    <a:pt x="72745" y="32069"/>
                  </a:cubicBezTo>
                  <a:cubicBezTo>
                    <a:pt x="77463" y="28703"/>
                    <a:pt x="77235" y="23255"/>
                    <a:pt x="82232" y="26455"/>
                  </a:cubicBezTo>
                  <a:cubicBezTo>
                    <a:pt x="87217" y="29643"/>
                    <a:pt x="81649" y="29694"/>
                    <a:pt x="90731" y="35130"/>
                  </a:cubicBezTo>
                  <a:cubicBezTo>
                    <a:pt x="99762" y="40616"/>
                    <a:pt x="97200" y="38419"/>
                    <a:pt x="101969" y="41340"/>
                  </a:cubicBezTo>
                  <a:cubicBezTo>
                    <a:pt x="106725" y="44261"/>
                    <a:pt x="105292" y="38368"/>
                    <a:pt x="110721" y="45747"/>
                  </a:cubicBezTo>
                  <a:cubicBezTo>
                    <a:pt x="116163" y="53176"/>
                    <a:pt x="114323" y="55107"/>
                    <a:pt x="120526" y="57723"/>
                  </a:cubicBezTo>
                  <a:cubicBezTo>
                    <a:pt x="125283" y="59348"/>
                    <a:pt x="129507" y="62244"/>
                    <a:pt x="132753" y="66092"/>
                  </a:cubicBezTo>
                  <a:cubicBezTo>
                    <a:pt x="137738" y="70715"/>
                    <a:pt x="142292" y="75808"/>
                    <a:pt x="146326" y="81294"/>
                  </a:cubicBezTo>
                  <a:cubicBezTo>
                    <a:pt x="147201" y="86438"/>
                    <a:pt x="146503" y="91721"/>
                    <a:pt x="144334" y="96458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9" name="Vrije vorm 348">
              <a:extLst>
                <a:ext uri="{FF2B5EF4-FFF2-40B4-BE49-F238E27FC236}">
                  <a16:creationId xmlns:a16="http://schemas.microsoft.com/office/drawing/2014/main" id="{BD9D06D7-D33B-7D4B-B342-610FE3531952}"/>
                </a:ext>
              </a:extLst>
            </p:cNvPr>
            <p:cNvSpPr/>
            <p:nvPr/>
          </p:nvSpPr>
          <p:spPr>
            <a:xfrm>
              <a:off x="6720915" y="4742407"/>
              <a:ext cx="201331" cy="400050"/>
            </a:xfrm>
            <a:custGeom>
              <a:avLst/>
              <a:gdLst>
                <a:gd name="connsiteX0" fmla="*/ 197152 w 201331"/>
                <a:gd name="connsiteY0" fmla="*/ 106859 h 400050"/>
                <a:gd name="connsiteX1" fmla="*/ 183669 w 201331"/>
                <a:gd name="connsiteY1" fmla="*/ 94947 h 400050"/>
                <a:gd name="connsiteX2" fmla="*/ 180929 w 201331"/>
                <a:gd name="connsiteY2" fmla="*/ 101462 h 400050"/>
                <a:gd name="connsiteX3" fmla="*/ 175716 w 201331"/>
                <a:gd name="connsiteY3" fmla="*/ 143270 h 400050"/>
                <a:gd name="connsiteX4" fmla="*/ 144526 w 201331"/>
                <a:gd name="connsiteY4" fmla="*/ 261024 h 400050"/>
                <a:gd name="connsiteX5" fmla="*/ 112930 w 201331"/>
                <a:gd name="connsiteY5" fmla="*/ 365901 h 400050"/>
                <a:gd name="connsiteX6" fmla="*/ 89971 w 201331"/>
                <a:gd name="connsiteY6" fmla="*/ 387097 h 400050"/>
                <a:gd name="connsiteX7" fmla="*/ 57576 w 201331"/>
                <a:gd name="connsiteY7" fmla="*/ 400051 h 400050"/>
                <a:gd name="connsiteX8" fmla="*/ 15553 w 201331"/>
                <a:gd name="connsiteY8" fmla="*/ 366625 h 400050"/>
                <a:gd name="connsiteX9" fmla="*/ 636 w 201331"/>
                <a:gd name="connsiteY9" fmla="*/ 299670 h 400050"/>
                <a:gd name="connsiteX10" fmla="*/ 9046 w 201331"/>
                <a:gd name="connsiteY10" fmla="*/ 270740 h 400050"/>
                <a:gd name="connsiteX11" fmla="*/ 28009 w 201331"/>
                <a:gd name="connsiteY11" fmla="*/ 239828 h 400050"/>
                <a:gd name="connsiteX12" fmla="*/ 31370 w 201331"/>
                <a:gd name="connsiteY12" fmla="*/ 207468 h 400050"/>
                <a:gd name="connsiteX13" fmla="*/ 25447 w 201331"/>
                <a:gd name="connsiteY13" fmla="*/ 187491 h 400050"/>
                <a:gd name="connsiteX14" fmla="*/ 29633 w 201331"/>
                <a:gd name="connsiteY14" fmla="*/ 135523 h 400050"/>
                <a:gd name="connsiteX15" fmla="*/ 35379 w 201331"/>
                <a:gd name="connsiteY15" fmla="*/ 119775 h 400050"/>
                <a:gd name="connsiteX16" fmla="*/ 68281 w 201331"/>
                <a:gd name="connsiteY16" fmla="*/ 108218 h 400050"/>
                <a:gd name="connsiteX17" fmla="*/ 120629 w 201331"/>
                <a:gd name="connsiteY17" fmla="*/ 78601 h 400050"/>
                <a:gd name="connsiteX18" fmla="*/ 128861 w 201331"/>
                <a:gd name="connsiteY18" fmla="*/ 63400 h 400050"/>
                <a:gd name="connsiteX19" fmla="*/ 149435 w 201331"/>
                <a:gd name="connsiteY19" fmla="*/ 36717 h 400050"/>
                <a:gd name="connsiteX20" fmla="*/ 160318 w 201331"/>
                <a:gd name="connsiteY20" fmla="*/ 17629 h 400050"/>
                <a:gd name="connsiteX21" fmla="*/ 165937 w 201331"/>
                <a:gd name="connsiteY21" fmla="*/ 1 h 400050"/>
                <a:gd name="connsiteX22" fmla="*/ 191597 w 201331"/>
                <a:gd name="connsiteY22" fmla="*/ 43105 h 400050"/>
                <a:gd name="connsiteX23" fmla="*/ 197152 w 201331"/>
                <a:gd name="connsiteY23" fmla="*/ 106859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01331" h="400050">
                  <a:moveTo>
                    <a:pt x="197152" y="106859"/>
                  </a:moveTo>
                  <a:cubicBezTo>
                    <a:pt x="191889" y="102185"/>
                    <a:pt x="188211" y="98947"/>
                    <a:pt x="183669" y="94947"/>
                  </a:cubicBezTo>
                  <a:cubicBezTo>
                    <a:pt x="182540" y="97461"/>
                    <a:pt x="180574" y="99709"/>
                    <a:pt x="180929" y="101462"/>
                  </a:cubicBezTo>
                  <a:cubicBezTo>
                    <a:pt x="184075" y="116041"/>
                    <a:pt x="186548" y="130443"/>
                    <a:pt x="175716" y="143270"/>
                  </a:cubicBezTo>
                  <a:cubicBezTo>
                    <a:pt x="175856" y="185294"/>
                    <a:pt x="154458" y="221654"/>
                    <a:pt x="144526" y="261024"/>
                  </a:cubicBezTo>
                  <a:cubicBezTo>
                    <a:pt x="135584" y="296394"/>
                    <a:pt x="123445" y="330950"/>
                    <a:pt x="112930" y="365901"/>
                  </a:cubicBezTo>
                  <a:cubicBezTo>
                    <a:pt x="110913" y="377344"/>
                    <a:pt x="101514" y="386018"/>
                    <a:pt x="89971" y="387097"/>
                  </a:cubicBezTo>
                  <a:cubicBezTo>
                    <a:pt x="78708" y="390132"/>
                    <a:pt x="67825" y="394476"/>
                    <a:pt x="57576" y="400051"/>
                  </a:cubicBezTo>
                  <a:cubicBezTo>
                    <a:pt x="42837" y="390831"/>
                    <a:pt x="21578" y="389383"/>
                    <a:pt x="15553" y="366625"/>
                  </a:cubicBezTo>
                  <a:cubicBezTo>
                    <a:pt x="11697" y="344070"/>
                    <a:pt x="6725" y="321718"/>
                    <a:pt x="636" y="299670"/>
                  </a:cubicBezTo>
                  <a:cubicBezTo>
                    <a:pt x="-2192" y="292012"/>
                    <a:pt x="4683" y="279871"/>
                    <a:pt x="9046" y="270740"/>
                  </a:cubicBezTo>
                  <a:cubicBezTo>
                    <a:pt x="14779" y="260084"/>
                    <a:pt x="21109" y="249760"/>
                    <a:pt x="28009" y="239828"/>
                  </a:cubicBezTo>
                  <a:cubicBezTo>
                    <a:pt x="34097" y="230151"/>
                    <a:pt x="35353" y="218187"/>
                    <a:pt x="31370" y="207468"/>
                  </a:cubicBezTo>
                  <a:cubicBezTo>
                    <a:pt x="29214" y="200852"/>
                    <a:pt x="27920" y="193968"/>
                    <a:pt x="25447" y="187491"/>
                  </a:cubicBezTo>
                  <a:cubicBezTo>
                    <a:pt x="17367" y="170676"/>
                    <a:pt x="18965" y="150826"/>
                    <a:pt x="29633" y="135523"/>
                  </a:cubicBezTo>
                  <a:cubicBezTo>
                    <a:pt x="32208" y="130544"/>
                    <a:pt x="34148" y="125249"/>
                    <a:pt x="35379" y="119775"/>
                  </a:cubicBezTo>
                  <a:cubicBezTo>
                    <a:pt x="46058" y="115152"/>
                    <a:pt x="57056" y="111291"/>
                    <a:pt x="68281" y="108218"/>
                  </a:cubicBezTo>
                  <a:cubicBezTo>
                    <a:pt x="89045" y="103798"/>
                    <a:pt x="103784" y="89396"/>
                    <a:pt x="120629" y="78601"/>
                  </a:cubicBezTo>
                  <a:cubicBezTo>
                    <a:pt x="124853" y="75858"/>
                    <a:pt x="125487" y="68073"/>
                    <a:pt x="128861" y="63400"/>
                  </a:cubicBezTo>
                  <a:cubicBezTo>
                    <a:pt x="135279" y="54395"/>
                    <a:pt x="134746" y="40806"/>
                    <a:pt x="149435" y="36717"/>
                  </a:cubicBezTo>
                  <a:cubicBezTo>
                    <a:pt x="154470" y="35269"/>
                    <a:pt x="157172" y="24474"/>
                    <a:pt x="160318" y="17629"/>
                  </a:cubicBezTo>
                  <a:cubicBezTo>
                    <a:pt x="162512" y="11863"/>
                    <a:pt x="164390" y="5970"/>
                    <a:pt x="165937" y="1"/>
                  </a:cubicBezTo>
                  <a:cubicBezTo>
                    <a:pt x="180929" y="9374"/>
                    <a:pt x="190480" y="25427"/>
                    <a:pt x="191597" y="43105"/>
                  </a:cubicBezTo>
                  <a:cubicBezTo>
                    <a:pt x="192079" y="63806"/>
                    <a:pt x="208886" y="83288"/>
                    <a:pt x="197152" y="106859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0" name="Vrije vorm 349">
              <a:extLst>
                <a:ext uri="{FF2B5EF4-FFF2-40B4-BE49-F238E27FC236}">
                  <a16:creationId xmlns:a16="http://schemas.microsoft.com/office/drawing/2014/main" id="{CFCA7E61-3A7A-344A-80A3-0336B1F1B3CF}"/>
                </a:ext>
              </a:extLst>
            </p:cNvPr>
            <p:cNvSpPr/>
            <p:nvPr/>
          </p:nvSpPr>
          <p:spPr>
            <a:xfrm>
              <a:off x="4807128" y="1846063"/>
              <a:ext cx="294703" cy="207528"/>
            </a:xfrm>
            <a:custGeom>
              <a:avLst/>
              <a:gdLst>
                <a:gd name="connsiteX0" fmla="*/ 286966 w 294703"/>
                <a:gd name="connsiteY0" fmla="*/ 111724 h 207528"/>
                <a:gd name="connsiteX1" fmla="*/ 245616 w 294703"/>
                <a:gd name="connsiteY1" fmla="*/ 151230 h 207528"/>
                <a:gd name="connsiteX2" fmla="*/ 232627 w 294703"/>
                <a:gd name="connsiteY2" fmla="*/ 159465 h 207528"/>
                <a:gd name="connsiteX3" fmla="*/ 185658 w 294703"/>
                <a:gd name="connsiteY3" fmla="*/ 185203 h 207528"/>
                <a:gd name="connsiteX4" fmla="*/ 175777 w 294703"/>
                <a:gd name="connsiteY4" fmla="*/ 192132 h 207528"/>
                <a:gd name="connsiteX5" fmla="*/ 135149 w 294703"/>
                <a:gd name="connsiteY5" fmla="*/ 204236 h 207528"/>
                <a:gd name="connsiteX6" fmla="*/ 99151 w 294703"/>
                <a:gd name="connsiteY6" fmla="*/ 185833 h 207528"/>
                <a:gd name="connsiteX7" fmla="*/ 71196 w 294703"/>
                <a:gd name="connsiteY7" fmla="*/ 178858 h 207528"/>
                <a:gd name="connsiteX8" fmla="*/ 41718 w 294703"/>
                <a:gd name="connsiteY8" fmla="*/ 179398 h 207528"/>
                <a:gd name="connsiteX9" fmla="*/ 41185 w 294703"/>
                <a:gd name="connsiteY9" fmla="*/ 174133 h 207528"/>
                <a:gd name="connsiteX10" fmla="*/ 51700 w 294703"/>
                <a:gd name="connsiteY10" fmla="*/ 169859 h 207528"/>
                <a:gd name="connsiteX11" fmla="*/ 59691 w 294703"/>
                <a:gd name="connsiteY11" fmla="*/ 136066 h 207528"/>
                <a:gd name="connsiteX12" fmla="*/ 43785 w 294703"/>
                <a:gd name="connsiteY12" fmla="*/ 117574 h 207528"/>
                <a:gd name="connsiteX13" fmla="*/ -26 w 294703"/>
                <a:gd name="connsiteY13" fmla="*/ 117574 h 207528"/>
                <a:gd name="connsiteX14" fmla="*/ 64993 w 294703"/>
                <a:gd name="connsiteY14" fmla="*/ 96380 h 207528"/>
                <a:gd name="connsiteX15" fmla="*/ 45903 w 294703"/>
                <a:gd name="connsiteY15" fmla="*/ 91026 h 207528"/>
                <a:gd name="connsiteX16" fmla="*/ 61137 w 294703"/>
                <a:gd name="connsiteY16" fmla="*/ 76582 h 207528"/>
                <a:gd name="connsiteX17" fmla="*/ 5860 w 294703"/>
                <a:gd name="connsiteY17" fmla="*/ 74017 h 207528"/>
                <a:gd name="connsiteX18" fmla="*/ 4464 w 294703"/>
                <a:gd name="connsiteY18" fmla="*/ 54849 h 207528"/>
                <a:gd name="connsiteX19" fmla="*/ 20332 w 294703"/>
                <a:gd name="connsiteY19" fmla="*/ 59167 h 207528"/>
                <a:gd name="connsiteX20" fmla="*/ 14624 w 294703"/>
                <a:gd name="connsiteY20" fmla="*/ 32031 h 207528"/>
                <a:gd name="connsiteX21" fmla="*/ 20827 w 294703"/>
                <a:gd name="connsiteY21" fmla="*/ 26004 h 207528"/>
                <a:gd name="connsiteX22" fmla="*/ 44191 w 294703"/>
                <a:gd name="connsiteY22" fmla="*/ 42158 h 207528"/>
                <a:gd name="connsiteX23" fmla="*/ 49087 w 294703"/>
                <a:gd name="connsiteY23" fmla="*/ 37343 h 207528"/>
                <a:gd name="connsiteX24" fmla="*/ 38712 w 294703"/>
                <a:gd name="connsiteY24" fmla="*/ 23529 h 207528"/>
                <a:gd name="connsiteX25" fmla="*/ 39790 w 294703"/>
                <a:gd name="connsiteY25" fmla="*/ 7916 h 207528"/>
                <a:gd name="connsiteX26" fmla="*/ 50343 w 294703"/>
                <a:gd name="connsiteY26" fmla="*/ 12234 h 207528"/>
                <a:gd name="connsiteX27" fmla="*/ 73492 w 294703"/>
                <a:gd name="connsiteY27" fmla="*/ 58895 h 207528"/>
                <a:gd name="connsiteX28" fmla="*/ 84146 w 294703"/>
                <a:gd name="connsiteY28" fmla="*/ 85532 h 207528"/>
                <a:gd name="connsiteX29" fmla="*/ 92911 w 294703"/>
                <a:gd name="connsiteY29" fmla="*/ 64831 h 207528"/>
                <a:gd name="connsiteX30" fmla="*/ 106572 w 294703"/>
                <a:gd name="connsiteY30" fmla="*/ 69060 h 207528"/>
                <a:gd name="connsiteX31" fmla="*/ 106572 w 294703"/>
                <a:gd name="connsiteY31" fmla="*/ 25692 h 207528"/>
                <a:gd name="connsiteX32" fmla="*/ 130342 w 294703"/>
                <a:gd name="connsiteY32" fmla="*/ 55344 h 207528"/>
                <a:gd name="connsiteX33" fmla="*/ 153034 w 294703"/>
                <a:gd name="connsiteY33" fmla="*/ 27404 h 207528"/>
                <a:gd name="connsiteX34" fmla="*/ 161089 w 294703"/>
                <a:gd name="connsiteY34" fmla="*/ 42478 h 207528"/>
                <a:gd name="connsiteX35" fmla="*/ 168635 w 294703"/>
                <a:gd name="connsiteY35" fmla="*/ 25199 h 207528"/>
                <a:gd name="connsiteX36" fmla="*/ 187243 w 294703"/>
                <a:gd name="connsiteY36" fmla="*/ 37798 h 207528"/>
                <a:gd name="connsiteX37" fmla="*/ 215504 w 294703"/>
                <a:gd name="connsiteY37" fmla="*/ 26234 h 207528"/>
                <a:gd name="connsiteX38" fmla="*/ 218700 w 294703"/>
                <a:gd name="connsiteY38" fmla="*/ 1 h 207528"/>
                <a:gd name="connsiteX39" fmla="*/ 232894 w 294703"/>
                <a:gd name="connsiteY39" fmla="*/ 6302 h 207528"/>
                <a:gd name="connsiteX40" fmla="*/ 254026 w 294703"/>
                <a:gd name="connsiteY40" fmla="*/ 20115 h 207528"/>
                <a:gd name="connsiteX41" fmla="*/ 266291 w 294703"/>
                <a:gd name="connsiteY41" fmla="*/ 37663 h 207528"/>
                <a:gd name="connsiteX42" fmla="*/ 293930 w 294703"/>
                <a:gd name="connsiteY42" fmla="*/ 70600 h 207528"/>
                <a:gd name="connsiteX43" fmla="*/ 286966 w 294703"/>
                <a:gd name="connsiteY43" fmla="*/ 111724 h 207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94703" h="207528">
                  <a:moveTo>
                    <a:pt x="286966" y="111724"/>
                  </a:moveTo>
                  <a:cubicBezTo>
                    <a:pt x="272709" y="124278"/>
                    <a:pt x="273204" y="152355"/>
                    <a:pt x="245616" y="151230"/>
                  </a:cubicBezTo>
                  <a:cubicBezTo>
                    <a:pt x="241341" y="151050"/>
                    <a:pt x="236179" y="155776"/>
                    <a:pt x="232627" y="159465"/>
                  </a:cubicBezTo>
                  <a:cubicBezTo>
                    <a:pt x="220057" y="172759"/>
                    <a:pt x="203619" y="181764"/>
                    <a:pt x="185658" y="185203"/>
                  </a:cubicBezTo>
                  <a:cubicBezTo>
                    <a:pt x="181624" y="186211"/>
                    <a:pt x="178111" y="188680"/>
                    <a:pt x="175777" y="192132"/>
                  </a:cubicBezTo>
                  <a:cubicBezTo>
                    <a:pt x="167545" y="206272"/>
                    <a:pt x="149762" y="211572"/>
                    <a:pt x="135149" y="204236"/>
                  </a:cubicBezTo>
                  <a:cubicBezTo>
                    <a:pt x="122617" y="199691"/>
                    <a:pt x="108550" y="199196"/>
                    <a:pt x="99151" y="185833"/>
                  </a:cubicBezTo>
                  <a:cubicBezTo>
                    <a:pt x="92378" y="177609"/>
                    <a:pt x="81039" y="174779"/>
                    <a:pt x="71196" y="178858"/>
                  </a:cubicBezTo>
                  <a:cubicBezTo>
                    <a:pt x="61454" y="180463"/>
                    <a:pt x="51523" y="180645"/>
                    <a:pt x="41718" y="179398"/>
                  </a:cubicBezTo>
                  <a:lnTo>
                    <a:pt x="41185" y="174133"/>
                  </a:lnTo>
                  <a:cubicBezTo>
                    <a:pt x="44686" y="172736"/>
                    <a:pt x="48326" y="171568"/>
                    <a:pt x="51700" y="169859"/>
                  </a:cubicBezTo>
                  <a:cubicBezTo>
                    <a:pt x="67517" y="161760"/>
                    <a:pt x="70435" y="149565"/>
                    <a:pt x="59691" y="136066"/>
                  </a:cubicBezTo>
                  <a:cubicBezTo>
                    <a:pt x="55290" y="130487"/>
                    <a:pt x="50431" y="125271"/>
                    <a:pt x="43785" y="117574"/>
                  </a:cubicBezTo>
                  <a:lnTo>
                    <a:pt x="-26" y="117574"/>
                  </a:lnTo>
                  <a:cubicBezTo>
                    <a:pt x="20979" y="108601"/>
                    <a:pt x="42745" y="101508"/>
                    <a:pt x="64993" y="96380"/>
                  </a:cubicBezTo>
                  <a:cubicBezTo>
                    <a:pt x="59336" y="94805"/>
                    <a:pt x="53717" y="93231"/>
                    <a:pt x="45903" y="91026"/>
                  </a:cubicBezTo>
                  <a:cubicBezTo>
                    <a:pt x="52461" y="84817"/>
                    <a:pt x="57129" y="80358"/>
                    <a:pt x="61137" y="76582"/>
                  </a:cubicBezTo>
                  <a:cubicBezTo>
                    <a:pt x="58892" y="63533"/>
                    <a:pt x="37634" y="62993"/>
                    <a:pt x="5860" y="74017"/>
                  </a:cubicBezTo>
                  <a:cubicBezTo>
                    <a:pt x="5454" y="68168"/>
                    <a:pt x="5010" y="62587"/>
                    <a:pt x="4464" y="54849"/>
                  </a:cubicBezTo>
                  <a:cubicBezTo>
                    <a:pt x="9005" y="56108"/>
                    <a:pt x="12646" y="57099"/>
                    <a:pt x="20332" y="59167"/>
                  </a:cubicBezTo>
                  <a:cubicBezTo>
                    <a:pt x="11263" y="53251"/>
                    <a:pt x="8714" y="41102"/>
                    <a:pt x="14624" y="32031"/>
                  </a:cubicBezTo>
                  <a:cubicBezTo>
                    <a:pt x="16210" y="29585"/>
                    <a:pt x="18328" y="27526"/>
                    <a:pt x="20827" y="26004"/>
                  </a:cubicBezTo>
                  <a:cubicBezTo>
                    <a:pt x="28501" y="31314"/>
                    <a:pt x="36327" y="36759"/>
                    <a:pt x="44191" y="42158"/>
                  </a:cubicBezTo>
                  <a:cubicBezTo>
                    <a:pt x="45815" y="40583"/>
                    <a:pt x="47425" y="38963"/>
                    <a:pt x="49087" y="37343"/>
                  </a:cubicBezTo>
                  <a:cubicBezTo>
                    <a:pt x="45003" y="33242"/>
                    <a:pt x="41515" y="28593"/>
                    <a:pt x="38712" y="23529"/>
                  </a:cubicBezTo>
                  <a:cubicBezTo>
                    <a:pt x="37190" y="19750"/>
                    <a:pt x="39156" y="14576"/>
                    <a:pt x="39790" y="7916"/>
                  </a:cubicBezTo>
                  <a:cubicBezTo>
                    <a:pt x="43620" y="8425"/>
                    <a:pt x="47248" y="9912"/>
                    <a:pt x="50343" y="12234"/>
                  </a:cubicBezTo>
                  <a:cubicBezTo>
                    <a:pt x="62431" y="25239"/>
                    <a:pt x="81800" y="34332"/>
                    <a:pt x="73492" y="58895"/>
                  </a:cubicBezTo>
                  <a:cubicBezTo>
                    <a:pt x="71462" y="64925"/>
                    <a:pt x="79339" y="74283"/>
                    <a:pt x="84146" y="85532"/>
                  </a:cubicBezTo>
                  <a:cubicBezTo>
                    <a:pt x="87926" y="76578"/>
                    <a:pt x="90438" y="70684"/>
                    <a:pt x="92911" y="64831"/>
                  </a:cubicBezTo>
                  <a:cubicBezTo>
                    <a:pt x="96957" y="66091"/>
                    <a:pt x="100509" y="67170"/>
                    <a:pt x="106572" y="69060"/>
                  </a:cubicBezTo>
                  <a:lnTo>
                    <a:pt x="106572" y="25692"/>
                  </a:lnTo>
                  <a:cubicBezTo>
                    <a:pt x="116187" y="37660"/>
                    <a:pt x="122250" y="45219"/>
                    <a:pt x="130342" y="55344"/>
                  </a:cubicBezTo>
                  <a:cubicBezTo>
                    <a:pt x="135111" y="43060"/>
                    <a:pt x="129403" y="26276"/>
                    <a:pt x="153034" y="27404"/>
                  </a:cubicBezTo>
                  <a:cubicBezTo>
                    <a:pt x="153630" y="28574"/>
                    <a:pt x="156814" y="34559"/>
                    <a:pt x="161089" y="42478"/>
                  </a:cubicBezTo>
                  <a:cubicBezTo>
                    <a:pt x="164589" y="34423"/>
                    <a:pt x="166251" y="30688"/>
                    <a:pt x="168635" y="25199"/>
                  </a:cubicBezTo>
                  <a:cubicBezTo>
                    <a:pt x="174521" y="29159"/>
                    <a:pt x="179912" y="32848"/>
                    <a:pt x="187243" y="37798"/>
                  </a:cubicBezTo>
                  <a:cubicBezTo>
                    <a:pt x="191378" y="24569"/>
                    <a:pt x="202654" y="23939"/>
                    <a:pt x="215504" y="26234"/>
                  </a:cubicBezTo>
                  <a:cubicBezTo>
                    <a:pt x="216633" y="17055"/>
                    <a:pt x="217533" y="9676"/>
                    <a:pt x="218700" y="1"/>
                  </a:cubicBezTo>
                  <a:cubicBezTo>
                    <a:pt x="223710" y="1411"/>
                    <a:pt x="228492" y="3533"/>
                    <a:pt x="232894" y="6302"/>
                  </a:cubicBezTo>
                  <a:cubicBezTo>
                    <a:pt x="239274" y="12106"/>
                    <a:pt x="238069" y="28889"/>
                    <a:pt x="254026" y="20115"/>
                  </a:cubicBezTo>
                  <a:cubicBezTo>
                    <a:pt x="253163" y="29969"/>
                    <a:pt x="267014" y="34828"/>
                    <a:pt x="266291" y="37663"/>
                  </a:cubicBezTo>
                  <a:cubicBezTo>
                    <a:pt x="259949" y="62456"/>
                    <a:pt x="285609" y="58271"/>
                    <a:pt x="293930" y="70600"/>
                  </a:cubicBezTo>
                  <a:cubicBezTo>
                    <a:pt x="292979" y="84051"/>
                    <a:pt x="299181" y="100970"/>
                    <a:pt x="286966" y="111724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1" name="Vrije vorm 350">
              <a:extLst>
                <a:ext uri="{FF2B5EF4-FFF2-40B4-BE49-F238E27FC236}">
                  <a16:creationId xmlns:a16="http://schemas.microsoft.com/office/drawing/2014/main" id="{885B7A71-B550-964C-B478-8D6CE968CF97}"/>
                </a:ext>
              </a:extLst>
            </p:cNvPr>
            <p:cNvSpPr/>
            <p:nvPr/>
          </p:nvSpPr>
          <p:spPr>
            <a:xfrm>
              <a:off x="3096576" y="3722557"/>
              <a:ext cx="284875" cy="93791"/>
            </a:xfrm>
            <a:custGeom>
              <a:avLst/>
              <a:gdLst>
                <a:gd name="connsiteX0" fmla="*/ 198698 w 284875"/>
                <a:gd name="connsiteY0" fmla="*/ 93792 h 93791"/>
                <a:gd name="connsiteX1" fmla="*/ 204951 w 284875"/>
                <a:gd name="connsiteY1" fmla="*/ 78934 h 93791"/>
                <a:gd name="connsiteX2" fmla="*/ 162079 w 284875"/>
                <a:gd name="connsiteY2" fmla="*/ 50587 h 93791"/>
                <a:gd name="connsiteX3" fmla="*/ 74761 w 284875"/>
                <a:gd name="connsiteY3" fmla="*/ 25936 h 93791"/>
                <a:gd name="connsiteX4" fmla="*/ 68647 w 284875"/>
                <a:gd name="connsiteY4" fmla="*/ 14138 h 93791"/>
                <a:gd name="connsiteX5" fmla="*/ 43304 w 284875"/>
                <a:gd name="connsiteY5" fmla="*/ 15408 h 93791"/>
                <a:gd name="connsiteX6" fmla="*/ 2220 w 284875"/>
                <a:gd name="connsiteY6" fmla="*/ 36820 h 93791"/>
                <a:gd name="connsiteX7" fmla="*/ 12469 w 284875"/>
                <a:gd name="connsiteY7" fmla="*/ 13782 h 93791"/>
                <a:gd name="connsiteX8" fmla="*/ 136507 w 284875"/>
                <a:gd name="connsiteY8" fmla="*/ 18558 h 93791"/>
                <a:gd name="connsiteX9" fmla="*/ 140820 w 284875"/>
                <a:gd name="connsiteY9" fmla="*/ 21352 h 93791"/>
                <a:gd name="connsiteX10" fmla="*/ 235013 w 284875"/>
                <a:gd name="connsiteY10" fmla="*/ 62614 h 93791"/>
                <a:gd name="connsiteX11" fmla="*/ 284849 w 284875"/>
                <a:gd name="connsiteY11" fmla="*/ 93792 h 93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4875" h="93791">
                  <a:moveTo>
                    <a:pt x="198698" y="93792"/>
                  </a:moveTo>
                  <a:cubicBezTo>
                    <a:pt x="200144" y="90414"/>
                    <a:pt x="202123" y="85728"/>
                    <a:pt x="204951" y="78934"/>
                  </a:cubicBezTo>
                  <a:cubicBezTo>
                    <a:pt x="188639" y="71060"/>
                    <a:pt x="163246" y="74704"/>
                    <a:pt x="162079" y="50587"/>
                  </a:cubicBezTo>
                  <a:cubicBezTo>
                    <a:pt x="130888" y="41773"/>
                    <a:pt x="102171" y="33671"/>
                    <a:pt x="74761" y="25936"/>
                  </a:cubicBezTo>
                  <a:cubicBezTo>
                    <a:pt x="72693" y="21657"/>
                    <a:pt x="71120" y="14456"/>
                    <a:pt x="68647" y="14138"/>
                  </a:cubicBezTo>
                  <a:cubicBezTo>
                    <a:pt x="60225" y="12513"/>
                    <a:pt x="51523" y="12944"/>
                    <a:pt x="43304" y="15408"/>
                  </a:cubicBezTo>
                  <a:cubicBezTo>
                    <a:pt x="29224" y="21783"/>
                    <a:pt x="15513" y="28934"/>
                    <a:pt x="2220" y="36820"/>
                  </a:cubicBezTo>
                  <a:cubicBezTo>
                    <a:pt x="-3843" y="23904"/>
                    <a:pt x="3311" y="17288"/>
                    <a:pt x="12469" y="13782"/>
                  </a:cubicBezTo>
                  <a:cubicBezTo>
                    <a:pt x="54352" y="-2232"/>
                    <a:pt x="96146" y="-8531"/>
                    <a:pt x="136507" y="18558"/>
                  </a:cubicBezTo>
                  <a:cubicBezTo>
                    <a:pt x="137941" y="19498"/>
                    <a:pt x="139336" y="21250"/>
                    <a:pt x="140820" y="21352"/>
                  </a:cubicBezTo>
                  <a:cubicBezTo>
                    <a:pt x="176945" y="24273"/>
                    <a:pt x="200499" y="56086"/>
                    <a:pt x="235013" y="62614"/>
                  </a:cubicBezTo>
                  <a:cubicBezTo>
                    <a:pt x="246251" y="78133"/>
                    <a:pt x="270021" y="71428"/>
                    <a:pt x="284849" y="93792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352" name="Graphic 5">
              <a:extLst>
                <a:ext uri="{FF2B5EF4-FFF2-40B4-BE49-F238E27FC236}">
                  <a16:creationId xmlns:a16="http://schemas.microsoft.com/office/drawing/2014/main" id="{EE3FE4D9-2D2E-0749-B928-0BD9D5E36C39}"/>
                </a:ext>
              </a:extLst>
            </p:cNvPr>
            <p:cNvGrpSpPr/>
            <p:nvPr/>
          </p:nvGrpSpPr>
          <p:grpSpPr>
            <a:xfrm>
              <a:off x="8703481" y="4700158"/>
              <a:ext cx="1147627" cy="1067890"/>
              <a:chOff x="8703481" y="4700158"/>
              <a:chExt cx="1147627" cy="1067890"/>
            </a:xfrm>
            <a:solidFill>
              <a:schemeClr val="bg2"/>
            </a:solidFill>
          </p:grpSpPr>
          <p:sp>
            <p:nvSpPr>
              <p:cNvPr id="542" name="Vrije vorm 541">
                <a:extLst>
                  <a:ext uri="{FF2B5EF4-FFF2-40B4-BE49-F238E27FC236}">
                    <a16:creationId xmlns:a16="http://schemas.microsoft.com/office/drawing/2014/main" id="{F84D0B23-F681-5943-913B-6278C234B681}"/>
                  </a:ext>
                </a:extLst>
              </p:cNvPr>
              <p:cNvSpPr/>
              <p:nvPr/>
            </p:nvSpPr>
            <p:spPr>
              <a:xfrm>
                <a:off x="9430729" y="5471959"/>
                <a:ext cx="13990" cy="10909"/>
              </a:xfrm>
              <a:custGeom>
                <a:avLst/>
                <a:gdLst>
                  <a:gd name="connsiteX0" fmla="*/ -26 w 13990"/>
                  <a:gd name="connsiteY0" fmla="*/ 1 h 10909"/>
                  <a:gd name="connsiteX1" fmla="*/ 13964 w 13990"/>
                  <a:gd name="connsiteY1" fmla="*/ 10911 h 10909"/>
                  <a:gd name="connsiteX2" fmla="*/ 11199 w 13990"/>
                  <a:gd name="connsiteY2" fmla="*/ 7951 h 10909"/>
                  <a:gd name="connsiteX3" fmla="*/ -26 w 13990"/>
                  <a:gd name="connsiteY3" fmla="*/ 1 h 10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990" h="10909">
                    <a:moveTo>
                      <a:pt x="-26" y="1"/>
                    </a:moveTo>
                    <a:cubicBezTo>
                      <a:pt x="6113" y="4395"/>
                      <a:pt x="10767" y="8142"/>
                      <a:pt x="13964" y="10911"/>
                    </a:cubicBezTo>
                    <a:cubicBezTo>
                      <a:pt x="13140" y="10047"/>
                      <a:pt x="12227" y="9069"/>
                      <a:pt x="11199" y="7951"/>
                    </a:cubicBezTo>
                    <a:cubicBezTo>
                      <a:pt x="7825" y="4814"/>
                      <a:pt x="4058" y="2148"/>
                      <a:pt x="-26" y="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43" name="Vrije vorm 542">
                <a:extLst>
                  <a:ext uri="{FF2B5EF4-FFF2-40B4-BE49-F238E27FC236}">
                    <a16:creationId xmlns:a16="http://schemas.microsoft.com/office/drawing/2014/main" id="{142B7DF6-32FA-044B-9F13-0350B9FC302D}"/>
                  </a:ext>
                </a:extLst>
              </p:cNvPr>
              <p:cNvSpPr/>
              <p:nvPr/>
            </p:nvSpPr>
            <p:spPr>
              <a:xfrm>
                <a:off x="8703481" y="4700158"/>
                <a:ext cx="1147627" cy="897979"/>
              </a:xfrm>
              <a:custGeom>
                <a:avLst/>
                <a:gdLst>
                  <a:gd name="connsiteX0" fmla="*/ 384863 w 1147627"/>
                  <a:gd name="connsiteY0" fmla="*/ 88123 h 897979"/>
                  <a:gd name="connsiteX1" fmla="*/ 380880 w 1147627"/>
                  <a:gd name="connsiteY1" fmla="*/ 97547 h 897979"/>
                  <a:gd name="connsiteX2" fmla="*/ 376745 w 1147627"/>
                  <a:gd name="connsiteY2" fmla="*/ 99426 h 897979"/>
                  <a:gd name="connsiteX3" fmla="*/ 374855 w 1147627"/>
                  <a:gd name="connsiteY3" fmla="*/ 98131 h 897979"/>
                  <a:gd name="connsiteX4" fmla="*/ 366915 w 1147627"/>
                  <a:gd name="connsiteY4" fmla="*/ 97737 h 897979"/>
                  <a:gd name="connsiteX5" fmla="*/ 361346 w 1147627"/>
                  <a:gd name="connsiteY5" fmla="*/ 92568 h 897979"/>
                  <a:gd name="connsiteX6" fmla="*/ 360649 w 1147627"/>
                  <a:gd name="connsiteY6" fmla="*/ 96912 h 897979"/>
                  <a:gd name="connsiteX7" fmla="*/ 362627 w 1147627"/>
                  <a:gd name="connsiteY7" fmla="*/ 106779 h 897979"/>
                  <a:gd name="connsiteX8" fmla="*/ 354903 w 1147627"/>
                  <a:gd name="connsiteY8" fmla="*/ 110069 h 897979"/>
                  <a:gd name="connsiteX9" fmla="*/ 352911 w 1147627"/>
                  <a:gd name="connsiteY9" fmla="*/ 106513 h 897979"/>
                  <a:gd name="connsiteX10" fmla="*/ 351300 w 1147627"/>
                  <a:gd name="connsiteY10" fmla="*/ 111682 h 897979"/>
                  <a:gd name="connsiteX11" fmla="*/ 351250 w 1147627"/>
                  <a:gd name="connsiteY11" fmla="*/ 111707 h 897979"/>
                  <a:gd name="connsiteX12" fmla="*/ 350032 w 1147627"/>
                  <a:gd name="connsiteY12" fmla="*/ 101344 h 897979"/>
                  <a:gd name="connsiteX13" fmla="*/ 336397 w 1147627"/>
                  <a:gd name="connsiteY13" fmla="*/ 116901 h 897979"/>
                  <a:gd name="connsiteX14" fmla="*/ 344539 w 1147627"/>
                  <a:gd name="connsiteY14" fmla="*/ 127265 h 897979"/>
                  <a:gd name="connsiteX15" fmla="*/ 343728 w 1147627"/>
                  <a:gd name="connsiteY15" fmla="*/ 128344 h 897979"/>
                  <a:gd name="connsiteX16" fmla="*/ 337183 w 1147627"/>
                  <a:gd name="connsiteY16" fmla="*/ 128725 h 897979"/>
                  <a:gd name="connsiteX17" fmla="*/ 330536 w 1147627"/>
                  <a:gd name="connsiteY17" fmla="*/ 127265 h 897979"/>
                  <a:gd name="connsiteX18" fmla="*/ 328622 w 1147627"/>
                  <a:gd name="connsiteY18" fmla="*/ 130706 h 897979"/>
                  <a:gd name="connsiteX19" fmla="*/ 332211 w 1147627"/>
                  <a:gd name="connsiteY19" fmla="*/ 130414 h 897979"/>
                  <a:gd name="connsiteX20" fmla="*/ 335242 w 1147627"/>
                  <a:gd name="connsiteY20" fmla="*/ 132319 h 897979"/>
                  <a:gd name="connsiteX21" fmla="*/ 335382 w 1147627"/>
                  <a:gd name="connsiteY21" fmla="*/ 133729 h 897979"/>
                  <a:gd name="connsiteX22" fmla="*/ 331107 w 1147627"/>
                  <a:gd name="connsiteY22" fmla="*/ 135558 h 897979"/>
                  <a:gd name="connsiteX23" fmla="*/ 315392 w 1147627"/>
                  <a:gd name="connsiteY23" fmla="*/ 139749 h 897979"/>
                  <a:gd name="connsiteX24" fmla="*/ 323548 w 1147627"/>
                  <a:gd name="connsiteY24" fmla="*/ 149769 h 897979"/>
                  <a:gd name="connsiteX25" fmla="*/ 320541 w 1147627"/>
                  <a:gd name="connsiteY25" fmla="*/ 163485 h 897979"/>
                  <a:gd name="connsiteX26" fmla="*/ 315734 w 1147627"/>
                  <a:gd name="connsiteY26" fmla="*/ 164006 h 897979"/>
                  <a:gd name="connsiteX27" fmla="*/ 303938 w 1147627"/>
                  <a:gd name="connsiteY27" fmla="*/ 164374 h 897979"/>
                  <a:gd name="connsiteX28" fmla="*/ 291482 w 1147627"/>
                  <a:gd name="connsiteY28" fmla="*/ 159459 h 897979"/>
                  <a:gd name="connsiteX29" fmla="*/ 290125 w 1147627"/>
                  <a:gd name="connsiteY29" fmla="*/ 165263 h 897979"/>
                  <a:gd name="connsiteX30" fmla="*/ 293042 w 1147627"/>
                  <a:gd name="connsiteY30" fmla="*/ 169848 h 897979"/>
                  <a:gd name="connsiteX31" fmla="*/ 302187 w 1147627"/>
                  <a:gd name="connsiteY31" fmla="*/ 176807 h 897979"/>
                  <a:gd name="connsiteX32" fmla="*/ 292395 w 1147627"/>
                  <a:gd name="connsiteY32" fmla="*/ 191654 h 897979"/>
                  <a:gd name="connsiteX33" fmla="*/ 280536 w 1147627"/>
                  <a:gd name="connsiteY33" fmla="*/ 172108 h 897979"/>
                  <a:gd name="connsiteX34" fmla="*/ 278214 w 1147627"/>
                  <a:gd name="connsiteY34" fmla="*/ 173175 h 897979"/>
                  <a:gd name="connsiteX35" fmla="*/ 260963 w 1147627"/>
                  <a:gd name="connsiteY35" fmla="*/ 181836 h 897979"/>
                  <a:gd name="connsiteX36" fmla="*/ 199141 w 1147627"/>
                  <a:gd name="connsiteY36" fmla="*/ 269899 h 897979"/>
                  <a:gd name="connsiteX37" fmla="*/ 191949 w 1147627"/>
                  <a:gd name="connsiteY37" fmla="*/ 271460 h 897979"/>
                  <a:gd name="connsiteX38" fmla="*/ 175460 w 1147627"/>
                  <a:gd name="connsiteY38" fmla="*/ 272007 h 897979"/>
                  <a:gd name="connsiteX39" fmla="*/ 107625 w 1147627"/>
                  <a:gd name="connsiteY39" fmla="*/ 290676 h 897979"/>
                  <a:gd name="connsiteX40" fmla="*/ 29719 w 1147627"/>
                  <a:gd name="connsiteY40" fmla="*/ 344435 h 897979"/>
                  <a:gd name="connsiteX41" fmla="*/ 23795 w 1147627"/>
                  <a:gd name="connsiteY41" fmla="*/ 339990 h 897979"/>
                  <a:gd name="connsiteX42" fmla="*/ 8016 w 1147627"/>
                  <a:gd name="connsiteY42" fmla="*/ 385875 h 897979"/>
                  <a:gd name="connsiteX43" fmla="*/ 22945 w 1147627"/>
                  <a:gd name="connsiteY43" fmla="*/ 470279 h 897979"/>
                  <a:gd name="connsiteX44" fmla="*/ 14713 w 1147627"/>
                  <a:gd name="connsiteY44" fmla="*/ 462672 h 897979"/>
                  <a:gd name="connsiteX45" fmla="*/ 6925 w 1147627"/>
                  <a:gd name="connsiteY45" fmla="*/ 443647 h 897979"/>
                  <a:gd name="connsiteX46" fmla="*/ 15233 w 1147627"/>
                  <a:gd name="connsiteY46" fmla="*/ 473924 h 897979"/>
                  <a:gd name="connsiteX47" fmla="*/ 8662 w 1147627"/>
                  <a:gd name="connsiteY47" fmla="*/ 473975 h 897979"/>
                  <a:gd name="connsiteX48" fmla="*/ 3056 w 1147627"/>
                  <a:gd name="connsiteY48" fmla="*/ 468222 h 897979"/>
                  <a:gd name="connsiteX49" fmla="*/ -26 w 1147627"/>
                  <a:gd name="connsiteY49" fmla="*/ 463561 h 897979"/>
                  <a:gd name="connsiteX50" fmla="*/ 68862 w 1147627"/>
                  <a:gd name="connsiteY50" fmla="*/ 690129 h 897979"/>
                  <a:gd name="connsiteX51" fmla="*/ 48554 w 1147627"/>
                  <a:gd name="connsiteY51" fmla="*/ 710080 h 897979"/>
                  <a:gd name="connsiteX52" fmla="*/ 76498 w 1147627"/>
                  <a:gd name="connsiteY52" fmla="*/ 745983 h 897979"/>
                  <a:gd name="connsiteX53" fmla="*/ 131065 w 1147627"/>
                  <a:gd name="connsiteY53" fmla="*/ 754645 h 897979"/>
                  <a:gd name="connsiteX54" fmla="*/ 139627 w 1147627"/>
                  <a:gd name="connsiteY54" fmla="*/ 752409 h 897979"/>
                  <a:gd name="connsiteX55" fmla="*/ 145258 w 1147627"/>
                  <a:gd name="connsiteY55" fmla="*/ 748422 h 897979"/>
                  <a:gd name="connsiteX56" fmla="*/ 146070 w 1147627"/>
                  <a:gd name="connsiteY56" fmla="*/ 746187 h 897979"/>
                  <a:gd name="connsiteX57" fmla="*/ 166644 w 1147627"/>
                  <a:gd name="connsiteY57" fmla="*/ 733626 h 897979"/>
                  <a:gd name="connsiteX58" fmla="*/ 172657 w 1147627"/>
                  <a:gd name="connsiteY58" fmla="*/ 734452 h 897979"/>
                  <a:gd name="connsiteX59" fmla="*/ 174826 w 1147627"/>
                  <a:gd name="connsiteY59" fmla="*/ 728838 h 897979"/>
                  <a:gd name="connsiteX60" fmla="*/ 180775 w 1147627"/>
                  <a:gd name="connsiteY60" fmla="*/ 725854 h 897979"/>
                  <a:gd name="connsiteX61" fmla="*/ 203048 w 1147627"/>
                  <a:gd name="connsiteY61" fmla="*/ 715516 h 897979"/>
                  <a:gd name="connsiteX62" fmla="*/ 241480 w 1147627"/>
                  <a:gd name="connsiteY62" fmla="*/ 713230 h 897979"/>
                  <a:gd name="connsiteX63" fmla="*/ 249497 w 1147627"/>
                  <a:gd name="connsiteY63" fmla="*/ 718031 h 897979"/>
                  <a:gd name="connsiteX64" fmla="*/ 289161 w 1147627"/>
                  <a:gd name="connsiteY64" fmla="*/ 714386 h 897979"/>
                  <a:gd name="connsiteX65" fmla="*/ 290277 w 1147627"/>
                  <a:gd name="connsiteY65" fmla="*/ 713027 h 897979"/>
                  <a:gd name="connsiteX66" fmla="*/ 308529 w 1147627"/>
                  <a:gd name="connsiteY66" fmla="*/ 696618 h 897979"/>
                  <a:gd name="connsiteX67" fmla="*/ 310394 w 1147627"/>
                  <a:gd name="connsiteY67" fmla="*/ 692364 h 897979"/>
                  <a:gd name="connsiteX68" fmla="*/ 328659 w 1147627"/>
                  <a:gd name="connsiteY68" fmla="*/ 679219 h 897979"/>
                  <a:gd name="connsiteX69" fmla="*/ 349411 w 1147627"/>
                  <a:gd name="connsiteY69" fmla="*/ 667929 h 897979"/>
                  <a:gd name="connsiteX70" fmla="*/ 370098 w 1147627"/>
                  <a:gd name="connsiteY70" fmla="*/ 659293 h 897979"/>
                  <a:gd name="connsiteX71" fmla="*/ 391687 w 1147627"/>
                  <a:gd name="connsiteY71" fmla="*/ 658023 h 897979"/>
                  <a:gd name="connsiteX72" fmla="*/ 431642 w 1147627"/>
                  <a:gd name="connsiteY72" fmla="*/ 648130 h 897979"/>
                  <a:gd name="connsiteX73" fmla="*/ 449374 w 1147627"/>
                  <a:gd name="connsiteY73" fmla="*/ 641970 h 897979"/>
                  <a:gd name="connsiteX74" fmla="*/ 537808 w 1147627"/>
                  <a:gd name="connsiteY74" fmla="*/ 645272 h 897979"/>
                  <a:gd name="connsiteX75" fmla="*/ 540422 w 1147627"/>
                  <a:gd name="connsiteY75" fmla="*/ 646695 h 897979"/>
                  <a:gd name="connsiteX76" fmla="*/ 548121 w 1147627"/>
                  <a:gd name="connsiteY76" fmla="*/ 647457 h 897979"/>
                  <a:gd name="connsiteX77" fmla="*/ 593289 w 1147627"/>
                  <a:gd name="connsiteY77" fmla="*/ 666697 h 897979"/>
                  <a:gd name="connsiteX78" fmla="*/ 589446 w 1147627"/>
                  <a:gd name="connsiteY78" fmla="*/ 680629 h 897979"/>
                  <a:gd name="connsiteX79" fmla="*/ 611973 w 1147627"/>
                  <a:gd name="connsiteY79" fmla="*/ 704696 h 897979"/>
                  <a:gd name="connsiteX80" fmla="*/ 627613 w 1147627"/>
                  <a:gd name="connsiteY80" fmla="*/ 739595 h 897979"/>
                  <a:gd name="connsiteX81" fmla="*/ 619178 w 1147627"/>
                  <a:gd name="connsiteY81" fmla="*/ 737932 h 897979"/>
                  <a:gd name="connsiteX82" fmla="*/ 635502 w 1147627"/>
                  <a:gd name="connsiteY82" fmla="*/ 749006 h 897979"/>
                  <a:gd name="connsiteX83" fmla="*/ 644825 w 1147627"/>
                  <a:gd name="connsiteY83" fmla="*/ 751127 h 897979"/>
                  <a:gd name="connsiteX84" fmla="*/ 642288 w 1147627"/>
                  <a:gd name="connsiteY84" fmla="*/ 742846 h 897979"/>
                  <a:gd name="connsiteX85" fmla="*/ 677437 w 1147627"/>
                  <a:gd name="connsiteY85" fmla="*/ 705432 h 897979"/>
                  <a:gd name="connsiteX86" fmla="*/ 683575 w 1147627"/>
                  <a:gd name="connsiteY86" fmla="*/ 698905 h 897979"/>
                  <a:gd name="connsiteX87" fmla="*/ 699862 w 1147627"/>
                  <a:gd name="connsiteY87" fmla="*/ 681569 h 897979"/>
                  <a:gd name="connsiteX88" fmla="*/ 700318 w 1147627"/>
                  <a:gd name="connsiteY88" fmla="*/ 684210 h 897979"/>
                  <a:gd name="connsiteX89" fmla="*/ 698645 w 1147627"/>
                  <a:gd name="connsiteY89" fmla="*/ 703794 h 897979"/>
                  <a:gd name="connsiteX90" fmla="*/ 673694 w 1147627"/>
                  <a:gd name="connsiteY90" fmla="*/ 748371 h 897979"/>
                  <a:gd name="connsiteX91" fmla="*/ 669242 w 1147627"/>
                  <a:gd name="connsiteY91" fmla="*/ 762011 h 897979"/>
                  <a:gd name="connsiteX92" fmla="*/ 687761 w 1147627"/>
                  <a:gd name="connsiteY92" fmla="*/ 756677 h 897979"/>
                  <a:gd name="connsiteX93" fmla="*/ 706775 w 1147627"/>
                  <a:gd name="connsiteY93" fmla="*/ 728813 h 897979"/>
                  <a:gd name="connsiteX94" fmla="*/ 709527 w 1147627"/>
                  <a:gd name="connsiteY94" fmla="*/ 734782 h 897979"/>
                  <a:gd name="connsiteX95" fmla="*/ 716630 w 1147627"/>
                  <a:gd name="connsiteY95" fmla="*/ 773669 h 897979"/>
                  <a:gd name="connsiteX96" fmla="*/ 716630 w 1147627"/>
                  <a:gd name="connsiteY96" fmla="*/ 773682 h 897979"/>
                  <a:gd name="connsiteX97" fmla="*/ 716656 w 1147627"/>
                  <a:gd name="connsiteY97" fmla="*/ 773669 h 897979"/>
                  <a:gd name="connsiteX98" fmla="*/ 729543 w 1147627"/>
                  <a:gd name="connsiteY98" fmla="*/ 770494 h 897979"/>
                  <a:gd name="connsiteX99" fmla="*/ 725535 w 1147627"/>
                  <a:gd name="connsiteY99" fmla="*/ 769961 h 897979"/>
                  <a:gd name="connsiteX100" fmla="*/ 738371 w 1147627"/>
                  <a:gd name="connsiteY100" fmla="*/ 764614 h 897979"/>
                  <a:gd name="connsiteX101" fmla="*/ 739475 w 1147627"/>
                  <a:gd name="connsiteY101" fmla="*/ 766684 h 897979"/>
                  <a:gd name="connsiteX102" fmla="*/ 739766 w 1147627"/>
                  <a:gd name="connsiteY102" fmla="*/ 772895 h 897979"/>
                  <a:gd name="connsiteX103" fmla="*/ 731116 w 1147627"/>
                  <a:gd name="connsiteY103" fmla="*/ 771561 h 897979"/>
                  <a:gd name="connsiteX104" fmla="*/ 738422 w 1147627"/>
                  <a:gd name="connsiteY104" fmla="*/ 779765 h 897979"/>
                  <a:gd name="connsiteX105" fmla="*/ 741314 w 1147627"/>
                  <a:gd name="connsiteY105" fmla="*/ 782813 h 897979"/>
                  <a:gd name="connsiteX106" fmla="*/ 741200 w 1147627"/>
                  <a:gd name="connsiteY106" fmla="*/ 782712 h 897979"/>
                  <a:gd name="connsiteX107" fmla="*/ 741403 w 1147627"/>
                  <a:gd name="connsiteY107" fmla="*/ 782928 h 897979"/>
                  <a:gd name="connsiteX108" fmla="*/ 761025 w 1147627"/>
                  <a:gd name="connsiteY108" fmla="*/ 842008 h 897979"/>
                  <a:gd name="connsiteX109" fmla="*/ 822975 w 1147627"/>
                  <a:gd name="connsiteY109" fmla="*/ 870520 h 897979"/>
                  <a:gd name="connsiteX110" fmla="*/ 831016 w 1147627"/>
                  <a:gd name="connsiteY110" fmla="*/ 873263 h 897979"/>
                  <a:gd name="connsiteX111" fmla="*/ 861662 w 1147627"/>
                  <a:gd name="connsiteY111" fmla="*/ 883575 h 897979"/>
                  <a:gd name="connsiteX112" fmla="*/ 867065 w 1147627"/>
                  <a:gd name="connsiteY112" fmla="*/ 885391 h 897979"/>
                  <a:gd name="connsiteX113" fmla="*/ 886167 w 1147627"/>
                  <a:gd name="connsiteY113" fmla="*/ 867942 h 897979"/>
                  <a:gd name="connsiteX114" fmla="*/ 891469 w 1147627"/>
                  <a:gd name="connsiteY114" fmla="*/ 865223 h 897979"/>
                  <a:gd name="connsiteX115" fmla="*/ 889921 w 1147627"/>
                  <a:gd name="connsiteY115" fmla="*/ 864500 h 897979"/>
                  <a:gd name="connsiteX116" fmla="*/ 899460 w 1147627"/>
                  <a:gd name="connsiteY116" fmla="*/ 855800 h 897979"/>
                  <a:gd name="connsiteX117" fmla="*/ 901528 w 1147627"/>
                  <a:gd name="connsiteY117" fmla="*/ 857222 h 897979"/>
                  <a:gd name="connsiteX118" fmla="*/ 890442 w 1147627"/>
                  <a:gd name="connsiteY118" fmla="*/ 869008 h 897979"/>
                  <a:gd name="connsiteX119" fmla="*/ 915506 w 1147627"/>
                  <a:gd name="connsiteY119" fmla="*/ 871243 h 897979"/>
                  <a:gd name="connsiteX120" fmla="*/ 930688 w 1147627"/>
                  <a:gd name="connsiteY120" fmla="*/ 886966 h 897979"/>
                  <a:gd name="connsiteX121" fmla="*/ 940506 w 1147627"/>
                  <a:gd name="connsiteY121" fmla="*/ 894497 h 897979"/>
                  <a:gd name="connsiteX122" fmla="*/ 936549 w 1147627"/>
                  <a:gd name="connsiteY122" fmla="*/ 883423 h 897979"/>
                  <a:gd name="connsiteX123" fmla="*/ 961143 w 1147627"/>
                  <a:gd name="connsiteY123" fmla="*/ 875904 h 897979"/>
                  <a:gd name="connsiteX124" fmla="*/ 987793 w 1147627"/>
                  <a:gd name="connsiteY124" fmla="*/ 856207 h 897979"/>
                  <a:gd name="connsiteX125" fmla="*/ 1019415 w 1147627"/>
                  <a:gd name="connsiteY125" fmla="*/ 848967 h 897979"/>
                  <a:gd name="connsiteX126" fmla="*/ 1023423 w 1147627"/>
                  <a:gd name="connsiteY126" fmla="*/ 848764 h 897979"/>
                  <a:gd name="connsiteX127" fmla="*/ 1045531 w 1147627"/>
                  <a:gd name="connsiteY127" fmla="*/ 826082 h 897979"/>
                  <a:gd name="connsiteX128" fmla="*/ 1048119 w 1147627"/>
                  <a:gd name="connsiteY128" fmla="*/ 805508 h 897979"/>
                  <a:gd name="connsiteX129" fmla="*/ 1064088 w 1147627"/>
                  <a:gd name="connsiteY129" fmla="*/ 754784 h 897979"/>
                  <a:gd name="connsiteX130" fmla="*/ 1064430 w 1147627"/>
                  <a:gd name="connsiteY130" fmla="*/ 755661 h 897979"/>
                  <a:gd name="connsiteX131" fmla="*/ 1064202 w 1147627"/>
                  <a:gd name="connsiteY131" fmla="*/ 754530 h 897979"/>
                  <a:gd name="connsiteX132" fmla="*/ 1080134 w 1147627"/>
                  <a:gd name="connsiteY132" fmla="*/ 717903 h 897979"/>
                  <a:gd name="connsiteX133" fmla="*/ 1103194 w 1147627"/>
                  <a:gd name="connsiteY133" fmla="*/ 678026 h 897979"/>
                  <a:gd name="connsiteX134" fmla="*/ 1133281 w 1147627"/>
                  <a:gd name="connsiteY134" fmla="*/ 613649 h 897979"/>
                  <a:gd name="connsiteX135" fmla="*/ 1144404 w 1147627"/>
                  <a:gd name="connsiteY135" fmla="*/ 557515 h 897979"/>
                  <a:gd name="connsiteX136" fmla="*/ 1142160 w 1147627"/>
                  <a:gd name="connsiteY136" fmla="*/ 509458 h 897979"/>
                  <a:gd name="connsiteX137" fmla="*/ 1135691 w 1147627"/>
                  <a:gd name="connsiteY137" fmla="*/ 479893 h 897979"/>
                  <a:gd name="connsiteX138" fmla="*/ 1090661 w 1147627"/>
                  <a:gd name="connsiteY138" fmla="*/ 394828 h 897979"/>
                  <a:gd name="connsiteX139" fmla="*/ 1068794 w 1147627"/>
                  <a:gd name="connsiteY139" fmla="*/ 350772 h 897979"/>
                  <a:gd name="connsiteX140" fmla="*/ 1061856 w 1147627"/>
                  <a:gd name="connsiteY140" fmla="*/ 348931 h 897979"/>
                  <a:gd name="connsiteX141" fmla="*/ 1059357 w 1147627"/>
                  <a:gd name="connsiteY141" fmla="*/ 343622 h 897979"/>
                  <a:gd name="connsiteX142" fmla="*/ 1056338 w 1147627"/>
                  <a:gd name="connsiteY142" fmla="*/ 347457 h 897979"/>
                  <a:gd name="connsiteX143" fmla="*/ 1049894 w 1147627"/>
                  <a:gd name="connsiteY143" fmla="*/ 345743 h 897979"/>
                  <a:gd name="connsiteX144" fmla="*/ 1043045 w 1147627"/>
                  <a:gd name="connsiteY144" fmla="*/ 336815 h 897979"/>
                  <a:gd name="connsiteX145" fmla="*/ 1039760 w 1147627"/>
                  <a:gd name="connsiteY145" fmla="*/ 342860 h 897979"/>
                  <a:gd name="connsiteX146" fmla="*/ 1039823 w 1147627"/>
                  <a:gd name="connsiteY146" fmla="*/ 343063 h 897979"/>
                  <a:gd name="connsiteX147" fmla="*/ 1036437 w 1147627"/>
                  <a:gd name="connsiteY147" fmla="*/ 342161 h 897979"/>
                  <a:gd name="connsiteX148" fmla="*/ 1029993 w 1147627"/>
                  <a:gd name="connsiteY148" fmla="*/ 321206 h 897979"/>
                  <a:gd name="connsiteX149" fmla="*/ 1005462 w 1147627"/>
                  <a:gd name="connsiteY149" fmla="*/ 278229 h 897979"/>
                  <a:gd name="connsiteX150" fmla="*/ 1000743 w 1147627"/>
                  <a:gd name="connsiteY150" fmla="*/ 273746 h 897979"/>
                  <a:gd name="connsiteX151" fmla="*/ 1000680 w 1147627"/>
                  <a:gd name="connsiteY151" fmla="*/ 273594 h 897979"/>
                  <a:gd name="connsiteX152" fmla="*/ 1000578 w 1147627"/>
                  <a:gd name="connsiteY152" fmla="*/ 273620 h 897979"/>
                  <a:gd name="connsiteX153" fmla="*/ 971025 w 1147627"/>
                  <a:gd name="connsiteY153" fmla="*/ 255916 h 897979"/>
                  <a:gd name="connsiteX154" fmla="*/ 967752 w 1147627"/>
                  <a:gd name="connsiteY154" fmla="*/ 251420 h 897979"/>
                  <a:gd name="connsiteX155" fmla="*/ 967384 w 1147627"/>
                  <a:gd name="connsiteY155" fmla="*/ 254468 h 897979"/>
                  <a:gd name="connsiteX156" fmla="*/ 964302 w 1147627"/>
                  <a:gd name="connsiteY156" fmla="*/ 253287 h 897979"/>
                  <a:gd name="connsiteX157" fmla="*/ 957401 w 1147627"/>
                  <a:gd name="connsiteY157" fmla="*/ 250213 h 897979"/>
                  <a:gd name="connsiteX158" fmla="*/ 957123 w 1147627"/>
                  <a:gd name="connsiteY158" fmla="*/ 247369 h 897979"/>
                  <a:gd name="connsiteX159" fmla="*/ 954141 w 1147627"/>
                  <a:gd name="connsiteY159" fmla="*/ 248258 h 897979"/>
                  <a:gd name="connsiteX160" fmla="*/ 935217 w 1147627"/>
                  <a:gd name="connsiteY160" fmla="*/ 209319 h 897979"/>
                  <a:gd name="connsiteX161" fmla="*/ 926782 w 1147627"/>
                  <a:gd name="connsiteY161" fmla="*/ 179932 h 897979"/>
                  <a:gd name="connsiteX162" fmla="*/ 916026 w 1147627"/>
                  <a:gd name="connsiteY162" fmla="*/ 148766 h 897979"/>
                  <a:gd name="connsiteX163" fmla="*/ 889097 w 1147627"/>
                  <a:gd name="connsiteY163" fmla="*/ 104151 h 897979"/>
                  <a:gd name="connsiteX164" fmla="*/ 887829 w 1147627"/>
                  <a:gd name="connsiteY164" fmla="*/ 104468 h 897979"/>
                  <a:gd name="connsiteX165" fmla="*/ 885951 w 1147627"/>
                  <a:gd name="connsiteY165" fmla="*/ 99871 h 897979"/>
                  <a:gd name="connsiteX166" fmla="*/ 869132 w 1147627"/>
                  <a:gd name="connsiteY166" fmla="*/ 107250 h 897979"/>
                  <a:gd name="connsiteX167" fmla="*/ 832044 w 1147627"/>
                  <a:gd name="connsiteY167" fmla="*/ 4468 h 897979"/>
                  <a:gd name="connsiteX168" fmla="*/ 831853 w 1147627"/>
                  <a:gd name="connsiteY168" fmla="*/ 4926 h 897979"/>
                  <a:gd name="connsiteX169" fmla="*/ 832069 w 1147627"/>
                  <a:gd name="connsiteY169" fmla="*/ 811 h 897979"/>
                  <a:gd name="connsiteX170" fmla="*/ 812167 w 1147627"/>
                  <a:gd name="connsiteY170" fmla="*/ 35609 h 897979"/>
                  <a:gd name="connsiteX171" fmla="*/ 811762 w 1147627"/>
                  <a:gd name="connsiteY171" fmla="*/ 53833 h 897979"/>
                  <a:gd name="connsiteX172" fmla="*/ 813487 w 1147627"/>
                  <a:gd name="connsiteY172" fmla="*/ 57605 h 897979"/>
                  <a:gd name="connsiteX173" fmla="*/ 812979 w 1147627"/>
                  <a:gd name="connsiteY173" fmla="*/ 59637 h 897979"/>
                  <a:gd name="connsiteX174" fmla="*/ 812218 w 1147627"/>
                  <a:gd name="connsiteY174" fmla="*/ 60678 h 897979"/>
                  <a:gd name="connsiteX175" fmla="*/ 809618 w 1147627"/>
                  <a:gd name="connsiteY175" fmla="*/ 57199 h 897979"/>
                  <a:gd name="connsiteX176" fmla="*/ 803390 w 1147627"/>
                  <a:gd name="connsiteY176" fmla="*/ 129944 h 897979"/>
                  <a:gd name="connsiteX177" fmla="*/ 767760 w 1147627"/>
                  <a:gd name="connsiteY177" fmla="*/ 203033 h 897979"/>
                  <a:gd name="connsiteX178" fmla="*/ 759884 w 1147627"/>
                  <a:gd name="connsiteY178" fmla="*/ 201001 h 897979"/>
                  <a:gd name="connsiteX179" fmla="*/ 738510 w 1147627"/>
                  <a:gd name="connsiteY179" fmla="*/ 186663 h 897979"/>
                  <a:gd name="connsiteX180" fmla="*/ 726321 w 1147627"/>
                  <a:gd name="connsiteY180" fmla="*/ 177709 h 897979"/>
                  <a:gd name="connsiteX181" fmla="*/ 663078 w 1147627"/>
                  <a:gd name="connsiteY181" fmla="*/ 143330 h 897979"/>
                  <a:gd name="connsiteX182" fmla="*/ 641870 w 1147627"/>
                  <a:gd name="connsiteY182" fmla="*/ 126681 h 897979"/>
                  <a:gd name="connsiteX183" fmla="*/ 636200 w 1147627"/>
                  <a:gd name="connsiteY183" fmla="*/ 116203 h 897979"/>
                  <a:gd name="connsiteX184" fmla="*/ 647286 w 1147627"/>
                  <a:gd name="connsiteY184" fmla="*/ 80973 h 897979"/>
                  <a:gd name="connsiteX185" fmla="*/ 654453 w 1147627"/>
                  <a:gd name="connsiteY185" fmla="*/ 69657 h 897979"/>
                  <a:gd name="connsiteX186" fmla="*/ 659894 w 1147627"/>
                  <a:gd name="connsiteY186" fmla="*/ 62571 h 897979"/>
                  <a:gd name="connsiteX187" fmla="*/ 670409 w 1147627"/>
                  <a:gd name="connsiteY187" fmla="*/ 49122 h 897979"/>
                  <a:gd name="connsiteX188" fmla="*/ 669915 w 1147627"/>
                  <a:gd name="connsiteY188" fmla="*/ 46683 h 897979"/>
                  <a:gd name="connsiteX189" fmla="*/ 668735 w 1147627"/>
                  <a:gd name="connsiteY189" fmla="*/ 43788 h 897979"/>
                  <a:gd name="connsiteX190" fmla="*/ 668126 w 1147627"/>
                  <a:gd name="connsiteY190" fmla="*/ 42200 h 897979"/>
                  <a:gd name="connsiteX191" fmla="*/ 665208 w 1147627"/>
                  <a:gd name="connsiteY191" fmla="*/ 43750 h 897979"/>
                  <a:gd name="connsiteX192" fmla="*/ 653996 w 1147627"/>
                  <a:gd name="connsiteY192" fmla="*/ 38377 h 897979"/>
                  <a:gd name="connsiteX193" fmla="*/ 654656 w 1147627"/>
                  <a:gd name="connsiteY193" fmla="*/ 44778 h 897979"/>
                  <a:gd name="connsiteX194" fmla="*/ 644648 w 1147627"/>
                  <a:gd name="connsiteY194" fmla="*/ 42517 h 897979"/>
                  <a:gd name="connsiteX195" fmla="*/ 642605 w 1147627"/>
                  <a:gd name="connsiteY195" fmla="*/ 41171 h 897979"/>
                  <a:gd name="connsiteX196" fmla="*/ 641642 w 1147627"/>
                  <a:gd name="connsiteY196" fmla="*/ 41971 h 897979"/>
                  <a:gd name="connsiteX197" fmla="*/ 638331 w 1147627"/>
                  <a:gd name="connsiteY197" fmla="*/ 41743 h 897979"/>
                  <a:gd name="connsiteX198" fmla="*/ 635477 w 1147627"/>
                  <a:gd name="connsiteY198" fmla="*/ 41718 h 897979"/>
                  <a:gd name="connsiteX199" fmla="*/ 642073 w 1147627"/>
                  <a:gd name="connsiteY199" fmla="*/ 35837 h 897979"/>
                  <a:gd name="connsiteX200" fmla="*/ 633118 w 1147627"/>
                  <a:gd name="connsiteY200" fmla="*/ 35685 h 897979"/>
                  <a:gd name="connsiteX201" fmla="*/ 624467 w 1147627"/>
                  <a:gd name="connsiteY201" fmla="*/ 41070 h 897979"/>
                  <a:gd name="connsiteX202" fmla="*/ 558636 w 1147627"/>
                  <a:gd name="connsiteY202" fmla="*/ 22261 h 897979"/>
                  <a:gd name="connsiteX203" fmla="*/ 558370 w 1147627"/>
                  <a:gd name="connsiteY203" fmla="*/ 22998 h 897979"/>
                  <a:gd name="connsiteX204" fmla="*/ 536337 w 1147627"/>
                  <a:gd name="connsiteY204" fmla="*/ 11949 h 897979"/>
                  <a:gd name="connsiteX205" fmla="*/ 534257 w 1147627"/>
                  <a:gd name="connsiteY205" fmla="*/ 14133 h 897979"/>
                  <a:gd name="connsiteX206" fmla="*/ 546079 w 1147627"/>
                  <a:gd name="connsiteY206" fmla="*/ 43140 h 897979"/>
                  <a:gd name="connsiteX207" fmla="*/ 541271 w 1147627"/>
                  <a:gd name="connsiteY207" fmla="*/ 44270 h 897979"/>
                  <a:gd name="connsiteX208" fmla="*/ 525708 w 1147627"/>
                  <a:gd name="connsiteY208" fmla="*/ 45020 h 897979"/>
                  <a:gd name="connsiteX209" fmla="*/ 522461 w 1147627"/>
                  <a:gd name="connsiteY209" fmla="*/ 44893 h 897979"/>
                  <a:gd name="connsiteX210" fmla="*/ 514546 w 1147627"/>
                  <a:gd name="connsiteY210" fmla="*/ 44778 h 897979"/>
                  <a:gd name="connsiteX211" fmla="*/ 511045 w 1147627"/>
                  <a:gd name="connsiteY211" fmla="*/ 38200 h 897979"/>
                  <a:gd name="connsiteX212" fmla="*/ 502534 w 1147627"/>
                  <a:gd name="connsiteY212" fmla="*/ 42454 h 897979"/>
                  <a:gd name="connsiteX213" fmla="*/ 497676 w 1147627"/>
                  <a:gd name="connsiteY213" fmla="*/ 49858 h 897979"/>
                  <a:gd name="connsiteX214" fmla="*/ 499769 w 1147627"/>
                  <a:gd name="connsiteY214" fmla="*/ 50531 h 897979"/>
                  <a:gd name="connsiteX215" fmla="*/ 497486 w 1147627"/>
                  <a:gd name="connsiteY215" fmla="*/ 52297 h 897979"/>
                  <a:gd name="connsiteX216" fmla="*/ 493401 w 1147627"/>
                  <a:gd name="connsiteY216" fmla="*/ 56373 h 897979"/>
                  <a:gd name="connsiteX217" fmla="*/ 492767 w 1147627"/>
                  <a:gd name="connsiteY217" fmla="*/ 57148 h 897979"/>
                  <a:gd name="connsiteX218" fmla="*/ 484332 w 1147627"/>
                  <a:gd name="connsiteY218" fmla="*/ 56348 h 897979"/>
                  <a:gd name="connsiteX219" fmla="*/ 482036 w 1147627"/>
                  <a:gd name="connsiteY219" fmla="*/ 75068 h 897979"/>
                  <a:gd name="connsiteX220" fmla="*/ 470824 w 1147627"/>
                  <a:gd name="connsiteY220" fmla="*/ 117232 h 897979"/>
                  <a:gd name="connsiteX221" fmla="*/ 471192 w 1147627"/>
                  <a:gd name="connsiteY221" fmla="*/ 118184 h 897979"/>
                  <a:gd name="connsiteX222" fmla="*/ 463276 w 1147627"/>
                  <a:gd name="connsiteY222" fmla="*/ 123125 h 897979"/>
                  <a:gd name="connsiteX223" fmla="*/ 457226 w 1147627"/>
                  <a:gd name="connsiteY223" fmla="*/ 121245 h 897979"/>
                  <a:gd name="connsiteX224" fmla="*/ 456326 w 1147627"/>
                  <a:gd name="connsiteY224" fmla="*/ 120991 h 897979"/>
                  <a:gd name="connsiteX225" fmla="*/ 446622 w 1147627"/>
                  <a:gd name="connsiteY225" fmla="*/ 119670 h 897979"/>
                  <a:gd name="connsiteX226" fmla="*/ 445252 w 1147627"/>
                  <a:gd name="connsiteY226" fmla="*/ 119886 h 897979"/>
                  <a:gd name="connsiteX227" fmla="*/ 438784 w 1147627"/>
                  <a:gd name="connsiteY227" fmla="*/ 118933 h 897979"/>
                  <a:gd name="connsiteX228" fmla="*/ 427900 w 1147627"/>
                  <a:gd name="connsiteY228" fmla="*/ 123531 h 897979"/>
                  <a:gd name="connsiteX229" fmla="*/ 426720 w 1147627"/>
                  <a:gd name="connsiteY229" fmla="*/ 121385 h 897979"/>
                  <a:gd name="connsiteX230" fmla="*/ 425452 w 1147627"/>
                  <a:gd name="connsiteY230" fmla="*/ 122248 h 897979"/>
                  <a:gd name="connsiteX231" fmla="*/ 399234 w 1147627"/>
                  <a:gd name="connsiteY231" fmla="*/ 94321 h 897979"/>
                  <a:gd name="connsiteX232" fmla="*/ 384863 w 1147627"/>
                  <a:gd name="connsiteY232" fmla="*/ 88123 h 8979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</a:cxnLst>
                <a:rect l="l" t="t" r="r" b="b"/>
                <a:pathLst>
                  <a:path w="1147627" h="897979">
                    <a:moveTo>
                      <a:pt x="384863" y="88123"/>
                    </a:moveTo>
                    <a:cubicBezTo>
                      <a:pt x="383531" y="87425"/>
                      <a:pt x="382897" y="93978"/>
                      <a:pt x="380880" y="97547"/>
                    </a:cubicBezTo>
                    <a:cubicBezTo>
                      <a:pt x="379536" y="98093"/>
                      <a:pt x="378140" y="98753"/>
                      <a:pt x="376745" y="99426"/>
                    </a:cubicBezTo>
                    <a:cubicBezTo>
                      <a:pt x="376047" y="99109"/>
                      <a:pt x="375413" y="98677"/>
                      <a:pt x="374855" y="98131"/>
                    </a:cubicBezTo>
                    <a:cubicBezTo>
                      <a:pt x="378204" y="84123"/>
                      <a:pt x="366382" y="108646"/>
                      <a:pt x="366915" y="97737"/>
                    </a:cubicBezTo>
                    <a:cubicBezTo>
                      <a:pt x="364594" y="94079"/>
                      <a:pt x="367435" y="92949"/>
                      <a:pt x="361346" y="92568"/>
                    </a:cubicBezTo>
                    <a:cubicBezTo>
                      <a:pt x="367650" y="97648"/>
                      <a:pt x="358087" y="92759"/>
                      <a:pt x="360649" y="96912"/>
                    </a:cubicBezTo>
                    <a:cubicBezTo>
                      <a:pt x="364530" y="98359"/>
                      <a:pt x="364390" y="103122"/>
                      <a:pt x="362627" y="106779"/>
                    </a:cubicBezTo>
                    <a:cubicBezTo>
                      <a:pt x="360027" y="107922"/>
                      <a:pt x="357338" y="109027"/>
                      <a:pt x="354903" y="110069"/>
                    </a:cubicBezTo>
                    <a:cubicBezTo>
                      <a:pt x="354002" y="109027"/>
                      <a:pt x="353317" y="107821"/>
                      <a:pt x="352911" y="106513"/>
                    </a:cubicBezTo>
                    <a:cubicBezTo>
                      <a:pt x="351884" y="109726"/>
                      <a:pt x="351453" y="111225"/>
                      <a:pt x="351300" y="111682"/>
                    </a:cubicBezTo>
                    <a:lnTo>
                      <a:pt x="351250" y="111707"/>
                    </a:lnTo>
                    <a:cubicBezTo>
                      <a:pt x="351465" y="110463"/>
                      <a:pt x="353317" y="102005"/>
                      <a:pt x="350032" y="101344"/>
                    </a:cubicBezTo>
                    <a:cubicBezTo>
                      <a:pt x="350096" y="116444"/>
                      <a:pt x="343905" y="105636"/>
                      <a:pt x="336397" y="116901"/>
                    </a:cubicBezTo>
                    <a:cubicBezTo>
                      <a:pt x="343462" y="125919"/>
                      <a:pt x="339834" y="121029"/>
                      <a:pt x="344539" y="127265"/>
                    </a:cubicBezTo>
                    <a:cubicBezTo>
                      <a:pt x="344286" y="127646"/>
                      <a:pt x="344020" y="128001"/>
                      <a:pt x="343728" y="128344"/>
                    </a:cubicBezTo>
                    <a:cubicBezTo>
                      <a:pt x="340709" y="129424"/>
                      <a:pt x="335674" y="120445"/>
                      <a:pt x="337183" y="128725"/>
                    </a:cubicBezTo>
                    <a:cubicBezTo>
                      <a:pt x="332198" y="118552"/>
                      <a:pt x="335496" y="126312"/>
                      <a:pt x="330536" y="127265"/>
                    </a:cubicBezTo>
                    <a:cubicBezTo>
                      <a:pt x="327378" y="126122"/>
                      <a:pt x="328316" y="129449"/>
                      <a:pt x="328622" y="130706"/>
                    </a:cubicBezTo>
                    <a:cubicBezTo>
                      <a:pt x="328583" y="131570"/>
                      <a:pt x="337120" y="126045"/>
                      <a:pt x="332211" y="130414"/>
                    </a:cubicBezTo>
                    <a:cubicBezTo>
                      <a:pt x="325032" y="132662"/>
                      <a:pt x="332286" y="134275"/>
                      <a:pt x="335242" y="132319"/>
                    </a:cubicBezTo>
                    <a:cubicBezTo>
                      <a:pt x="335306" y="132865"/>
                      <a:pt x="335344" y="133272"/>
                      <a:pt x="335382" y="133729"/>
                    </a:cubicBezTo>
                    <a:cubicBezTo>
                      <a:pt x="333949" y="134351"/>
                      <a:pt x="332502" y="134935"/>
                      <a:pt x="331107" y="135558"/>
                    </a:cubicBezTo>
                    <a:cubicBezTo>
                      <a:pt x="327911" y="134110"/>
                      <a:pt x="322850" y="133475"/>
                      <a:pt x="315392" y="139749"/>
                    </a:cubicBezTo>
                    <a:cubicBezTo>
                      <a:pt x="313705" y="161237"/>
                      <a:pt x="324575" y="141997"/>
                      <a:pt x="323548" y="149769"/>
                    </a:cubicBezTo>
                    <a:cubicBezTo>
                      <a:pt x="317168" y="157135"/>
                      <a:pt x="311370" y="160958"/>
                      <a:pt x="320541" y="163485"/>
                    </a:cubicBezTo>
                    <a:lnTo>
                      <a:pt x="315734" y="164006"/>
                    </a:lnTo>
                    <a:cubicBezTo>
                      <a:pt x="307883" y="161745"/>
                      <a:pt x="300893" y="158875"/>
                      <a:pt x="303938" y="164374"/>
                    </a:cubicBezTo>
                    <a:cubicBezTo>
                      <a:pt x="295135" y="167320"/>
                      <a:pt x="302035" y="153198"/>
                      <a:pt x="291482" y="159459"/>
                    </a:cubicBezTo>
                    <a:cubicBezTo>
                      <a:pt x="295199" y="165377"/>
                      <a:pt x="298826" y="165873"/>
                      <a:pt x="290125" y="165263"/>
                    </a:cubicBezTo>
                    <a:cubicBezTo>
                      <a:pt x="301591" y="170508"/>
                      <a:pt x="279686" y="166101"/>
                      <a:pt x="293042" y="169848"/>
                    </a:cubicBezTo>
                    <a:cubicBezTo>
                      <a:pt x="288108" y="170000"/>
                      <a:pt x="299930" y="183970"/>
                      <a:pt x="302187" y="176807"/>
                    </a:cubicBezTo>
                    <a:cubicBezTo>
                      <a:pt x="297837" y="195133"/>
                      <a:pt x="292789" y="173899"/>
                      <a:pt x="292395" y="191654"/>
                    </a:cubicBezTo>
                    <a:lnTo>
                      <a:pt x="280536" y="172108"/>
                    </a:lnTo>
                    <a:cubicBezTo>
                      <a:pt x="279723" y="172451"/>
                      <a:pt x="278976" y="172820"/>
                      <a:pt x="278214" y="173175"/>
                    </a:cubicBezTo>
                    <a:cubicBezTo>
                      <a:pt x="275702" y="164704"/>
                      <a:pt x="274054" y="162456"/>
                      <a:pt x="260963" y="181836"/>
                    </a:cubicBezTo>
                    <a:cubicBezTo>
                      <a:pt x="249485" y="212291"/>
                      <a:pt x="236749" y="258913"/>
                      <a:pt x="199141" y="269899"/>
                    </a:cubicBezTo>
                    <a:cubicBezTo>
                      <a:pt x="196769" y="270470"/>
                      <a:pt x="194372" y="270978"/>
                      <a:pt x="191949" y="271460"/>
                    </a:cubicBezTo>
                    <a:cubicBezTo>
                      <a:pt x="186495" y="272311"/>
                      <a:pt x="180952" y="272489"/>
                      <a:pt x="175460" y="272007"/>
                    </a:cubicBezTo>
                    <a:cubicBezTo>
                      <a:pt x="152996" y="270228"/>
                      <a:pt x="131978" y="300328"/>
                      <a:pt x="107625" y="290676"/>
                    </a:cubicBezTo>
                    <a:cubicBezTo>
                      <a:pt x="76726" y="300073"/>
                      <a:pt x="49493" y="318857"/>
                      <a:pt x="29719" y="344435"/>
                    </a:cubicBezTo>
                    <a:lnTo>
                      <a:pt x="23795" y="339990"/>
                    </a:lnTo>
                    <a:cubicBezTo>
                      <a:pt x="20142" y="301978"/>
                      <a:pt x="11605" y="377734"/>
                      <a:pt x="8016" y="385875"/>
                    </a:cubicBezTo>
                    <a:cubicBezTo>
                      <a:pt x="-11949" y="417358"/>
                      <a:pt x="41908" y="446885"/>
                      <a:pt x="22945" y="470279"/>
                    </a:cubicBezTo>
                    <a:cubicBezTo>
                      <a:pt x="14307" y="464589"/>
                      <a:pt x="21372" y="446085"/>
                      <a:pt x="14713" y="462672"/>
                    </a:cubicBezTo>
                    <a:cubicBezTo>
                      <a:pt x="8625" y="459814"/>
                      <a:pt x="17757" y="450353"/>
                      <a:pt x="6925" y="443647"/>
                    </a:cubicBezTo>
                    <a:cubicBezTo>
                      <a:pt x="-2943" y="443545"/>
                      <a:pt x="20484" y="468539"/>
                      <a:pt x="15233" y="473924"/>
                    </a:cubicBezTo>
                    <a:cubicBezTo>
                      <a:pt x="6101" y="482217"/>
                      <a:pt x="13140" y="464361"/>
                      <a:pt x="8662" y="473975"/>
                    </a:cubicBezTo>
                    <a:cubicBezTo>
                      <a:pt x="5022" y="462583"/>
                      <a:pt x="2371" y="453756"/>
                      <a:pt x="3056" y="468222"/>
                    </a:cubicBezTo>
                    <a:cubicBezTo>
                      <a:pt x="-1002" y="463777"/>
                      <a:pt x="2612" y="448829"/>
                      <a:pt x="-26" y="463561"/>
                    </a:cubicBezTo>
                    <a:cubicBezTo>
                      <a:pt x="32610" y="511732"/>
                      <a:pt x="74392" y="649501"/>
                      <a:pt x="68862" y="690129"/>
                    </a:cubicBezTo>
                    <a:cubicBezTo>
                      <a:pt x="69724" y="709407"/>
                      <a:pt x="43227" y="699108"/>
                      <a:pt x="48554" y="710080"/>
                    </a:cubicBezTo>
                    <a:cubicBezTo>
                      <a:pt x="40855" y="735036"/>
                      <a:pt x="71551" y="724711"/>
                      <a:pt x="76498" y="745983"/>
                    </a:cubicBezTo>
                    <a:cubicBezTo>
                      <a:pt x="91008" y="749184"/>
                      <a:pt x="122706" y="759039"/>
                      <a:pt x="131065" y="754645"/>
                    </a:cubicBezTo>
                    <a:cubicBezTo>
                      <a:pt x="126562" y="751685"/>
                      <a:pt x="136786" y="751698"/>
                      <a:pt x="139627" y="752409"/>
                    </a:cubicBezTo>
                    <a:cubicBezTo>
                      <a:pt x="136849" y="748663"/>
                      <a:pt x="142645" y="748777"/>
                      <a:pt x="145258" y="748422"/>
                    </a:cubicBezTo>
                    <a:cubicBezTo>
                      <a:pt x="145487" y="747660"/>
                      <a:pt x="145753" y="746911"/>
                      <a:pt x="146070" y="746187"/>
                    </a:cubicBezTo>
                    <a:cubicBezTo>
                      <a:pt x="153136" y="742465"/>
                      <a:pt x="159820" y="737893"/>
                      <a:pt x="166644" y="733626"/>
                    </a:cubicBezTo>
                    <a:cubicBezTo>
                      <a:pt x="168687" y="733563"/>
                      <a:pt x="170716" y="733842"/>
                      <a:pt x="172657" y="734452"/>
                    </a:cubicBezTo>
                    <a:cubicBezTo>
                      <a:pt x="172986" y="732458"/>
                      <a:pt x="173734" y="730540"/>
                      <a:pt x="174826" y="728838"/>
                    </a:cubicBezTo>
                    <a:cubicBezTo>
                      <a:pt x="176779" y="727784"/>
                      <a:pt x="178758" y="726756"/>
                      <a:pt x="180775" y="725854"/>
                    </a:cubicBezTo>
                    <a:cubicBezTo>
                      <a:pt x="187611" y="721256"/>
                      <a:pt x="195120" y="717777"/>
                      <a:pt x="203048" y="715516"/>
                    </a:cubicBezTo>
                    <a:cubicBezTo>
                      <a:pt x="215821" y="714551"/>
                      <a:pt x="228657" y="713675"/>
                      <a:pt x="241480" y="713230"/>
                    </a:cubicBezTo>
                    <a:cubicBezTo>
                      <a:pt x="244576" y="713966"/>
                      <a:pt x="247379" y="715643"/>
                      <a:pt x="249497" y="718031"/>
                    </a:cubicBezTo>
                    <a:cubicBezTo>
                      <a:pt x="265581" y="711439"/>
                      <a:pt x="275119" y="716227"/>
                      <a:pt x="289161" y="714386"/>
                    </a:cubicBezTo>
                    <a:cubicBezTo>
                      <a:pt x="289516" y="713928"/>
                      <a:pt x="289922" y="713497"/>
                      <a:pt x="290277" y="713027"/>
                    </a:cubicBezTo>
                    <a:cubicBezTo>
                      <a:pt x="298915" y="711338"/>
                      <a:pt x="305929" y="705038"/>
                      <a:pt x="308529" y="696618"/>
                    </a:cubicBezTo>
                    <a:cubicBezTo>
                      <a:pt x="309087" y="695297"/>
                      <a:pt x="309709" y="693837"/>
                      <a:pt x="310394" y="692364"/>
                    </a:cubicBezTo>
                    <a:cubicBezTo>
                      <a:pt x="316178" y="687576"/>
                      <a:pt x="322292" y="683182"/>
                      <a:pt x="328659" y="679219"/>
                    </a:cubicBezTo>
                    <a:cubicBezTo>
                      <a:pt x="335686" y="675765"/>
                      <a:pt x="342472" y="671663"/>
                      <a:pt x="349411" y="667929"/>
                    </a:cubicBezTo>
                    <a:cubicBezTo>
                      <a:pt x="356082" y="664767"/>
                      <a:pt x="362983" y="661884"/>
                      <a:pt x="370098" y="659293"/>
                    </a:cubicBezTo>
                    <a:cubicBezTo>
                      <a:pt x="377138" y="657413"/>
                      <a:pt x="384483" y="656982"/>
                      <a:pt x="391687" y="658023"/>
                    </a:cubicBezTo>
                    <a:cubicBezTo>
                      <a:pt x="405589" y="657845"/>
                      <a:pt x="419263" y="654467"/>
                      <a:pt x="431642" y="648130"/>
                    </a:cubicBezTo>
                    <a:cubicBezTo>
                      <a:pt x="437566" y="645933"/>
                      <a:pt x="443477" y="643850"/>
                      <a:pt x="449374" y="641970"/>
                    </a:cubicBezTo>
                    <a:cubicBezTo>
                      <a:pt x="478865" y="639024"/>
                      <a:pt x="508623" y="640129"/>
                      <a:pt x="537808" y="645272"/>
                    </a:cubicBezTo>
                    <a:cubicBezTo>
                      <a:pt x="538684" y="645755"/>
                      <a:pt x="539546" y="646174"/>
                      <a:pt x="540422" y="646695"/>
                    </a:cubicBezTo>
                    <a:cubicBezTo>
                      <a:pt x="542870" y="647622"/>
                      <a:pt x="545533" y="647888"/>
                      <a:pt x="548121" y="647457"/>
                    </a:cubicBezTo>
                    <a:cubicBezTo>
                      <a:pt x="564331" y="650733"/>
                      <a:pt x="579705" y="657274"/>
                      <a:pt x="593289" y="666697"/>
                    </a:cubicBezTo>
                    <a:cubicBezTo>
                      <a:pt x="599974" y="679765"/>
                      <a:pt x="590702" y="670850"/>
                      <a:pt x="589446" y="680629"/>
                    </a:cubicBezTo>
                    <a:cubicBezTo>
                      <a:pt x="597437" y="696187"/>
                      <a:pt x="610565" y="680426"/>
                      <a:pt x="611973" y="704696"/>
                    </a:cubicBezTo>
                    <a:cubicBezTo>
                      <a:pt x="621905" y="713573"/>
                      <a:pt x="627587" y="726260"/>
                      <a:pt x="627613" y="739595"/>
                    </a:cubicBezTo>
                    <a:cubicBezTo>
                      <a:pt x="623338" y="736763"/>
                      <a:pt x="622083" y="728546"/>
                      <a:pt x="619178" y="737932"/>
                    </a:cubicBezTo>
                    <a:cubicBezTo>
                      <a:pt x="626154" y="732737"/>
                      <a:pt x="631976" y="751990"/>
                      <a:pt x="635502" y="749006"/>
                    </a:cubicBezTo>
                    <a:cubicBezTo>
                      <a:pt x="638978" y="741932"/>
                      <a:pt x="641882" y="754619"/>
                      <a:pt x="644825" y="751127"/>
                    </a:cubicBezTo>
                    <a:cubicBezTo>
                      <a:pt x="642758" y="748904"/>
                      <a:pt x="641819" y="745856"/>
                      <a:pt x="642288" y="742846"/>
                    </a:cubicBezTo>
                    <a:lnTo>
                      <a:pt x="677437" y="705432"/>
                    </a:lnTo>
                    <a:cubicBezTo>
                      <a:pt x="679973" y="703781"/>
                      <a:pt x="682079" y="701533"/>
                      <a:pt x="683575" y="698905"/>
                    </a:cubicBezTo>
                    <a:lnTo>
                      <a:pt x="699862" y="681569"/>
                    </a:lnTo>
                    <a:cubicBezTo>
                      <a:pt x="700014" y="682407"/>
                      <a:pt x="700167" y="683258"/>
                      <a:pt x="700318" y="684210"/>
                    </a:cubicBezTo>
                    <a:cubicBezTo>
                      <a:pt x="706521" y="691424"/>
                      <a:pt x="691706" y="684312"/>
                      <a:pt x="698645" y="703794"/>
                    </a:cubicBezTo>
                    <a:cubicBezTo>
                      <a:pt x="676028" y="716570"/>
                      <a:pt x="698746" y="757134"/>
                      <a:pt x="673694" y="748371"/>
                    </a:cubicBezTo>
                    <a:cubicBezTo>
                      <a:pt x="672299" y="752041"/>
                      <a:pt x="668240" y="758785"/>
                      <a:pt x="669242" y="762011"/>
                    </a:cubicBezTo>
                    <a:cubicBezTo>
                      <a:pt x="675901" y="763014"/>
                      <a:pt x="682662" y="761071"/>
                      <a:pt x="687761" y="756677"/>
                    </a:cubicBezTo>
                    <a:cubicBezTo>
                      <a:pt x="703781" y="756613"/>
                      <a:pt x="700420" y="738262"/>
                      <a:pt x="706775" y="728813"/>
                    </a:cubicBezTo>
                    <a:cubicBezTo>
                      <a:pt x="707828" y="730731"/>
                      <a:pt x="708754" y="732737"/>
                      <a:pt x="709527" y="734782"/>
                    </a:cubicBezTo>
                    <a:cubicBezTo>
                      <a:pt x="733284" y="752575"/>
                      <a:pt x="686670" y="779524"/>
                      <a:pt x="716630" y="773669"/>
                    </a:cubicBezTo>
                    <a:lnTo>
                      <a:pt x="716630" y="773682"/>
                    </a:lnTo>
                    <a:lnTo>
                      <a:pt x="716656" y="773669"/>
                    </a:lnTo>
                    <a:cubicBezTo>
                      <a:pt x="719966" y="773022"/>
                      <a:pt x="724165" y="771993"/>
                      <a:pt x="729543" y="770494"/>
                    </a:cubicBezTo>
                    <a:cubicBezTo>
                      <a:pt x="728186" y="770761"/>
                      <a:pt x="726777" y="770570"/>
                      <a:pt x="725535" y="769961"/>
                    </a:cubicBezTo>
                    <a:lnTo>
                      <a:pt x="738371" y="764614"/>
                    </a:lnTo>
                    <a:cubicBezTo>
                      <a:pt x="739107" y="765033"/>
                      <a:pt x="739538" y="765846"/>
                      <a:pt x="739475" y="766684"/>
                    </a:cubicBezTo>
                    <a:cubicBezTo>
                      <a:pt x="740679" y="771701"/>
                      <a:pt x="732245" y="765846"/>
                      <a:pt x="739766" y="772895"/>
                    </a:cubicBezTo>
                    <a:cubicBezTo>
                      <a:pt x="736050" y="784210"/>
                      <a:pt x="736862" y="762290"/>
                      <a:pt x="731116" y="771561"/>
                    </a:cubicBezTo>
                    <a:cubicBezTo>
                      <a:pt x="733944" y="774850"/>
                      <a:pt x="736367" y="777543"/>
                      <a:pt x="738422" y="779765"/>
                    </a:cubicBezTo>
                    <a:cubicBezTo>
                      <a:pt x="739437" y="780731"/>
                      <a:pt x="740401" y="781746"/>
                      <a:pt x="741314" y="782813"/>
                    </a:cubicBezTo>
                    <a:lnTo>
                      <a:pt x="741200" y="782712"/>
                    </a:lnTo>
                    <a:lnTo>
                      <a:pt x="741403" y="782928"/>
                    </a:lnTo>
                    <a:cubicBezTo>
                      <a:pt x="758361" y="802968"/>
                      <a:pt x="744751" y="828927"/>
                      <a:pt x="761025" y="842008"/>
                    </a:cubicBezTo>
                    <a:cubicBezTo>
                      <a:pt x="780355" y="867332"/>
                      <a:pt x="800498" y="868843"/>
                      <a:pt x="822975" y="870520"/>
                    </a:cubicBezTo>
                    <a:cubicBezTo>
                      <a:pt x="825638" y="871421"/>
                      <a:pt x="828314" y="872348"/>
                      <a:pt x="831016" y="873263"/>
                    </a:cubicBezTo>
                    <a:cubicBezTo>
                      <a:pt x="845870" y="885328"/>
                      <a:pt x="853975" y="886776"/>
                      <a:pt x="861662" y="883575"/>
                    </a:cubicBezTo>
                    <a:cubicBezTo>
                      <a:pt x="863475" y="884185"/>
                      <a:pt x="865238" y="884782"/>
                      <a:pt x="867065" y="885391"/>
                    </a:cubicBezTo>
                    <a:lnTo>
                      <a:pt x="886167" y="867942"/>
                    </a:lnTo>
                    <a:cubicBezTo>
                      <a:pt x="887829" y="867014"/>
                      <a:pt x="889592" y="866100"/>
                      <a:pt x="891469" y="865223"/>
                    </a:cubicBezTo>
                    <a:cubicBezTo>
                      <a:pt x="890911" y="864944"/>
                      <a:pt x="890429" y="864728"/>
                      <a:pt x="889921" y="864500"/>
                    </a:cubicBezTo>
                    <a:lnTo>
                      <a:pt x="899460" y="855800"/>
                    </a:lnTo>
                    <a:cubicBezTo>
                      <a:pt x="900158" y="856308"/>
                      <a:pt x="900830" y="856740"/>
                      <a:pt x="901528" y="857222"/>
                    </a:cubicBezTo>
                    <a:cubicBezTo>
                      <a:pt x="904610" y="864246"/>
                      <a:pt x="898864" y="874571"/>
                      <a:pt x="890442" y="869008"/>
                    </a:cubicBezTo>
                    <a:cubicBezTo>
                      <a:pt x="902860" y="887957"/>
                      <a:pt x="907718" y="852866"/>
                      <a:pt x="915506" y="871243"/>
                    </a:cubicBezTo>
                    <a:cubicBezTo>
                      <a:pt x="904191" y="875129"/>
                      <a:pt x="933086" y="894192"/>
                      <a:pt x="930688" y="886966"/>
                    </a:cubicBezTo>
                    <a:cubicBezTo>
                      <a:pt x="935648" y="891119"/>
                      <a:pt x="941178" y="904149"/>
                      <a:pt x="940506" y="894497"/>
                    </a:cubicBezTo>
                    <a:cubicBezTo>
                      <a:pt x="940354" y="885569"/>
                      <a:pt x="929306" y="885035"/>
                      <a:pt x="936549" y="883423"/>
                    </a:cubicBezTo>
                    <a:cubicBezTo>
                      <a:pt x="945504" y="886509"/>
                      <a:pt x="955423" y="883474"/>
                      <a:pt x="961143" y="875904"/>
                    </a:cubicBezTo>
                    <a:cubicBezTo>
                      <a:pt x="968538" y="867535"/>
                      <a:pt x="977620" y="860817"/>
                      <a:pt x="987793" y="856207"/>
                    </a:cubicBezTo>
                    <a:cubicBezTo>
                      <a:pt x="998879" y="853501"/>
                      <a:pt x="1010358" y="851977"/>
                      <a:pt x="1019415" y="848967"/>
                    </a:cubicBezTo>
                    <a:cubicBezTo>
                      <a:pt x="1020733" y="848879"/>
                      <a:pt x="1022066" y="848815"/>
                      <a:pt x="1023423" y="848764"/>
                    </a:cubicBezTo>
                    <a:cubicBezTo>
                      <a:pt x="1040014" y="848218"/>
                      <a:pt x="1044174" y="842046"/>
                      <a:pt x="1045531" y="826082"/>
                    </a:cubicBezTo>
                    <a:cubicBezTo>
                      <a:pt x="1046127" y="819199"/>
                      <a:pt x="1047357" y="812379"/>
                      <a:pt x="1048119" y="805508"/>
                    </a:cubicBezTo>
                    <a:cubicBezTo>
                      <a:pt x="1050707" y="787855"/>
                      <a:pt x="1056110" y="770735"/>
                      <a:pt x="1064088" y="754784"/>
                    </a:cubicBezTo>
                    <a:cubicBezTo>
                      <a:pt x="1064177" y="755076"/>
                      <a:pt x="1064291" y="755369"/>
                      <a:pt x="1064430" y="755661"/>
                    </a:cubicBezTo>
                    <a:cubicBezTo>
                      <a:pt x="1064380" y="755280"/>
                      <a:pt x="1064317" y="754899"/>
                      <a:pt x="1064202" y="754530"/>
                    </a:cubicBezTo>
                    <a:cubicBezTo>
                      <a:pt x="1069707" y="742389"/>
                      <a:pt x="1075568" y="730375"/>
                      <a:pt x="1080134" y="717903"/>
                    </a:cubicBezTo>
                    <a:cubicBezTo>
                      <a:pt x="1085030" y="703172"/>
                      <a:pt x="1092882" y="689608"/>
                      <a:pt x="1103194" y="678026"/>
                    </a:cubicBezTo>
                    <a:cubicBezTo>
                      <a:pt x="1119404" y="660042"/>
                      <a:pt x="1129881" y="637627"/>
                      <a:pt x="1133281" y="613649"/>
                    </a:cubicBezTo>
                    <a:cubicBezTo>
                      <a:pt x="1135602" y="594701"/>
                      <a:pt x="1139331" y="575930"/>
                      <a:pt x="1144404" y="557515"/>
                    </a:cubicBezTo>
                    <a:cubicBezTo>
                      <a:pt x="1149339" y="541729"/>
                      <a:pt x="1148540" y="524711"/>
                      <a:pt x="1142160" y="509458"/>
                    </a:cubicBezTo>
                    <a:cubicBezTo>
                      <a:pt x="1138342" y="500048"/>
                      <a:pt x="1136147" y="490040"/>
                      <a:pt x="1135691" y="479893"/>
                    </a:cubicBezTo>
                    <a:cubicBezTo>
                      <a:pt x="1137644" y="442136"/>
                      <a:pt x="1117388" y="416418"/>
                      <a:pt x="1090661" y="394828"/>
                    </a:cubicBezTo>
                    <a:cubicBezTo>
                      <a:pt x="1076405" y="383297"/>
                      <a:pt x="1064976" y="371930"/>
                      <a:pt x="1068794" y="350772"/>
                    </a:cubicBezTo>
                    <a:lnTo>
                      <a:pt x="1061856" y="348931"/>
                    </a:lnTo>
                    <a:cubicBezTo>
                      <a:pt x="1061437" y="346987"/>
                      <a:pt x="1060587" y="345171"/>
                      <a:pt x="1059357" y="343622"/>
                    </a:cubicBezTo>
                    <a:cubicBezTo>
                      <a:pt x="1058583" y="345070"/>
                      <a:pt x="1057569" y="346365"/>
                      <a:pt x="1056338" y="347457"/>
                    </a:cubicBezTo>
                    <a:lnTo>
                      <a:pt x="1049894" y="345743"/>
                    </a:lnTo>
                    <a:cubicBezTo>
                      <a:pt x="1047371" y="342949"/>
                      <a:pt x="1045087" y="339964"/>
                      <a:pt x="1043045" y="336815"/>
                    </a:cubicBezTo>
                    <a:cubicBezTo>
                      <a:pt x="1040470" y="337577"/>
                      <a:pt x="1038999" y="340282"/>
                      <a:pt x="1039760" y="342860"/>
                    </a:cubicBezTo>
                    <a:cubicBezTo>
                      <a:pt x="1039773" y="342936"/>
                      <a:pt x="1039798" y="343000"/>
                      <a:pt x="1039823" y="343063"/>
                    </a:cubicBezTo>
                    <a:lnTo>
                      <a:pt x="1036437" y="342161"/>
                    </a:lnTo>
                    <a:cubicBezTo>
                      <a:pt x="1034915" y="334998"/>
                      <a:pt x="1032759" y="327988"/>
                      <a:pt x="1029993" y="321206"/>
                    </a:cubicBezTo>
                    <a:cubicBezTo>
                      <a:pt x="1023955" y="305763"/>
                      <a:pt x="1015698" y="291285"/>
                      <a:pt x="1005462" y="278229"/>
                    </a:cubicBezTo>
                    <a:cubicBezTo>
                      <a:pt x="1003978" y="276668"/>
                      <a:pt x="1002392" y="275182"/>
                      <a:pt x="1000743" y="273746"/>
                    </a:cubicBezTo>
                    <a:lnTo>
                      <a:pt x="1000680" y="273594"/>
                    </a:lnTo>
                    <a:lnTo>
                      <a:pt x="1000578" y="273620"/>
                    </a:lnTo>
                    <a:cubicBezTo>
                      <a:pt x="991725" y="266190"/>
                      <a:pt x="981742" y="260221"/>
                      <a:pt x="971025" y="255916"/>
                    </a:cubicBezTo>
                    <a:cubicBezTo>
                      <a:pt x="970390" y="254125"/>
                      <a:pt x="969249" y="252563"/>
                      <a:pt x="967752" y="251420"/>
                    </a:cubicBezTo>
                    <a:cubicBezTo>
                      <a:pt x="968691" y="253007"/>
                      <a:pt x="968373" y="253985"/>
                      <a:pt x="967384" y="254468"/>
                    </a:cubicBezTo>
                    <a:cubicBezTo>
                      <a:pt x="966356" y="254074"/>
                      <a:pt x="965329" y="253655"/>
                      <a:pt x="964302" y="253287"/>
                    </a:cubicBezTo>
                    <a:cubicBezTo>
                      <a:pt x="961930" y="252436"/>
                      <a:pt x="959621" y="251407"/>
                      <a:pt x="957401" y="250213"/>
                    </a:cubicBezTo>
                    <a:cubicBezTo>
                      <a:pt x="956996" y="249324"/>
                      <a:pt x="956894" y="248321"/>
                      <a:pt x="957123" y="247369"/>
                    </a:cubicBezTo>
                    <a:cubicBezTo>
                      <a:pt x="956146" y="247724"/>
                      <a:pt x="955156" y="248029"/>
                      <a:pt x="954141" y="248258"/>
                    </a:cubicBezTo>
                    <a:cubicBezTo>
                      <a:pt x="942231" y="238847"/>
                      <a:pt x="935255" y="224509"/>
                      <a:pt x="935217" y="209319"/>
                    </a:cubicBezTo>
                    <a:cubicBezTo>
                      <a:pt x="933302" y="199286"/>
                      <a:pt x="930485" y="189444"/>
                      <a:pt x="926782" y="179932"/>
                    </a:cubicBezTo>
                    <a:cubicBezTo>
                      <a:pt x="922013" y="169988"/>
                      <a:pt x="918397" y="159536"/>
                      <a:pt x="916026" y="148766"/>
                    </a:cubicBezTo>
                    <a:cubicBezTo>
                      <a:pt x="916076" y="130033"/>
                      <a:pt x="905688" y="112825"/>
                      <a:pt x="889097" y="104151"/>
                    </a:cubicBezTo>
                    <a:lnTo>
                      <a:pt x="887829" y="104468"/>
                    </a:lnTo>
                    <a:cubicBezTo>
                      <a:pt x="887080" y="102995"/>
                      <a:pt x="886446" y="101458"/>
                      <a:pt x="885951" y="99871"/>
                    </a:cubicBezTo>
                    <a:cubicBezTo>
                      <a:pt x="878443" y="107059"/>
                      <a:pt x="873064" y="108837"/>
                      <a:pt x="869132" y="107250"/>
                    </a:cubicBezTo>
                    <a:cubicBezTo>
                      <a:pt x="864363" y="70699"/>
                      <a:pt x="851704" y="35634"/>
                      <a:pt x="832044" y="4468"/>
                    </a:cubicBezTo>
                    <a:lnTo>
                      <a:pt x="831853" y="4926"/>
                    </a:lnTo>
                    <a:cubicBezTo>
                      <a:pt x="829824" y="3275"/>
                      <a:pt x="826577" y="8799"/>
                      <a:pt x="832069" y="811"/>
                    </a:cubicBezTo>
                    <a:cubicBezTo>
                      <a:pt x="816226" y="-7165"/>
                      <a:pt x="815389" y="46683"/>
                      <a:pt x="812167" y="35609"/>
                    </a:cubicBezTo>
                    <a:cubicBezTo>
                      <a:pt x="804265" y="47204"/>
                      <a:pt x="799547" y="52042"/>
                      <a:pt x="811762" y="53833"/>
                    </a:cubicBezTo>
                    <a:cubicBezTo>
                      <a:pt x="816024" y="51725"/>
                      <a:pt x="805825" y="57491"/>
                      <a:pt x="813487" y="57605"/>
                    </a:cubicBezTo>
                    <a:cubicBezTo>
                      <a:pt x="813322" y="58278"/>
                      <a:pt x="813144" y="58951"/>
                      <a:pt x="812979" y="59637"/>
                    </a:cubicBezTo>
                    <a:cubicBezTo>
                      <a:pt x="812713" y="59967"/>
                      <a:pt x="812459" y="60310"/>
                      <a:pt x="812218" y="60678"/>
                    </a:cubicBezTo>
                    <a:cubicBezTo>
                      <a:pt x="812244" y="59878"/>
                      <a:pt x="811800" y="58596"/>
                      <a:pt x="809618" y="57199"/>
                    </a:cubicBezTo>
                    <a:cubicBezTo>
                      <a:pt x="795133" y="75296"/>
                      <a:pt x="804506" y="107872"/>
                      <a:pt x="803390" y="129944"/>
                    </a:cubicBezTo>
                    <a:cubicBezTo>
                      <a:pt x="798913" y="154201"/>
                      <a:pt x="786862" y="195248"/>
                      <a:pt x="767760" y="203033"/>
                    </a:cubicBezTo>
                    <a:cubicBezTo>
                      <a:pt x="765046" y="202766"/>
                      <a:pt x="762395" y="202080"/>
                      <a:pt x="759884" y="201001"/>
                    </a:cubicBezTo>
                    <a:cubicBezTo>
                      <a:pt x="752285" y="196975"/>
                      <a:pt x="745132" y="192162"/>
                      <a:pt x="738510" y="186663"/>
                    </a:cubicBezTo>
                    <a:cubicBezTo>
                      <a:pt x="734617" y="183462"/>
                      <a:pt x="730545" y="180478"/>
                      <a:pt x="726321" y="177709"/>
                    </a:cubicBezTo>
                    <a:cubicBezTo>
                      <a:pt x="705265" y="166177"/>
                      <a:pt x="683588" y="155738"/>
                      <a:pt x="663078" y="143330"/>
                    </a:cubicBezTo>
                    <a:cubicBezTo>
                      <a:pt x="655506" y="138453"/>
                      <a:pt x="648402" y="132878"/>
                      <a:pt x="641870" y="126681"/>
                    </a:cubicBezTo>
                    <a:cubicBezTo>
                      <a:pt x="639510" y="123467"/>
                      <a:pt x="637608" y="119937"/>
                      <a:pt x="636200" y="116203"/>
                    </a:cubicBezTo>
                    <a:cubicBezTo>
                      <a:pt x="638749" y="104125"/>
                      <a:pt x="642466" y="92327"/>
                      <a:pt x="647286" y="80973"/>
                    </a:cubicBezTo>
                    <a:cubicBezTo>
                      <a:pt x="649379" y="77023"/>
                      <a:pt x="651776" y="73239"/>
                      <a:pt x="654453" y="69657"/>
                    </a:cubicBezTo>
                    <a:cubicBezTo>
                      <a:pt x="652905" y="80770"/>
                      <a:pt x="661125" y="69645"/>
                      <a:pt x="659894" y="62571"/>
                    </a:cubicBezTo>
                    <a:cubicBezTo>
                      <a:pt x="663446" y="58126"/>
                      <a:pt x="667086" y="53719"/>
                      <a:pt x="670409" y="49122"/>
                    </a:cubicBezTo>
                    <a:cubicBezTo>
                      <a:pt x="670688" y="48728"/>
                      <a:pt x="670422" y="47902"/>
                      <a:pt x="669915" y="46683"/>
                    </a:cubicBezTo>
                    <a:cubicBezTo>
                      <a:pt x="669965" y="45591"/>
                      <a:pt x="669534" y="44524"/>
                      <a:pt x="668735" y="43788"/>
                    </a:cubicBezTo>
                    <a:cubicBezTo>
                      <a:pt x="668532" y="43267"/>
                      <a:pt x="668329" y="42784"/>
                      <a:pt x="668126" y="42200"/>
                    </a:cubicBezTo>
                    <a:cubicBezTo>
                      <a:pt x="667200" y="42810"/>
                      <a:pt x="666223" y="43330"/>
                      <a:pt x="665208" y="43750"/>
                    </a:cubicBezTo>
                    <a:cubicBezTo>
                      <a:pt x="656558" y="44765"/>
                      <a:pt x="663966" y="28599"/>
                      <a:pt x="653996" y="38377"/>
                    </a:cubicBezTo>
                    <a:cubicBezTo>
                      <a:pt x="645764" y="42670"/>
                      <a:pt x="653907" y="42314"/>
                      <a:pt x="654656" y="44778"/>
                    </a:cubicBezTo>
                    <a:cubicBezTo>
                      <a:pt x="651269" y="44270"/>
                      <a:pt x="647920" y="43241"/>
                      <a:pt x="644648" y="42517"/>
                    </a:cubicBezTo>
                    <a:cubicBezTo>
                      <a:pt x="645231" y="39939"/>
                      <a:pt x="645814" y="38339"/>
                      <a:pt x="642605" y="41171"/>
                    </a:cubicBezTo>
                    <a:cubicBezTo>
                      <a:pt x="642276" y="41476"/>
                      <a:pt x="641958" y="41718"/>
                      <a:pt x="641642" y="41971"/>
                    </a:cubicBezTo>
                    <a:cubicBezTo>
                      <a:pt x="640538" y="41806"/>
                      <a:pt x="639434" y="41730"/>
                      <a:pt x="638331" y="41743"/>
                    </a:cubicBezTo>
                    <a:cubicBezTo>
                      <a:pt x="637367" y="41755"/>
                      <a:pt x="636428" y="41730"/>
                      <a:pt x="635477" y="41718"/>
                    </a:cubicBezTo>
                    <a:cubicBezTo>
                      <a:pt x="636911" y="39038"/>
                      <a:pt x="639257" y="36955"/>
                      <a:pt x="642073" y="35837"/>
                    </a:cubicBezTo>
                    <a:cubicBezTo>
                      <a:pt x="629148" y="39571"/>
                      <a:pt x="652385" y="27773"/>
                      <a:pt x="633118" y="35685"/>
                    </a:cubicBezTo>
                    <a:cubicBezTo>
                      <a:pt x="637836" y="41159"/>
                      <a:pt x="629604" y="38771"/>
                      <a:pt x="624467" y="41070"/>
                    </a:cubicBezTo>
                    <a:cubicBezTo>
                      <a:pt x="601914" y="37184"/>
                      <a:pt x="579844" y="30884"/>
                      <a:pt x="558636" y="22261"/>
                    </a:cubicBezTo>
                    <a:lnTo>
                      <a:pt x="558370" y="22998"/>
                    </a:lnTo>
                    <a:cubicBezTo>
                      <a:pt x="550746" y="19899"/>
                      <a:pt x="543389" y="16203"/>
                      <a:pt x="536337" y="11949"/>
                    </a:cubicBezTo>
                    <a:cubicBezTo>
                      <a:pt x="535995" y="14603"/>
                      <a:pt x="537390" y="26808"/>
                      <a:pt x="534257" y="14133"/>
                    </a:cubicBezTo>
                    <a:cubicBezTo>
                      <a:pt x="505527" y="18222"/>
                      <a:pt x="564724" y="17575"/>
                      <a:pt x="546079" y="43140"/>
                    </a:cubicBezTo>
                    <a:cubicBezTo>
                      <a:pt x="544531" y="43699"/>
                      <a:pt x="542920" y="44080"/>
                      <a:pt x="541271" y="44270"/>
                    </a:cubicBezTo>
                    <a:cubicBezTo>
                      <a:pt x="539064" y="41375"/>
                      <a:pt x="532304" y="43660"/>
                      <a:pt x="525708" y="45020"/>
                    </a:cubicBezTo>
                    <a:cubicBezTo>
                      <a:pt x="524617" y="45070"/>
                      <a:pt x="523539" y="45032"/>
                      <a:pt x="522461" y="44893"/>
                    </a:cubicBezTo>
                    <a:cubicBezTo>
                      <a:pt x="519848" y="44499"/>
                      <a:pt x="517184" y="44461"/>
                      <a:pt x="514546" y="44778"/>
                    </a:cubicBezTo>
                    <a:cubicBezTo>
                      <a:pt x="512301" y="43356"/>
                      <a:pt x="510969" y="40854"/>
                      <a:pt x="511045" y="38200"/>
                    </a:cubicBezTo>
                    <a:cubicBezTo>
                      <a:pt x="508838" y="48690"/>
                      <a:pt x="507341" y="37996"/>
                      <a:pt x="502534" y="42454"/>
                    </a:cubicBezTo>
                    <a:cubicBezTo>
                      <a:pt x="507265" y="50772"/>
                      <a:pt x="497828" y="43851"/>
                      <a:pt x="497676" y="49858"/>
                    </a:cubicBezTo>
                    <a:cubicBezTo>
                      <a:pt x="498412" y="49972"/>
                      <a:pt x="499109" y="50201"/>
                      <a:pt x="499769" y="50531"/>
                    </a:cubicBezTo>
                    <a:cubicBezTo>
                      <a:pt x="498982" y="51090"/>
                      <a:pt x="498209" y="51674"/>
                      <a:pt x="497486" y="52297"/>
                    </a:cubicBezTo>
                    <a:cubicBezTo>
                      <a:pt x="493211" y="49934"/>
                      <a:pt x="486425" y="46150"/>
                      <a:pt x="493401" y="56373"/>
                    </a:cubicBezTo>
                    <a:cubicBezTo>
                      <a:pt x="493186" y="56627"/>
                      <a:pt x="492970" y="56881"/>
                      <a:pt x="492767" y="57148"/>
                    </a:cubicBezTo>
                    <a:cubicBezTo>
                      <a:pt x="488176" y="56907"/>
                      <a:pt x="489952" y="53173"/>
                      <a:pt x="484332" y="56348"/>
                    </a:cubicBezTo>
                    <a:cubicBezTo>
                      <a:pt x="484840" y="70127"/>
                      <a:pt x="469948" y="59561"/>
                      <a:pt x="482036" y="75068"/>
                    </a:cubicBezTo>
                    <a:cubicBezTo>
                      <a:pt x="458989" y="87590"/>
                      <a:pt x="452394" y="114565"/>
                      <a:pt x="470824" y="117232"/>
                    </a:cubicBezTo>
                    <a:lnTo>
                      <a:pt x="471192" y="118184"/>
                    </a:lnTo>
                    <a:cubicBezTo>
                      <a:pt x="468236" y="118972"/>
                      <a:pt x="463783" y="120445"/>
                      <a:pt x="463276" y="123125"/>
                    </a:cubicBezTo>
                    <a:cubicBezTo>
                      <a:pt x="461120" y="122413"/>
                      <a:pt x="459116" y="121778"/>
                      <a:pt x="457226" y="121245"/>
                    </a:cubicBezTo>
                    <a:cubicBezTo>
                      <a:pt x="456934" y="121118"/>
                      <a:pt x="456642" y="121029"/>
                      <a:pt x="456326" y="120991"/>
                    </a:cubicBezTo>
                    <a:cubicBezTo>
                      <a:pt x="453193" y="120000"/>
                      <a:pt x="449907" y="119556"/>
                      <a:pt x="446622" y="119670"/>
                    </a:cubicBezTo>
                    <a:cubicBezTo>
                      <a:pt x="446165" y="119708"/>
                      <a:pt x="445709" y="119810"/>
                      <a:pt x="445252" y="119886"/>
                    </a:cubicBezTo>
                    <a:cubicBezTo>
                      <a:pt x="443172" y="119200"/>
                      <a:pt x="440978" y="118883"/>
                      <a:pt x="438784" y="118933"/>
                    </a:cubicBezTo>
                    <a:cubicBezTo>
                      <a:pt x="423511" y="110539"/>
                      <a:pt x="433799" y="128890"/>
                      <a:pt x="427900" y="123531"/>
                    </a:cubicBezTo>
                    <a:cubicBezTo>
                      <a:pt x="427723" y="127620"/>
                      <a:pt x="426936" y="122820"/>
                      <a:pt x="426720" y="121385"/>
                    </a:cubicBezTo>
                    <a:cubicBezTo>
                      <a:pt x="426277" y="121639"/>
                      <a:pt x="425846" y="121918"/>
                      <a:pt x="425452" y="122248"/>
                    </a:cubicBezTo>
                    <a:cubicBezTo>
                      <a:pt x="422065" y="105192"/>
                      <a:pt x="412565" y="95400"/>
                      <a:pt x="399234" y="94321"/>
                    </a:cubicBezTo>
                    <a:cubicBezTo>
                      <a:pt x="393704" y="91489"/>
                      <a:pt x="388313" y="89520"/>
                      <a:pt x="384863" y="88123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44" name="Vrije vorm 543">
                <a:extLst>
                  <a:ext uri="{FF2B5EF4-FFF2-40B4-BE49-F238E27FC236}">
                    <a16:creationId xmlns:a16="http://schemas.microsoft.com/office/drawing/2014/main" id="{53F0AFD8-7959-E948-B38D-FC7FD2788AD0}"/>
                  </a:ext>
                </a:extLst>
              </p:cNvPr>
              <p:cNvSpPr/>
              <p:nvPr/>
            </p:nvSpPr>
            <p:spPr>
              <a:xfrm>
                <a:off x="9593528" y="5659062"/>
                <a:ext cx="108339" cy="108985"/>
              </a:xfrm>
              <a:custGeom>
                <a:avLst/>
                <a:gdLst>
                  <a:gd name="connsiteX0" fmla="*/ 98127 w 108339"/>
                  <a:gd name="connsiteY0" fmla="*/ 71914 h 108985"/>
                  <a:gd name="connsiteX1" fmla="*/ 104786 w 108339"/>
                  <a:gd name="connsiteY1" fmla="*/ 2788 h 108985"/>
                  <a:gd name="connsiteX2" fmla="*/ 100130 w 108339"/>
                  <a:gd name="connsiteY2" fmla="*/ 3779 h 108985"/>
                  <a:gd name="connsiteX3" fmla="*/ 87789 w 108339"/>
                  <a:gd name="connsiteY3" fmla="*/ 3093 h 108985"/>
                  <a:gd name="connsiteX4" fmla="*/ 63804 w 108339"/>
                  <a:gd name="connsiteY4" fmla="*/ 13380 h 108985"/>
                  <a:gd name="connsiteX5" fmla="*/ 63854 w 108339"/>
                  <a:gd name="connsiteY5" fmla="*/ 13583 h 108985"/>
                  <a:gd name="connsiteX6" fmla="*/ 62332 w 108339"/>
                  <a:gd name="connsiteY6" fmla="*/ 13812 h 108985"/>
                  <a:gd name="connsiteX7" fmla="*/ 54911 w 108339"/>
                  <a:gd name="connsiteY7" fmla="*/ 14244 h 108985"/>
                  <a:gd name="connsiteX8" fmla="*/ 50371 w 108339"/>
                  <a:gd name="connsiteY8" fmla="*/ 13786 h 108985"/>
                  <a:gd name="connsiteX9" fmla="*/ 34693 w 108339"/>
                  <a:gd name="connsiteY9" fmla="*/ 8325 h 108985"/>
                  <a:gd name="connsiteX10" fmla="*/ 32575 w 108339"/>
                  <a:gd name="connsiteY10" fmla="*/ 7220 h 108985"/>
                  <a:gd name="connsiteX11" fmla="*/ 9211 w 108339"/>
                  <a:gd name="connsiteY11" fmla="*/ 350 h 108985"/>
                  <a:gd name="connsiteX12" fmla="*/ 8957 w 108339"/>
                  <a:gd name="connsiteY12" fmla="*/ 274 h 108985"/>
                  <a:gd name="connsiteX13" fmla="*/ 8957 w 108339"/>
                  <a:gd name="connsiteY13" fmla="*/ 299 h 108985"/>
                  <a:gd name="connsiteX14" fmla="*/ 16187 w 108339"/>
                  <a:gd name="connsiteY14" fmla="*/ 53703 h 108985"/>
                  <a:gd name="connsiteX15" fmla="*/ 19143 w 108339"/>
                  <a:gd name="connsiteY15" fmla="*/ 51645 h 108985"/>
                  <a:gd name="connsiteX16" fmla="*/ 23366 w 108339"/>
                  <a:gd name="connsiteY16" fmla="*/ 62110 h 108985"/>
                  <a:gd name="connsiteX17" fmla="*/ 16592 w 108339"/>
                  <a:gd name="connsiteY17" fmla="*/ 62631 h 108985"/>
                  <a:gd name="connsiteX18" fmla="*/ 39729 w 108339"/>
                  <a:gd name="connsiteY18" fmla="*/ 95663 h 108985"/>
                  <a:gd name="connsiteX19" fmla="*/ 42532 w 108339"/>
                  <a:gd name="connsiteY19" fmla="*/ 95536 h 108985"/>
                  <a:gd name="connsiteX20" fmla="*/ 41086 w 108339"/>
                  <a:gd name="connsiteY20" fmla="*/ 105849 h 108985"/>
                  <a:gd name="connsiteX21" fmla="*/ 53783 w 108339"/>
                  <a:gd name="connsiteY21" fmla="*/ 102851 h 108985"/>
                  <a:gd name="connsiteX22" fmla="*/ 63397 w 108339"/>
                  <a:gd name="connsiteY22" fmla="*/ 106776 h 108985"/>
                  <a:gd name="connsiteX23" fmla="*/ 65376 w 108339"/>
                  <a:gd name="connsiteY23" fmla="*/ 107970 h 108985"/>
                  <a:gd name="connsiteX24" fmla="*/ 86546 w 108339"/>
                  <a:gd name="connsiteY24" fmla="*/ 80093 h 108985"/>
                  <a:gd name="connsiteX25" fmla="*/ 92203 w 108339"/>
                  <a:gd name="connsiteY25" fmla="*/ 85338 h 108985"/>
                  <a:gd name="connsiteX26" fmla="*/ 85658 w 108339"/>
                  <a:gd name="connsiteY26" fmla="*/ 82265 h 108985"/>
                  <a:gd name="connsiteX27" fmla="*/ 87624 w 108339"/>
                  <a:gd name="connsiteY27" fmla="*/ 88716 h 108985"/>
                  <a:gd name="connsiteX28" fmla="*/ 90174 w 108339"/>
                  <a:gd name="connsiteY28" fmla="*/ 92437 h 108985"/>
                  <a:gd name="connsiteX29" fmla="*/ 94740 w 108339"/>
                  <a:gd name="connsiteY29" fmla="*/ 93555 h 108985"/>
                  <a:gd name="connsiteX30" fmla="*/ 92838 w 108339"/>
                  <a:gd name="connsiteY30" fmla="*/ 78099 h 108985"/>
                  <a:gd name="connsiteX31" fmla="*/ 94384 w 108339"/>
                  <a:gd name="connsiteY31" fmla="*/ 77858 h 108985"/>
                  <a:gd name="connsiteX32" fmla="*/ 98127 w 108339"/>
                  <a:gd name="connsiteY32" fmla="*/ 71914 h 1089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108339" h="108985">
                    <a:moveTo>
                      <a:pt x="98127" y="71914"/>
                    </a:moveTo>
                    <a:cubicBezTo>
                      <a:pt x="102794" y="50274"/>
                      <a:pt x="113994" y="29395"/>
                      <a:pt x="104786" y="2788"/>
                    </a:cubicBezTo>
                    <a:cubicBezTo>
                      <a:pt x="103226" y="3156"/>
                      <a:pt x="101666" y="3474"/>
                      <a:pt x="100130" y="3779"/>
                    </a:cubicBezTo>
                    <a:cubicBezTo>
                      <a:pt x="97556" y="401"/>
                      <a:pt x="93649" y="-412"/>
                      <a:pt x="87789" y="3093"/>
                    </a:cubicBezTo>
                    <a:cubicBezTo>
                      <a:pt x="85290" y="4858"/>
                      <a:pt x="53745" y="9418"/>
                      <a:pt x="63804" y="13380"/>
                    </a:cubicBezTo>
                    <a:lnTo>
                      <a:pt x="63854" y="13583"/>
                    </a:lnTo>
                    <a:cubicBezTo>
                      <a:pt x="63347" y="13672"/>
                      <a:pt x="62839" y="13736"/>
                      <a:pt x="62332" y="13812"/>
                    </a:cubicBezTo>
                    <a:cubicBezTo>
                      <a:pt x="60100" y="12440"/>
                      <a:pt x="56218" y="9773"/>
                      <a:pt x="54911" y="14244"/>
                    </a:cubicBezTo>
                    <a:cubicBezTo>
                      <a:pt x="53389" y="14180"/>
                      <a:pt x="51867" y="14028"/>
                      <a:pt x="50371" y="13786"/>
                    </a:cubicBezTo>
                    <a:cubicBezTo>
                      <a:pt x="44625" y="11831"/>
                      <a:pt x="39386" y="9989"/>
                      <a:pt x="34693" y="8325"/>
                    </a:cubicBezTo>
                    <a:cubicBezTo>
                      <a:pt x="33983" y="7944"/>
                      <a:pt x="33285" y="7639"/>
                      <a:pt x="32575" y="7220"/>
                    </a:cubicBezTo>
                    <a:cubicBezTo>
                      <a:pt x="24951" y="4401"/>
                      <a:pt x="17151" y="2103"/>
                      <a:pt x="9211" y="350"/>
                    </a:cubicBezTo>
                    <a:lnTo>
                      <a:pt x="8957" y="274"/>
                    </a:lnTo>
                    <a:lnTo>
                      <a:pt x="8957" y="299"/>
                    </a:lnTo>
                    <a:cubicBezTo>
                      <a:pt x="-5808" y="-2114"/>
                      <a:pt x="-1660" y="9646"/>
                      <a:pt x="16187" y="53703"/>
                    </a:cubicBezTo>
                    <a:cubicBezTo>
                      <a:pt x="18382" y="56497"/>
                      <a:pt x="16961" y="51937"/>
                      <a:pt x="19143" y="51645"/>
                    </a:cubicBezTo>
                    <a:cubicBezTo>
                      <a:pt x="19143" y="57893"/>
                      <a:pt x="28960" y="60281"/>
                      <a:pt x="23366" y="62110"/>
                    </a:cubicBezTo>
                    <a:cubicBezTo>
                      <a:pt x="25307" y="69616"/>
                      <a:pt x="11341" y="44584"/>
                      <a:pt x="16592" y="62631"/>
                    </a:cubicBezTo>
                    <a:cubicBezTo>
                      <a:pt x="18648" y="78175"/>
                      <a:pt x="35543" y="99702"/>
                      <a:pt x="39729" y="95663"/>
                    </a:cubicBezTo>
                    <a:cubicBezTo>
                      <a:pt x="40971" y="96629"/>
                      <a:pt x="41301" y="98952"/>
                      <a:pt x="42532" y="95536"/>
                    </a:cubicBezTo>
                    <a:cubicBezTo>
                      <a:pt x="50776" y="103182"/>
                      <a:pt x="27945" y="93492"/>
                      <a:pt x="41086" y="105849"/>
                    </a:cubicBezTo>
                    <a:cubicBezTo>
                      <a:pt x="41923" y="100375"/>
                      <a:pt x="52666" y="109849"/>
                      <a:pt x="53783" y="102851"/>
                    </a:cubicBezTo>
                    <a:cubicBezTo>
                      <a:pt x="58095" y="111094"/>
                      <a:pt x="60772" y="109532"/>
                      <a:pt x="63397" y="106776"/>
                    </a:cubicBezTo>
                    <a:cubicBezTo>
                      <a:pt x="64057" y="107169"/>
                      <a:pt x="64729" y="107563"/>
                      <a:pt x="65376" y="107970"/>
                    </a:cubicBezTo>
                    <a:cubicBezTo>
                      <a:pt x="73976" y="98381"/>
                      <a:pt x="76462" y="85351"/>
                      <a:pt x="86546" y="80093"/>
                    </a:cubicBezTo>
                    <a:cubicBezTo>
                      <a:pt x="87891" y="81249"/>
                      <a:pt x="89705" y="82951"/>
                      <a:pt x="92203" y="85338"/>
                    </a:cubicBezTo>
                    <a:cubicBezTo>
                      <a:pt x="87434" y="89859"/>
                      <a:pt x="88018" y="82328"/>
                      <a:pt x="85658" y="82265"/>
                    </a:cubicBezTo>
                    <a:cubicBezTo>
                      <a:pt x="85354" y="85059"/>
                      <a:pt x="82157" y="87421"/>
                      <a:pt x="87624" y="88716"/>
                    </a:cubicBezTo>
                    <a:cubicBezTo>
                      <a:pt x="84288" y="89898"/>
                      <a:pt x="89121" y="95892"/>
                      <a:pt x="90174" y="92437"/>
                    </a:cubicBezTo>
                    <a:cubicBezTo>
                      <a:pt x="91823" y="87142"/>
                      <a:pt x="90732" y="92615"/>
                      <a:pt x="94740" y="93555"/>
                    </a:cubicBezTo>
                    <a:cubicBezTo>
                      <a:pt x="93852" y="85859"/>
                      <a:pt x="93091" y="81808"/>
                      <a:pt x="92838" y="78099"/>
                    </a:cubicBezTo>
                    <a:cubicBezTo>
                      <a:pt x="93357" y="78023"/>
                      <a:pt x="93839" y="77909"/>
                      <a:pt x="94384" y="77858"/>
                    </a:cubicBezTo>
                    <a:cubicBezTo>
                      <a:pt x="95844" y="77718"/>
                      <a:pt x="97645" y="74137"/>
                      <a:pt x="98127" y="71914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353" name="Vrije vorm 352">
              <a:extLst>
                <a:ext uri="{FF2B5EF4-FFF2-40B4-BE49-F238E27FC236}">
                  <a16:creationId xmlns:a16="http://schemas.microsoft.com/office/drawing/2014/main" id="{7BE51A14-2627-A14E-95C5-FB7D14FEE23A}"/>
                </a:ext>
              </a:extLst>
            </p:cNvPr>
            <p:cNvSpPr/>
            <p:nvPr/>
          </p:nvSpPr>
          <p:spPr>
            <a:xfrm>
              <a:off x="3380475" y="3822412"/>
              <a:ext cx="78191" cy="51163"/>
            </a:xfrm>
            <a:custGeom>
              <a:avLst/>
              <a:gdLst>
                <a:gd name="connsiteX0" fmla="*/ 77347 w 78191"/>
                <a:gd name="connsiteY0" fmla="*/ 23859 h 51163"/>
                <a:gd name="connsiteX1" fmla="*/ 73352 w 78191"/>
                <a:gd name="connsiteY1" fmla="*/ 31009 h 51163"/>
                <a:gd name="connsiteX2" fmla="*/ 74747 w 78191"/>
                <a:gd name="connsiteY2" fmla="*/ 36724 h 51163"/>
                <a:gd name="connsiteX3" fmla="*/ 69268 w 78191"/>
                <a:gd name="connsiteY3" fmla="*/ 39252 h 51163"/>
                <a:gd name="connsiteX4" fmla="*/ 69445 w 78191"/>
                <a:gd name="connsiteY4" fmla="*/ 51164 h 51163"/>
                <a:gd name="connsiteX5" fmla="*/ 20421 w 78191"/>
                <a:gd name="connsiteY5" fmla="*/ 47748 h 51163"/>
                <a:gd name="connsiteX6" fmla="*/ -26 w 78191"/>
                <a:gd name="connsiteY6" fmla="*/ 42173 h 51163"/>
                <a:gd name="connsiteX7" fmla="*/ 54617 w 78191"/>
                <a:gd name="connsiteY7" fmla="*/ 36597 h 51163"/>
                <a:gd name="connsiteX8" fmla="*/ 35477 w 78191"/>
                <a:gd name="connsiteY8" fmla="*/ 466 h 51163"/>
                <a:gd name="connsiteX9" fmla="*/ 49138 w 78191"/>
                <a:gd name="connsiteY9" fmla="*/ 733 h 51163"/>
                <a:gd name="connsiteX10" fmla="*/ 74836 w 78191"/>
                <a:gd name="connsiteY10" fmla="*/ 2981 h 51163"/>
                <a:gd name="connsiteX11" fmla="*/ 75737 w 78191"/>
                <a:gd name="connsiteY11" fmla="*/ 12023 h 51163"/>
                <a:gd name="connsiteX12" fmla="*/ 77347 w 78191"/>
                <a:gd name="connsiteY12" fmla="*/ 23859 h 51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8191" h="51163">
                  <a:moveTo>
                    <a:pt x="77347" y="23859"/>
                  </a:moveTo>
                  <a:cubicBezTo>
                    <a:pt x="75546" y="25942"/>
                    <a:pt x="74189" y="28381"/>
                    <a:pt x="73352" y="31009"/>
                  </a:cubicBezTo>
                  <a:cubicBezTo>
                    <a:pt x="72997" y="32813"/>
                    <a:pt x="77842" y="34248"/>
                    <a:pt x="74747" y="36724"/>
                  </a:cubicBezTo>
                  <a:cubicBezTo>
                    <a:pt x="71652" y="39252"/>
                    <a:pt x="68912" y="36991"/>
                    <a:pt x="69268" y="39252"/>
                  </a:cubicBezTo>
                  <a:cubicBezTo>
                    <a:pt x="69445" y="40420"/>
                    <a:pt x="69356" y="45767"/>
                    <a:pt x="69445" y="51164"/>
                  </a:cubicBezTo>
                  <a:cubicBezTo>
                    <a:pt x="54528" y="44052"/>
                    <a:pt x="36555" y="50453"/>
                    <a:pt x="20421" y="47748"/>
                  </a:cubicBezTo>
                  <a:cubicBezTo>
                    <a:pt x="13343" y="47024"/>
                    <a:pt x="6430" y="45132"/>
                    <a:pt x="-26" y="42173"/>
                  </a:cubicBezTo>
                  <a:cubicBezTo>
                    <a:pt x="17224" y="34032"/>
                    <a:pt x="35287" y="50860"/>
                    <a:pt x="54617" y="36597"/>
                  </a:cubicBezTo>
                  <a:cubicBezTo>
                    <a:pt x="48237" y="24583"/>
                    <a:pt x="42263" y="13331"/>
                    <a:pt x="35477" y="466"/>
                  </a:cubicBezTo>
                  <a:cubicBezTo>
                    <a:pt x="40005" y="-233"/>
                    <a:pt x="44622" y="-144"/>
                    <a:pt x="49138" y="733"/>
                  </a:cubicBezTo>
                  <a:cubicBezTo>
                    <a:pt x="57382" y="3616"/>
                    <a:pt x="66211" y="4390"/>
                    <a:pt x="74836" y="2981"/>
                  </a:cubicBezTo>
                  <a:cubicBezTo>
                    <a:pt x="74925" y="6016"/>
                    <a:pt x="75229" y="9038"/>
                    <a:pt x="75737" y="12023"/>
                  </a:cubicBezTo>
                  <a:cubicBezTo>
                    <a:pt x="76942" y="17471"/>
                    <a:pt x="79466" y="21116"/>
                    <a:pt x="77347" y="23859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4" name="Vrije vorm 353">
              <a:extLst>
                <a:ext uri="{FF2B5EF4-FFF2-40B4-BE49-F238E27FC236}">
                  <a16:creationId xmlns:a16="http://schemas.microsoft.com/office/drawing/2014/main" id="{5E16CEE4-44FA-9149-A02E-35A9DC6C5A62}"/>
                </a:ext>
              </a:extLst>
            </p:cNvPr>
            <p:cNvSpPr/>
            <p:nvPr/>
          </p:nvSpPr>
          <p:spPr>
            <a:xfrm>
              <a:off x="3449725" y="3822631"/>
              <a:ext cx="99183" cy="61802"/>
            </a:xfrm>
            <a:custGeom>
              <a:avLst/>
              <a:gdLst>
                <a:gd name="connsiteX0" fmla="*/ 99157 w 99183"/>
                <a:gd name="connsiteY0" fmla="*/ 42855 h 61802"/>
                <a:gd name="connsiteX1" fmla="*/ 82782 w 99183"/>
                <a:gd name="connsiteY1" fmla="*/ 42855 h 61802"/>
                <a:gd name="connsiteX2" fmla="*/ 30346 w 99183"/>
                <a:gd name="connsiteY2" fmla="*/ 44697 h 61802"/>
                <a:gd name="connsiteX3" fmla="*/ 12905 w 99183"/>
                <a:gd name="connsiteY3" fmla="*/ 61804 h 61802"/>
                <a:gd name="connsiteX4" fmla="*/ 182 w 99183"/>
                <a:gd name="connsiteY4" fmla="*/ 50958 h 61802"/>
                <a:gd name="connsiteX5" fmla="*/ 5 w 99183"/>
                <a:gd name="connsiteY5" fmla="*/ 39032 h 61802"/>
                <a:gd name="connsiteX6" fmla="*/ 5484 w 99183"/>
                <a:gd name="connsiteY6" fmla="*/ 36505 h 61802"/>
                <a:gd name="connsiteX7" fmla="*/ 4089 w 99183"/>
                <a:gd name="connsiteY7" fmla="*/ 30790 h 61802"/>
                <a:gd name="connsiteX8" fmla="*/ 8097 w 99183"/>
                <a:gd name="connsiteY8" fmla="*/ 23640 h 61802"/>
                <a:gd name="connsiteX9" fmla="*/ 6474 w 99183"/>
                <a:gd name="connsiteY9" fmla="*/ 11803 h 61802"/>
                <a:gd name="connsiteX10" fmla="*/ 5573 w 99183"/>
                <a:gd name="connsiteY10" fmla="*/ 2761 h 61802"/>
                <a:gd name="connsiteX11" fmla="*/ 12271 w 99183"/>
                <a:gd name="connsiteY11" fmla="*/ 1453 h 61802"/>
                <a:gd name="connsiteX12" fmla="*/ 59595 w 99183"/>
                <a:gd name="connsiteY12" fmla="*/ 15004 h 61802"/>
                <a:gd name="connsiteX13" fmla="*/ 82338 w 99183"/>
                <a:gd name="connsiteY13" fmla="*/ 25799 h 61802"/>
                <a:gd name="connsiteX14" fmla="*/ 99157 w 99183"/>
                <a:gd name="connsiteY14" fmla="*/ 42855 h 6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9183" h="61802">
                  <a:moveTo>
                    <a:pt x="99157" y="42855"/>
                  </a:moveTo>
                  <a:cubicBezTo>
                    <a:pt x="92092" y="42855"/>
                    <a:pt x="87462" y="42766"/>
                    <a:pt x="82782" y="42855"/>
                  </a:cubicBezTo>
                  <a:cubicBezTo>
                    <a:pt x="65290" y="42436"/>
                    <a:pt x="47773" y="43046"/>
                    <a:pt x="30346" y="44697"/>
                  </a:cubicBezTo>
                  <a:cubicBezTo>
                    <a:pt x="24371" y="45548"/>
                    <a:pt x="19653" y="54869"/>
                    <a:pt x="12905" y="61804"/>
                  </a:cubicBezTo>
                  <a:cubicBezTo>
                    <a:pt x="9683" y="57143"/>
                    <a:pt x="5294" y="53396"/>
                    <a:pt x="182" y="50958"/>
                  </a:cubicBezTo>
                  <a:cubicBezTo>
                    <a:pt x="94" y="45548"/>
                    <a:pt x="182" y="40201"/>
                    <a:pt x="5" y="39032"/>
                  </a:cubicBezTo>
                  <a:cubicBezTo>
                    <a:pt x="-350" y="36785"/>
                    <a:pt x="2390" y="39032"/>
                    <a:pt x="5484" y="36505"/>
                  </a:cubicBezTo>
                  <a:cubicBezTo>
                    <a:pt x="8592" y="34041"/>
                    <a:pt x="3734" y="32594"/>
                    <a:pt x="4089" y="30790"/>
                  </a:cubicBezTo>
                  <a:cubicBezTo>
                    <a:pt x="4926" y="28161"/>
                    <a:pt x="6284" y="25723"/>
                    <a:pt x="8097" y="23640"/>
                  </a:cubicBezTo>
                  <a:cubicBezTo>
                    <a:pt x="10203" y="20897"/>
                    <a:pt x="7692" y="17252"/>
                    <a:pt x="6474" y="11803"/>
                  </a:cubicBezTo>
                  <a:cubicBezTo>
                    <a:pt x="5967" y="8819"/>
                    <a:pt x="5662" y="5796"/>
                    <a:pt x="5573" y="2761"/>
                  </a:cubicBezTo>
                  <a:cubicBezTo>
                    <a:pt x="7730" y="2444"/>
                    <a:pt x="9987" y="1999"/>
                    <a:pt x="12271" y="1453"/>
                  </a:cubicBezTo>
                  <a:cubicBezTo>
                    <a:pt x="29331" y="-2776"/>
                    <a:pt x="47355" y="2380"/>
                    <a:pt x="59595" y="15004"/>
                  </a:cubicBezTo>
                  <a:cubicBezTo>
                    <a:pt x="66229" y="20338"/>
                    <a:pt x="74017" y="24034"/>
                    <a:pt x="82338" y="25799"/>
                  </a:cubicBezTo>
                  <a:cubicBezTo>
                    <a:pt x="90798" y="27691"/>
                    <a:pt x="97369" y="34359"/>
                    <a:pt x="99157" y="42855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5" name="Vrije vorm 354">
              <a:extLst>
                <a:ext uri="{FF2B5EF4-FFF2-40B4-BE49-F238E27FC236}">
                  <a16:creationId xmlns:a16="http://schemas.microsoft.com/office/drawing/2014/main" id="{72A8DCB3-EEAA-8E4B-A260-03D9D4FE2911}"/>
                </a:ext>
              </a:extLst>
            </p:cNvPr>
            <p:cNvSpPr/>
            <p:nvPr/>
          </p:nvSpPr>
          <p:spPr>
            <a:xfrm>
              <a:off x="3271708" y="3864401"/>
              <a:ext cx="53032" cy="16752"/>
            </a:xfrm>
            <a:custGeom>
              <a:avLst/>
              <a:gdLst>
                <a:gd name="connsiteX0" fmla="*/ 53006 w 53032"/>
                <a:gd name="connsiteY0" fmla="*/ 14077 h 16752"/>
                <a:gd name="connsiteX1" fmla="*/ -26 w 53032"/>
                <a:gd name="connsiteY1" fmla="*/ 1936 h 16752"/>
                <a:gd name="connsiteX2" fmla="*/ 53006 w 53032"/>
                <a:gd name="connsiteY2" fmla="*/ 14077 h 16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3032" h="16752">
                  <a:moveTo>
                    <a:pt x="53006" y="14077"/>
                  </a:moveTo>
                  <a:cubicBezTo>
                    <a:pt x="32610" y="14039"/>
                    <a:pt x="13457" y="25291"/>
                    <a:pt x="-26" y="1936"/>
                  </a:cubicBezTo>
                  <a:cubicBezTo>
                    <a:pt x="18581" y="-2967"/>
                    <a:pt x="38394" y="1580"/>
                    <a:pt x="53006" y="14077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6" name="Vrije vorm 355">
              <a:extLst>
                <a:ext uri="{FF2B5EF4-FFF2-40B4-BE49-F238E27FC236}">
                  <a16:creationId xmlns:a16="http://schemas.microsoft.com/office/drawing/2014/main" id="{E7605A7C-C6ED-8E44-948D-C2876081E4BE}"/>
                </a:ext>
              </a:extLst>
            </p:cNvPr>
            <p:cNvSpPr/>
            <p:nvPr/>
          </p:nvSpPr>
          <p:spPr>
            <a:xfrm>
              <a:off x="3583688" y="3864359"/>
              <a:ext cx="40487" cy="13265"/>
            </a:xfrm>
            <a:custGeom>
              <a:avLst/>
              <a:gdLst>
                <a:gd name="connsiteX0" fmla="*/ 40462 w 40487"/>
                <a:gd name="connsiteY0" fmla="*/ 3235 h 13265"/>
                <a:gd name="connsiteX1" fmla="*/ -26 w 40487"/>
                <a:gd name="connsiteY1" fmla="*/ 3553 h 13265"/>
                <a:gd name="connsiteX2" fmla="*/ 40462 w 40487"/>
                <a:gd name="connsiteY2" fmla="*/ 3235 h 13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487" h="13265">
                  <a:moveTo>
                    <a:pt x="40462" y="3235"/>
                  </a:moveTo>
                  <a:cubicBezTo>
                    <a:pt x="25317" y="16558"/>
                    <a:pt x="15791" y="16558"/>
                    <a:pt x="-26" y="3553"/>
                  </a:cubicBezTo>
                  <a:cubicBezTo>
                    <a:pt x="13051" y="-1070"/>
                    <a:pt x="27308" y="-1184"/>
                    <a:pt x="40462" y="3235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357" name="Graphic 5">
              <a:extLst>
                <a:ext uri="{FF2B5EF4-FFF2-40B4-BE49-F238E27FC236}">
                  <a16:creationId xmlns:a16="http://schemas.microsoft.com/office/drawing/2014/main" id="{9DA41021-030D-DF44-A965-1EEDEB66A833}"/>
                </a:ext>
              </a:extLst>
            </p:cNvPr>
            <p:cNvGrpSpPr/>
            <p:nvPr/>
          </p:nvGrpSpPr>
          <p:grpSpPr>
            <a:xfrm>
              <a:off x="3405649" y="5026226"/>
              <a:ext cx="559918" cy="1251980"/>
              <a:chOff x="3405649" y="5026226"/>
              <a:chExt cx="559918" cy="1251980"/>
            </a:xfrm>
            <a:solidFill>
              <a:schemeClr val="bg2"/>
            </a:solidFill>
          </p:grpSpPr>
          <p:grpSp>
            <p:nvGrpSpPr>
              <p:cNvPr id="536" name="Graphic 5">
                <a:extLst>
                  <a:ext uri="{FF2B5EF4-FFF2-40B4-BE49-F238E27FC236}">
                    <a16:creationId xmlns:a16="http://schemas.microsoft.com/office/drawing/2014/main" id="{94DBA103-B30B-E444-92A1-04A3643B4CDA}"/>
                  </a:ext>
                </a:extLst>
              </p:cNvPr>
              <p:cNvGrpSpPr/>
              <p:nvPr/>
            </p:nvGrpSpPr>
            <p:grpSpPr>
              <a:xfrm>
                <a:off x="3405649" y="5026226"/>
                <a:ext cx="559918" cy="1109282"/>
                <a:chOff x="3405649" y="5026226"/>
                <a:chExt cx="559918" cy="1109282"/>
              </a:xfrm>
              <a:grpFill/>
            </p:grpSpPr>
            <p:sp>
              <p:nvSpPr>
                <p:cNvPr id="540" name="Vrije vorm 539">
                  <a:extLst>
                    <a:ext uri="{FF2B5EF4-FFF2-40B4-BE49-F238E27FC236}">
                      <a16:creationId xmlns:a16="http://schemas.microsoft.com/office/drawing/2014/main" id="{1442F8A8-DC71-3242-A059-1C857D923CE1}"/>
                    </a:ext>
                  </a:extLst>
                </p:cNvPr>
                <p:cNvSpPr/>
                <p:nvPr/>
              </p:nvSpPr>
              <p:spPr>
                <a:xfrm>
                  <a:off x="3405649" y="5026226"/>
                  <a:ext cx="559918" cy="1109282"/>
                </a:xfrm>
                <a:custGeom>
                  <a:avLst/>
                  <a:gdLst>
                    <a:gd name="connsiteX0" fmla="*/ 559680 w 559918"/>
                    <a:gd name="connsiteY0" fmla="*/ 157101 h 1109282"/>
                    <a:gd name="connsiteX1" fmla="*/ 554112 w 559918"/>
                    <a:gd name="connsiteY1" fmla="*/ 167845 h 1109282"/>
                    <a:gd name="connsiteX2" fmla="*/ 545436 w 559918"/>
                    <a:gd name="connsiteY2" fmla="*/ 172392 h 1109282"/>
                    <a:gd name="connsiteX3" fmla="*/ 537711 w 559918"/>
                    <a:gd name="connsiteY3" fmla="*/ 178920 h 1109282"/>
                    <a:gd name="connsiteX4" fmla="*/ 528363 w 559918"/>
                    <a:gd name="connsiteY4" fmla="*/ 181397 h 1109282"/>
                    <a:gd name="connsiteX5" fmla="*/ 522249 w 559918"/>
                    <a:gd name="connsiteY5" fmla="*/ 186743 h 1109282"/>
                    <a:gd name="connsiteX6" fmla="*/ 514207 w 559918"/>
                    <a:gd name="connsiteY6" fmla="*/ 191023 h 1109282"/>
                    <a:gd name="connsiteX7" fmla="*/ 508093 w 559918"/>
                    <a:gd name="connsiteY7" fmla="*/ 197233 h 1109282"/>
                    <a:gd name="connsiteX8" fmla="*/ 503730 w 559918"/>
                    <a:gd name="connsiteY8" fmla="*/ 201907 h 1109282"/>
                    <a:gd name="connsiteX9" fmla="*/ 495333 w 559918"/>
                    <a:gd name="connsiteY9" fmla="*/ 212130 h 1109282"/>
                    <a:gd name="connsiteX10" fmla="*/ 452004 w 559918"/>
                    <a:gd name="connsiteY10" fmla="*/ 264594 h 1109282"/>
                    <a:gd name="connsiteX11" fmla="*/ 449987 w 559918"/>
                    <a:gd name="connsiteY11" fmla="*/ 267160 h 1109282"/>
                    <a:gd name="connsiteX12" fmla="*/ 445269 w 559918"/>
                    <a:gd name="connsiteY12" fmla="*/ 287988 h 1109282"/>
                    <a:gd name="connsiteX13" fmla="*/ 434931 w 559918"/>
                    <a:gd name="connsiteY13" fmla="*/ 336451 h 1109282"/>
                    <a:gd name="connsiteX14" fmla="*/ 436238 w 559918"/>
                    <a:gd name="connsiteY14" fmla="*/ 346890 h 1109282"/>
                    <a:gd name="connsiteX15" fmla="*/ 432458 w 559918"/>
                    <a:gd name="connsiteY15" fmla="*/ 361508 h 1109282"/>
                    <a:gd name="connsiteX16" fmla="*/ 426534 w 559918"/>
                    <a:gd name="connsiteY16" fmla="*/ 377662 h 1109282"/>
                    <a:gd name="connsiteX17" fmla="*/ 429325 w 559918"/>
                    <a:gd name="connsiteY17" fmla="*/ 395302 h 1109282"/>
                    <a:gd name="connsiteX18" fmla="*/ 429185 w 559918"/>
                    <a:gd name="connsiteY18" fmla="*/ 395252 h 1109282"/>
                    <a:gd name="connsiteX19" fmla="*/ 429185 w 559918"/>
                    <a:gd name="connsiteY19" fmla="*/ 395302 h 1109282"/>
                    <a:gd name="connsiteX20" fmla="*/ 427561 w 559918"/>
                    <a:gd name="connsiteY20" fmla="*/ 400382 h 1109282"/>
                    <a:gd name="connsiteX21" fmla="*/ 426763 w 559918"/>
                    <a:gd name="connsiteY21" fmla="*/ 403215 h 1109282"/>
                    <a:gd name="connsiteX22" fmla="*/ 426217 w 559918"/>
                    <a:gd name="connsiteY22" fmla="*/ 405602 h 1109282"/>
                    <a:gd name="connsiteX23" fmla="*/ 425989 w 559918"/>
                    <a:gd name="connsiteY23" fmla="*/ 407304 h 1109282"/>
                    <a:gd name="connsiteX24" fmla="*/ 425989 w 559918"/>
                    <a:gd name="connsiteY24" fmla="*/ 407355 h 1109282"/>
                    <a:gd name="connsiteX25" fmla="*/ 435248 w 559918"/>
                    <a:gd name="connsiteY25" fmla="*/ 418150 h 1109282"/>
                    <a:gd name="connsiteX26" fmla="*/ 450850 w 559918"/>
                    <a:gd name="connsiteY26" fmla="*/ 427599 h 1109282"/>
                    <a:gd name="connsiteX27" fmla="*/ 458080 w 559918"/>
                    <a:gd name="connsiteY27" fmla="*/ 449290 h 1109282"/>
                    <a:gd name="connsiteX28" fmla="*/ 463065 w 559918"/>
                    <a:gd name="connsiteY28" fmla="*/ 470537 h 1109282"/>
                    <a:gd name="connsiteX29" fmla="*/ 465221 w 559918"/>
                    <a:gd name="connsiteY29" fmla="*/ 471655 h 1109282"/>
                    <a:gd name="connsiteX30" fmla="*/ 471423 w 559918"/>
                    <a:gd name="connsiteY30" fmla="*/ 497741 h 1109282"/>
                    <a:gd name="connsiteX31" fmla="*/ 419380 w 559918"/>
                    <a:gd name="connsiteY31" fmla="*/ 552694 h 1109282"/>
                    <a:gd name="connsiteX32" fmla="*/ 412506 w 559918"/>
                    <a:gd name="connsiteY32" fmla="*/ 555119 h 1109282"/>
                    <a:gd name="connsiteX33" fmla="*/ 412379 w 559918"/>
                    <a:gd name="connsiteY33" fmla="*/ 555157 h 1109282"/>
                    <a:gd name="connsiteX34" fmla="*/ 399111 w 559918"/>
                    <a:gd name="connsiteY34" fmla="*/ 557901 h 1109282"/>
                    <a:gd name="connsiteX35" fmla="*/ 323881 w 559918"/>
                    <a:gd name="connsiteY35" fmla="*/ 563489 h 1109282"/>
                    <a:gd name="connsiteX36" fmla="*/ 323843 w 559918"/>
                    <a:gd name="connsiteY36" fmla="*/ 563489 h 1109282"/>
                    <a:gd name="connsiteX37" fmla="*/ 315750 w 559918"/>
                    <a:gd name="connsiteY37" fmla="*/ 561330 h 1109282"/>
                    <a:gd name="connsiteX38" fmla="*/ 310537 w 559918"/>
                    <a:gd name="connsiteY38" fmla="*/ 559577 h 1109282"/>
                    <a:gd name="connsiteX39" fmla="*/ 317641 w 559918"/>
                    <a:gd name="connsiteY39" fmla="*/ 575274 h 1109282"/>
                    <a:gd name="connsiteX40" fmla="*/ 317958 w 559918"/>
                    <a:gd name="connsiteY40" fmla="*/ 576849 h 1109282"/>
                    <a:gd name="connsiteX41" fmla="*/ 313188 w 559918"/>
                    <a:gd name="connsiteY41" fmla="*/ 614822 h 1109282"/>
                    <a:gd name="connsiteX42" fmla="*/ 313100 w 559918"/>
                    <a:gd name="connsiteY42" fmla="*/ 615863 h 1109282"/>
                    <a:gd name="connsiteX43" fmla="*/ 315928 w 559918"/>
                    <a:gd name="connsiteY43" fmla="*/ 632729 h 1109282"/>
                    <a:gd name="connsiteX44" fmla="*/ 301100 w 559918"/>
                    <a:gd name="connsiteY44" fmla="*/ 643575 h 1109282"/>
                    <a:gd name="connsiteX45" fmla="*/ 265153 w 559918"/>
                    <a:gd name="connsiteY45" fmla="*/ 641416 h 1109282"/>
                    <a:gd name="connsiteX46" fmla="*/ 245328 w 559918"/>
                    <a:gd name="connsiteY46" fmla="*/ 632373 h 1109282"/>
                    <a:gd name="connsiteX47" fmla="*/ 242499 w 559918"/>
                    <a:gd name="connsiteY47" fmla="*/ 631154 h 1109282"/>
                    <a:gd name="connsiteX48" fmla="*/ 241688 w 559918"/>
                    <a:gd name="connsiteY48" fmla="*/ 630849 h 1109282"/>
                    <a:gd name="connsiteX49" fmla="*/ 238504 w 559918"/>
                    <a:gd name="connsiteY49" fmla="*/ 676379 h 1109282"/>
                    <a:gd name="connsiteX50" fmla="*/ 250275 w 559918"/>
                    <a:gd name="connsiteY50" fmla="*/ 694337 h 1109282"/>
                    <a:gd name="connsiteX51" fmla="*/ 240571 w 559918"/>
                    <a:gd name="connsiteY51" fmla="*/ 707380 h 1109282"/>
                    <a:gd name="connsiteX52" fmla="*/ 250732 w 559918"/>
                    <a:gd name="connsiteY52" fmla="*/ 719127 h 1109282"/>
                    <a:gd name="connsiteX53" fmla="*/ 230779 w 559918"/>
                    <a:gd name="connsiteY53" fmla="*/ 761202 h 1109282"/>
                    <a:gd name="connsiteX54" fmla="*/ 224754 w 559918"/>
                    <a:gd name="connsiteY54" fmla="*/ 782030 h 1109282"/>
                    <a:gd name="connsiteX55" fmla="*/ 221418 w 559918"/>
                    <a:gd name="connsiteY55" fmla="*/ 789358 h 1109282"/>
                    <a:gd name="connsiteX56" fmla="*/ 219452 w 559918"/>
                    <a:gd name="connsiteY56" fmla="*/ 794172 h 1109282"/>
                    <a:gd name="connsiteX57" fmla="*/ 201961 w 559918"/>
                    <a:gd name="connsiteY57" fmla="*/ 798452 h 1109282"/>
                    <a:gd name="connsiteX58" fmla="*/ 189251 w 559918"/>
                    <a:gd name="connsiteY58" fmla="*/ 804979 h 1109282"/>
                    <a:gd name="connsiteX59" fmla="*/ 189112 w 559918"/>
                    <a:gd name="connsiteY59" fmla="*/ 805068 h 1109282"/>
                    <a:gd name="connsiteX60" fmla="*/ 165380 w 559918"/>
                    <a:gd name="connsiteY60" fmla="*/ 838494 h 1109282"/>
                    <a:gd name="connsiteX61" fmla="*/ 197027 w 559918"/>
                    <a:gd name="connsiteY61" fmla="*/ 881332 h 1109282"/>
                    <a:gd name="connsiteX62" fmla="*/ 213922 w 559918"/>
                    <a:gd name="connsiteY62" fmla="*/ 883948 h 1109282"/>
                    <a:gd name="connsiteX63" fmla="*/ 215140 w 559918"/>
                    <a:gd name="connsiteY63" fmla="*/ 908014 h 1109282"/>
                    <a:gd name="connsiteX64" fmla="*/ 213922 w 559918"/>
                    <a:gd name="connsiteY64" fmla="*/ 912243 h 1109282"/>
                    <a:gd name="connsiteX65" fmla="*/ 198599 w 559918"/>
                    <a:gd name="connsiteY65" fmla="*/ 934430 h 1109282"/>
                    <a:gd name="connsiteX66" fmla="*/ 176440 w 559918"/>
                    <a:gd name="connsiteY66" fmla="*/ 952515 h 1109282"/>
                    <a:gd name="connsiteX67" fmla="*/ 161828 w 559918"/>
                    <a:gd name="connsiteY67" fmla="*/ 984456 h 1109282"/>
                    <a:gd name="connsiteX68" fmla="*/ 146201 w 559918"/>
                    <a:gd name="connsiteY68" fmla="*/ 1009436 h 1109282"/>
                    <a:gd name="connsiteX69" fmla="*/ 144577 w 559918"/>
                    <a:gd name="connsiteY69" fmla="*/ 1010021 h 1109282"/>
                    <a:gd name="connsiteX70" fmla="*/ 143182 w 559918"/>
                    <a:gd name="connsiteY70" fmla="*/ 1010465 h 1109282"/>
                    <a:gd name="connsiteX71" fmla="*/ 120718 w 559918"/>
                    <a:gd name="connsiteY71" fmla="*/ 1052591 h 1109282"/>
                    <a:gd name="connsiteX72" fmla="*/ 123408 w 559918"/>
                    <a:gd name="connsiteY72" fmla="*/ 1076518 h 1109282"/>
                    <a:gd name="connsiteX73" fmla="*/ 123852 w 559918"/>
                    <a:gd name="connsiteY73" fmla="*/ 1078817 h 1109282"/>
                    <a:gd name="connsiteX74" fmla="*/ 132667 w 559918"/>
                    <a:gd name="connsiteY74" fmla="*/ 1095326 h 1109282"/>
                    <a:gd name="connsiteX75" fmla="*/ 140075 w 559918"/>
                    <a:gd name="connsiteY75" fmla="*/ 1109284 h 1109282"/>
                    <a:gd name="connsiteX76" fmla="*/ 122101 w 559918"/>
                    <a:gd name="connsiteY76" fmla="*/ 1102261 h 1109282"/>
                    <a:gd name="connsiteX77" fmla="*/ 88133 w 559918"/>
                    <a:gd name="connsiteY77" fmla="*/ 1097765 h 1109282"/>
                    <a:gd name="connsiteX78" fmla="*/ 49979 w 559918"/>
                    <a:gd name="connsiteY78" fmla="*/ 1092545 h 1109282"/>
                    <a:gd name="connsiteX79" fmla="*/ 32411 w 559918"/>
                    <a:gd name="connsiteY79" fmla="*/ 1076607 h 1109282"/>
                    <a:gd name="connsiteX80" fmla="*/ 34111 w 559918"/>
                    <a:gd name="connsiteY80" fmla="*/ 1057582 h 1109282"/>
                    <a:gd name="connsiteX81" fmla="*/ 29976 w 559918"/>
                    <a:gd name="connsiteY81" fmla="*/ 1036157 h 1109282"/>
                    <a:gd name="connsiteX82" fmla="*/ 16581 w 559918"/>
                    <a:gd name="connsiteY82" fmla="*/ 1034316 h 1109282"/>
                    <a:gd name="connsiteX83" fmla="*/ 4227 w 559918"/>
                    <a:gd name="connsiteY83" fmla="*/ 1024371 h 1109282"/>
                    <a:gd name="connsiteX84" fmla="*/ 3 w 559918"/>
                    <a:gd name="connsiteY84" fmla="*/ 985675 h 1109282"/>
                    <a:gd name="connsiteX85" fmla="*/ 10112 w 559918"/>
                    <a:gd name="connsiteY85" fmla="*/ 971501 h 1109282"/>
                    <a:gd name="connsiteX86" fmla="*/ 18256 w 559918"/>
                    <a:gd name="connsiteY86" fmla="*/ 960478 h 1109282"/>
                    <a:gd name="connsiteX87" fmla="*/ 26336 w 559918"/>
                    <a:gd name="connsiteY87" fmla="*/ 945365 h 1109282"/>
                    <a:gd name="connsiteX88" fmla="*/ 32906 w 559918"/>
                    <a:gd name="connsiteY88" fmla="*/ 934113 h 1109282"/>
                    <a:gd name="connsiteX89" fmla="*/ 29988 w 559918"/>
                    <a:gd name="connsiteY89" fmla="*/ 914631 h 1109282"/>
                    <a:gd name="connsiteX90" fmla="*/ 37130 w 559918"/>
                    <a:gd name="connsiteY90" fmla="*/ 895149 h 1109282"/>
                    <a:gd name="connsiteX91" fmla="*/ 44411 w 559918"/>
                    <a:gd name="connsiteY91" fmla="*/ 883491 h 1109282"/>
                    <a:gd name="connsiteX92" fmla="*/ 49979 w 559918"/>
                    <a:gd name="connsiteY92" fmla="*/ 865723 h 1109282"/>
                    <a:gd name="connsiteX93" fmla="*/ 44448 w 559918"/>
                    <a:gd name="connsiteY93" fmla="*/ 843587 h 1109282"/>
                    <a:gd name="connsiteX94" fmla="*/ 52046 w 559918"/>
                    <a:gd name="connsiteY94" fmla="*/ 831395 h 1109282"/>
                    <a:gd name="connsiteX95" fmla="*/ 53302 w 559918"/>
                    <a:gd name="connsiteY95" fmla="*/ 817044 h 1109282"/>
                    <a:gd name="connsiteX96" fmla="*/ 59010 w 559918"/>
                    <a:gd name="connsiteY96" fmla="*/ 806148 h 1109282"/>
                    <a:gd name="connsiteX97" fmla="*/ 52668 w 559918"/>
                    <a:gd name="connsiteY97" fmla="*/ 795302 h 1109282"/>
                    <a:gd name="connsiteX98" fmla="*/ 41569 w 559918"/>
                    <a:gd name="connsiteY98" fmla="*/ 792381 h 1109282"/>
                    <a:gd name="connsiteX99" fmla="*/ 49801 w 559918"/>
                    <a:gd name="connsiteY99" fmla="*/ 786310 h 1109282"/>
                    <a:gd name="connsiteX100" fmla="*/ 61927 w 559918"/>
                    <a:gd name="connsiteY100" fmla="*/ 788203 h 1109282"/>
                    <a:gd name="connsiteX101" fmla="*/ 66608 w 559918"/>
                    <a:gd name="connsiteY101" fmla="*/ 775782 h 1109282"/>
                    <a:gd name="connsiteX102" fmla="*/ 51729 w 559918"/>
                    <a:gd name="connsiteY102" fmla="*/ 771959 h 1109282"/>
                    <a:gd name="connsiteX103" fmla="*/ 48812 w 559918"/>
                    <a:gd name="connsiteY103" fmla="*/ 762332 h 1109282"/>
                    <a:gd name="connsiteX104" fmla="*/ 48178 w 559918"/>
                    <a:gd name="connsiteY104" fmla="*/ 750814 h 1109282"/>
                    <a:gd name="connsiteX105" fmla="*/ 47277 w 559918"/>
                    <a:gd name="connsiteY105" fmla="*/ 738520 h 1109282"/>
                    <a:gd name="connsiteX106" fmla="*/ 48584 w 559918"/>
                    <a:gd name="connsiteY106" fmla="*/ 729071 h 1109282"/>
                    <a:gd name="connsiteX107" fmla="*/ 42787 w 559918"/>
                    <a:gd name="connsiteY107" fmla="*/ 718048 h 1109282"/>
                    <a:gd name="connsiteX108" fmla="*/ 41163 w 559918"/>
                    <a:gd name="connsiteY108" fmla="*/ 687949 h 1109282"/>
                    <a:gd name="connsiteX109" fmla="*/ 48812 w 559918"/>
                    <a:gd name="connsiteY109" fmla="*/ 671934 h 1109282"/>
                    <a:gd name="connsiteX110" fmla="*/ 45565 w 559918"/>
                    <a:gd name="connsiteY110" fmla="*/ 642952 h 1109282"/>
                    <a:gd name="connsiteX111" fmla="*/ 50740 w 559918"/>
                    <a:gd name="connsiteY111" fmla="*/ 619699 h 1109282"/>
                    <a:gd name="connsiteX112" fmla="*/ 49700 w 559918"/>
                    <a:gd name="connsiteY112" fmla="*/ 606910 h 1109282"/>
                    <a:gd name="connsiteX113" fmla="*/ 49256 w 559918"/>
                    <a:gd name="connsiteY113" fmla="*/ 597956 h 1109282"/>
                    <a:gd name="connsiteX114" fmla="*/ 55687 w 559918"/>
                    <a:gd name="connsiteY114" fmla="*/ 588203 h 1109282"/>
                    <a:gd name="connsiteX115" fmla="*/ 59010 w 559918"/>
                    <a:gd name="connsiteY115" fmla="*/ 578068 h 1109282"/>
                    <a:gd name="connsiteX116" fmla="*/ 61927 w 559918"/>
                    <a:gd name="connsiteY116" fmla="*/ 563400 h 1109282"/>
                    <a:gd name="connsiteX117" fmla="*/ 73381 w 559918"/>
                    <a:gd name="connsiteY117" fmla="*/ 553418 h 1109282"/>
                    <a:gd name="connsiteX118" fmla="*/ 65745 w 559918"/>
                    <a:gd name="connsiteY118" fmla="*/ 494655 h 1109282"/>
                    <a:gd name="connsiteX119" fmla="*/ 70235 w 559918"/>
                    <a:gd name="connsiteY119" fmla="*/ 481065 h 1109282"/>
                    <a:gd name="connsiteX120" fmla="*/ 78683 w 559918"/>
                    <a:gd name="connsiteY120" fmla="*/ 474487 h 1109282"/>
                    <a:gd name="connsiteX121" fmla="*/ 85647 w 559918"/>
                    <a:gd name="connsiteY121" fmla="*/ 466207 h 1109282"/>
                    <a:gd name="connsiteX122" fmla="*/ 88082 w 559918"/>
                    <a:gd name="connsiteY122" fmla="*/ 431917 h 1109282"/>
                    <a:gd name="connsiteX123" fmla="*/ 102288 w 559918"/>
                    <a:gd name="connsiteY123" fmla="*/ 401183 h 1109282"/>
                    <a:gd name="connsiteX124" fmla="*/ 102111 w 559918"/>
                    <a:gd name="connsiteY124" fmla="*/ 385396 h 1109282"/>
                    <a:gd name="connsiteX125" fmla="*/ 104039 w 559918"/>
                    <a:gd name="connsiteY125" fmla="*/ 367667 h 1109282"/>
                    <a:gd name="connsiteX126" fmla="*/ 99498 w 559918"/>
                    <a:gd name="connsiteY126" fmla="*/ 367667 h 1109282"/>
                    <a:gd name="connsiteX127" fmla="*/ 90999 w 559918"/>
                    <a:gd name="connsiteY127" fmla="*/ 325643 h 1109282"/>
                    <a:gd name="connsiteX128" fmla="*/ 83681 w 559918"/>
                    <a:gd name="connsiteY128" fmla="*/ 313451 h 1109282"/>
                    <a:gd name="connsiteX129" fmla="*/ 86852 w 559918"/>
                    <a:gd name="connsiteY129" fmla="*/ 296560 h 1109282"/>
                    <a:gd name="connsiteX130" fmla="*/ 87765 w 559918"/>
                    <a:gd name="connsiteY130" fmla="*/ 295988 h 1109282"/>
                    <a:gd name="connsiteX131" fmla="*/ 90999 w 559918"/>
                    <a:gd name="connsiteY131" fmla="*/ 280914 h 1109282"/>
                    <a:gd name="connsiteX132" fmla="*/ 100754 w 559918"/>
                    <a:gd name="connsiteY132" fmla="*/ 267871 h 1109282"/>
                    <a:gd name="connsiteX133" fmla="*/ 100982 w 559918"/>
                    <a:gd name="connsiteY133" fmla="*/ 261114 h 1109282"/>
                    <a:gd name="connsiteX134" fmla="*/ 108301 w 559918"/>
                    <a:gd name="connsiteY134" fmla="*/ 212207 h 1109282"/>
                    <a:gd name="connsiteX135" fmla="*/ 116216 w 559918"/>
                    <a:gd name="connsiteY135" fmla="*/ 200332 h 1109282"/>
                    <a:gd name="connsiteX136" fmla="*/ 135039 w 559918"/>
                    <a:gd name="connsiteY136" fmla="*/ 167706 h 1109282"/>
                    <a:gd name="connsiteX137" fmla="*/ 146949 w 559918"/>
                    <a:gd name="connsiteY137" fmla="*/ 163121 h 1109282"/>
                    <a:gd name="connsiteX138" fmla="*/ 142637 w 559918"/>
                    <a:gd name="connsiteY138" fmla="*/ 141836 h 1109282"/>
                    <a:gd name="connsiteX139" fmla="*/ 143537 w 559918"/>
                    <a:gd name="connsiteY139" fmla="*/ 103317 h 1109282"/>
                    <a:gd name="connsiteX140" fmla="*/ 140531 w 559918"/>
                    <a:gd name="connsiteY140" fmla="*/ 91392 h 1109282"/>
                    <a:gd name="connsiteX141" fmla="*/ 155625 w 559918"/>
                    <a:gd name="connsiteY141" fmla="*/ 76863 h 1109282"/>
                    <a:gd name="connsiteX142" fmla="*/ 176795 w 559918"/>
                    <a:gd name="connsiteY142" fmla="*/ 62639 h 1109282"/>
                    <a:gd name="connsiteX143" fmla="*/ 183442 w 559918"/>
                    <a:gd name="connsiteY143" fmla="*/ 41493 h 1109282"/>
                    <a:gd name="connsiteX144" fmla="*/ 179396 w 559918"/>
                    <a:gd name="connsiteY144" fmla="*/ 31410 h 1109282"/>
                    <a:gd name="connsiteX145" fmla="*/ 179396 w 559918"/>
                    <a:gd name="connsiteY145" fmla="*/ 31359 h 1109282"/>
                    <a:gd name="connsiteX146" fmla="*/ 183619 w 559918"/>
                    <a:gd name="connsiteY146" fmla="*/ 25516 h 1109282"/>
                    <a:gd name="connsiteX147" fmla="*/ 190811 w 559918"/>
                    <a:gd name="connsiteY147" fmla="*/ 17503 h 1109282"/>
                    <a:gd name="connsiteX148" fmla="*/ 199716 w 559918"/>
                    <a:gd name="connsiteY148" fmla="*/ 11077 h 1109282"/>
                    <a:gd name="connsiteX149" fmla="*/ 206946 w 559918"/>
                    <a:gd name="connsiteY149" fmla="*/ 1488 h 1109282"/>
                    <a:gd name="connsiteX150" fmla="*/ 220467 w 559918"/>
                    <a:gd name="connsiteY150" fmla="*/ 9896 h 1109282"/>
                    <a:gd name="connsiteX151" fmla="*/ 231654 w 559918"/>
                    <a:gd name="connsiteY151" fmla="*/ 9451 h 1109282"/>
                    <a:gd name="connsiteX152" fmla="*/ 245226 w 559918"/>
                    <a:gd name="connsiteY152" fmla="*/ 9045 h 1109282"/>
                    <a:gd name="connsiteX153" fmla="*/ 250440 w 559918"/>
                    <a:gd name="connsiteY153" fmla="*/ 11661 h 1109282"/>
                    <a:gd name="connsiteX154" fmla="*/ 255615 w 559918"/>
                    <a:gd name="connsiteY154" fmla="*/ 25555 h 1109282"/>
                    <a:gd name="connsiteX155" fmla="*/ 260739 w 559918"/>
                    <a:gd name="connsiteY155" fmla="*/ 33835 h 1109282"/>
                    <a:gd name="connsiteX156" fmla="*/ 265762 w 559918"/>
                    <a:gd name="connsiteY156" fmla="*/ 17503 h 1109282"/>
                    <a:gd name="connsiteX157" fmla="*/ 272599 w 559918"/>
                    <a:gd name="connsiteY157" fmla="*/ 6301 h 1109282"/>
                    <a:gd name="connsiteX158" fmla="*/ 284243 w 559918"/>
                    <a:gd name="connsiteY158" fmla="*/ 7114 h 1109282"/>
                    <a:gd name="connsiteX159" fmla="*/ 298031 w 559918"/>
                    <a:gd name="connsiteY159" fmla="*/ 6441 h 1109282"/>
                    <a:gd name="connsiteX160" fmla="*/ 305223 w 559918"/>
                    <a:gd name="connsiteY160" fmla="*/ 10797 h 1109282"/>
                    <a:gd name="connsiteX161" fmla="*/ 308863 w 559918"/>
                    <a:gd name="connsiteY161" fmla="*/ 13718 h 1109282"/>
                    <a:gd name="connsiteX162" fmla="*/ 321091 w 559918"/>
                    <a:gd name="connsiteY162" fmla="*/ 25516 h 1109282"/>
                    <a:gd name="connsiteX163" fmla="*/ 333179 w 559918"/>
                    <a:gd name="connsiteY163" fmla="*/ 45671 h 1109282"/>
                    <a:gd name="connsiteX164" fmla="*/ 346396 w 559918"/>
                    <a:gd name="connsiteY164" fmla="*/ 54079 h 1109282"/>
                    <a:gd name="connsiteX165" fmla="*/ 355744 w 559918"/>
                    <a:gd name="connsiteY165" fmla="*/ 64112 h 1109282"/>
                    <a:gd name="connsiteX166" fmla="*/ 367641 w 559918"/>
                    <a:gd name="connsiteY166" fmla="*/ 65915 h 1109282"/>
                    <a:gd name="connsiteX167" fmla="*/ 377218 w 559918"/>
                    <a:gd name="connsiteY167" fmla="*/ 68620 h 1109282"/>
                    <a:gd name="connsiteX168" fmla="*/ 384905 w 559918"/>
                    <a:gd name="connsiteY168" fmla="*/ 70056 h 1109282"/>
                    <a:gd name="connsiteX169" fmla="*/ 414877 w 559918"/>
                    <a:gd name="connsiteY169" fmla="*/ 89220 h 1109282"/>
                    <a:gd name="connsiteX170" fmla="*/ 430974 w 559918"/>
                    <a:gd name="connsiteY170" fmla="*/ 98618 h 1109282"/>
                    <a:gd name="connsiteX171" fmla="*/ 451141 w 559918"/>
                    <a:gd name="connsiteY171" fmla="*/ 110276 h 1109282"/>
                    <a:gd name="connsiteX172" fmla="*/ 449531 w 559918"/>
                    <a:gd name="connsiteY172" fmla="*/ 120310 h 1109282"/>
                    <a:gd name="connsiteX173" fmla="*/ 441121 w 559918"/>
                    <a:gd name="connsiteY173" fmla="*/ 135118 h 1109282"/>
                    <a:gd name="connsiteX174" fmla="*/ 434563 w 559918"/>
                    <a:gd name="connsiteY174" fmla="*/ 146001 h 1109282"/>
                    <a:gd name="connsiteX175" fmla="*/ 432762 w 559918"/>
                    <a:gd name="connsiteY175" fmla="*/ 154193 h 1109282"/>
                    <a:gd name="connsiteX176" fmla="*/ 426420 w 559918"/>
                    <a:gd name="connsiteY176" fmla="*/ 165445 h 1109282"/>
                    <a:gd name="connsiteX177" fmla="*/ 428170 w 559918"/>
                    <a:gd name="connsiteY177" fmla="*/ 171110 h 1109282"/>
                    <a:gd name="connsiteX178" fmla="*/ 443544 w 559918"/>
                    <a:gd name="connsiteY178" fmla="*/ 172367 h 1109282"/>
                    <a:gd name="connsiteX179" fmla="*/ 463090 w 559918"/>
                    <a:gd name="connsiteY179" fmla="*/ 176329 h 1109282"/>
                    <a:gd name="connsiteX180" fmla="*/ 472578 w 559918"/>
                    <a:gd name="connsiteY180" fmla="*/ 176012 h 1109282"/>
                    <a:gd name="connsiteX181" fmla="*/ 485516 w 559918"/>
                    <a:gd name="connsiteY181" fmla="*/ 178894 h 1109282"/>
                    <a:gd name="connsiteX182" fmla="*/ 495308 w 559918"/>
                    <a:gd name="connsiteY182" fmla="*/ 173904 h 1109282"/>
                    <a:gd name="connsiteX183" fmla="*/ 503806 w 559918"/>
                    <a:gd name="connsiteY183" fmla="*/ 175745 h 1109282"/>
                    <a:gd name="connsiteX184" fmla="*/ 511036 w 559918"/>
                    <a:gd name="connsiteY184" fmla="*/ 163096 h 1109282"/>
                    <a:gd name="connsiteX185" fmla="*/ 518862 w 559918"/>
                    <a:gd name="connsiteY185" fmla="*/ 160264 h 1109282"/>
                    <a:gd name="connsiteX186" fmla="*/ 525243 w 559918"/>
                    <a:gd name="connsiteY186" fmla="*/ 154053 h 1109282"/>
                    <a:gd name="connsiteX187" fmla="*/ 532346 w 559918"/>
                    <a:gd name="connsiteY187" fmla="*/ 141633 h 1109282"/>
                    <a:gd name="connsiteX188" fmla="*/ 537559 w 559918"/>
                    <a:gd name="connsiteY188" fmla="*/ 118062 h 1109282"/>
                    <a:gd name="connsiteX189" fmla="*/ 545055 w 559918"/>
                    <a:gd name="connsiteY189" fmla="*/ 116030 h 1109282"/>
                    <a:gd name="connsiteX190" fmla="*/ 553871 w 559918"/>
                    <a:gd name="connsiteY190" fmla="*/ 117211 h 1109282"/>
                    <a:gd name="connsiteX191" fmla="*/ 558044 w 559918"/>
                    <a:gd name="connsiteY191" fmla="*/ 127828 h 1109282"/>
                    <a:gd name="connsiteX192" fmla="*/ 559667 w 559918"/>
                    <a:gd name="connsiteY192" fmla="*/ 140197 h 1109282"/>
                    <a:gd name="connsiteX193" fmla="*/ 559680 w 559918"/>
                    <a:gd name="connsiteY193" fmla="*/ 157101 h 11092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</a:cxnLst>
                  <a:rect l="l" t="t" r="r" b="b"/>
                  <a:pathLst>
                    <a:path w="559918" h="1109282">
                      <a:moveTo>
                        <a:pt x="559680" y="157101"/>
                      </a:moveTo>
                      <a:cubicBezTo>
                        <a:pt x="560479" y="161534"/>
                        <a:pt x="558196" y="165940"/>
                        <a:pt x="554112" y="167845"/>
                      </a:cubicBezTo>
                      <a:cubicBezTo>
                        <a:pt x="549939" y="170817"/>
                        <a:pt x="547770" y="168658"/>
                        <a:pt x="545436" y="172392"/>
                      </a:cubicBezTo>
                      <a:cubicBezTo>
                        <a:pt x="543051" y="176088"/>
                        <a:pt x="542290" y="178691"/>
                        <a:pt x="537711" y="178920"/>
                      </a:cubicBezTo>
                      <a:cubicBezTo>
                        <a:pt x="533120" y="179187"/>
                        <a:pt x="532498" y="176355"/>
                        <a:pt x="528363" y="181397"/>
                      </a:cubicBezTo>
                      <a:cubicBezTo>
                        <a:pt x="524177" y="186438"/>
                        <a:pt x="524278" y="184673"/>
                        <a:pt x="522249" y="186743"/>
                      </a:cubicBezTo>
                      <a:cubicBezTo>
                        <a:pt x="520181" y="188826"/>
                        <a:pt x="515196" y="186616"/>
                        <a:pt x="514207" y="191023"/>
                      </a:cubicBezTo>
                      <a:cubicBezTo>
                        <a:pt x="513218" y="195430"/>
                        <a:pt x="509489" y="196103"/>
                        <a:pt x="508093" y="197233"/>
                      </a:cubicBezTo>
                      <a:cubicBezTo>
                        <a:pt x="506660" y="198402"/>
                        <a:pt x="504999" y="196738"/>
                        <a:pt x="503730" y="201907"/>
                      </a:cubicBezTo>
                      <a:cubicBezTo>
                        <a:pt x="501954" y="206047"/>
                        <a:pt x="499037" y="209591"/>
                        <a:pt x="495333" y="212130"/>
                      </a:cubicBezTo>
                      <a:cubicBezTo>
                        <a:pt x="495333" y="212130"/>
                        <a:pt x="460997" y="253431"/>
                        <a:pt x="452004" y="264594"/>
                      </a:cubicBezTo>
                      <a:cubicBezTo>
                        <a:pt x="450977" y="265902"/>
                        <a:pt x="450254" y="266791"/>
                        <a:pt x="449987" y="267160"/>
                      </a:cubicBezTo>
                      <a:cubicBezTo>
                        <a:pt x="447425" y="270715"/>
                        <a:pt x="447869" y="280964"/>
                        <a:pt x="445269" y="287988"/>
                      </a:cubicBezTo>
                      <a:cubicBezTo>
                        <a:pt x="442618" y="295011"/>
                        <a:pt x="435426" y="333923"/>
                        <a:pt x="434931" y="336451"/>
                      </a:cubicBezTo>
                      <a:cubicBezTo>
                        <a:pt x="434487" y="338965"/>
                        <a:pt x="436364" y="342839"/>
                        <a:pt x="436238" y="346890"/>
                      </a:cubicBezTo>
                      <a:cubicBezTo>
                        <a:pt x="436098" y="350980"/>
                        <a:pt x="437265" y="351030"/>
                        <a:pt x="432458" y="361508"/>
                      </a:cubicBezTo>
                      <a:cubicBezTo>
                        <a:pt x="427612" y="372036"/>
                        <a:pt x="425811" y="369699"/>
                        <a:pt x="426534" y="377662"/>
                      </a:cubicBezTo>
                      <a:cubicBezTo>
                        <a:pt x="426686" y="383644"/>
                        <a:pt x="427625" y="389562"/>
                        <a:pt x="429325" y="395302"/>
                      </a:cubicBezTo>
                      <a:lnTo>
                        <a:pt x="429185" y="395252"/>
                      </a:lnTo>
                      <a:lnTo>
                        <a:pt x="429185" y="395302"/>
                      </a:lnTo>
                      <a:cubicBezTo>
                        <a:pt x="428551" y="397233"/>
                        <a:pt x="428018" y="398896"/>
                        <a:pt x="427561" y="400382"/>
                      </a:cubicBezTo>
                      <a:cubicBezTo>
                        <a:pt x="427257" y="401411"/>
                        <a:pt x="426927" y="402364"/>
                        <a:pt x="426763" y="403215"/>
                      </a:cubicBezTo>
                      <a:cubicBezTo>
                        <a:pt x="426509" y="403989"/>
                        <a:pt x="426331" y="404789"/>
                        <a:pt x="426217" y="405602"/>
                      </a:cubicBezTo>
                      <a:cubicBezTo>
                        <a:pt x="426077" y="406161"/>
                        <a:pt x="426002" y="406732"/>
                        <a:pt x="425989" y="407304"/>
                      </a:cubicBezTo>
                      <a:lnTo>
                        <a:pt x="425989" y="407355"/>
                      </a:lnTo>
                      <a:cubicBezTo>
                        <a:pt x="425722" y="411851"/>
                        <a:pt x="428285" y="413565"/>
                        <a:pt x="435248" y="418150"/>
                      </a:cubicBezTo>
                      <a:cubicBezTo>
                        <a:pt x="440322" y="421477"/>
                        <a:pt x="445992" y="424005"/>
                        <a:pt x="450850" y="427599"/>
                      </a:cubicBezTo>
                      <a:cubicBezTo>
                        <a:pt x="458130" y="432958"/>
                        <a:pt x="464105" y="438572"/>
                        <a:pt x="458080" y="449290"/>
                      </a:cubicBezTo>
                      <a:cubicBezTo>
                        <a:pt x="453589" y="456529"/>
                        <a:pt x="455822" y="466042"/>
                        <a:pt x="463065" y="470537"/>
                      </a:cubicBezTo>
                      <a:cubicBezTo>
                        <a:pt x="463749" y="470969"/>
                        <a:pt x="464473" y="471337"/>
                        <a:pt x="465221" y="471655"/>
                      </a:cubicBezTo>
                      <a:cubicBezTo>
                        <a:pt x="478844" y="478399"/>
                        <a:pt x="476586" y="488038"/>
                        <a:pt x="471423" y="497741"/>
                      </a:cubicBezTo>
                      <a:cubicBezTo>
                        <a:pt x="458752" y="521680"/>
                        <a:pt x="444102" y="542838"/>
                        <a:pt x="419380" y="552694"/>
                      </a:cubicBezTo>
                      <a:cubicBezTo>
                        <a:pt x="417135" y="553621"/>
                        <a:pt x="414839" y="554433"/>
                        <a:pt x="412506" y="555119"/>
                      </a:cubicBezTo>
                      <a:lnTo>
                        <a:pt x="412379" y="555157"/>
                      </a:lnTo>
                      <a:cubicBezTo>
                        <a:pt x="408028" y="556415"/>
                        <a:pt x="403601" y="557329"/>
                        <a:pt x="399111" y="557901"/>
                      </a:cubicBezTo>
                      <a:cubicBezTo>
                        <a:pt x="375480" y="560923"/>
                        <a:pt x="352471" y="569788"/>
                        <a:pt x="323881" y="563489"/>
                      </a:cubicBezTo>
                      <a:lnTo>
                        <a:pt x="323843" y="563489"/>
                      </a:lnTo>
                      <a:cubicBezTo>
                        <a:pt x="321103" y="562930"/>
                        <a:pt x="318402" y="562206"/>
                        <a:pt x="315750" y="561330"/>
                      </a:cubicBezTo>
                      <a:cubicBezTo>
                        <a:pt x="314038" y="560834"/>
                        <a:pt x="312288" y="560250"/>
                        <a:pt x="310537" y="559577"/>
                      </a:cubicBezTo>
                      <a:cubicBezTo>
                        <a:pt x="314000" y="564238"/>
                        <a:pt x="316423" y="569597"/>
                        <a:pt x="317641" y="575274"/>
                      </a:cubicBezTo>
                      <a:cubicBezTo>
                        <a:pt x="317780" y="575820"/>
                        <a:pt x="317869" y="576354"/>
                        <a:pt x="317958" y="576849"/>
                      </a:cubicBezTo>
                      <a:cubicBezTo>
                        <a:pt x="318199" y="589676"/>
                        <a:pt x="316588" y="602465"/>
                        <a:pt x="313188" y="614822"/>
                      </a:cubicBezTo>
                      <a:cubicBezTo>
                        <a:pt x="313138" y="615165"/>
                        <a:pt x="313112" y="615508"/>
                        <a:pt x="313100" y="615863"/>
                      </a:cubicBezTo>
                      <a:cubicBezTo>
                        <a:pt x="312427" y="621642"/>
                        <a:pt x="313404" y="627496"/>
                        <a:pt x="315928" y="632729"/>
                      </a:cubicBezTo>
                      <a:cubicBezTo>
                        <a:pt x="311730" y="637263"/>
                        <a:pt x="306694" y="640946"/>
                        <a:pt x="301100" y="643575"/>
                      </a:cubicBezTo>
                      <a:cubicBezTo>
                        <a:pt x="289367" y="648045"/>
                        <a:pt x="276277" y="647258"/>
                        <a:pt x="265153" y="641416"/>
                      </a:cubicBezTo>
                      <a:cubicBezTo>
                        <a:pt x="258494" y="638723"/>
                        <a:pt x="251937" y="635345"/>
                        <a:pt x="245328" y="632373"/>
                      </a:cubicBezTo>
                      <a:lnTo>
                        <a:pt x="242499" y="631154"/>
                      </a:lnTo>
                      <a:cubicBezTo>
                        <a:pt x="242233" y="631065"/>
                        <a:pt x="241967" y="630938"/>
                        <a:pt x="241688" y="630849"/>
                      </a:cubicBezTo>
                      <a:cubicBezTo>
                        <a:pt x="226911" y="645696"/>
                        <a:pt x="241333" y="661584"/>
                        <a:pt x="238504" y="676379"/>
                      </a:cubicBezTo>
                      <a:cubicBezTo>
                        <a:pt x="237654" y="680837"/>
                        <a:pt x="245201" y="686958"/>
                        <a:pt x="250275" y="694337"/>
                      </a:cubicBezTo>
                      <a:cubicBezTo>
                        <a:pt x="247979" y="697398"/>
                        <a:pt x="244617" y="701982"/>
                        <a:pt x="240571" y="707380"/>
                      </a:cubicBezTo>
                      <a:cubicBezTo>
                        <a:pt x="243362" y="710618"/>
                        <a:pt x="246596" y="714352"/>
                        <a:pt x="250732" y="719127"/>
                      </a:cubicBezTo>
                      <a:cubicBezTo>
                        <a:pt x="236715" y="728296"/>
                        <a:pt x="229016" y="744540"/>
                        <a:pt x="230779" y="761202"/>
                      </a:cubicBezTo>
                      <a:cubicBezTo>
                        <a:pt x="230399" y="768517"/>
                        <a:pt x="228331" y="775642"/>
                        <a:pt x="224754" y="782030"/>
                      </a:cubicBezTo>
                      <a:cubicBezTo>
                        <a:pt x="223625" y="784507"/>
                        <a:pt x="222458" y="786932"/>
                        <a:pt x="221418" y="789358"/>
                      </a:cubicBezTo>
                      <a:cubicBezTo>
                        <a:pt x="220708" y="790984"/>
                        <a:pt x="220023" y="792558"/>
                        <a:pt x="219452" y="794172"/>
                      </a:cubicBezTo>
                      <a:cubicBezTo>
                        <a:pt x="213465" y="794844"/>
                        <a:pt x="207592" y="796280"/>
                        <a:pt x="201961" y="798452"/>
                      </a:cubicBezTo>
                      <a:cubicBezTo>
                        <a:pt x="197483" y="800102"/>
                        <a:pt x="193209" y="802299"/>
                        <a:pt x="189251" y="804979"/>
                      </a:cubicBezTo>
                      <a:lnTo>
                        <a:pt x="189112" y="805068"/>
                      </a:lnTo>
                      <a:cubicBezTo>
                        <a:pt x="177201" y="812726"/>
                        <a:pt x="168690" y="824702"/>
                        <a:pt x="165380" y="838494"/>
                      </a:cubicBezTo>
                      <a:cubicBezTo>
                        <a:pt x="162018" y="852845"/>
                        <a:pt x="179142" y="876341"/>
                        <a:pt x="197027" y="881332"/>
                      </a:cubicBezTo>
                      <a:cubicBezTo>
                        <a:pt x="202595" y="882525"/>
                        <a:pt x="208239" y="883402"/>
                        <a:pt x="213922" y="883948"/>
                      </a:cubicBezTo>
                      <a:cubicBezTo>
                        <a:pt x="216395" y="891720"/>
                        <a:pt x="216814" y="900026"/>
                        <a:pt x="215140" y="908014"/>
                      </a:cubicBezTo>
                      <a:cubicBezTo>
                        <a:pt x="214822" y="909449"/>
                        <a:pt x="214417" y="910859"/>
                        <a:pt x="213922" y="912243"/>
                      </a:cubicBezTo>
                      <a:cubicBezTo>
                        <a:pt x="210751" y="920803"/>
                        <a:pt x="205487" y="928436"/>
                        <a:pt x="198599" y="934430"/>
                      </a:cubicBezTo>
                      <a:cubicBezTo>
                        <a:pt x="191585" y="940856"/>
                        <a:pt x="183366" y="945987"/>
                        <a:pt x="176440" y="952515"/>
                      </a:cubicBezTo>
                      <a:cubicBezTo>
                        <a:pt x="166965" y="960377"/>
                        <a:pt x="161587" y="972137"/>
                        <a:pt x="161828" y="984456"/>
                      </a:cubicBezTo>
                      <a:cubicBezTo>
                        <a:pt x="163845" y="995581"/>
                        <a:pt x="157071" y="1006401"/>
                        <a:pt x="146201" y="1009436"/>
                      </a:cubicBezTo>
                      <a:cubicBezTo>
                        <a:pt x="145668" y="1009652"/>
                        <a:pt x="145123" y="1009856"/>
                        <a:pt x="144577" y="1010021"/>
                      </a:cubicBezTo>
                      <a:cubicBezTo>
                        <a:pt x="144121" y="1010198"/>
                        <a:pt x="143651" y="1010351"/>
                        <a:pt x="143182" y="1010465"/>
                      </a:cubicBezTo>
                      <a:cubicBezTo>
                        <a:pt x="126274" y="1016955"/>
                        <a:pt x="116698" y="1034900"/>
                        <a:pt x="120718" y="1052591"/>
                      </a:cubicBezTo>
                      <a:cubicBezTo>
                        <a:pt x="122152" y="1060325"/>
                        <a:pt x="121923" y="1068644"/>
                        <a:pt x="123408" y="1076518"/>
                      </a:cubicBezTo>
                      <a:cubicBezTo>
                        <a:pt x="123509" y="1077293"/>
                        <a:pt x="123661" y="1078067"/>
                        <a:pt x="123852" y="1078817"/>
                      </a:cubicBezTo>
                      <a:cubicBezTo>
                        <a:pt x="125107" y="1085065"/>
                        <a:pt x="128177" y="1090818"/>
                        <a:pt x="132667" y="1095326"/>
                      </a:cubicBezTo>
                      <a:cubicBezTo>
                        <a:pt x="135749" y="1099632"/>
                        <a:pt x="138235" y="1104318"/>
                        <a:pt x="140075" y="1109284"/>
                      </a:cubicBezTo>
                      <a:cubicBezTo>
                        <a:pt x="134316" y="1106388"/>
                        <a:pt x="128304" y="1104039"/>
                        <a:pt x="122101" y="1102261"/>
                      </a:cubicBezTo>
                      <a:cubicBezTo>
                        <a:pt x="110914" y="1099873"/>
                        <a:pt x="99549" y="1098375"/>
                        <a:pt x="88133" y="1097765"/>
                      </a:cubicBezTo>
                      <a:cubicBezTo>
                        <a:pt x="75284" y="1097168"/>
                        <a:pt x="62511" y="1095428"/>
                        <a:pt x="49979" y="1092545"/>
                      </a:cubicBezTo>
                      <a:cubicBezTo>
                        <a:pt x="37523" y="1089485"/>
                        <a:pt x="37523" y="1084887"/>
                        <a:pt x="32411" y="1076607"/>
                      </a:cubicBezTo>
                      <a:cubicBezTo>
                        <a:pt x="27325" y="1068377"/>
                        <a:pt x="34656" y="1062523"/>
                        <a:pt x="34111" y="1057582"/>
                      </a:cubicBezTo>
                      <a:cubicBezTo>
                        <a:pt x="34517" y="1050204"/>
                        <a:pt x="33096" y="1042850"/>
                        <a:pt x="29976" y="1036157"/>
                      </a:cubicBezTo>
                      <a:cubicBezTo>
                        <a:pt x="25714" y="1030582"/>
                        <a:pt x="22961" y="1034671"/>
                        <a:pt x="16581" y="1034316"/>
                      </a:cubicBezTo>
                      <a:cubicBezTo>
                        <a:pt x="10975" y="1033477"/>
                        <a:pt x="6256" y="1029668"/>
                        <a:pt x="4227" y="1024371"/>
                      </a:cubicBezTo>
                      <a:cubicBezTo>
                        <a:pt x="1551" y="1011646"/>
                        <a:pt x="143" y="998680"/>
                        <a:pt x="3" y="985675"/>
                      </a:cubicBezTo>
                      <a:cubicBezTo>
                        <a:pt x="-530" y="975870"/>
                        <a:pt x="6345" y="975057"/>
                        <a:pt x="10112" y="971501"/>
                      </a:cubicBezTo>
                      <a:cubicBezTo>
                        <a:pt x="13930" y="967945"/>
                        <a:pt x="12814" y="964745"/>
                        <a:pt x="18256" y="960478"/>
                      </a:cubicBezTo>
                      <a:cubicBezTo>
                        <a:pt x="23418" y="957227"/>
                        <a:pt x="26500" y="951474"/>
                        <a:pt x="26336" y="945365"/>
                      </a:cubicBezTo>
                      <a:cubicBezTo>
                        <a:pt x="25879" y="940590"/>
                        <a:pt x="28517" y="936056"/>
                        <a:pt x="32906" y="934113"/>
                      </a:cubicBezTo>
                      <a:cubicBezTo>
                        <a:pt x="36635" y="931547"/>
                        <a:pt x="31726" y="922505"/>
                        <a:pt x="29988" y="914631"/>
                      </a:cubicBezTo>
                      <a:cubicBezTo>
                        <a:pt x="29113" y="907367"/>
                        <a:pt x="31764" y="900127"/>
                        <a:pt x="37130" y="895149"/>
                      </a:cubicBezTo>
                      <a:cubicBezTo>
                        <a:pt x="41442" y="890018"/>
                        <a:pt x="45577" y="887364"/>
                        <a:pt x="44411" y="883491"/>
                      </a:cubicBezTo>
                      <a:cubicBezTo>
                        <a:pt x="43243" y="879579"/>
                        <a:pt x="45400" y="873864"/>
                        <a:pt x="49979" y="865723"/>
                      </a:cubicBezTo>
                      <a:cubicBezTo>
                        <a:pt x="54558" y="857621"/>
                        <a:pt x="47099" y="851639"/>
                        <a:pt x="44448" y="843587"/>
                      </a:cubicBezTo>
                      <a:cubicBezTo>
                        <a:pt x="41797" y="835523"/>
                        <a:pt x="49256" y="840247"/>
                        <a:pt x="52046" y="831395"/>
                      </a:cubicBezTo>
                      <a:cubicBezTo>
                        <a:pt x="54837" y="822569"/>
                        <a:pt x="48812" y="822124"/>
                        <a:pt x="53302" y="817044"/>
                      </a:cubicBezTo>
                      <a:cubicBezTo>
                        <a:pt x="57805" y="811964"/>
                        <a:pt x="58832" y="813577"/>
                        <a:pt x="59010" y="806148"/>
                      </a:cubicBezTo>
                      <a:cubicBezTo>
                        <a:pt x="59796" y="801474"/>
                        <a:pt x="57120" y="796915"/>
                        <a:pt x="52668" y="795302"/>
                      </a:cubicBezTo>
                      <a:cubicBezTo>
                        <a:pt x="49078" y="793054"/>
                        <a:pt x="46199" y="794006"/>
                        <a:pt x="41569" y="792381"/>
                      </a:cubicBezTo>
                      <a:cubicBezTo>
                        <a:pt x="36901" y="790768"/>
                        <a:pt x="44309" y="787212"/>
                        <a:pt x="49801" y="786310"/>
                      </a:cubicBezTo>
                      <a:cubicBezTo>
                        <a:pt x="55281" y="785459"/>
                        <a:pt x="59416" y="791035"/>
                        <a:pt x="61927" y="788203"/>
                      </a:cubicBezTo>
                      <a:cubicBezTo>
                        <a:pt x="64857" y="784710"/>
                        <a:pt x="66506" y="780329"/>
                        <a:pt x="66608" y="775782"/>
                      </a:cubicBezTo>
                      <a:cubicBezTo>
                        <a:pt x="67103" y="769800"/>
                        <a:pt x="61204" y="772277"/>
                        <a:pt x="51729" y="771959"/>
                      </a:cubicBezTo>
                      <a:cubicBezTo>
                        <a:pt x="42292" y="771692"/>
                        <a:pt x="47455" y="769038"/>
                        <a:pt x="48812" y="762332"/>
                      </a:cubicBezTo>
                      <a:cubicBezTo>
                        <a:pt x="50207" y="755665"/>
                        <a:pt x="49750" y="759894"/>
                        <a:pt x="48178" y="750814"/>
                      </a:cubicBezTo>
                      <a:cubicBezTo>
                        <a:pt x="46554" y="741720"/>
                        <a:pt x="50600" y="744108"/>
                        <a:pt x="47277" y="738520"/>
                      </a:cubicBezTo>
                      <a:cubicBezTo>
                        <a:pt x="43954" y="732945"/>
                        <a:pt x="45755" y="734875"/>
                        <a:pt x="48584" y="729071"/>
                      </a:cubicBezTo>
                      <a:cubicBezTo>
                        <a:pt x="51463" y="723267"/>
                        <a:pt x="46110" y="724169"/>
                        <a:pt x="42787" y="718048"/>
                      </a:cubicBezTo>
                      <a:cubicBezTo>
                        <a:pt x="39781" y="708307"/>
                        <a:pt x="39223" y="697969"/>
                        <a:pt x="41163" y="687949"/>
                      </a:cubicBezTo>
                      <a:cubicBezTo>
                        <a:pt x="42825" y="681433"/>
                        <a:pt x="47721" y="680570"/>
                        <a:pt x="48812" y="671934"/>
                      </a:cubicBezTo>
                      <a:cubicBezTo>
                        <a:pt x="48850" y="662180"/>
                        <a:pt x="47759" y="652452"/>
                        <a:pt x="45565" y="642952"/>
                      </a:cubicBezTo>
                      <a:cubicBezTo>
                        <a:pt x="43954" y="634825"/>
                        <a:pt x="45831" y="626379"/>
                        <a:pt x="50740" y="619699"/>
                      </a:cubicBezTo>
                      <a:cubicBezTo>
                        <a:pt x="54063" y="616460"/>
                        <a:pt x="48495" y="612092"/>
                        <a:pt x="49700" y="606910"/>
                      </a:cubicBezTo>
                      <a:cubicBezTo>
                        <a:pt x="50867" y="601792"/>
                        <a:pt x="52896" y="605030"/>
                        <a:pt x="49256" y="597956"/>
                      </a:cubicBezTo>
                      <a:cubicBezTo>
                        <a:pt x="45616" y="590895"/>
                        <a:pt x="48710" y="591479"/>
                        <a:pt x="55687" y="588203"/>
                      </a:cubicBezTo>
                      <a:cubicBezTo>
                        <a:pt x="62688" y="584913"/>
                        <a:pt x="58515" y="582526"/>
                        <a:pt x="59010" y="578068"/>
                      </a:cubicBezTo>
                      <a:cubicBezTo>
                        <a:pt x="59238" y="573064"/>
                        <a:pt x="60228" y="568124"/>
                        <a:pt x="61927" y="563400"/>
                      </a:cubicBezTo>
                      <a:cubicBezTo>
                        <a:pt x="63716" y="560161"/>
                        <a:pt x="71136" y="558231"/>
                        <a:pt x="73381" y="553418"/>
                      </a:cubicBezTo>
                      <a:cubicBezTo>
                        <a:pt x="75626" y="548604"/>
                        <a:pt x="65657" y="499773"/>
                        <a:pt x="65745" y="494655"/>
                      </a:cubicBezTo>
                      <a:cubicBezTo>
                        <a:pt x="66671" y="489956"/>
                        <a:pt x="68181" y="485384"/>
                        <a:pt x="70235" y="481065"/>
                      </a:cubicBezTo>
                      <a:cubicBezTo>
                        <a:pt x="71136" y="477243"/>
                        <a:pt x="76895" y="475668"/>
                        <a:pt x="78683" y="474487"/>
                      </a:cubicBezTo>
                      <a:cubicBezTo>
                        <a:pt x="80535" y="473369"/>
                        <a:pt x="80941" y="468874"/>
                        <a:pt x="85647" y="466207"/>
                      </a:cubicBezTo>
                      <a:cubicBezTo>
                        <a:pt x="90327" y="463565"/>
                        <a:pt x="87625" y="448262"/>
                        <a:pt x="88082" y="431917"/>
                      </a:cubicBezTo>
                      <a:cubicBezTo>
                        <a:pt x="88133" y="420093"/>
                        <a:pt x="93308" y="408879"/>
                        <a:pt x="102288" y="401183"/>
                      </a:cubicBezTo>
                      <a:cubicBezTo>
                        <a:pt x="107590" y="396916"/>
                        <a:pt x="104090" y="394578"/>
                        <a:pt x="102111" y="385396"/>
                      </a:cubicBezTo>
                      <a:cubicBezTo>
                        <a:pt x="100132" y="376214"/>
                        <a:pt x="105028" y="373967"/>
                        <a:pt x="104039" y="367667"/>
                      </a:cubicBezTo>
                      <a:cubicBezTo>
                        <a:pt x="103087" y="361317"/>
                        <a:pt x="99498" y="367667"/>
                        <a:pt x="99498" y="367667"/>
                      </a:cubicBezTo>
                      <a:cubicBezTo>
                        <a:pt x="99498" y="367667"/>
                        <a:pt x="91494" y="331892"/>
                        <a:pt x="90999" y="325643"/>
                      </a:cubicBezTo>
                      <a:cubicBezTo>
                        <a:pt x="90505" y="319344"/>
                        <a:pt x="87359" y="318671"/>
                        <a:pt x="83681" y="313451"/>
                      </a:cubicBezTo>
                      <a:cubicBezTo>
                        <a:pt x="79888" y="307901"/>
                        <a:pt x="81321" y="300345"/>
                        <a:pt x="86852" y="296560"/>
                      </a:cubicBezTo>
                      <a:cubicBezTo>
                        <a:pt x="87143" y="296357"/>
                        <a:pt x="87448" y="296166"/>
                        <a:pt x="87765" y="295988"/>
                      </a:cubicBezTo>
                      <a:cubicBezTo>
                        <a:pt x="94196" y="293830"/>
                        <a:pt x="86509" y="293830"/>
                        <a:pt x="90999" y="280914"/>
                      </a:cubicBezTo>
                      <a:cubicBezTo>
                        <a:pt x="95490" y="268049"/>
                        <a:pt x="98953" y="271109"/>
                        <a:pt x="100754" y="267871"/>
                      </a:cubicBezTo>
                      <a:cubicBezTo>
                        <a:pt x="102555" y="264670"/>
                        <a:pt x="103950" y="264721"/>
                        <a:pt x="100982" y="261114"/>
                      </a:cubicBezTo>
                      <a:cubicBezTo>
                        <a:pt x="98065" y="257558"/>
                        <a:pt x="105967" y="218328"/>
                        <a:pt x="108301" y="212207"/>
                      </a:cubicBezTo>
                      <a:cubicBezTo>
                        <a:pt x="109645" y="207520"/>
                        <a:pt x="112410" y="203367"/>
                        <a:pt x="116216" y="200332"/>
                      </a:cubicBezTo>
                      <a:cubicBezTo>
                        <a:pt x="119767" y="197627"/>
                        <a:pt x="131487" y="169954"/>
                        <a:pt x="135039" y="167706"/>
                      </a:cubicBezTo>
                      <a:cubicBezTo>
                        <a:pt x="138591" y="165509"/>
                        <a:pt x="144248" y="167757"/>
                        <a:pt x="146949" y="163121"/>
                      </a:cubicBezTo>
                      <a:cubicBezTo>
                        <a:pt x="149651" y="158435"/>
                        <a:pt x="144971" y="153533"/>
                        <a:pt x="142637" y="141836"/>
                      </a:cubicBezTo>
                      <a:cubicBezTo>
                        <a:pt x="140620" y="129047"/>
                        <a:pt x="140924" y="116004"/>
                        <a:pt x="143537" y="103317"/>
                      </a:cubicBezTo>
                      <a:cubicBezTo>
                        <a:pt x="145694" y="95849"/>
                        <a:pt x="143677" y="97830"/>
                        <a:pt x="140531" y="91392"/>
                      </a:cubicBezTo>
                      <a:cubicBezTo>
                        <a:pt x="137386" y="85004"/>
                        <a:pt x="145732" y="82984"/>
                        <a:pt x="155625" y="76863"/>
                      </a:cubicBezTo>
                      <a:cubicBezTo>
                        <a:pt x="165506" y="70690"/>
                        <a:pt x="173688" y="68443"/>
                        <a:pt x="176795" y="62639"/>
                      </a:cubicBezTo>
                      <a:cubicBezTo>
                        <a:pt x="179751" y="55844"/>
                        <a:pt x="181983" y="48758"/>
                        <a:pt x="183442" y="41493"/>
                      </a:cubicBezTo>
                      <a:cubicBezTo>
                        <a:pt x="183708" y="37683"/>
                        <a:pt x="182211" y="33975"/>
                        <a:pt x="179396" y="31410"/>
                      </a:cubicBezTo>
                      <a:lnTo>
                        <a:pt x="179396" y="31359"/>
                      </a:lnTo>
                      <a:cubicBezTo>
                        <a:pt x="179396" y="30914"/>
                        <a:pt x="179763" y="29428"/>
                        <a:pt x="183619" y="25516"/>
                      </a:cubicBezTo>
                      <a:cubicBezTo>
                        <a:pt x="188427" y="20703"/>
                        <a:pt x="187031" y="19535"/>
                        <a:pt x="190811" y="17503"/>
                      </a:cubicBezTo>
                      <a:cubicBezTo>
                        <a:pt x="194591" y="15433"/>
                        <a:pt x="197103" y="11928"/>
                        <a:pt x="199716" y="11077"/>
                      </a:cubicBezTo>
                      <a:cubicBezTo>
                        <a:pt x="202278" y="10175"/>
                        <a:pt x="201415" y="7559"/>
                        <a:pt x="206946" y="1488"/>
                      </a:cubicBezTo>
                      <a:cubicBezTo>
                        <a:pt x="212463" y="-4582"/>
                        <a:pt x="220467" y="9896"/>
                        <a:pt x="220467" y="9896"/>
                      </a:cubicBezTo>
                      <a:cubicBezTo>
                        <a:pt x="220467" y="9896"/>
                        <a:pt x="224424" y="9540"/>
                        <a:pt x="231654" y="9451"/>
                      </a:cubicBezTo>
                      <a:cubicBezTo>
                        <a:pt x="238897" y="9362"/>
                        <a:pt x="242259" y="6568"/>
                        <a:pt x="245226" y="9045"/>
                      </a:cubicBezTo>
                      <a:cubicBezTo>
                        <a:pt x="248195" y="11470"/>
                        <a:pt x="245949" y="6479"/>
                        <a:pt x="250440" y="11661"/>
                      </a:cubicBezTo>
                      <a:cubicBezTo>
                        <a:pt x="254943" y="16881"/>
                        <a:pt x="250896" y="18773"/>
                        <a:pt x="255615" y="25555"/>
                      </a:cubicBezTo>
                      <a:cubicBezTo>
                        <a:pt x="260333" y="32349"/>
                        <a:pt x="257593" y="38610"/>
                        <a:pt x="260739" y="33835"/>
                      </a:cubicBezTo>
                      <a:cubicBezTo>
                        <a:pt x="263885" y="29022"/>
                        <a:pt x="262439" y="23574"/>
                        <a:pt x="265762" y="17503"/>
                      </a:cubicBezTo>
                      <a:cubicBezTo>
                        <a:pt x="269085" y="11432"/>
                        <a:pt x="265052" y="6301"/>
                        <a:pt x="272599" y="6301"/>
                      </a:cubicBezTo>
                      <a:cubicBezTo>
                        <a:pt x="280197" y="6352"/>
                        <a:pt x="276011" y="7825"/>
                        <a:pt x="284243" y="7114"/>
                      </a:cubicBezTo>
                      <a:cubicBezTo>
                        <a:pt x="292462" y="6403"/>
                        <a:pt x="293807" y="6657"/>
                        <a:pt x="298031" y="6441"/>
                      </a:cubicBezTo>
                      <a:cubicBezTo>
                        <a:pt x="302217" y="6213"/>
                        <a:pt x="302217" y="8016"/>
                        <a:pt x="305223" y="10797"/>
                      </a:cubicBezTo>
                      <a:cubicBezTo>
                        <a:pt x="306034" y="11521"/>
                        <a:pt x="307341" y="12512"/>
                        <a:pt x="308863" y="13718"/>
                      </a:cubicBezTo>
                      <a:cubicBezTo>
                        <a:pt x="313670" y="16804"/>
                        <a:pt x="317831" y="20818"/>
                        <a:pt x="321091" y="25516"/>
                      </a:cubicBezTo>
                      <a:cubicBezTo>
                        <a:pt x="323196" y="30457"/>
                        <a:pt x="326710" y="43551"/>
                        <a:pt x="333179" y="45671"/>
                      </a:cubicBezTo>
                      <a:cubicBezTo>
                        <a:pt x="339647" y="47780"/>
                        <a:pt x="340053" y="49850"/>
                        <a:pt x="346396" y="54079"/>
                      </a:cubicBezTo>
                      <a:cubicBezTo>
                        <a:pt x="352687" y="58270"/>
                        <a:pt x="351913" y="62448"/>
                        <a:pt x="355744" y="64112"/>
                      </a:cubicBezTo>
                      <a:cubicBezTo>
                        <a:pt x="359600" y="65826"/>
                        <a:pt x="361934" y="63896"/>
                        <a:pt x="367641" y="65915"/>
                      </a:cubicBezTo>
                      <a:cubicBezTo>
                        <a:pt x="373349" y="67947"/>
                        <a:pt x="372499" y="69382"/>
                        <a:pt x="377218" y="68620"/>
                      </a:cubicBezTo>
                      <a:cubicBezTo>
                        <a:pt x="381937" y="67846"/>
                        <a:pt x="380453" y="66906"/>
                        <a:pt x="384905" y="70056"/>
                      </a:cubicBezTo>
                      <a:cubicBezTo>
                        <a:pt x="389357" y="73205"/>
                        <a:pt x="414877" y="89220"/>
                        <a:pt x="414877" y="89220"/>
                      </a:cubicBezTo>
                      <a:cubicBezTo>
                        <a:pt x="414877" y="89220"/>
                        <a:pt x="426154" y="98948"/>
                        <a:pt x="430974" y="98618"/>
                      </a:cubicBezTo>
                      <a:cubicBezTo>
                        <a:pt x="439269" y="98694"/>
                        <a:pt x="446930" y="103114"/>
                        <a:pt x="451141" y="110276"/>
                      </a:cubicBezTo>
                      <a:cubicBezTo>
                        <a:pt x="454959" y="118785"/>
                        <a:pt x="451281" y="116525"/>
                        <a:pt x="449531" y="120310"/>
                      </a:cubicBezTo>
                      <a:cubicBezTo>
                        <a:pt x="447818" y="124132"/>
                        <a:pt x="445624" y="133809"/>
                        <a:pt x="441121" y="135118"/>
                      </a:cubicBezTo>
                      <a:cubicBezTo>
                        <a:pt x="436631" y="136426"/>
                        <a:pt x="434741" y="144249"/>
                        <a:pt x="434563" y="146001"/>
                      </a:cubicBezTo>
                      <a:cubicBezTo>
                        <a:pt x="434424" y="147716"/>
                        <a:pt x="433802" y="148834"/>
                        <a:pt x="432762" y="154193"/>
                      </a:cubicBezTo>
                      <a:cubicBezTo>
                        <a:pt x="431392" y="158320"/>
                        <a:pt x="429236" y="162143"/>
                        <a:pt x="426420" y="165445"/>
                      </a:cubicBezTo>
                      <a:cubicBezTo>
                        <a:pt x="424581" y="168811"/>
                        <a:pt x="423909" y="170576"/>
                        <a:pt x="428170" y="171110"/>
                      </a:cubicBezTo>
                      <a:cubicBezTo>
                        <a:pt x="433320" y="171097"/>
                        <a:pt x="438470" y="171529"/>
                        <a:pt x="443544" y="172367"/>
                      </a:cubicBezTo>
                      <a:cubicBezTo>
                        <a:pt x="449974" y="174119"/>
                        <a:pt x="456494" y="175440"/>
                        <a:pt x="463090" y="176329"/>
                      </a:cubicBezTo>
                      <a:cubicBezTo>
                        <a:pt x="466248" y="175999"/>
                        <a:pt x="469407" y="175897"/>
                        <a:pt x="472578" y="176012"/>
                      </a:cubicBezTo>
                      <a:cubicBezTo>
                        <a:pt x="481076" y="176189"/>
                        <a:pt x="480353" y="177904"/>
                        <a:pt x="485516" y="178894"/>
                      </a:cubicBezTo>
                      <a:cubicBezTo>
                        <a:pt x="490640" y="179885"/>
                        <a:pt x="489968" y="174310"/>
                        <a:pt x="495308" y="173904"/>
                      </a:cubicBezTo>
                      <a:cubicBezTo>
                        <a:pt x="500660" y="173497"/>
                        <a:pt x="498821" y="180876"/>
                        <a:pt x="503806" y="175745"/>
                      </a:cubicBezTo>
                      <a:cubicBezTo>
                        <a:pt x="508791" y="170576"/>
                        <a:pt x="507218" y="165852"/>
                        <a:pt x="511036" y="163096"/>
                      </a:cubicBezTo>
                      <a:cubicBezTo>
                        <a:pt x="514816" y="160302"/>
                        <a:pt x="513104" y="161750"/>
                        <a:pt x="518862" y="160264"/>
                      </a:cubicBezTo>
                      <a:cubicBezTo>
                        <a:pt x="524570" y="158829"/>
                        <a:pt x="520613" y="157432"/>
                        <a:pt x="525243" y="154053"/>
                      </a:cubicBezTo>
                      <a:cubicBezTo>
                        <a:pt x="529872" y="150688"/>
                        <a:pt x="530494" y="143436"/>
                        <a:pt x="532346" y="141633"/>
                      </a:cubicBezTo>
                      <a:cubicBezTo>
                        <a:pt x="535390" y="134127"/>
                        <a:pt x="537153" y="126151"/>
                        <a:pt x="537559" y="118062"/>
                      </a:cubicBezTo>
                      <a:cubicBezTo>
                        <a:pt x="539398" y="116626"/>
                        <a:pt x="542950" y="116664"/>
                        <a:pt x="545055" y="116030"/>
                      </a:cubicBezTo>
                      <a:cubicBezTo>
                        <a:pt x="547960" y="114556"/>
                        <a:pt x="551461" y="115026"/>
                        <a:pt x="553871" y="117211"/>
                      </a:cubicBezTo>
                      <a:cubicBezTo>
                        <a:pt x="556611" y="120220"/>
                        <a:pt x="556167" y="125389"/>
                        <a:pt x="558044" y="127828"/>
                      </a:cubicBezTo>
                      <a:cubicBezTo>
                        <a:pt x="559934" y="130216"/>
                        <a:pt x="559084" y="136286"/>
                        <a:pt x="559667" y="140197"/>
                      </a:cubicBezTo>
                      <a:cubicBezTo>
                        <a:pt x="560314" y="144185"/>
                        <a:pt x="559325" y="151069"/>
                        <a:pt x="559680" y="157101"/>
                      </a:cubicBezTo>
                      <a:close/>
                    </a:path>
                  </a:pathLst>
                </a:custGeom>
                <a:grpFill/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41" name="Vrije vorm 540">
                  <a:extLst>
                    <a:ext uri="{FF2B5EF4-FFF2-40B4-BE49-F238E27FC236}">
                      <a16:creationId xmlns:a16="http://schemas.microsoft.com/office/drawing/2014/main" id="{929AD269-789A-AD41-97C5-FFB8D52E02D7}"/>
                    </a:ext>
                  </a:extLst>
                </p:cNvPr>
                <p:cNvSpPr/>
                <p:nvPr/>
              </p:nvSpPr>
              <p:spPr>
                <a:xfrm>
                  <a:off x="3669839" y="5710046"/>
                  <a:ext cx="13764" cy="25742"/>
                </a:xfrm>
                <a:custGeom>
                  <a:avLst/>
                  <a:gdLst>
                    <a:gd name="connsiteX0" fmla="*/ 13723 w 13764"/>
                    <a:gd name="connsiteY0" fmla="*/ 7964 h 25742"/>
                    <a:gd name="connsiteX1" fmla="*/ 8193 w 13764"/>
                    <a:gd name="connsiteY1" fmla="*/ 25744 h 25742"/>
                    <a:gd name="connsiteX2" fmla="*/ -26 w 13764"/>
                    <a:gd name="connsiteY2" fmla="*/ 23623 h 25742"/>
                    <a:gd name="connsiteX3" fmla="*/ 3208 w 13764"/>
                    <a:gd name="connsiteY3" fmla="*/ 7418 h 25742"/>
                    <a:gd name="connsiteX4" fmla="*/ 6849 w 13764"/>
                    <a:gd name="connsiteY4" fmla="*/ 1 h 25742"/>
                    <a:gd name="connsiteX5" fmla="*/ 13723 w 13764"/>
                    <a:gd name="connsiteY5" fmla="*/ 7964 h 257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3764" h="25742">
                      <a:moveTo>
                        <a:pt x="13723" y="7964"/>
                      </a:moveTo>
                      <a:cubicBezTo>
                        <a:pt x="12468" y="14060"/>
                        <a:pt x="10616" y="20016"/>
                        <a:pt x="8193" y="25744"/>
                      </a:cubicBezTo>
                      <a:cubicBezTo>
                        <a:pt x="5364" y="25464"/>
                        <a:pt x="2587" y="24753"/>
                        <a:pt x="-26" y="23623"/>
                      </a:cubicBezTo>
                      <a:cubicBezTo>
                        <a:pt x="608" y="18136"/>
                        <a:pt x="1686" y="12726"/>
                        <a:pt x="3208" y="7418"/>
                      </a:cubicBezTo>
                      <a:cubicBezTo>
                        <a:pt x="4210" y="4852"/>
                        <a:pt x="5428" y="2376"/>
                        <a:pt x="6849" y="1"/>
                      </a:cubicBezTo>
                      <a:cubicBezTo>
                        <a:pt x="10755" y="4357"/>
                        <a:pt x="13990" y="6529"/>
                        <a:pt x="13723" y="7964"/>
                      </a:cubicBezTo>
                      <a:close/>
                    </a:path>
                  </a:pathLst>
                </a:custGeom>
                <a:grpFill/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537" name="Graphic 5">
                <a:extLst>
                  <a:ext uri="{FF2B5EF4-FFF2-40B4-BE49-F238E27FC236}">
                    <a16:creationId xmlns:a16="http://schemas.microsoft.com/office/drawing/2014/main" id="{A0B6671D-F7CE-1849-A868-2DBCBF37FA03}"/>
                  </a:ext>
                </a:extLst>
              </p:cNvPr>
              <p:cNvGrpSpPr/>
              <p:nvPr/>
            </p:nvGrpSpPr>
            <p:grpSpPr>
              <a:xfrm>
                <a:off x="3543644" y="6157302"/>
                <a:ext cx="98188" cy="120904"/>
                <a:chOff x="3543644" y="6157302"/>
                <a:chExt cx="98188" cy="120904"/>
              </a:xfrm>
              <a:grpFill/>
            </p:grpSpPr>
            <p:sp>
              <p:nvSpPr>
                <p:cNvPr id="538" name="Vrije vorm 537">
                  <a:extLst>
                    <a:ext uri="{FF2B5EF4-FFF2-40B4-BE49-F238E27FC236}">
                      <a16:creationId xmlns:a16="http://schemas.microsoft.com/office/drawing/2014/main" id="{DBDAA30D-60FA-2444-B51B-C5C16470DC30}"/>
                    </a:ext>
                  </a:extLst>
                </p:cNvPr>
                <p:cNvSpPr/>
                <p:nvPr/>
              </p:nvSpPr>
              <p:spPr>
                <a:xfrm>
                  <a:off x="3552942" y="6263440"/>
                  <a:ext cx="34158" cy="14766"/>
                </a:xfrm>
                <a:custGeom>
                  <a:avLst/>
                  <a:gdLst>
                    <a:gd name="connsiteX0" fmla="*/ 34132 w 34158"/>
                    <a:gd name="connsiteY0" fmla="*/ 14767 h 14766"/>
                    <a:gd name="connsiteX1" fmla="*/ -26 w 34158"/>
                    <a:gd name="connsiteY1" fmla="*/ 8836 h 14766"/>
                    <a:gd name="connsiteX2" fmla="*/ 34132 w 34158"/>
                    <a:gd name="connsiteY2" fmla="*/ 14767 h 147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4158" h="14766">
                      <a:moveTo>
                        <a:pt x="34132" y="14767"/>
                      </a:moveTo>
                      <a:cubicBezTo>
                        <a:pt x="20434" y="12380"/>
                        <a:pt x="11796" y="10856"/>
                        <a:pt x="-26" y="8836"/>
                      </a:cubicBezTo>
                      <a:cubicBezTo>
                        <a:pt x="19076" y="-3991"/>
                        <a:pt x="22311" y="-3546"/>
                        <a:pt x="34132" y="14767"/>
                      </a:cubicBezTo>
                      <a:close/>
                    </a:path>
                  </a:pathLst>
                </a:custGeom>
                <a:grpFill/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39" name="Vrije vorm 538">
                  <a:extLst>
                    <a:ext uri="{FF2B5EF4-FFF2-40B4-BE49-F238E27FC236}">
                      <a16:creationId xmlns:a16="http://schemas.microsoft.com/office/drawing/2014/main" id="{8D855C97-5EFC-8E48-96D4-1091570F9E27}"/>
                    </a:ext>
                  </a:extLst>
                </p:cNvPr>
                <p:cNvSpPr/>
                <p:nvPr/>
              </p:nvSpPr>
              <p:spPr>
                <a:xfrm>
                  <a:off x="3543644" y="6157302"/>
                  <a:ext cx="98188" cy="107320"/>
                </a:xfrm>
                <a:custGeom>
                  <a:avLst/>
                  <a:gdLst>
                    <a:gd name="connsiteX0" fmla="*/ 98162 w 98188"/>
                    <a:gd name="connsiteY0" fmla="*/ 98134 h 107320"/>
                    <a:gd name="connsiteX1" fmla="*/ 49950 w 98188"/>
                    <a:gd name="connsiteY1" fmla="*/ 106288 h 107320"/>
                    <a:gd name="connsiteX2" fmla="*/ 4020 w 98188"/>
                    <a:gd name="connsiteY2" fmla="*/ 100928 h 107320"/>
                    <a:gd name="connsiteX3" fmla="*/ -26 w 98188"/>
                    <a:gd name="connsiteY3" fmla="*/ 100700 h 107320"/>
                    <a:gd name="connsiteX4" fmla="*/ -26 w 98188"/>
                    <a:gd name="connsiteY4" fmla="*/ 1 h 107320"/>
                    <a:gd name="connsiteX5" fmla="*/ 2041 w 98188"/>
                    <a:gd name="connsiteY5" fmla="*/ 17553 h 107320"/>
                    <a:gd name="connsiteX6" fmla="*/ 3208 w 98188"/>
                    <a:gd name="connsiteY6" fmla="*/ 24525 h 107320"/>
                    <a:gd name="connsiteX7" fmla="*/ 65412 w 98188"/>
                    <a:gd name="connsiteY7" fmla="*/ 85625 h 107320"/>
                    <a:gd name="connsiteX8" fmla="*/ 98162 w 98188"/>
                    <a:gd name="connsiteY8" fmla="*/ 98134 h 1073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8188" h="107320">
                      <a:moveTo>
                        <a:pt x="98162" y="98134"/>
                      </a:moveTo>
                      <a:cubicBezTo>
                        <a:pt x="78882" y="102998"/>
                        <a:pt x="66122" y="109970"/>
                        <a:pt x="49950" y="106288"/>
                      </a:cubicBezTo>
                      <a:cubicBezTo>
                        <a:pt x="34754" y="103595"/>
                        <a:pt x="19419" y="101805"/>
                        <a:pt x="4020" y="100928"/>
                      </a:cubicBezTo>
                      <a:cubicBezTo>
                        <a:pt x="2625" y="100788"/>
                        <a:pt x="1280" y="100700"/>
                        <a:pt x="-26" y="100700"/>
                      </a:cubicBezTo>
                      <a:lnTo>
                        <a:pt x="-26" y="1"/>
                      </a:lnTo>
                      <a:cubicBezTo>
                        <a:pt x="4286" y="3062"/>
                        <a:pt x="5098" y="8155"/>
                        <a:pt x="2041" y="17553"/>
                      </a:cubicBezTo>
                      <a:cubicBezTo>
                        <a:pt x="1420" y="19940"/>
                        <a:pt x="1838" y="22480"/>
                        <a:pt x="3208" y="24525"/>
                      </a:cubicBezTo>
                      <a:cubicBezTo>
                        <a:pt x="22222" y="46623"/>
                        <a:pt x="39472" y="70740"/>
                        <a:pt x="65412" y="85625"/>
                      </a:cubicBezTo>
                      <a:cubicBezTo>
                        <a:pt x="76028" y="90552"/>
                        <a:pt x="86975" y="94731"/>
                        <a:pt x="98162" y="98134"/>
                      </a:cubicBezTo>
                      <a:close/>
                    </a:path>
                  </a:pathLst>
                </a:custGeom>
                <a:grpFill/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358" name="Graphic 5">
              <a:extLst>
                <a:ext uri="{FF2B5EF4-FFF2-40B4-BE49-F238E27FC236}">
                  <a16:creationId xmlns:a16="http://schemas.microsoft.com/office/drawing/2014/main" id="{C0635519-C740-2046-BE09-D762BACF5382}"/>
                </a:ext>
              </a:extLst>
            </p:cNvPr>
            <p:cNvGrpSpPr/>
            <p:nvPr/>
          </p:nvGrpSpPr>
          <p:grpSpPr>
            <a:xfrm>
              <a:off x="3352849" y="4897817"/>
              <a:ext cx="236333" cy="1382598"/>
              <a:chOff x="3352849" y="4897817"/>
              <a:chExt cx="236333" cy="1382598"/>
            </a:xfrm>
            <a:solidFill>
              <a:schemeClr val="bg2"/>
            </a:solidFill>
          </p:grpSpPr>
          <p:sp>
            <p:nvSpPr>
              <p:cNvPr id="529" name="Vrije vorm 528">
                <a:extLst>
                  <a:ext uri="{FF2B5EF4-FFF2-40B4-BE49-F238E27FC236}">
                    <a16:creationId xmlns:a16="http://schemas.microsoft.com/office/drawing/2014/main" id="{E294D742-1641-2141-97AE-EC18E308DA7D}"/>
                  </a:ext>
                </a:extLst>
              </p:cNvPr>
              <p:cNvSpPr/>
              <p:nvPr/>
            </p:nvSpPr>
            <p:spPr>
              <a:xfrm>
                <a:off x="3352849" y="4897817"/>
                <a:ext cx="236333" cy="1310978"/>
              </a:xfrm>
              <a:custGeom>
                <a:avLst/>
                <a:gdLst>
                  <a:gd name="connsiteX0" fmla="*/ 232208 w 236333"/>
                  <a:gd name="connsiteY0" fmla="*/ 159831 h 1310978"/>
                  <a:gd name="connsiteX1" fmla="*/ 232208 w 236333"/>
                  <a:gd name="connsiteY1" fmla="*/ 159920 h 1310978"/>
                  <a:gd name="connsiteX2" fmla="*/ 214590 w 236333"/>
                  <a:gd name="connsiteY2" fmla="*/ 162256 h 1310978"/>
                  <a:gd name="connsiteX3" fmla="*/ 209199 w 236333"/>
                  <a:gd name="connsiteY3" fmla="*/ 148083 h 1310978"/>
                  <a:gd name="connsiteX4" fmla="*/ 204976 w 236333"/>
                  <a:gd name="connsiteY4" fmla="*/ 120689 h 1310978"/>
                  <a:gd name="connsiteX5" fmla="*/ 195260 w 236333"/>
                  <a:gd name="connsiteY5" fmla="*/ 105614 h 1310978"/>
                  <a:gd name="connsiteX6" fmla="*/ 192926 w 236333"/>
                  <a:gd name="connsiteY6" fmla="*/ 95086 h 1310978"/>
                  <a:gd name="connsiteX7" fmla="*/ 188385 w 236333"/>
                  <a:gd name="connsiteY7" fmla="*/ 86399 h 1310978"/>
                  <a:gd name="connsiteX8" fmla="*/ 191670 w 236333"/>
                  <a:gd name="connsiteY8" fmla="*/ 75871 h 1310978"/>
                  <a:gd name="connsiteX9" fmla="*/ 189552 w 236333"/>
                  <a:gd name="connsiteY9" fmla="*/ 60885 h 1310978"/>
                  <a:gd name="connsiteX10" fmla="*/ 180660 w 236333"/>
                  <a:gd name="connsiteY10" fmla="*/ 38343 h 1310978"/>
                  <a:gd name="connsiteX11" fmla="*/ 178009 w 236333"/>
                  <a:gd name="connsiteY11" fmla="*/ 18454 h 1310978"/>
                  <a:gd name="connsiteX12" fmla="*/ 173519 w 236333"/>
                  <a:gd name="connsiteY12" fmla="*/ 13552 h 1310978"/>
                  <a:gd name="connsiteX13" fmla="*/ 171172 w 236333"/>
                  <a:gd name="connsiteY13" fmla="*/ 6974 h 1310978"/>
                  <a:gd name="connsiteX14" fmla="*/ 167621 w 236333"/>
                  <a:gd name="connsiteY14" fmla="*/ 1 h 1310978"/>
                  <a:gd name="connsiteX15" fmla="*/ 160695 w 236333"/>
                  <a:gd name="connsiteY15" fmla="*/ 4637 h 1310978"/>
                  <a:gd name="connsiteX16" fmla="*/ 156928 w 236333"/>
                  <a:gd name="connsiteY16" fmla="*/ 14542 h 1310978"/>
                  <a:gd name="connsiteX17" fmla="*/ 144573 w 236333"/>
                  <a:gd name="connsiteY17" fmla="*/ 24753 h 1310978"/>
                  <a:gd name="connsiteX18" fmla="*/ 139449 w 236333"/>
                  <a:gd name="connsiteY18" fmla="*/ 25109 h 1310978"/>
                  <a:gd name="connsiteX19" fmla="*/ 141326 w 236333"/>
                  <a:gd name="connsiteY19" fmla="*/ 31002 h 1310978"/>
                  <a:gd name="connsiteX20" fmla="*/ 142138 w 236333"/>
                  <a:gd name="connsiteY20" fmla="*/ 37797 h 1310978"/>
                  <a:gd name="connsiteX21" fmla="*/ 144979 w 236333"/>
                  <a:gd name="connsiteY21" fmla="*/ 139676 h 1310978"/>
                  <a:gd name="connsiteX22" fmla="*/ 137382 w 236333"/>
                  <a:gd name="connsiteY22" fmla="*/ 178677 h 1310978"/>
                  <a:gd name="connsiteX23" fmla="*/ 126955 w 236333"/>
                  <a:gd name="connsiteY23" fmla="*/ 293955 h 1310978"/>
                  <a:gd name="connsiteX24" fmla="*/ 112216 w 236333"/>
                  <a:gd name="connsiteY24" fmla="*/ 374410 h 1310978"/>
                  <a:gd name="connsiteX25" fmla="*/ 113383 w 236333"/>
                  <a:gd name="connsiteY25" fmla="*/ 378868 h 1310978"/>
                  <a:gd name="connsiteX26" fmla="*/ 110237 w 236333"/>
                  <a:gd name="connsiteY26" fmla="*/ 391199 h 1310978"/>
                  <a:gd name="connsiteX27" fmla="*/ 109832 w 236333"/>
                  <a:gd name="connsiteY27" fmla="*/ 391644 h 1310978"/>
                  <a:gd name="connsiteX28" fmla="*/ 104935 w 236333"/>
                  <a:gd name="connsiteY28" fmla="*/ 425756 h 1310978"/>
                  <a:gd name="connsiteX29" fmla="*/ 107003 w 236333"/>
                  <a:gd name="connsiteY29" fmla="*/ 440336 h 1310978"/>
                  <a:gd name="connsiteX30" fmla="*/ 109286 w 236333"/>
                  <a:gd name="connsiteY30" fmla="*/ 471476 h 1310978"/>
                  <a:gd name="connsiteX31" fmla="*/ 108931 w 236333"/>
                  <a:gd name="connsiteY31" fmla="*/ 474753 h 1310978"/>
                  <a:gd name="connsiteX32" fmla="*/ 50558 w 236333"/>
                  <a:gd name="connsiteY32" fmla="*/ 635662 h 1310978"/>
                  <a:gd name="connsiteX33" fmla="*/ 48757 w 236333"/>
                  <a:gd name="connsiteY33" fmla="*/ 645745 h 1310978"/>
                  <a:gd name="connsiteX34" fmla="*/ 49873 w 236333"/>
                  <a:gd name="connsiteY34" fmla="*/ 654293 h 1310978"/>
                  <a:gd name="connsiteX35" fmla="*/ 50520 w 236333"/>
                  <a:gd name="connsiteY35" fmla="*/ 659245 h 1310978"/>
                  <a:gd name="connsiteX36" fmla="*/ 56761 w 236333"/>
                  <a:gd name="connsiteY36" fmla="*/ 693942 h 1310978"/>
                  <a:gd name="connsiteX37" fmla="*/ 58511 w 236333"/>
                  <a:gd name="connsiteY37" fmla="*/ 704699 h 1310978"/>
                  <a:gd name="connsiteX38" fmla="*/ 52271 w 236333"/>
                  <a:gd name="connsiteY38" fmla="*/ 728727 h 1310978"/>
                  <a:gd name="connsiteX39" fmla="*/ 51598 w 236333"/>
                  <a:gd name="connsiteY39" fmla="*/ 730073 h 1310978"/>
                  <a:gd name="connsiteX40" fmla="*/ 46867 w 236333"/>
                  <a:gd name="connsiteY40" fmla="*/ 796215 h 1310978"/>
                  <a:gd name="connsiteX41" fmla="*/ 48136 w 236333"/>
                  <a:gd name="connsiteY41" fmla="*/ 798374 h 1310978"/>
                  <a:gd name="connsiteX42" fmla="*/ 48402 w 236333"/>
                  <a:gd name="connsiteY42" fmla="*/ 798831 h 1310978"/>
                  <a:gd name="connsiteX43" fmla="*/ 48935 w 236333"/>
                  <a:gd name="connsiteY43" fmla="*/ 798603 h 1310978"/>
                  <a:gd name="connsiteX44" fmla="*/ 66287 w 236333"/>
                  <a:gd name="connsiteY44" fmla="*/ 791262 h 1310978"/>
                  <a:gd name="connsiteX45" fmla="*/ 71234 w 236333"/>
                  <a:gd name="connsiteY45" fmla="*/ 789192 h 1310978"/>
                  <a:gd name="connsiteX46" fmla="*/ 71500 w 236333"/>
                  <a:gd name="connsiteY46" fmla="*/ 789103 h 1310978"/>
                  <a:gd name="connsiteX47" fmla="*/ 71601 w 236333"/>
                  <a:gd name="connsiteY47" fmla="*/ 789370 h 1310978"/>
                  <a:gd name="connsiteX48" fmla="*/ 76003 w 236333"/>
                  <a:gd name="connsiteY48" fmla="*/ 799314 h 1310978"/>
                  <a:gd name="connsiteX49" fmla="*/ 79098 w 236333"/>
                  <a:gd name="connsiteY49" fmla="*/ 809397 h 1310978"/>
                  <a:gd name="connsiteX50" fmla="*/ 79237 w 236333"/>
                  <a:gd name="connsiteY50" fmla="*/ 816243 h 1310978"/>
                  <a:gd name="connsiteX51" fmla="*/ 76130 w 236333"/>
                  <a:gd name="connsiteY51" fmla="*/ 824879 h 1310978"/>
                  <a:gd name="connsiteX52" fmla="*/ 74925 w 236333"/>
                  <a:gd name="connsiteY52" fmla="*/ 826758 h 1310978"/>
                  <a:gd name="connsiteX53" fmla="*/ 72680 w 236333"/>
                  <a:gd name="connsiteY53" fmla="*/ 829603 h 1310978"/>
                  <a:gd name="connsiteX54" fmla="*/ 71234 w 236333"/>
                  <a:gd name="connsiteY54" fmla="*/ 834950 h 1310978"/>
                  <a:gd name="connsiteX55" fmla="*/ 70878 w 236333"/>
                  <a:gd name="connsiteY55" fmla="*/ 839496 h 1310978"/>
                  <a:gd name="connsiteX56" fmla="*/ 68544 w 236333"/>
                  <a:gd name="connsiteY56" fmla="*/ 853314 h 1310978"/>
                  <a:gd name="connsiteX57" fmla="*/ 66249 w 236333"/>
                  <a:gd name="connsiteY57" fmla="*/ 866725 h 1310978"/>
                  <a:gd name="connsiteX58" fmla="*/ 62748 w 236333"/>
                  <a:gd name="connsiteY58" fmla="*/ 887464 h 1310978"/>
                  <a:gd name="connsiteX59" fmla="*/ 62063 w 236333"/>
                  <a:gd name="connsiteY59" fmla="*/ 891516 h 1310978"/>
                  <a:gd name="connsiteX60" fmla="*/ 62164 w 236333"/>
                  <a:gd name="connsiteY60" fmla="*/ 891960 h 1310978"/>
                  <a:gd name="connsiteX61" fmla="*/ 68177 w 236333"/>
                  <a:gd name="connsiteY61" fmla="*/ 899606 h 1310978"/>
                  <a:gd name="connsiteX62" fmla="*/ 68316 w 236333"/>
                  <a:gd name="connsiteY62" fmla="*/ 899656 h 1310978"/>
                  <a:gd name="connsiteX63" fmla="*/ 68722 w 236333"/>
                  <a:gd name="connsiteY63" fmla="*/ 900012 h 1310978"/>
                  <a:gd name="connsiteX64" fmla="*/ 71107 w 236333"/>
                  <a:gd name="connsiteY64" fmla="*/ 902222 h 1310978"/>
                  <a:gd name="connsiteX65" fmla="*/ 73897 w 236333"/>
                  <a:gd name="connsiteY65" fmla="*/ 908661 h 1310978"/>
                  <a:gd name="connsiteX66" fmla="*/ 73897 w 236333"/>
                  <a:gd name="connsiteY66" fmla="*/ 908699 h 1310978"/>
                  <a:gd name="connsiteX67" fmla="*/ 71284 w 236333"/>
                  <a:gd name="connsiteY67" fmla="*/ 914820 h 1310978"/>
                  <a:gd name="connsiteX68" fmla="*/ 70929 w 236333"/>
                  <a:gd name="connsiteY68" fmla="*/ 915315 h 1310978"/>
                  <a:gd name="connsiteX69" fmla="*/ 70168 w 236333"/>
                  <a:gd name="connsiteY69" fmla="*/ 916217 h 1310978"/>
                  <a:gd name="connsiteX70" fmla="*/ 69889 w 236333"/>
                  <a:gd name="connsiteY70" fmla="*/ 916535 h 1310978"/>
                  <a:gd name="connsiteX71" fmla="*/ 69851 w 236333"/>
                  <a:gd name="connsiteY71" fmla="*/ 916484 h 1310978"/>
                  <a:gd name="connsiteX72" fmla="*/ 62342 w 236333"/>
                  <a:gd name="connsiteY72" fmla="*/ 901765 h 1310978"/>
                  <a:gd name="connsiteX73" fmla="*/ 62342 w 236333"/>
                  <a:gd name="connsiteY73" fmla="*/ 901727 h 1310978"/>
                  <a:gd name="connsiteX74" fmla="*/ 61441 w 236333"/>
                  <a:gd name="connsiteY74" fmla="*/ 900012 h 1310978"/>
                  <a:gd name="connsiteX75" fmla="*/ 61175 w 236333"/>
                  <a:gd name="connsiteY75" fmla="*/ 901320 h 1310978"/>
                  <a:gd name="connsiteX76" fmla="*/ 60820 w 236333"/>
                  <a:gd name="connsiteY76" fmla="*/ 903073 h 1310978"/>
                  <a:gd name="connsiteX77" fmla="*/ 60820 w 236333"/>
                  <a:gd name="connsiteY77" fmla="*/ 903124 h 1310978"/>
                  <a:gd name="connsiteX78" fmla="*/ 60097 w 236333"/>
                  <a:gd name="connsiteY78" fmla="*/ 906769 h 1310978"/>
                  <a:gd name="connsiteX79" fmla="*/ 59919 w 236333"/>
                  <a:gd name="connsiteY79" fmla="*/ 907708 h 1310978"/>
                  <a:gd name="connsiteX80" fmla="*/ 59919 w 236333"/>
                  <a:gd name="connsiteY80" fmla="*/ 907759 h 1310978"/>
                  <a:gd name="connsiteX81" fmla="*/ 59602 w 236333"/>
                  <a:gd name="connsiteY81" fmla="*/ 909512 h 1310978"/>
                  <a:gd name="connsiteX82" fmla="*/ 58524 w 236333"/>
                  <a:gd name="connsiteY82" fmla="*/ 915633 h 1310978"/>
                  <a:gd name="connsiteX83" fmla="*/ 58118 w 236333"/>
                  <a:gd name="connsiteY83" fmla="*/ 918199 h 1310978"/>
                  <a:gd name="connsiteX84" fmla="*/ 58118 w 236333"/>
                  <a:gd name="connsiteY84" fmla="*/ 918237 h 1310978"/>
                  <a:gd name="connsiteX85" fmla="*/ 57801 w 236333"/>
                  <a:gd name="connsiteY85" fmla="*/ 920269 h 1310978"/>
                  <a:gd name="connsiteX86" fmla="*/ 56051 w 236333"/>
                  <a:gd name="connsiteY86" fmla="*/ 931737 h 1310978"/>
                  <a:gd name="connsiteX87" fmla="*/ 56013 w 236333"/>
                  <a:gd name="connsiteY87" fmla="*/ 931737 h 1310978"/>
                  <a:gd name="connsiteX88" fmla="*/ 55556 w 236333"/>
                  <a:gd name="connsiteY88" fmla="*/ 935153 h 1310978"/>
                  <a:gd name="connsiteX89" fmla="*/ 54567 w 236333"/>
                  <a:gd name="connsiteY89" fmla="*/ 941414 h 1310978"/>
                  <a:gd name="connsiteX90" fmla="*/ 52271 w 236333"/>
                  <a:gd name="connsiteY90" fmla="*/ 955003 h 1310978"/>
                  <a:gd name="connsiteX91" fmla="*/ 51649 w 236333"/>
                  <a:gd name="connsiteY91" fmla="*/ 958153 h 1310978"/>
                  <a:gd name="connsiteX92" fmla="*/ 49620 w 236333"/>
                  <a:gd name="connsiteY92" fmla="*/ 967195 h 1310978"/>
                  <a:gd name="connsiteX93" fmla="*/ 43011 w 236333"/>
                  <a:gd name="connsiteY93" fmla="*/ 988302 h 1310978"/>
                  <a:gd name="connsiteX94" fmla="*/ 42339 w 236333"/>
                  <a:gd name="connsiteY94" fmla="*/ 990055 h 1310978"/>
                  <a:gd name="connsiteX95" fmla="*/ 41667 w 236333"/>
                  <a:gd name="connsiteY95" fmla="*/ 988531 h 1310978"/>
                  <a:gd name="connsiteX96" fmla="*/ 40906 w 236333"/>
                  <a:gd name="connsiteY96" fmla="*/ 986728 h 1310978"/>
                  <a:gd name="connsiteX97" fmla="*/ 35287 w 236333"/>
                  <a:gd name="connsiteY97" fmla="*/ 973951 h 1310978"/>
                  <a:gd name="connsiteX98" fmla="*/ 35058 w 236333"/>
                  <a:gd name="connsiteY98" fmla="*/ 973456 h 1310978"/>
                  <a:gd name="connsiteX99" fmla="*/ 28412 w 236333"/>
                  <a:gd name="connsiteY99" fmla="*/ 958204 h 1310978"/>
                  <a:gd name="connsiteX100" fmla="*/ 26116 w 236333"/>
                  <a:gd name="connsiteY100" fmla="*/ 960363 h 1310978"/>
                  <a:gd name="connsiteX101" fmla="*/ 24860 w 236333"/>
                  <a:gd name="connsiteY101" fmla="*/ 961582 h 1310978"/>
                  <a:gd name="connsiteX102" fmla="*/ 16235 w 236333"/>
                  <a:gd name="connsiteY102" fmla="*/ 969671 h 1310978"/>
                  <a:gd name="connsiteX103" fmla="*/ 14256 w 236333"/>
                  <a:gd name="connsiteY103" fmla="*/ 971513 h 1310978"/>
                  <a:gd name="connsiteX104" fmla="*/ 12278 w 236333"/>
                  <a:gd name="connsiteY104" fmla="*/ 973405 h 1310978"/>
                  <a:gd name="connsiteX105" fmla="*/ 10882 w 236333"/>
                  <a:gd name="connsiteY105" fmla="*/ 974713 h 1310978"/>
                  <a:gd name="connsiteX106" fmla="*/ 7432 w 236333"/>
                  <a:gd name="connsiteY106" fmla="*/ 977952 h 1310978"/>
                  <a:gd name="connsiteX107" fmla="*/ 6392 w 236333"/>
                  <a:gd name="connsiteY107" fmla="*/ 978943 h 1310978"/>
                  <a:gd name="connsiteX108" fmla="*/ -26 w 236333"/>
                  <a:gd name="connsiteY108" fmla="*/ 985013 h 1310978"/>
                  <a:gd name="connsiteX109" fmla="*/ 3969 w 236333"/>
                  <a:gd name="connsiteY109" fmla="*/ 990779 h 1310978"/>
                  <a:gd name="connsiteX110" fmla="*/ 9220 w 236333"/>
                  <a:gd name="connsiteY110" fmla="*/ 993700 h 1310978"/>
                  <a:gd name="connsiteX111" fmla="*/ 24061 w 236333"/>
                  <a:gd name="connsiteY111" fmla="*/ 997256 h 1310978"/>
                  <a:gd name="connsiteX112" fmla="*/ 36821 w 236333"/>
                  <a:gd name="connsiteY112" fmla="*/ 1011874 h 1310978"/>
                  <a:gd name="connsiteX113" fmla="*/ 33270 w 236333"/>
                  <a:gd name="connsiteY113" fmla="*/ 1015658 h 1310978"/>
                  <a:gd name="connsiteX114" fmla="*/ 27511 w 236333"/>
                  <a:gd name="connsiteY114" fmla="*/ 1021729 h 1310978"/>
                  <a:gd name="connsiteX115" fmla="*/ 29173 w 236333"/>
                  <a:gd name="connsiteY115" fmla="*/ 1029298 h 1310978"/>
                  <a:gd name="connsiteX116" fmla="*/ 30885 w 236333"/>
                  <a:gd name="connsiteY116" fmla="*/ 1036982 h 1310978"/>
                  <a:gd name="connsiteX117" fmla="*/ 31329 w 236333"/>
                  <a:gd name="connsiteY117" fmla="*/ 1038925 h 1310978"/>
                  <a:gd name="connsiteX118" fmla="*/ 32369 w 236333"/>
                  <a:gd name="connsiteY118" fmla="*/ 1043738 h 1310978"/>
                  <a:gd name="connsiteX119" fmla="*/ 32864 w 236333"/>
                  <a:gd name="connsiteY119" fmla="*/ 1043598 h 1310978"/>
                  <a:gd name="connsiteX120" fmla="*/ 31469 w 236333"/>
                  <a:gd name="connsiteY120" fmla="*/ 1047612 h 1310978"/>
                  <a:gd name="connsiteX121" fmla="*/ 30619 w 236333"/>
                  <a:gd name="connsiteY121" fmla="*/ 1050126 h 1310978"/>
                  <a:gd name="connsiteX122" fmla="*/ 30517 w 236333"/>
                  <a:gd name="connsiteY122" fmla="*/ 1050355 h 1310978"/>
                  <a:gd name="connsiteX123" fmla="*/ 30340 w 236333"/>
                  <a:gd name="connsiteY123" fmla="*/ 1054800 h 1310978"/>
                  <a:gd name="connsiteX124" fmla="*/ 34120 w 236333"/>
                  <a:gd name="connsiteY124" fmla="*/ 1061099 h 1310978"/>
                  <a:gd name="connsiteX125" fmla="*/ 34348 w 236333"/>
                  <a:gd name="connsiteY125" fmla="*/ 1061823 h 1310978"/>
                  <a:gd name="connsiteX126" fmla="*/ 34792 w 236333"/>
                  <a:gd name="connsiteY126" fmla="*/ 1063664 h 1310978"/>
                  <a:gd name="connsiteX127" fmla="*/ 34526 w 236333"/>
                  <a:gd name="connsiteY127" fmla="*/ 1069062 h 1310978"/>
                  <a:gd name="connsiteX128" fmla="*/ 30302 w 236333"/>
                  <a:gd name="connsiteY128" fmla="*/ 1077253 h 1310978"/>
                  <a:gd name="connsiteX129" fmla="*/ 28323 w 236333"/>
                  <a:gd name="connsiteY129" fmla="*/ 1080276 h 1310978"/>
                  <a:gd name="connsiteX130" fmla="*/ 26382 w 236333"/>
                  <a:gd name="connsiteY130" fmla="*/ 1083552 h 1310978"/>
                  <a:gd name="connsiteX131" fmla="*/ 25304 w 236333"/>
                  <a:gd name="connsiteY131" fmla="*/ 1085991 h 1310978"/>
                  <a:gd name="connsiteX132" fmla="*/ 25304 w 236333"/>
                  <a:gd name="connsiteY132" fmla="*/ 1086080 h 1310978"/>
                  <a:gd name="connsiteX133" fmla="*/ 24594 w 236333"/>
                  <a:gd name="connsiteY133" fmla="*/ 1088328 h 1310978"/>
                  <a:gd name="connsiteX134" fmla="*/ 13039 w 236333"/>
                  <a:gd name="connsiteY134" fmla="*/ 1081673 h 1310978"/>
                  <a:gd name="connsiteX135" fmla="*/ 12683 w 236333"/>
                  <a:gd name="connsiteY135" fmla="*/ 1089814 h 1310978"/>
                  <a:gd name="connsiteX136" fmla="*/ 13127 w 236333"/>
                  <a:gd name="connsiteY136" fmla="*/ 1104927 h 1310978"/>
                  <a:gd name="connsiteX137" fmla="*/ 13990 w 236333"/>
                  <a:gd name="connsiteY137" fmla="*/ 1111759 h 1310978"/>
                  <a:gd name="connsiteX138" fmla="*/ 14434 w 236333"/>
                  <a:gd name="connsiteY138" fmla="*/ 1114198 h 1310978"/>
                  <a:gd name="connsiteX139" fmla="*/ 14751 w 236333"/>
                  <a:gd name="connsiteY139" fmla="*/ 1116001 h 1310978"/>
                  <a:gd name="connsiteX140" fmla="*/ 14789 w 236333"/>
                  <a:gd name="connsiteY140" fmla="*/ 1116039 h 1310978"/>
                  <a:gd name="connsiteX141" fmla="*/ 15106 w 236333"/>
                  <a:gd name="connsiteY141" fmla="*/ 1117792 h 1310978"/>
                  <a:gd name="connsiteX142" fmla="*/ 15157 w 236333"/>
                  <a:gd name="connsiteY142" fmla="*/ 1117792 h 1310978"/>
                  <a:gd name="connsiteX143" fmla="*/ 16818 w 236333"/>
                  <a:gd name="connsiteY143" fmla="*/ 1124447 h 1310978"/>
                  <a:gd name="connsiteX144" fmla="*/ 16856 w 236333"/>
                  <a:gd name="connsiteY144" fmla="*/ 1124675 h 1310978"/>
                  <a:gd name="connsiteX145" fmla="*/ 18620 w 236333"/>
                  <a:gd name="connsiteY145" fmla="*/ 1130212 h 1310978"/>
                  <a:gd name="connsiteX146" fmla="*/ 19152 w 236333"/>
                  <a:gd name="connsiteY146" fmla="*/ 1131876 h 1310978"/>
                  <a:gd name="connsiteX147" fmla="*/ 19507 w 236333"/>
                  <a:gd name="connsiteY147" fmla="*/ 1130530 h 1310978"/>
                  <a:gd name="connsiteX148" fmla="*/ 24771 w 236333"/>
                  <a:gd name="connsiteY148" fmla="*/ 1109600 h 1310978"/>
                  <a:gd name="connsiteX149" fmla="*/ 24809 w 236333"/>
                  <a:gd name="connsiteY149" fmla="*/ 1109511 h 1310978"/>
                  <a:gd name="connsiteX150" fmla="*/ 25266 w 236333"/>
                  <a:gd name="connsiteY150" fmla="*/ 1107721 h 1310978"/>
                  <a:gd name="connsiteX151" fmla="*/ 28906 w 236333"/>
                  <a:gd name="connsiteY151" fmla="*/ 1107136 h 1310978"/>
                  <a:gd name="connsiteX152" fmla="*/ 30923 w 236333"/>
                  <a:gd name="connsiteY152" fmla="*/ 1106819 h 1310978"/>
                  <a:gd name="connsiteX153" fmla="*/ 33168 w 236333"/>
                  <a:gd name="connsiteY153" fmla="*/ 1111137 h 1310978"/>
                  <a:gd name="connsiteX154" fmla="*/ 35109 w 236333"/>
                  <a:gd name="connsiteY154" fmla="*/ 1115049 h 1310978"/>
                  <a:gd name="connsiteX155" fmla="*/ 35743 w 236333"/>
                  <a:gd name="connsiteY155" fmla="*/ 1119049 h 1310978"/>
                  <a:gd name="connsiteX156" fmla="*/ 35287 w 236333"/>
                  <a:gd name="connsiteY156" fmla="*/ 1121932 h 1310978"/>
                  <a:gd name="connsiteX157" fmla="*/ 35020 w 236333"/>
                  <a:gd name="connsiteY157" fmla="*/ 1123418 h 1310978"/>
                  <a:gd name="connsiteX158" fmla="*/ 34031 w 236333"/>
                  <a:gd name="connsiteY158" fmla="*/ 1130708 h 1310978"/>
                  <a:gd name="connsiteX159" fmla="*/ 33993 w 236333"/>
                  <a:gd name="connsiteY159" fmla="*/ 1131292 h 1310978"/>
                  <a:gd name="connsiteX160" fmla="*/ 33181 w 236333"/>
                  <a:gd name="connsiteY160" fmla="*/ 1140969 h 1310978"/>
                  <a:gd name="connsiteX161" fmla="*/ 33130 w 236333"/>
                  <a:gd name="connsiteY161" fmla="*/ 1142277 h 1310978"/>
                  <a:gd name="connsiteX162" fmla="*/ 33409 w 236333"/>
                  <a:gd name="connsiteY162" fmla="*/ 1152704 h 1310978"/>
                  <a:gd name="connsiteX163" fmla="*/ 34170 w 236333"/>
                  <a:gd name="connsiteY163" fmla="*/ 1158381 h 1310978"/>
                  <a:gd name="connsiteX164" fmla="*/ 34805 w 236333"/>
                  <a:gd name="connsiteY164" fmla="*/ 1161302 h 1310978"/>
                  <a:gd name="connsiteX165" fmla="*/ 35743 w 236333"/>
                  <a:gd name="connsiteY165" fmla="*/ 1165849 h 1310978"/>
                  <a:gd name="connsiteX166" fmla="*/ 36098 w 236333"/>
                  <a:gd name="connsiteY166" fmla="*/ 1168135 h 1310978"/>
                  <a:gd name="connsiteX167" fmla="*/ 36149 w 236333"/>
                  <a:gd name="connsiteY167" fmla="*/ 1168681 h 1310978"/>
                  <a:gd name="connsiteX168" fmla="*/ 36733 w 236333"/>
                  <a:gd name="connsiteY168" fmla="*/ 1173088 h 1310978"/>
                  <a:gd name="connsiteX169" fmla="*/ 39523 w 236333"/>
                  <a:gd name="connsiteY169" fmla="*/ 1186181 h 1310978"/>
                  <a:gd name="connsiteX170" fmla="*/ 45370 w 236333"/>
                  <a:gd name="connsiteY170" fmla="*/ 1195401 h 1310978"/>
                  <a:gd name="connsiteX171" fmla="*/ 47742 w 236333"/>
                  <a:gd name="connsiteY171" fmla="*/ 1201612 h 1310978"/>
                  <a:gd name="connsiteX172" fmla="*/ 48605 w 236333"/>
                  <a:gd name="connsiteY172" fmla="*/ 1208991 h 1310978"/>
                  <a:gd name="connsiteX173" fmla="*/ 65094 w 236333"/>
                  <a:gd name="connsiteY173" fmla="*/ 1212102 h 1310978"/>
                  <a:gd name="connsiteX174" fmla="*/ 70434 w 236333"/>
                  <a:gd name="connsiteY174" fmla="*/ 1213093 h 1310978"/>
                  <a:gd name="connsiteX175" fmla="*/ 78654 w 236333"/>
                  <a:gd name="connsiteY175" fmla="*/ 1214667 h 1310978"/>
                  <a:gd name="connsiteX176" fmla="*/ 81127 w 236333"/>
                  <a:gd name="connsiteY176" fmla="*/ 1215163 h 1310978"/>
                  <a:gd name="connsiteX177" fmla="*/ 78844 w 236333"/>
                  <a:gd name="connsiteY177" fmla="*/ 1222275 h 1310978"/>
                  <a:gd name="connsiteX178" fmla="*/ 77982 w 236333"/>
                  <a:gd name="connsiteY178" fmla="*/ 1224840 h 1310978"/>
                  <a:gd name="connsiteX179" fmla="*/ 77271 w 236333"/>
                  <a:gd name="connsiteY179" fmla="*/ 1227037 h 1310978"/>
                  <a:gd name="connsiteX180" fmla="*/ 76142 w 236333"/>
                  <a:gd name="connsiteY180" fmla="*/ 1230504 h 1310978"/>
                  <a:gd name="connsiteX181" fmla="*/ 75419 w 236333"/>
                  <a:gd name="connsiteY181" fmla="*/ 1230009 h 1310978"/>
                  <a:gd name="connsiteX182" fmla="*/ 75559 w 236333"/>
                  <a:gd name="connsiteY182" fmla="*/ 1230695 h 1310978"/>
                  <a:gd name="connsiteX183" fmla="*/ 75648 w 236333"/>
                  <a:gd name="connsiteY183" fmla="*/ 1230644 h 1310978"/>
                  <a:gd name="connsiteX184" fmla="*/ 78654 w 236333"/>
                  <a:gd name="connsiteY184" fmla="*/ 1238569 h 1310978"/>
                  <a:gd name="connsiteX185" fmla="*/ 80049 w 236333"/>
                  <a:gd name="connsiteY185" fmla="*/ 1242201 h 1310978"/>
                  <a:gd name="connsiteX186" fmla="*/ 82028 w 236333"/>
                  <a:gd name="connsiteY186" fmla="*/ 1247522 h 1310978"/>
                  <a:gd name="connsiteX187" fmla="*/ 84324 w 236333"/>
                  <a:gd name="connsiteY187" fmla="*/ 1247916 h 1310978"/>
                  <a:gd name="connsiteX188" fmla="*/ 84641 w 236333"/>
                  <a:gd name="connsiteY188" fmla="*/ 1247967 h 1310978"/>
                  <a:gd name="connsiteX189" fmla="*/ 87875 w 236333"/>
                  <a:gd name="connsiteY189" fmla="*/ 1248602 h 1310978"/>
                  <a:gd name="connsiteX190" fmla="*/ 94217 w 236333"/>
                  <a:gd name="connsiteY190" fmla="*/ 1249770 h 1310978"/>
                  <a:gd name="connsiteX191" fmla="*/ 98302 w 236333"/>
                  <a:gd name="connsiteY191" fmla="*/ 1250532 h 1310978"/>
                  <a:gd name="connsiteX192" fmla="*/ 98619 w 236333"/>
                  <a:gd name="connsiteY192" fmla="*/ 1250583 h 1310978"/>
                  <a:gd name="connsiteX193" fmla="*/ 104289 w 236333"/>
                  <a:gd name="connsiteY193" fmla="*/ 1251612 h 1310978"/>
                  <a:gd name="connsiteX194" fmla="*/ 92289 w 236333"/>
                  <a:gd name="connsiteY194" fmla="*/ 1257962 h 1310978"/>
                  <a:gd name="connsiteX195" fmla="*/ 78628 w 236333"/>
                  <a:gd name="connsiteY195" fmla="*/ 1261606 h 1310978"/>
                  <a:gd name="connsiteX196" fmla="*/ 77005 w 236333"/>
                  <a:gd name="connsiteY196" fmla="*/ 1261378 h 1310978"/>
                  <a:gd name="connsiteX197" fmla="*/ 73364 w 236333"/>
                  <a:gd name="connsiteY197" fmla="*/ 1260121 h 1310978"/>
                  <a:gd name="connsiteX198" fmla="*/ 72870 w 236333"/>
                  <a:gd name="connsiteY198" fmla="*/ 1259892 h 1310978"/>
                  <a:gd name="connsiteX199" fmla="*/ 68380 w 236333"/>
                  <a:gd name="connsiteY199" fmla="*/ 1257517 h 1310978"/>
                  <a:gd name="connsiteX200" fmla="*/ 68380 w 236333"/>
                  <a:gd name="connsiteY200" fmla="*/ 1257466 h 1310978"/>
                  <a:gd name="connsiteX201" fmla="*/ 62710 w 236333"/>
                  <a:gd name="connsiteY201" fmla="*/ 1253872 h 1310978"/>
                  <a:gd name="connsiteX202" fmla="*/ 61188 w 236333"/>
                  <a:gd name="connsiteY202" fmla="*/ 1252831 h 1310978"/>
                  <a:gd name="connsiteX203" fmla="*/ 60071 w 236333"/>
                  <a:gd name="connsiteY203" fmla="*/ 1252069 h 1310978"/>
                  <a:gd name="connsiteX204" fmla="*/ 59754 w 236333"/>
                  <a:gd name="connsiteY204" fmla="*/ 1255079 h 1310978"/>
                  <a:gd name="connsiteX205" fmla="*/ 59437 w 236333"/>
                  <a:gd name="connsiteY205" fmla="*/ 1257746 h 1310978"/>
                  <a:gd name="connsiteX206" fmla="*/ 59260 w 236333"/>
                  <a:gd name="connsiteY206" fmla="*/ 1259270 h 1310978"/>
                  <a:gd name="connsiteX207" fmla="*/ 59031 w 236333"/>
                  <a:gd name="connsiteY207" fmla="*/ 1261251 h 1310978"/>
                  <a:gd name="connsiteX208" fmla="*/ 58537 w 236333"/>
                  <a:gd name="connsiteY208" fmla="*/ 1265340 h 1310978"/>
                  <a:gd name="connsiteX209" fmla="*/ 58232 w 236333"/>
                  <a:gd name="connsiteY209" fmla="*/ 1268261 h 1310978"/>
                  <a:gd name="connsiteX210" fmla="*/ 58410 w 236333"/>
                  <a:gd name="connsiteY210" fmla="*/ 1268401 h 1310978"/>
                  <a:gd name="connsiteX211" fmla="*/ 66807 w 236333"/>
                  <a:gd name="connsiteY211" fmla="*/ 1273837 h 1310978"/>
                  <a:gd name="connsiteX212" fmla="*/ 70904 w 236333"/>
                  <a:gd name="connsiteY212" fmla="*/ 1276542 h 1310978"/>
                  <a:gd name="connsiteX213" fmla="*/ 72515 w 236333"/>
                  <a:gd name="connsiteY213" fmla="*/ 1277621 h 1310978"/>
                  <a:gd name="connsiteX214" fmla="*/ 74582 w 236333"/>
                  <a:gd name="connsiteY214" fmla="*/ 1278929 h 1310978"/>
                  <a:gd name="connsiteX215" fmla="*/ 76295 w 236333"/>
                  <a:gd name="connsiteY215" fmla="*/ 1280047 h 1310978"/>
                  <a:gd name="connsiteX216" fmla="*/ 86721 w 236333"/>
                  <a:gd name="connsiteY216" fmla="*/ 1275957 h 1310978"/>
                  <a:gd name="connsiteX217" fmla="*/ 89511 w 236333"/>
                  <a:gd name="connsiteY217" fmla="*/ 1274383 h 1310978"/>
                  <a:gd name="connsiteX218" fmla="*/ 106407 w 236333"/>
                  <a:gd name="connsiteY218" fmla="*/ 1265429 h 1310978"/>
                  <a:gd name="connsiteX219" fmla="*/ 118457 w 236333"/>
                  <a:gd name="connsiteY219" fmla="*/ 1263766 h 1310978"/>
                  <a:gd name="connsiteX220" fmla="*/ 106635 w 236333"/>
                  <a:gd name="connsiteY220" fmla="*/ 1280949 h 1310978"/>
                  <a:gd name="connsiteX221" fmla="*/ 103172 w 236333"/>
                  <a:gd name="connsiteY221" fmla="*/ 1283285 h 1310978"/>
                  <a:gd name="connsiteX222" fmla="*/ 101105 w 236333"/>
                  <a:gd name="connsiteY222" fmla="*/ 1284454 h 1310978"/>
                  <a:gd name="connsiteX223" fmla="*/ 95308 w 236333"/>
                  <a:gd name="connsiteY223" fmla="*/ 1286930 h 1310978"/>
                  <a:gd name="connsiteX224" fmla="*/ 93735 w 236333"/>
                  <a:gd name="connsiteY224" fmla="*/ 1287476 h 1310978"/>
                  <a:gd name="connsiteX225" fmla="*/ 83892 w 236333"/>
                  <a:gd name="connsiteY225" fmla="*/ 1289902 h 1310978"/>
                  <a:gd name="connsiteX226" fmla="*/ 81064 w 236333"/>
                  <a:gd name="connsiteY226" fmla="*/ 1290448 h 1310978"/>
                  <a:gd name="connsiteX227" fmla="*/ 81381 w 236333"/>
                  <a:gd name="connsiteY227" fmla="*/ 1290804 h 1310978"/>
                  <a:gd name="connsiteX228" fmla="*/ 85338 w 236333"/>
                  <a:gd name="connsiteY228" fmla="*/ 1295478 h 1310978"/>
                  <a:gd name="connsiteX229" fmla="*/ 86772 w 236333"/>
                  <a:gd name="connsiteY229" fmla="*/ 1297052 h 1310978"/>
                  <a:gd name="connsiteX230" fmla="*/ 87038 w 236333"/>
                  <a:gd name="connsiteY230" fmla="*/ 1297370 h 1310978"/>
                  <a:gd name="connsiteX231" fmla="*/ 93291 w 236333"/>
                  <a:gd name="connsiteY231" fmla="*/ 1303085 h 1310978"/>
                  <a:gd name="connsiteX232" fmla="*/ 93520 w 236333"/>
                  <a:gd name="connsiteY232" fmla="*/ 1303224 h 1310978"/>
                  <a:gd name="connsiteX233" fmla="*/ 106775 w 236333"/>
                  <a:gd name="connsiteY233" fmla="*/ 1309879 h 1310978"/>
                  <a:gd name="connsiteX234" fmla="*/ 119218 w 236333"/>
                  <a:gd name="connsiteY234" fmla="*/ 1310832 h 1310978"/>
                  <a:gd name="connsiteX235" fmla="*/ 119269 w 236333"/>
                  <a:gd name="connsiteY235" fmla="*/ 1310781 h 1310978"/>
                  <a:gd name="connsiteX236" fmla="*/ 128617 w 236333"/>
                  <a:gd name="connsiteY236" fmla="*/ 1257365 h 1310978"/>
                  <a:gd name="connsiteX237" fmla="*/ 167266 w 236333"/>
                  <a:gd name="connsiteY237" fmla="*/ 1239686 h 1310978"/>
                  <a:gd name="connsiteX238" fmla="*/ 185328 w 236333"/>
                  <a:gd name="connsiteY238" fmla="*/ 1236994 h 1310978"/>
                  <a:gd name="connsiteX239" fmla="*/ 193509 w 236333"/>
                  <a:gd name="connsiteY239" fmla="*/ 1238924 h 1310978"/>
                  <a:gd name="connsiteX240" fmla="*/ 192926 w 236333"/>
                  <a:gd name="connsiteY240" fmla="*/ 1237705 h 1310978"/>
                  <a:gd name="connsiteX241" fmla="*/ 174939 w 236333"/>
                  <a:gd name="connsiteY241" fmla="*/ 1230695 h 1310978"/>
                  <a:gd name="connsiteX242" fmla="*/ 140971 w 236333"/>
                  <a:gd name="connsiteY242" fmla="*/ 1226186 h 1310978"/>
                  <a:gd name="connsiteX243" fmla="*/ 102817 w 236333"/>
                  <a:gd name="connsiteY243" fmla="*/ 1220967 h 1310978"/>
                  <a:gd name="connsiteX244" fmla="*/ 85250 w 236333"/>
                  <a:gd name="connsiteY244" fmla="*/ 1205041 h 1310978"/>
                  <a:gd name="connsiteX245" fmla="*/ 86949 w 236333"/>
                  <a:gd name="connsiteY245" fmla="*/ 1186004 h 1310978"/>
                  <a:gd name="connsiteX246" fmla="*/ 82814 w 236333"/>
                  <a:gd name="connsiteY246" fmla="*/ 1164591 h 1310978"/>
                  <a:gd name="connsiteX247" fmla="*/ 69432 w 236333"/>
                  <a:gd name="connsiteY247" fmla="*/ 1162750 h 1310978"/>
                  <a:gd name="connsiteX248" fmla="*/ 57065 w 236333"/>
                  <a:gd name="connsiteY248" fmla="*/ 1152806 h 1310978"/>
                  <a:gd name="connsiteX249" fmla="*/ 52842 w 236333"/>
                  <a:gd name="connsiteY249" fmla="*/ 1114109 h 1310978"/>
                  <a:gd name="connsiteX250" fmla="*/ 62951 w 236333"/>
                  <a:gd name="connsiteY250" fmla="*/ 1099936 h 1310978"/>
                  <a:gd name="connsiteX251" fmla="*/ 71094 w 236333"/>
                  <a:gd name="connsiteY251" fmla="*/ 1088912 h 1310978"/>
                  <a:gd name="connsiteX252" fmla="*/ 79174 w 236333"/>
                  <a:gd name="connsiteY252" fmla="*/ 1073799 h 1310978"/>
                  <a:gd name="connsiteX253" fmla="*/ 85744 w 236333"/>
                  <a:gd name="connsiteY253" fmla="*/ 1062547 h 1310978"/>
                  <a:gd name="connsiteX254" fmla="*/ 82827 w 236333"/>
                  <a:gd name="connsiteY254" fmla="*/ 1043065 h 1310978"/>
                  <a:gd name="connsiteX255" fmla="*/ 89968 w 236333"/>
                  <a:gd name="connsiteY255" fmla="*/ 1023583 h 1310978"/>
                  <a:gd name="connsiteX256" fmla="*/ 97249 w 236333"/>
                  <a:gd name="connsiteY256" fmla="*/ 1011925 h 1310978"/>
                  <a:gd name="connsiteX257" fmla="*/ 102817 w 236333"/>
                  <a:gd name="connsiteY257" fmla="*/ 994157 h 1310978"/>
                  <a:gd name="connsiteX258" fmla="*/ 97299 w 236333"/>
                  <a:gd name="connsiteY258" fmla="*/ 972009 h 1310978"/>
                  <a:gd name="connsiteX259" fmla="*/ 104885 w 236333"/>
                  <a:gd name="connsiteY259" fmla="*/ 959816 h 1310978"/>
                  <a:gd name="connsiteX260" fmla="*/ 106153 w 236333"/>
                  <a:gd name="connsiteY260" fmla="*/ 945466 h 1310978"/>
                  <a:gd name="connsiteX261" fmla="*/ 111848 w 236333"/>
                  <a:gd name="connsiteY261" fmla="*/ 934581 h 1310978"/>
                  <a:gd name="connsiteX262" fmla="*/ 105506 w 236333"/>
                  <a:gd name="connsiteY262" fmla="*/ 923736 h 1310978"/>
                  <a:gd name="connsiteX263" fmla="*/ 94408 w 236333"/>
                  <a:gd name="connsiteY263" fmla="*/ 920815 h 1310978"/>
                  <a:gd name="connsiteX264" fmla="*/ 102640 w 236333"/>
                  <a:gd name="connsiteY264" fmla="*/ 914744 h 1310978"/>
                  <a:gd name="connsiteX265" fmla="*/ 114766 w 236333"/>
                  <a:gd name="connsiteY265" fmla="*/ 916636 h 1310978"/>
                  <a:gd name="connsiteX266" fmla="*/ 119446 w 236333"/>
                  <a:gd name="connsiteY266" fmla="*/ 904216 h 1310978"/>
                  <a:gd name="connsiteX267" fmla="*/ 104568 w 236333"/>
                  <a:gd name="connsiteY267" fmla="*/ 900393 h 1310978"/>
                  <a:gd name="connsiteX268" fmla="*/ 101650 w 236333"/>
                  <a:gd name="connsiteY268" fmla="*/ 890754 h 1310978"/>
                  <a:gd name="connsiteX269" fmla="*/ 101016 w 236333"/>
                  <a:gd name="connsiteY269" fmla="*/ 879235 h 1310978"/>
                  <a:gd name="connsiteX270" fmla="*/ 100115 w 236333"/>
                  <a:gd name="connsiteY270" fmla="*/ 866954 h 1310978"/>
                  <a:gd name="connsiteX271" fmla="*/ 101422 w 236333"/>
                  <a:gd name="connsiteY271" fmla="*/ 857505 h 1310978"/>
                  <a:gd name="connsiteX272" fmla="*/ 95625 w 236333"/>
                  <a:gd name="connsiteY272" fmla="*/ 846482 h 1310978"/>
                  <a:gd name="connsiteX273" fmla="*/ 94002 w 236333"/>
                  <a:gd name="connsiteY273" fmla="*/ 816383 h 1310978"/>
                  <a:gd name="connsiteX274" fmla="*/ 101650 w 236333"/>
                  <a:gd name="connsiteY274" fmla="*/ 800368 h 1310978"/>
                  <a:gd name="connsiteX275" fmla="*/ 98416 w 236333"/>
                  <a:gd name="connsiteY275" fmla="*/ 771387 h 1310978"/>
                  <a:gd name="connsiteX276" fmla="*/ 103578 w 236333"/>
                  <a:gd name="connsiteY276" fmla="*/ 748120 h 1310978"/>
                  <a:gd name="connsiteX277" fmla="*/ 102551 w 236333"/>
                  <a:gd name="connsiteY277" fmla="*/ 735344 h 1310978"/>
                  <a:gd name="connsiteX278" fmla="*/ 102094 w 236333"/>
                  <a:gd name="connsiteY278" fmla="*/ 726391 h 1310978"/>
                  <a:gd name="connsiteX279" fmla="*/ 108525 w 236333"/>
                  <a:gd name="connsiteY279" fmla="*/ 716624 h 1310978"/>
                  <a:gd name="connsiteX280" fmla="*/ 111848 w 236333"/>
                  <a:gd name="connsiteY280" fmla="*/ 706502 h 1310978"/>
                  <a:gd name="connsiteX281" fmla="*/ 114766 w 236333"/>
                  <a:gd name="connsiteY281" fmla="*/ 691834 h 1310978"/>
                  <a:gd name="connsiteX282" fmla="*/ 126220 w 236333"/>
                  <a:gd name="connsiteY282" fmla="*/ 681851 h 1310978"/>
                  <a:gd name="connsiteX283" fmla="*/ 118584 w 236333"/>
                  <a:gd name="connsiteY283" fmla="*/ 623076 h 1310978"/>
                  <a:gd name="connsiteX284" fmla="*/ 123074 w 236333"/>
                  <a:gd name="connsiteY284" fmla="*/ 609487 h 1310978"/>
                  <a:gd name="connsiteX285" fmla="*/ 131522 w 236333"/>
                  <a:gd name="connsiteY285" fmla="*/ 602921 h 1310978"/>
                  <a:gd name="connsiteX286" fmla="*/ 138498 w 236333"/>
                  <a:gd name="connsiteY286" fmla="*/ 594640 h 1310978"/>
                  <a:gd name="connsiteX287" fmla="*/ 140921 w 236333"/>
                  <a:gd name="connsiteY287" fmla="*/ 560351 h 1310978"/>
                  <a:gd name="connsiteX288" fmla="*/ 155127 w 236333"/>
                  <a:gd name="connsiteY288" fmla="*/ 529617 h 1310978"/>
                  <a:gd name="connsiteX289" fmla="*/ 154949 w 236333"/>
                  <a:gd name="connsiteY289" fmla="*/ 513831 h 1310978"/>
                  <a:gd name="connsiteX290" fmla="*/ 156877 w 236333"/>
                  <a:gd name="connsiteY290" fmla="*/ 496101 h 1310978"/>
                  <a:gd name="connsiteX291" fmla="*/ 152336 w 236333"/>
                  <a:gd name="connsiteY291" fmla="*/ 496101 h 1310978"/>
                  <a:gd name="connsiteX292" fmla="*/ 143838 w 236333"/>
                  <a:gd name="connsiteY292" fmla="*/ 454077 h 1310978"/>
                  <a:gd name="connsiteX293" fmla="*/ 136519 w 236333"/>
                  <a:gd name="connsiteY293" fmla="*/ 441885 h 1310978"/>
                  <a:gd name="connsiteX294" fmla="*/ 139690 w 236333"/>
                  <a:gd name="connsiteY294" fmla="*/ 424994 h 1310978"/>
                  <a:gd name="connsiteX295" fmla="*/ 140603 w 236333"/>
                  <a:gd name="connsiteY295" fmla="*/ 424423 h 1310978"/>
                  <a:gd name="connsiteX296" fmla="*/ 143838 w 236333"/>
                  <a:gd name="connsiteY296" fmla="*/ 409347 h 1310978"/>
                  <a:gd name="connsiteX297" fmla="*/ 153592 w 236333"/>
                  <a:gd name="connsiteY297" fmla="*/ 396292 h 1310978"/>
                  <a:gd name="connsiteX298" fmla="*/ 153820 w 236333"/>
                  <a:gd name="connsiteY298" fmla="*/ 389548 h 1310978"/>
                  <a:gd name="connsiteX299" fmla="*/ 161139 w 236333"/>
                  <a:gd name="connsiteY299" fmla="*/ 340640 h 1310978"/>
                  <a:gd name="connsiteX300" fmla="*/ 169054 w 236333"/>
                  <a:gd name="connsiteY300" fmla="*/ 328766 h 1310978"/>
                  <a:gd name="connsiteX301" fmla="*/ 187877 w 236333"/>
                  <a:gd name="connsiteY301" fmla="*/ 296140 h 1310978"/>
                  <a:gd name="connsiteX302" fmla="*/ 199788 w 236333"/>
                  <a:gd name="connsiteY302" fmla="*/ 291542 h 1310978"/>
                  <a:gd name="connsiteX303" fmla="*/ 195475 w 236333"/>
                  <a:gd name="connsiteY303" fmla="*/ 270270 h 1310978"/>
                  <a:gd name="connsiteX304" fmla="*/ 196376 w 236333"/>
                  <a:gd name="connsiteY304" fmla="*/ 231751 h 1310978"/>
                  <a:gd name="connsiteX305" fmla="*/ 193370 w 236333"/>
                  <a:gd name="connsiteY305" fmla="*/ 219825 h 1310978"/>
                  <a:gd name="connsiteX306" fmla="*/ 208464 w 236333"/>
                  <a:gd name="connsiteY306" fmla="*/ 205284 h 1310978"/>
                  <a:gd name="connsiteX307" fmla="*/ 229634 w 236333"/>
                  <a:gd name="connsiteY307" fmla="*/ 191060 h 1310978"/>
                  <a:gd name="connsiteX308" fmla="*/ 236280 w 236333"/>
                  <a:gd name="connsiteY308" fmla="*/ 169914 h 1310978"/>
                  <a:gd name="connsiteX309" fmla="*/ 232208 w 236333"/>
                  <a:gd name="connsiteY309" fmla="*/ 159831 h 1310978"/>
                  <a:gd name="connsiteX310" fmla="*/ 50381 w 236333"/>
                  <a:gd name="connsiteY310" fmla="*/ 1054660 h 1310978"/>
                  <a:gd name="connsiteX311" fmla="*/ 35236 w 236333"/>
                  <a:gd name="connsiteY311" fmla="*/ 1048005 h 1310978"/>
                  <a:gd name="connsiteX312" fmla="*/ 33206 w 236333"/>
                  <a:gd name="connsiteY312" fmla="*/ 1043459 h 1310978"/>
                  <a:gd name="connsiteX313" fmla="*/ 48986 w 236333"/>
                  <a:gd name="connsiteY313" fmla="*/ 1045668 h 1310978"/>
                  <a:gd name="connsiteX314" fmla="*/ 51091 w 236333"/>
                  <a:gd name="connsiteY314" fmla="*/ 1050482 h 1310978"/>
                  <a:gd name="connsiteX315" fmla="*/ 52803 w 236333"/>
                  <a:gd name="connsiteY315" fmla="*/ 1054711 h 1310978"/>
                  <a:gd name="connsiteX316" fmla="*/ 50381 w 236333"/>
                  <a:gd name="connsiteY316" fmla="*/ 1054660 h 13109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</a:cxnLst>
                <a:rect l="l" t="t" r="r" b="b"/>
                <a:pathLst>
                  <a:path w="236333" h="1310978">
                    <a:moveTo>
                      <a:pt x="232208" y="159831"/>
                    </a:moveTo>
                    <a:lnTo>
                      <a:pt x="232208" y="159920"/>
                    </a:lnTo>
                    <a:cubicBezTo>
                      <a:pt x="226589" y="162028"/>
                      <a:pt x="220564" y="162828"/>
                      <a:pt x="214590" y="162256"/>
                    </a:cubicBezTo>
                    <a:cubicBezTo>
                      <a:pt x="207804" y="160593"/>
                      <a:pt x="209199" y="148083"/>
                      <a:pt x="209199" y="148083"/>
                    </a:cubicBezTo>
                    <a:cubicBezTo>
                      <a:pt x="209199" y="148083"/>
                      <a:pt x="206320" y="125325"/>
                      <a:pt x="204976" y="120689"/>
                    </a:cubicBezTo>
                    <a:cubicBezTo>
                      <a:pt x="203314" y="114809"/>
                      <a:pt x="199927" y="109551"/>
                      <a:pt x="195260" y="105614"/>
                    </a:cubicBezTo>
                    <a:cubicBezTo>
                      <a:pt x="189463" y="100623"/>
                      <a:pt x="191353" y="99849"/>
                      <a:pt x="192926" y="95086"/>
                    </a:cubicBezTo>
                    <a:cubicBezTo>
                      <a:pt x="194498" y="90311"/>
                      <a:pt x="192786" y="91301"/>
                      <a:pt x="188385" y="86399"/>
                    </a:cubicBezTo>
                    <a:cubicBezTo>
                      <a:pt x="184034" y="81497"/>
                      <a:pt x="188207" y="79249"/>
                      <a:pt x="191670" y="75871"/>
                    </a:cubicBezTo>
                    <a:cubicBezTo>
                      <a:pt x="195171" y="72544"/>
                      <a:pt x="190275" y="64124"/>
                      <a:pt x="189552" y="60885"/>
                    </a:cubicBezTo>
                    <a:cubicBezTo>
                      <a:pt x="187624" y="52998"/>
                      <a:pt x="184630" y="45416"/>
                      <a:pt x="180660" y="38343"/>
                    </a:cubicBezTo>
                    <a:cubicBezTo>
                      <a:pt x="177083" y="32361"/>
                      <a:pt x="176119" y="25160"/>
                      <a:pt x="178009" y="18454"/>
                    </a:cubicBezTo>
                    <a:cubicBezTo>
                      <a:pt x="179303" y="9590"/>
                      <a:pt x="178098" y="17286"/>
                      <a:pt x="173519" y="13552"/>
                    </a:cubicBezTo>
                    <a:cubicBezTo>
                      <a:pt x="168978" y="9856"/>
                      <a:pt x="173519" y="13552"/>
                      <a:pt x="171172" y="6974"/>
                    </a:cubicBezTo>
                    <a:cubicBezTo>
                      <a:pt x="170297" y="4510"/>
                      <a:pt x="169105" y="2173"/>
                      <a:pt x="167621" y="1"/>
                    </a:cubicBezTo>
                    <a:cubicBezTo>
                      <a:pt x="164894" y="801"/>
                      <a:pt x="162484" y="2414"/>
                      <a:pt x="160695" y="4637"/>
                    </a:cubicBezTo>
                    <a:cubicBezTo>
                      <a:pt x="159274" y="7875"/>
                      <a:pt x="158006" y="11177"/>
                      <a:pt x="156928" y="14542"/>
                    </a:cubicBezTo>
                    <a:cubicBezTo>
                      <a:pt x="155038" y="19991"/>
                      <a:pt x="150269" y="23928"/>
                      <a:pt x="144573" y="24753"/>
                    </a:cubicBezTo>
                    <a:cubicBezTo>
                      <a:pt x="142848" y="24753"/>
                      <a:pt x="141149" y="24881"/>
                      <a:pt x="139449" y="25109"/>
                    </a:cubicBezTo>
                    <a:cubicBezTo>
                      <a:pt x="140451" y="26938"/>
                      <a:pt x="141085" y="28932"/>
                      <a:pt x="141326" y="31002"/>
                    </a:cubicBezTo>
                    <a:cubicBezTo>
                      <a:pt x="141605" y="33250"/>
                      <a:pt x="141872" y="35549"/>
                      <a:pt x="142138" y="37797"/>
                    </a:cubicBezTo>
                    <a:cubicBezTo>
                      <a:pt x="146324" y="71642"/>
                      <a:pt x="152209" y="105424"/>
                      <a:pt x="144979" y="139676"/>
                    </a:cubicBezTo>
                    <a:cubicBezTo>
                      <a:pt x="141288" y="152427"/>
                      <a:pt x="138739" y="165482"/>
                      <a:pt x="137382" y="178677"/>
                    </a:cubicBezTo>
                    <a:cubicBezTo>
                      <a:pt x="137445" y="217349"/>
                      <a:pt x="133957" y="255932"/>
                      <a:pt x="126955" y="293955"/>
                    </a:cubicBezTo>
                    <a:cubicBezTo>
                      <a:pt x="121374" y="320460"/>
                      <a:pt x="105823" y="345708"/>
                      <a:pt x="112216" y="374410"/>
                    </a:cubicBezTo>
                    <a:cubicBezTo>
                      <a:pt x="112521" y="375896"/>
                      <a:pt x="112926" y="377382"/>
                      <a:pt x="113383" y="378868"/>
                    </a:cubicBezTo>
                    <a:cubicBezTo>
                      <a:pt x="114233" y="383249"/>
                      <a:pt x="113079" y="387770"/>
                      <a:pt x="110237" y="391199"/>
                    </a:cubicBezTo>
                    <a:cubicBezTo>
                      <a:pt x="110098" y="391339"/>
                      <a:pt x="109958" y="391517"/>
                      <a:pt x="109832" y="391644"/>
                    </a:cubicBezTo>
                    <a:cubicBezTo>
                      <a:pt x="99900" y="402045"/>
                      <a:pt x="103629" y="413869"/>
                      <a:pt x="104935" y="425756"/>
                    </a:cubicBezTo>
                    <a:cubicBezTo>
                      <a:pt x="105468" y="430620"/>
                      <a:pt x="106229" y="435471"/>
                      <a:pt x="107003" y="440336"/>
                    </a:cubicBezTo>
                    <a:cubicBezTo>
                      <a:pt x="108994" y="450584"/>
                      <a:pt x="109768" y="461037"/>
                      <a:pt x="109286" y="471476"/>
                    </a:cubicBezTo>
                    <a:cubicBezTo>
                      <a:pt x="109197" y="472556"/>
                      <a:pt x="109108" y="473673"/>
                      <a:pt x="108931" y="474753"/>
                    </a:cubicBezTo>
                    <a:cubicBezTo>
                      <a:pt x="102589" y="519749"/>
                      <a:pt x="78958" y="580772"/>
                      <a:pt x="50558" y="635662"/>
                    </a:cubicBezTo>
                    <a:cubicBezTo>
                      <a:pt x="48998" y="638786"/>
                      <a:pt x="48377" y="642278"/>
                      <a:pt x="48757" y="645745"/>
                    </a:cubicBezTo>
                    <a:cubicBezTo>
                      <a:pt x="49163" y="648577"/>
                      <a:pt x="49518" y="651409"/>
                      <a:pt x="49873" y="654293"/>
                    </a:cubicBezTo>
                    <a:cubicBezTo>
                      <a:pt x="50064" y="655817"/>
                      <a:pt x="50279" y="657442"/>
                      <a:pt x="50520" y="659245"/>
                    </a:cubicBezTo>
                    <a:cubicBezTo>
                      <a:pt x="51751" y="670942"/>
                      <a:pt x="53844" y="682537"/>
                      <a:pt x="56761" y="693942"/>
                    </a:cubicBezTo>
                    <a:cubicBezTo>
                      <a:pt x="57801" y="697435"/>
                      <a:pt x="58384" y="701054"/>
                      <a:pt x="58511" y="704699"/>
                    </a:cubicBezTo>
                    <a:cubicBezTo>
                      <a:pt x="58638" y="713119"/>
                      <a:pt x="56482" y="721425"/>
                      <a:pt x="52271" y="728727"/>
                    </a:cubicBezTo>
                    <a:lnTo>
                      <a:pt x="51598" y="730073"/>
                    </a:lnTo>
                    <a:cubicBezTo>
                      <a:pt x="40576" y="751448"/>
                      <a:pt x="34158" y="773495"/>
                      <a:pt x="46867" y="796215"/>
                    </a:cubicBezTo>
                    <a:cubicBezTo>
                      <a:pt x="47273" y="796939"/>
                      <a:pt x="47679" y="797650"/>
                      <a:pt x="48136" y="798374"/>
                    </a:cubicBezTo>
                    <a:cubicBezTo>
                      <a:pt x="48224" y="798514"/>
                      <a:pt x="48313" y="798692"/>
                      <a:pt x="48402" y="798831"/>
                    </a:cubicBezTo>
                    <a:cubicBezTo>
                      <a:pt x="48580" y="798730"/>
                      <a:pt x="48757" y="798692"/>
                      <a:pt x="48935" y="798603"/>
                    </a:cubicBezTo>
                    <a:cubicBezTo>
                      <a:pt x="54516" y="796266"/>
                      <a:pt x="60135" y="793916"/>
                      <a:pt x="66287" y="791262"/>
                    </a:cubicBezTo>
                    <a:cubicBezTo>
                      <a:pt x="67910" y="790627"/>
                      <a:pt x="69521" y="789916"/>
                      <a:pt x="71234" y="789192"/>
                    </a:cubicBezTo>
                    <a:cubicBezTo>
                      <a:pt x="71335" y="789192"/>
                      <a:pt x="71424" y="789154"/>
                      <a:pt x="71500" y="789103"/>
                    </a:cubicBezTo>
                    <a:cubicBezTo>
                      <a:pt x="71551" y="789192"/>
                      <a:pt x="71589" y="789281"/>
                      <a:pt x="71601" y="789370"/>
                    </a:cubicBezTo>
                    <a:cubicBezTo>
                      <a:pt x="73073" y="792748"/>
                      <a:pt x="74646" y="796037"/>
                      <a:pt x="76003" y="799314"/>
                    </a:cubicBezTo>
                    <a:cubicBezTo>
                      <a:pt x="77398" y="802552"/>
                      <a:pt x="78438" y="805931"/>
                      <a:pt x="79098" y="809397"/>
                    </a:cubicBezTo>
                    <a:cubicBezTo>
                      <a:pt x="79440" y="811658"/>
                      <a:pt x="79478" y="813957"/>
                      <a:pt x="79237" y="816243"/>
                    </a:cubicBezTo>
                    <a:cubicBezTo>
                      <a:pt x="78831" y="819303"/>
                      <a:pt x="77779" y="822250"/>
                      <a:pt x="76130" y="824879"/>
                    </a:cubicBezTo>
                    <a:cubicBezTo>
                      <a:pt x="75775" y="825539"/>
                      <a:pt x="75369" y="826162"/>
                      <a:pt x="74925" y="826758"/>
                    </a:cubicBezTo>
                    <a:cubicBezTo>
                      <a:pt x="74240" y="827762"/>
                      <a:pt x="73491" y="828714"/>
                      <a:pt x="72680" y="829603"/>
                    </a:cubicBezTo>
                    <a:cubicBezTo>
                      <a:pt x="71639" y="831178"/>
                      <a:pt x="71132" y="833058"/>
                      <a:pt x="71234" y="834950"/>
                    </a:cubicBezTo>
                    <a:cubicBezTo>
                      <a:pt x="71145" y="836474"/>
                      <a:pt x="71107" y="838100"/>
                      <a:pt x="70878" y="839496"/>
                    </a:cubicBezTo>
                    <a:cubicBezTo>
                      <a:pt x="70117" y="844081"/>
                      <a:pt x="69306" y="848717"/>
                      <a:pt x="68544" y="853314"/>
                    </a:cubicBezTo>
                    <a:cubicBezTo>
                      <a:pt x="67783" y="857759"/>
                      <a:pt x="67022" y="862268"/>
                      <a:pt x="66249" y="866725"/>
                    </a:cubicBezTo>
                    <a:cubicBezTo>
                      <a:pt x="65082" y="873609"/>
                      <a:pt x="63915" y="880492"/>
                      <a:pt x="62748" y="887464"/>
                    </a:cubicBezTo>
                    <a:lnTo>
                      <a:pt x="62063" y="891516"/>
                    </a:lnTo>
                    <a:cubicBezTo>
                      <a:pt x="62050" y="891668"/>
                      <a:pt x="62088" y="891821"/>
                      <a:pt x="62164" y="891960"/>
                    </a:cubicBezTo>
                    <a:cubicBezTo>
                      <a:pt x="62469" y="895021"/>
                      <a:pt x="65348" y="897231"/>
                      <a:pt x="68177" y="899606"/>
                    </a:cubicBezTo>
                    <a:cubicBezTo>
                      <a:pt x="68266" y="899568"/>
                      <a:pt x="68266" y="899606"/>
                      <a:pt x="68316" y="899656"/>
                    </a:cubicBezTo>
                    <a:cubicBezTo>
                      <a:pt x="68468" y="899745"/>
                      <a:pt x="68608" y="899873"/>
                      <a:pt x="68722" y="900012"/>
                    </a:cubicBezTo>
                    <a:cubicBezTo>
                      <a:pt x="69559" y="900711"/>
                      <a:pt x="70346" y="901447"/>
                      <a:pt x="71107" y="902222"/>
                    </a:cubicBezTo>
                    <a:cubicBezTo>
                      <a:pt x="72959" y="903822"/>
                      <a:pt x="73986" y="906197"/>
                      <a:pt x="73897" y="908661"/>
                    </a:cubicBezTo>
                    <a:lnTo>
                      <a:pt x="73897" y="908699"/>
                    </a:lnTo>
                    <a:cubicBezTo>
                      <a:pt x="73618" y="910947"/>
                      <a:pt x="72718" y="913068"/>
                      <a:pt x="71284" y="914820"/>
                    </a:cubicBezTo>
                    <a:lnTo>
                      <a:pt x="70929" y="915315"/>
                    </a:lnTo>
                    <a:cubicBezTo>
                      <a:pt x="70650" y="915582"/>
                      <a:pt x="70434" y="915900"/>
                      <a:pt x="70168" y="916217"/>
                    </a:cubicBezTo>
                    <a:cubicBezTo>
                      <a:pt x="70067" y="916306"/>
                      <a:pt x="69990" y="916433"/>
                      <a:pt x="69889" y="916535"/>
                    </a:cubicBezTo>
                    <a:lnTo>
                      <a:pt x="69851" y="916484"/>
                    </a:lnTo>
                    <a:cubicBezTo>
                      <a:pt x="67961" y="912712"/>
                      <a:pt x="66388" y="909689"/>
                      <a:pt x="62342" y="901765"/>
                    </a:cubicBezTo>
                    <a:lnTo>
                      <a:pt x="62342" y="901727"/>
                    </a:lnTo>
                    <a:cubicBezTo>
                      <a:pt x="62025" y="901181"/>
                      <a:pt x="61759" y="900596"/>
                      <a:pt x="61441" y="900012"/>
                    </a:cubicBezTo>
                    <a:cubicBezTo>
                      <a:pt x="61352" y="900469"/>
                      <a:pt x="61264" y="900876"/>
                      <a:pt x="61175" y="901320"/>
                    </a:cubicBezTo>
                    <a:cubicBezTo>
                      <a:pt x="61035" y="901904"/>
                      <a:pt x="60909" y="902489"/>
                      <a:pt x="60820" y="903073"/>
                    </a:cubicBezTo>
                    <a:lnTo>
                      <a:pt x="60820" y="903124"/>
                    </a:lnTo>
                    <a:cubicBezTo>
                      <a:pt x="60541" y="904330"/>
                      <a:pt x="60325" y="905549"/>
                      <a:pt x="60097" y="906769"/>
                    </a:cubicBezTo>
                    <a:cubicBezTo>
                      <a:pt x="60046" y="907086"/>
                      <a:pt x="59957" y="907404"/>
                      <a:pt x="59919" y="907708"/>
                    </a:cubicBezTo>
                    <a:lnTo>
                      <a:pt x="59919" y="907759"/>
                    </a:lnTo>
                    <a:cubicBezTo>
                      <a:pt x="59780" y="908343"/>
                      <a:pt x="59691" y="908927"/>
                      <a:pt x="59602" y="909512"/>
                    </a:cubicBezTo>
                    <a:cubicBezTo>
                      <a:pt x="59196" y="911582"/>
                      <a:pt x="58879" y="913601"/>
                      <a:pt x="58524" y="915633"/>
                    </a:cubicBezTo>
                    <a:lnTo>
                      <a:pt x="58118" y="918199"/>
                    </a:lnTo>
                    <a:lnTo>
                      <a:pt x="58118" y="918237"/>
                    </a:lnTo>
                    <a:cubicBezTo>
                      <a:pt x="57991" y="918910"/>
                      <a:pt x="57890" y="919595"/>
                      <a:pt x="57801" y="920269"/>
                    </a:cubicBezTo>
                    <a:cubicBezTo>
                      <a:pt x="57179" y="924129"/>
                      <a:pt x="56596" y="927965"/>
                      <a:pt x="56051" y="931737"/>
                    </a:cubicBezTo>
                    <a:lnTo>
                      <a:pt x="56013" y="931737"/>
                    </a:lnTo>
                    <a:cubicBezTo>
                      <a:pt x="55873" y="932905"/>
                      <a:pt x="55695" y="934035"/>
                      <a:pt x="55556" y="935153"/>
                    </a:cubicBezTo>
                    <a:cubicBezTo>
                      <a:pt x="55201" y="937274"/>
                      <a:pt x="54884" y="939344"/>
                      <a:pt x="54567" y="941414"/>
                    </a:cubicBezTo>
                    <a:cubicBezTo>
                      <a:pt x="53856" y="945999"/>
                      <a:pt x="53082" y="950507"/>
                      <a:pt x="52271" y="955003"/>
                    </a:cubicBezTo>
                    <a:cubicBezTo>
                      <a:pt x="52055" y="956032"/>
                      <a:pt x="51827" y="957111"/>
                      <a:pt x="51649" y="958153"/>
                    </a:cubicBezTo>
                    <a:cubicBezTo>
                      <a:pt x="51015" y="961163"/>
                      <a:pt x="50343" y="964185"/>
                      <a:pt x="49620" y="967195"/>
                    </a:cubicBezTo>
                    <a:cubicBezTo>
                      <a:pt x="47907" y="974371"/>
                      <a:pt x="45700" y="981432"/>
                      <a:pt x="43011" y="988302"/>
                    </a:cubicBezTo>
                    <a:cubicBezTo>
                      <a:pt x="42834" y="988887"/>
                      <a:pt x="42567" y="989471"/>
                      <a:pt x="42339" y="990055"/>
                    </a:cubicBezTo>
                    <a:cubicBezTo>
                      <a:pt x="42111" y="989560"/>
                      <a:pt x="41895" y="989014"/>
                      <a:pt x="41667" y="988531"/>
                    </a:cubicBezTo>
                    <a:cubicBezTo>
                      <a:pt x="41400" y="987896"/>
                      <a:pt x="41121" y="987312"/>
                      <a:pt x="40906" y="986728"/>
                    </a:cubicBezTo>
                    <a:cubicBezTo>
                      <a:pt x="38838" y="982003"/>
                      <a:pt x="37037" y="977914"/>
                      <a:pt x="35287" y="973951"/>
                    </a:cubicBezTo>
                    <a:cubicBezTo>
                      <a:pt x="35236" y="973774"/>
                      <a:pt x="35160" y="973609"/>
                      <a:pt x="35058" y="973456"/>
                    </a:cubicBezTo>
                    <a:cubicBezTo>
                      <a:pt x="32902" y="968465"/>
                      <a:pt x="30796" y="963652"/>
                      <a:pt x="28412" y="958204"/>
                    </a:cubicBezTo>
                    <a:lnTo>
                      <a:pt x="26116" y="960363"/>
                    </a:lnTo>
                    <a:cubicBezTo>
                      <a:pt x="25672" y="960769"/>
                      <a:pt x="25266" y="961175"/>
                      <a:pt x="24860" y="961582"/>
                    </a:cubicBezTo>
                    <a:cubicBezTo>
                      <a:pt x="21854" y="964376"/>
                      <a:pt x="18975" y="967068"/>
                      <a:pt x="16235" y="969671"/>
                    </a:cubicBezTo>
                    <a:cubicBezTo>
                      <a:pt x="15563" y="970345"/>
                      <a:pt x="14890" y="970942"/>
                      <a:pt x="14256" y="971513"/>
                    </a:cubicBezTo>
                    <a:cubicBezTo>
                      <a:pt x="13584" y="972199"/>
                      <a:pt x="12912" y="972821"/>
                      <a:pt x="12278" y="973405"/>
                    </a:cubicBezTo>
                    <a:cubicBezTo>
                      <a:pt x="11795" y="973863"/>
                      <a:pt x="11339" y="974307"/>
                      <a:pt x="10882" y="974713"/>
                    </a:cubicBezTo>
                    <a:cubicBezTo>
                      <a:pt x="9715" y="975844"/>
                      <a:pt x="8548" y="976923"/>
                      <a:pt x="7432" y="977952"/>
                    </a:cubicBezTo>
                    <a:cubicBezTo>
                      <a:pt x="7064" y="978308"/>
                      <a:pt x="6760" y="978625"/>
                      <a:pt x="6392" y="978943"/>
                    </a:cubicBezTo>
                    <a:cubicBezTo>
                      <a:pt x="4185" y="981063"/>
                      <a:pt x="2029" y="983083"/>
                      <a:pt x="-26" y="985013"/>
                    </a:cubicBezTo>
                    <a:cubicBezTo>
                      <a:pt x="773" y="987261"/>
                      <a:pt x="2155" y="989242"/>
                      <a:pt x="3969" y="990779"/>
                    </a:cubicBezTo>
                    <a:cubicBezTo>
                      <a:pt x="5517" y="992074"/>
                      <a:pt x="7305" y="993065"/>
                      <a:pt x="9220" y="993700"/>
                    </a:cubicBezTo>
                    <a:cubicBezTo>
                      <a:pt x="13850" y="995414"/>
                      <a:pt x="19241" y="995808"/>
                      <a:pt x="24061" y="997256"/>
                    </a:cubicBezTo>
                    <a:cubicBezTo>
                      <a:pt x="31088" y="998742"/>
                      <a:pt x="36289" y="1004698"/>
                      <a:pt x="36821" y="1011874"/>
                    </a:cubicBezTo>
                    <a:cubicBezTo>
                      <a:pt x="35654" y="1013093"/>
                      <a:pt x="34475" y="1014401"/>
                      <a:pt x="33270" y="1015658"/>
                    </a:cubicBezTo>
                    <a:cubicBezTo>
                      <a:pt x="31291" y="1017767"/>
                      <a:pt x="29262" y="1019887"/>
                      <a:pt x="27511" y="1021729"/>
                    </a:cubicBezTo>
                    <a:cubicBezTo>
                      <a:pt x="28095" y="1024294"/>
                      <a:pt x="28640" y="1026809"/>
                      <a:pt x="29173" y="1029298"/>
                    </a:cubicBezTo>
                    <a:cubicBezTo>
                      <a:pt x="29756" y="1031902"/>
                      <a:pt x="30340" y="1034467"/>
                      <a:pt x="30885" y="1036982"/>
                    </a:cubicBezTo>
                    <a:cubicBezTo>
                      <a:pt x="31025" y="1037617"/>
                      <a:pt x="31151" y="1038252"/>
                      <a:pt x="31329" y="1038925"/>
                    </a:cubicBezTo>
                    <a:cubicBezTo>
                      <a:pt x="31646" y="1040538"/>
                      <a:pt x="32014" y="1042112"/>
                      <a:pt x="32369" y="1043738"/>
                    </a:cubicBezTo>
                    <a:lnTo>
                      <a:pt x="32864" y="1043598"/>
                    </a:lnTo>
                    <a:cubicBezTo>
                      <a:pt x="32509" y="1044856"/>
                      <a:pt x="31963" y="1046253"/>
                      <a:pt x="31469" y="1047612"/>
                    </a:cubicBezTo>
                    <a:cubicBezTo>
                      <a:pt x="31151" y="1048462"/>
                      <a:pt x="30834" y="1049314"/>
                      <a:pt x="30619" y="1050126"/>
                    </a:cubicBezTo>
                    <a:cubicBezTo>
                      <a:pt x="30568" y="1050215"/>
                      <a:pt x="30517" y="1050266"/>
                      <a:pt x="30517" y="1050355"/>
                    </a:cubicBezTo>
                    <a:cubicBezTo>
                      <a:pt x="29883" y="1052285"/>
                      <a:pt x="29617" y="1053949"/>
                      <a:pt x="30340" y="1054800"/>
                    </a:cubicBezTo>
                    <a:cubicBezTo>
                      <a:pt x="31925" y="1056692"/>
                      <a:pt x="33206" y="1058813"/>
                      <a:pt x="34120" y="1061099"/>
                    </a:cubicBezTo>
                    <a:cubicBezTo>
                      <a:pt x="34208" y="1061340"/>
                      <a:pt x="34285" y="1061581"/>
                      <a:pt x="34348" y="1061823"/>
                    </a:cubicBezTo>
                    <a:cubicBezTo>
                      <a:pt x="34551" y="1062420"/>
                      <a:pt x="34703" y="1063042"/>
                      <a:pt x="34792" y="1063664"/>
                    </a:cubicBezTo>
                    <a:cubicBezTo>
                      <a:pt x="35109" y="1065468"/>
                      <a:pt x="35020" y="1067309"/>
                      <a:pt x="34526" y="1069062"/>
                    </a:cubicBezTo>
                    <a:cubicBezTo>
                      <a:pt x="33536" y="1071995"/>
                      <a:pt x="32116" y="1074764"/>
                      <a:pt x="30302" y="1077253"/>
                    </a:cubicBezTo>
                    <a:cubicBezTo>
                      <a:pt x="29617" y="1078244"/>
                      <a:pt x="28944" y="1079235"/>
                      <a:pt x="28323" y="1080276"/>
                    </a:cubicBezTo>
                    <a:cubicBezTo>
                      <a:pt x="27613" y="1081330"/>
                      <a:pt x="26966" y="1082422"/>
                      <a:pt x="26382" y="1083552"/>
                    </a:cubicBezTo>
                    <a:cubicBezTo>
                      <a:pt x="25976" y="1084340"/>
                      <a:pt x="25609" y="1085153"/>
                      <a:pt x="25304" y="1085991"/>
                    </a:cubicBezTo>
                    <a:lnTo>
                      <a:pt x="25304" y="1086080"/>
                    </a:lnTo>
                    <a:cubicBezTo>
                      <a:pt x="25000" y="1086804"/>
                      <a:pt x="24759" y="1087553"/>
                      <a:pt x="24594" y="1088328"/>
                    </a:cubicBezTo>
                    <a:cubicBezTo>
                      <a:pt x="19685" y="1085534"/>
                      <a:pt x="17136" y="1084010"/>
                      <a:pt x="13039" y="1081673"/>
                    </a:cubicBezTo>
                    <a:cubicBezTo>
                      <a:pt x="12861" y="1084467"/>
                      <a:pt x="12721" y="1087159"/>
                      <a:pt x="12683" y="1089814"/>
                    </a:cubicBezTo>
                    <a:cubicBezTo>
                      <a:pt x="12493" y="1094856"/>
                      <a:pt x="12645" y="1099898"/>
                      <a:pt x="13127" y="1104927"/>
                    </a:cubicBezTo>
                    <a:cubicBezTo>
                      <a:pt x="13356" y="1107225"/>
                      <a:pt x="13622" y="1109511"/>
                      <a:pt x="13990" y="1111759"/>
                    </a:cubicBezTo>
                    <a:cubicBezTo>
                      <a:pt x="14117" y="1112572"/>
                      <a:pt x="14256" y="1113385"/>
                      <a:pt x="14434" y="1114198"/>
                    </a:cubicBezTo>
                    <a:cubicBezTo>
                      <a:pt x="14523" y="1114782"/>
                      <a:pt x="14611" y="1115404"/>
                      <a:pt x="14751" y="1116001"/>
                    </a:cubicBezTo>
                    <a:lnTo>
                      <a:pt x="14789" y="1116039"/>
                    </a:lnTo>
                    <a:cubicBezTo>
                      <a:pt x="14878" y="1116623"/>
                      <a:pt x="15017" y="1117207"/>
                      <a:pt x="15106" y="1117792"/>
                    </a:cubicBezTo>
                    <a:lnTo>
                      <a:pt x="15157" y="1117792"/>
                    </a:lnTo>
                    <a:cubicBezTo>
                      <a:pt x="15601" y="1120001"/>
                      <a:pt x="16146" y="1122199"/>
                      <a:pt x="16818" y="1124447"/>
                    </a:cubicBezTo>
                    <a:cubicBezTo>
                      <a:pt x="16818" y="1124548"/>
                      <a:pt x="16856" y="1124586"/>
                      <a:pt x="16856" y="1124675"/>
                    </a:cubicBezTo>
                    <a:cubicBezTo>
                      <a:pt x="17402" y="1126479"/>
                      <a:pt x="17935" y="1128320"/>
                      <a:pt x="18620" y="1130212"/>
                    </a:cubicBezTo>
                    <a:cubicBezTo>
                      <a:pt x="18746" y="1130759"/>
                      <a:pt x="18975" y="1131343"/>
                      <a:pt x="19152" y="1131876"/>
                    </a:cubicBezTo>
                    <a:cubicBezTo>
                      <a:pt x="19292" y="1131431"/>
                      <a:pt x="19381" y="1130974"/>
                      <a:pt x="19507" y="1130530"/>
                    </a:cubicBezTo>
                    <a:cubicBezTo>
                      <a:pt x="21714" y="1121805"/>
                      <a:pt x="23287" y="1115544"/>
                      <a:pt x="24771" y="1109600"/>
                    </a:cubicBezTo>
                    <a:lnTo>
                      <a:pt x="24809" y="1109511"/>
                    </a:lnTo>
                    <a:cubicBezTo>
                      <a:pt x="24949" y="1108877"/>
                      <a:pt x="25127" y="1108305"/>
                      <a:pt x="25266" y="1107721"/>
                    </a:cubicBezTo>
                    <a:cubicBezTo>
                      <a:pt x="26471" y="1107530"/>
                      <a:pt x="27689" y="1107352"/>
                      <a:pt x="28906" y="1107136"/>
                    </a:cubicBezTo>
                    <a:cubicBezTo>
                      <a:pt x="29579" y="1107035"/>
                      <a:pt x="30251" y="1106946"/>
                      <a:pt x="30923" y="1106819"/>
                    </a:cubicBezTo>
                    <a:cubicBezTo>
                      <a:pt x="31595" y="1108292"/>
                      <a:pt x="32344" y="1109740"/>
                      <a:pt x="33168" y="1111137"/>
                    </a:cubicBezTo>
                    <a:cubicBezTo>
                      <a:pt x="33891" y="1112407"/>
                      <a:pt x="34538" y="1113702"/>
                      <a:pt x="35109" y="1115049"/>
                    </a:cubicBezTo>
                    <a:cubicBezTo>
                      <a:pt x="35680" y="1116306"/>
                      <a:pt x="35895" y="1117690"/>
                      <a:pt x="35743" y="1119049"/>
                    </a:cubicBezTo>
                    <a:cubicBezTo>
                      <a:pt x="35566" y="1120001"/>
                      <a:pt x="35426" y="1120941"/>
                      <a:pt x="35287" y="1121932"/>
                    </a:cubicBezTo>
                    <a:lnTo>
                      <a:pt x="35020" y="1123418"/>
                    </a:lnTo>
                    <a:cubicBezTo>
                      <a:pt x="34665" y="1125805"/>
                      <a:pt x="34297" y="1128282"/>
                      <a:pt x="34031" y="1130708"/>
                    </a:cubicBezTo>
                    <a:cubicBezTo>
                      <a:pt x="34031" y="1130885"/>
                      <a:pt x="33993" y="1131114"/>
                      <a:pt x="33993" y="1131292"/>
                    </a:cubicBezTo>
                    <a:cubicBezTo>
                      <a:pt x="33587" y="1134530"/>
                      <a:pt x="33308" y="1137769"/>
                      <a:pt x="33181" y="1140969"/>
                    </a:cubicBezTo>
                    <a:cubicBezTo>
                      <a:pt x="33181" y="1141401"/>
                      <a:pt x="33168" y="1141833"/>
                      <a:pt x="33130" y="1142277"/>
                    </a:cubicBezTo>
                    <a:cubicBezTo>
                      <a:pt x="33016" y="1145757"/>
                      <a:pt x="33105" y="1149237"/>
                      <a:pt x="33409" y="1152704"/>
                    </a:cubicBezTo>
                    <a:cubicBezTo>
                      <a:pt x="33536" y="1154609"/>
                      <a:pt x="33790" y="1156514"/>
                      <a:pt x="34170" y="1158381"/>
                    </a:cubicBezTo>
                    <a:cubicBezTo>
                      <a:pt x="34348" y="1159372"/>
                      <a:pt x="34563" y="1160362"/>
                      <a:pt x="34805" y="1161302"/>
                    </a:cubicBezTo>
                    <a:cubicBezTo>
                      <a:pt x="35211" y="1162788"/>
                      <a:pt x="35477" y="1164312"/>
                      <a:pt x="35743" y="1165849"/>
                    </a:cubicBezTo>
                    <a:cubicBezTo>
                      <a:pt x="35883" y="1166560"/>
                      <a:pt x="35972" y="1167373"/>
                      <a:pt x="36098" y="1168135"/>
                    </a:cubicBezTo>
                    <a:cubicBezTo>
                      <a:pt x="36098" y="1168325"/>
                      <a:pt x="36149" y="1168503"/>
                      <a:pt x="36149" y="1168681"/>
                    </a:cubicBezTo>
                    <a:cubicBezTo>
                      <a:pt x="36377" y="1170116"/>
                      <a:pt x="36555" y="1171602"/>
                      <a:pt x="36733" y="1173088"/>
                    </a:cubicBezTo>
                    <a:cubicBezTo>
                      <a:pt x="37113" y="1177558"/>
                      <a:pt x="38052" y="1181952"/>
                      <a:pt x="39523" y="1186181"/>
                    </a:cubicBezTo>
                    <a:cubicBezTo>
                      <a:pt x="40779" y="1189648"/>
                      <a:pt x="42770" y="1192798"/>
                      <a:pt x="45370" y="1195401"/>
                    </a:cubicBezTo>
                    <a:cubicBezTo>
                      <a:pt x="46791" y="1197179"/>
                      <a:pt x="47616" y="1199351"/>
                      <a:pt x="47742" y="1201612"/>
                    </a:cubicBezTo>
                    <a:cubicBezTo>
                      <a:pt x="48110" y="1204177"/>
                      <a:pt x="48148" y="1206933"/>
                      <a:pt x="48605" y="1208991"/>
                    </a:cubicBezTo>
                    <a:cubicBezTo>
                      <a:pt x="54402" y="1210070"/>
                      <a:pt x="59742" y="1211111"/>
                      <a:pt x="65094" y="1212102"/>
                    </a:cubicBezTo>
                    <a:cubicBezTo>
                      <a:pt x="66845" y="1212457"/>
                      <a:pt x="68646" y="1212775"/>
                      <a:pt x="70434" y="1213093"/>
                    </a:cubicBezTo>
                    <a:cubicBezTo>
                      <a:pt x="73136" y="1213626"/>
                      <a:pt x="75825" y="1214172"/>
                      <a:pt x="78654" y="1214667"/>
                    </a:cubicBezTo>
                    <a:cubicBezTo>
                      <a:pt x="79466" y="1214845"/>
                      <a:pt x="80277" y="1214985"/>
                      <a:pt x="81127" y="1215163"/>
                    </a:cubicBezTo>
                    <a:cubicBezTo>
                      <a:pt x="80328" y="1217728"/>
                      <a:pt x="79554" y="1220065"/>
                      <a:pt x="78844" y="1222275"/>
                    </a:cubicBezTo>
                    <a:cubicBezTo>
                      <a:pt x="78527" y="1223125"/>
                      <a:pt x="78261" y="1223989"/>
                      <a:pt x="77982" y="1224840"/>
                    </a:cubicBezTo>
                    <a:cubicBezTo>
                      <a:pt x="77766" y="1225564"/>
                      <a:pt x="77487" y="1226326"/>
                      <a:pt x="77271" y="1227037"/>
                    </a:cubicBezTo>
                    <a:cubicBezTo>
                      <a:pt x="76903" y="1228218"/>
                      <a:pt x="76510" y="1229336"/>
                      <a:pt x="76142" y="1230504"/>
                    </a:cubicBezTo>
                    <a:lnTo>
                      <a:pt x="75419" y="1230009"/>
                    </a:lnTo>
                    <a:cubicBezTo>
                      <a:pt x="75495" y="1230238"/>
                      <a:pt x="75534" y="1230454"/>
                      <a:pt x="75559" y="1230695"/>
                    </a:cubicBezTo>
                    <a:lnTo>
                      <a:pt x="75648" y="1230644"/>
                    </a:lnTo>
                    <a:cubicBezTo>
                      <a:pt x="76637" y="1233248"/>
                      <a:pt x="77626" y="1235813"/>
                      <a:pt x="78654" y="1238569"/>
                    </a:cubicBezTo>
                    <a:cubicBezTo>
                      <a:pt x="79110" y="1239737"/>
                      <a:pt x="79554" y="1240944"/>
                      <a:pt x="80049" y="1242201"/>
                    </a:cubicBezTo>
                    <a:cubicBezTo>
                      <a:pt x="80683" y="1243916"/>
                      <a:pt x="81356" y="1245668"/>
                      <a:pt x="82028" y="1247522"/>
                    </a:cubicBezTo>
                    <a:lnTo>
                      <a:pt x="84324" y="1247916"/>
                    </a:lnTo>
                    <a:cubicBezTo>
                      <a:pt x="84425" y="1247954"/>
                      <a:pt x="84527" y="1247979"/>
                      <a:pt x="84641" y="1247967"/>
                    </a:cubicBezTo>
                    <a:cubicBezTo>
                      <a:pt x="85719" y="1248195"/>
                      <a:pt x="86797" y="1248373"/>
                      <a:pt x="87875" y="1248602"/>
                    </a:cubicBezTo>
                    <a:cubicBezTo>
                      <a:pt x="89943" y="1248958"/>
                      <a:pt x="92048" y="1249364"/>
                      <a:pt x="94217" y="1249770"/>
                    </a:cubicBezTo>
                    <a:cubicBezTo>
                      <a:pt x="95562" y="1249999"/>
                      <a:pt x="96919" y="1250266"/>
                      <a:pt x="98302" y="1250532"/>
                    </a:cubicBezTo>
                    <a:cubicBezTo>
                      <a:pt x="98441" y="1250532"/>
                      <a:pt x="98530" y="1250583"/>
                      <a:pt x="98619" y="1250583"/>
                    </a:cubicBezTo>
                    <a:cubicBezTo>
                      <a:pt x="100509" y="1250900"/>
                      <a:pt x="102348" y="1251256"/>
                      <a:pt x="104289" y="1251612"/>
                    </a:cubicBezTo>
                    <a:cubicBezTo>
                      <a:pt x="99431" y="1254228"/>
                      <a:pt x="95562" y="1256336"/>
                      <a:pt x="92289" y="1257962"/>
                    </a:cubicBezTo>
                    <a:cubicBezTo>
                      <a:pt x="88180" y="1260463"/>
                      <a:pt x="83436" y="1261733"/>
                      <a:pt x="78628" y="1261606"/>
                    </a:cubicBezTo>
                    <a:cubicBezTo>
                      <a:pt x="78083" y="1261568"/>
                      <a:pt x="77550" y="1261467"/>
                      <a:pt x="77005" y="1261378"/>
                    </a:cubicBezTo>
                    <a:cubicBezTo>
                      <a:pt x="75749" y="1261086"/>
                      <a:pt x="74531" y="1260667"/>
                      <a:pt x="73364" y="1260121"/>
                    </a:cubicBezTo>
                    <a:cubicBezTo>
                      <a:pt x="73187" y="1260070"/>
                      <a:pt x="73022" y="1259994"/>
                      <a:pt x="72870" y="1259892"/>
                    </a:cubicBezTo>
                    <a:cubicBezTo>
                      <a:pt x="71475" y="1259270"/>
                      <a:pt x="70041" y="1258457"/>
                      <a:pt x="68380" y="1257517"/>
                    </a:cubicBezTo>
                    <a:lnTo>
                      <a:pt x="68380" y="1257466"/>
                    </a:lnTo>
                    <a:cubicBezTo>
                      <a:pt x="66718" y="1256476"/>
                      <a:pt x="64828" y="1255269"/>
                      <a:pt x="62710" y="1253872"/>
                    </a:cubicBezTo>
                    <a:cubicBezTo>
                      <a:pt x="62215" y="1253504"/>
                      <a:pt x="61720" y="1253199"/>
                      <a:pt x="61188" y="1252831"/>
                    </a:cubicBezTo>
                    <a:cubicBezTo>
                      <a:pt x="60832" y="1252564"/>
                      <a:pt x="60477" y="1252336"/>
                      <a:pt x="60071" y="1252069"/>
                    </a:cubicBezTo>
                    <a:cubicBezTo>
                      <a:pt x="59932" y="1253060"/>
                      <a:pt x="59843" y="1254101"/>
                      <a:pt x="59754" y="1255079"/>
                    </a:cubicBezTo>
                    <a:cubicBezTo>
                      <a:pt x="59615" y="1255980"/>
                      <a:pt x="59526" y="1256882"/>
                      <a:pt x="59437" y="1257746"/>
                    </a:cubicBezTo>
                    <a:cubicBezTo>
                      <a:pt x="59349" y="1258279"/>
                      <a:pt x="59310" y="1258774"/>
                      <a:pt x="59260" y="1259270"/>
                    </a:cubicBezTo>
                    <a:cubicBezTo>
                      <a:pt x="59171" y="1259943"/>
                      <a:pt x="59082" y="1260616"/>
                      <a:pt x="59031" y="1261251"/>
                    </a:cubicBezTo>
                    <a:cubicBezTo>
                      <a:pt x="58854" y="1262635"/>
                      <a:pt x="58727" y="1263994"/>
                      <a:pt x="58537" y="1265340"/>
                    </a:cubicBezTo>
                    <a:cubicBezTo>
                      <a:pt x="58448" y="1266331"/>
                      <a:pt x="58321" y="1267322"/>
                      <a:pt x="58232" y="1268261"/>
                    </a:cubicBezTo>
                    <a:lnTo>
                      <a:pt x="58410" y="1268401"/>
                    </a:lnTo>
                    <a:cubicBezTo>
                      <a:pt x="61327" y="1270281"/>
                      <a:pt x="64156" y="1272135"/>
                      <a:pt x="66807" y="1273837"/>
                    </a:cubicBezTo>
                    <a:cubicBezTo>
                      <a:pt x="68253" y="1274789"/>
                      <a:pt x="69597" y="1275691"/>
                      <a:pt x="70904" y="1276542"/>
                    </a:cubicBezTo>
                    <a:cubicBezTo>
                      <a:pt x="71487" y="1276897"/>
                      <a:pt x="72020" y="1277253"/>
                      <a:pt x="72515" y="1277621"/>
                    </a:cubicBezTo>
                    <a:cubicBezTo>
                      <a:pt x="73238" y="1278066"/>
                      <a:pt x="73910" y="1278523"/>
                      <a:pt x="74582" y="1278929"/>
                    </a:cubicBezTo>
                    <a:cubicBezTo>
                      <a:pt x="75166" y="1279323"/>
                      <a:pt x="75749" y="1279691"/>
                      <a:pt x="76295" y="1280047"/>
                    </a:cubicBezTo>
                    <a:cubicBezTo>
                      <a:pt x="79948" y="1279196"/>
                      <a:pt x="83461" y="1277812"/>
                      <a:pt x="86721" y="1275957"/>
                    </a:cubicBezTo>
                    <a:cubicBezTo>
                      <a:pt x="87660" y="1275462"/>
                      <a:pt x="88560" y="1274916"/>
                      <a:pt x="89511" y="1274383"/>
                    </a:cubicBezTo>
                    <a:cubicBezTo>
                      <a:pt x="94813" y="1270802"/>
                      <a:pt x="100471" y="1267804"/>
                      <a:pt x="106407" y="1265429"/>
                    </a:cubicBezTo>
                    <a:cubicBezTo>
                      <a:pt x="110276" y="1264070"/>
                      <a:pt x="114372" y="1263499"/>
                      <a:pt x="118457" y="1263766"/>
                    </a:cubicBezTo>
                    <a:cubicBezTo>
                      <a:pt x="116326" y="1270547"/>
                      <a:pt x="112203" y="1276529"/>
                      <a:pt x="106635" y="1280949"/>
                    </a:cubicBezTo>
                    <a:cubicBezTo>
                      <a:pt x="105557" y="1281838"/>
                      <a:pt x="104403" y="1282612"/>
                      <a:pt x="103172" y="1283285"/>
                    </a:cubicBezTo>
                    <a:cubicBezTo>
                      <a:pt x="102513" y="1283717"/>
                      <a:pt x="101828" y="1284111"/>
                      <a:pt x="101105" y="1284454"/>
                    </a:cubicBezTo>
                    <a:cubicBezTo>
                      <a:pt x="99253" y="1285444"/>
                      <a:pt x="97312" y="1286270"/>
                      <a:pt x="95308" y="1286930"/>
                    </a:cubicBezTo>
                    <a:cubicBezTo>
                      <a:pt x="94801" y="1287159"/>
                      <a:pt x="94281" y="1287337"/>
                      <a:pt x="93735" y="1287476"/>
                    </a:cubicBezTo>
                    <a:cubicBezTo>
                      <a:pt x="90526" y="1288518"/>
                      <a:pt x="87228" y="1289331"/>
                      <a:pt x="83892" y="1289902"/>
                    </a:cubicBezTo>
                    <a:cubicBezTo>
                      <a:pt x="83004" y="1290131"/>
                      <a:pt x="82015" y="1290258"/>
                      <a:pt x="81064" y="1290448"/>
                    </a:cubicBezTo>
                    <a:cubicBezTo>
                      <a:pt x="81153" y="1290575"/>
                      <a:pt x="81267" y="1290689"/>
                      <a:pt x="81381" y="1290804"/>
                    </a:cubicBezTo>
                    <a:cubicBezTo>
                      <a:pt x="82687" y="1292468"/>
                      <a:pt x="83981" y="1293992"/>
                      <a:pt x="85338" y="1295478"/>
                    </a:cubicBezTo>
                    <a:cubicBezTo>
                      <a:pt x="85782" y="1296024"/>
                      <a:pt x="86277" y="1296519"/>
                      <a:pt x="86772" y="1297052"/>
                    </a:cubicBezTo>
                    <a:cubicBezTo>
                      <a:pt x="86848" y="1297167"/>
                      <a:pt x="86937" y="1297281"/>
                      <a:pt x="87038" y="1297370"/>
                    </a:cubicBezTo>
                    <a:cubicBezTo>
                      <a:pt x="88991" y="1299415"/>
                      <a:pt x="91072" y="1301332"/>
                      <a:pt x="93291" y="1303085"/>
                    </a:cubicBezTo>
                    <a:lnTo>
                      <a:pt x="93520" y="1303224"/>
                    </a:lnTo>
                    <a:cubicBezTo>
                      <a:pt x="97401" y="1306374"/>
                      <a:pt x="101929" y="1308647"/>
                      <a:pt x="106775" y="1309879"/>
                    </a:cubicBezTo>
                    <a:cubicBezTo>
                      <a:pt x="110846" y="1310882"/>
                      <a:pt x="115045" y="1311200"/>
                      <a:pt x="119218" y="1310832"/>
                    </a:cubicBezTo>
                    <a:cubicBezTo>
                      <a:pt x="119218" y="1310832"/>
                      <a:pt x="119269" y="1310870"/>
                      <a:pt x="119269" y="1310781"/>
                    </a:cubicBezTo>
                    <a:cubicBezTo>
                      <a:pt x="122364" y="1292925"/>
                      <a:pt x="125471" y="1275462"/>
                      <a:pt x="128617" y="1257365"/>
                    </a:cubicBezTo>
                    <a:cubicBezTo>
                      <a:pt x="143800" y="1256742"/>
                      <a:pt x="154188" y="1245262"/>
                      <a:pt x="167266" y="1239686"/>
                    </a:cubicBezTo>
                    <a:cubicBezTo>
                      <a:pt x="172910" y="1237108"/>
                      <a:pt x="179176" y="1236181"/>
                      <a:pt x="185328" y="1236994"/>
                    </a:cubicBezTo>
                    <a:cubicBezTo>
                      <a:pt x="188118" y="1237324"/>
                      <a:pt x="190858" y="1237972"/>
                      <a:pt x="193509" y="1238924"/>
                    </a:cubicBezTo>
                    <a:cubicBezTo>
                      <a:pt x="193281" y="1238518"/>
                      <a:pt x="193103" y="1238112"/>
                      <a:pt x="192926" y="1237705"/>
                    </a:cubicBezTo>
                    <a:cubicBezTo>
                      <a:pt x="187154" y="1234822"/>
                      <a:pt x="181142" y="1232473"/>
                      <a:pt x="174939" y="1230695"/>
                    </a:cubicBezTo>
                    <a:cubicBezTo>
                      <a:pt x="163752" y="1228307"/>
                      <a:pt x="152400" y="1226808"/>
                      <a:pt x="140971" y="1226186"/>
                    </a:cubicBezTo>
                    <a:cubicBezTo>
                      <a:pt x="128122" y="1225602"/>
                      <a:pt x="115349" y="1223849"/>
                      <a:pt x="102817" y="1220967"/>
                    </a:cubicBezTo>
                    <a:cubicBezTo>
                      <a:pt x="90374" y="1217906"/>
                      <a:pt x="90374" y="1213321"/>
                      <a:pt x="85250" y="1205041"/>
                    </a:cubicBezTo>
                    <a:cubicBezTo>
                      <a:pt x="80176" y="1196811"/>
                      <a:pt x="87495" y="1190956"/>
                      <a:pt x="86949" y="1186004"/>
                    </a:cubicBezTo>
                    <a:cubicBezTo>
                      <a:pt x="87355" y="1178637"/>
                      <a:pt x="85934" y="1171284"/>
                      <a:pt x="82814" y="1164591"/>
                    </a:cubicBezTo>
                    <a:cubicBezTo>
                      <a:pt x="78552" y="1159016"/>
                      <a:pt x="75812" y="1163105"/>
                      <a:pt x="69432" y="1162750"/>
                    </a:cubicBezTo>
                    <a:cubicBezTo>
                      <a:pt x="63813" y="1161899"/>
                      <a:pt x="59095" y="1158101"/>
                      <a:pt x="57065" y="1152806"/>
                    </a:cubicBezTo>
                    <a:cubicBezTo>
                      <a:pt x="54389" y="1140068"/>
                      <a:pt x="52981" y="1127113"/>
                      <a:pt x="52842" y="1114109"/>
                    </a:cubicBezTo>
                    <a:cubicBezTo>
                      <a:pt x="52309" y="1104292"/>
                      <a:pt x="59184" y="1103479"/>
                      <a:pt x="62951" y="1099936"/>
                    </a:cubicBezTo>
                    <a:cubicBezTo>
                      <a:pt x="66769" y="1096380"/>
                      <a:pt x="65652" y="1093179"/>
                      <a:pt x="71094" y="1088912"/>
                    </a:cubicBezTo>
                    <a:cubicBezTo>
                      <a:pt x="76269" y="1085648"/>
                      <a:pt x="79339" y="1079908"/>
                      <a:pt x="79174" y="1073799"/>
                    </a:cubicBezTo>
                    <a:cubicBezTo>
                      <a:pt x="78717" y="1069024"/>
                      <a:pt x="81356" y="1064490"/>
                      <a:pt x="85744" y="1062547"/>
                    </a:cubicBezTo>
                    <a:cubicBezTo>
                      <a:pt x="89473" y="1059981"/>
                      <a:pt x="84577" y="1050939"/>
                      <a:pt x="82827" y="1043065"/>
                    </a:cubicBezTo>
                    <a:cubicBezTo>
                      <a:pt x="81952" y="1035800"/>
                      <a:pt x="84603" y="1028549"/>
                      <a:pt x="89968" y="1023583"/>
                    </a:cubicBezTo>
                    <a:cubicBezTo>
                      <a:pt x="94281" y="1018452"/>
                      <a:pt x="98416" y="1015798"/>
                      <a:pt x="97249" y="1011925"/>
                    </a:cubicBezTo>
                    <a:cubicBezTo>
                      <a:pt x="96082" y="1008013"/>
                      <a:pt x="98238" y="1002298"/>
                      <a:pt x="102817" y="994157"/>
                    </a:cubicBezTo>
                    <a:cubicBezTo>
                      <a:pt x="107409" y="986055"/>
                      <a:pt x="99950" y="980060"/>
                      <a:pt x="97299" y="972009"/>
                    </a:cubicBezTo>
                    <a:cubicBezTo>
                      <a:pt x="94636" y="963957"/>
                      <a:pt x="102107" y="968681"/>
                      <a:pt x="104885" y="959816"/>
                    </a:cubicBezTo>
                    <a:cubicBezTo>
                      <a:pt x="107675" y="951003"/>
                      <a:pt x="101650" y="950545"/>
                      <a:pt x="106153" y="945466"/>
                    </a:cubicBezTo>
                    <a:cubicBezTo>
                      <a:pt x="110643" y="940385"/>
                      <a:pt x="111671" y="941998"/>
                      <a:pt x="111848" y="934581"/>
                    </a:cubicBezTo>
                    <a:cubicBezTo>
                      <a:pt x="112635" y="929908"/>
                      <a:pt x="109958" y="925349"/>
                      <a:pt x="105506" y="923736"/>
                    </a:cubicBezTo>
                    <a:cubicBezTo>
                      <a:pt x="101917" y="921488"/>
                      <a:pt x="99050" y="922428"/>
                      <a:pt x="94408" y="920815"/>
                    </a:cubicBezTo>
                    <a:cubicBezTo>
                      <a:pt x="89740" y="919189"/>
                      <a:pt x="97160" y="915646"/>
                      <a:pt x="102640" y="914744"/>
                    </a:cubicBezTo>
                    <a:cubicBezTo>
                      <a:pt x="108119" y="913881"/>
                      <a:pt x="112254" y="919469"/>
                      <a:pt x="114766" y="916636"/>
                    </a:cubicBezTo>
                    <a:cubicBezTo>
                      <a:pt x="117696" y="913144"/>
                      <a:pt x="119345" y="908762"/>
                      <a:pt x="119446" y="904216"/>
                    </a:cubicBezTo>
                    <a:cubicBezTo>
                      <a:pt x="119941" y="898222"/>
                      <a:pt x="114055" y="900698"/>
                      <a:pt x="104568" y="900393"/>
                    </a:cubicBezTo>
                    <a:cubicBezTo>
                      <a:pt x="95131" y="900114"/>
                      <a:pt x="100306" y="897460"/>
                      <a:pt x="101650" y="890754"/>
                    </a:cubicBezTo>
                    <a:cubicBezTo>
                      <a:pt x="103045" y="884099"/>
                      <a:pt x="102602" y="888328"/>
                      <a:pt x="101016" y="879235"/>
                    </a:cubicBezTo>
                    <a:cubicBezTo>
                      <a:pt x="99405" y="870154"/>
                      <a:pt x="103439" y="872529"/>
                      <a:pt x="100115" y="866954"/>
                    </a:cubicBezTo>
                    <a:cubicBezTo>
                      <a:pt x="96792" y="861379"/>
                      <a:pt x="98593" y="863309"/>
                      <a:pt x="101422" y="857505"/>
                    </a:cubicBezTo>
                    <a:cubicBezTo>
                      <a:pt x="104301" y="851702"/>
                      <a:pt x="98948" y="852603"/>
                      <a:pt x="95625" y="846482"/>
                    </a:cubicBezTo>
                    <a:cubicBezTo>
                      <a:pt x="92619" y="836741"/>
                      <a:pt x="92061" y="826390"/>
                      <a:pt x="94002" y="816383"/>
                    </a:cubicBezTo>
                    <a:cubicBezTo>
                      <a:pt x="95663" y="809855"/>
                      <a:pt x="100572" y="809004"/>
                      <a:pt x="101650" y="800368"/>
                    </a:cubicBezTo>
                    <a:cubicBezTo>
                      <a:pt x="101688" y="790614"/>
                      <a:pt x="100610" y="780886"/>
                      <a:pt x="98416" y="771387"/>
                    </a:cubicBezTo>
                    <a:cubicBezTo>
                      <a:pt x="96792" y="763246"/>
                      <a:pt x="98669" y="754800"/>
                      <a:pt x="103578" y="748120"/>
                    </a:cubicBezTo>
                    <a:cubicBezTo>
                      <a:pt x="106901" y="744882"/>
                      <a:pt x="101333" y="740525"/>
                      <a:pt x="102551" y="735344"/>
                    </a:cubicBezTo>
                    <a:cubicBezTo>
                      <a:pt x="103718" y="730213"/>
                      <a:pt x="105735" y="733452"/>
                      <a:pt x="102094" y="726391"/>
                    </a:cubicBezTo>
                    <a:cubicBezTo>
                      <a:pt x="98454" y="719329"/>
                      <a:pt x="101562" y="719913"/>
                      <a:pt x="108525" y="716624"/>
                    </a:cubicBezTo>
                    <a:cubicBezTo>
                      <a:pt x="115527" y="713348"/>
                      <a:pt x="111354" y="710960"/>
                      <a:pt x="111848" y="706502"/>
                    </a:cubicBezTo>
                    <a:cubicBezTo>
                      <a:pt x="112077" y="701498"/>
                      <a:pt x="113066" y="696545"/>
                      <a:pt x="114766" y="691834"/>
                    </a:cubicBezTo>
                    <a:cubicBezTo>
                      <a:pt x="116567" y="688595"/>
                      <a:pt x="123974" y="686665"/>
                      <a:pt x="126220" y="681851"/>
                    </a:cubicBezTo>
                    <a:cubicBezTo>
                      <a:pt x="128465" y="677025"/>
                      <a:pt x="118495" y="628207"/>
                      <a:pt x="118584" y="623076"/>
                    </a:cubicBezTo>
                    <a:cubicBezTo>
                      <a:pt x="119522" y="618377"/>
                      <a:pt x="121032" y="613818"/>
                      <a:pt x="123074" y="609487"/>
                    </a:cubicBezTo>
                    <a:cubicBezTo>
                      <a:pt x="123974" y="605664"/>
                      <a:pt x="129733" y="604089"/>
                      <a:pt x="131522" y="602921"/>
                    </a:cubicBezTo>
                    <a:cubicBezTo>
                      <a:pt x="133373" y="601791"/>
                      <a:pt x="133779" y="597295"/>
                      <a:pt x="138498" y="594640"/>
                    </a:cubicBezTo>
                    <a:cubicBezTo>
                      <a:pt x="143166" y="591986"/>
                      <a:pt x="140477" y="576695"/>
                      <a:pt x="140921" y="560351"/>
                    </a:cubicBezTo>
                    <a:cubicBezTo>
                      <a:pt x="140971" y="548527"/>
                      <a:pt x="146159" y="537313"/>
                      <a:pt x="155127" y="529617"/>
                    </a:cubicBezTo>
                    <a:cubicBezTo>
                      <a:pt x="160429" y="525349"/>
                      <a:pt x="156928" y="523000"/>
                      <a:pt x="154949" y="513831"/>
                    </a:cubicBezTo>
                    <a:cubicBezTo>
                      <a:pt x="152970" y="504648"/>
                      <a:pt x="157867" y="502400"/>
                      <a:pt x="156877" y="496101"/>
                    </a:cubicBezTo>
                    <a:cubicBezTo>
                      <a:pt x="155938" y="489751"/>
                      <a:pt x="152336" y="496101"/>
                      <a:pt x="152336" y="496101"/>
                    </a:cubicBezTo>
                    <a:cubicBezTo>
                      <a:pt x="152336" y="496101"/>
                      <a:pt x="144345" y="460325"/>
                      <a:pt x="143838" y="454077"/>
                    </a:cubicBezTo>
                    <a:cubicBezTo>
                      <a:pt x="143343" y="447778"/>
                      <a:pt x="140197" y="447092"/>
                      <a:pt x="136519" y="441885"/>
                    </a:cubicBezTo>
                    <a:cubicBezTo>
                      <a:pt x="132739" y="436335"/>
                      <a:pt x="134160" y="428778"/>
                      <a:pt x="139690" y="424994"/>
                    </a:cubicBezTo>
                    <a:cubicBezTo>
                      <a:pt x="139982" y="424791"/>
                      <a:pt x="140299" y="424600"/>
                      <a:pt x="140603" y="424423"/>
                    </a:cubicBezTo>
                    <a:cubicBezTo>
                      <a:pt x="147034" y="422263"/>
                      <a:pt x="139348" y="422263"/>
                      <a:pt x="143838" y="409347"/>
                    </a:cubicBezTo>
                    <a:cubicBezTo>
                      <a:pt x="148341" y="396482"/>
                      <a:pt x="151791" y="399543"/>
                      <a:pt x="153592" y="396292"/>
                    </a:cubicBezTo>
                    <a:cubicBezTo>
                      <a:pt x="155393" y="393104"/>
                      <a:pt x="156788" y="393155"/>
                      <a:pt x="153820" y="389548"/>
                    </a:cubicBezTo>
                    <a:cubicBezTo>
                      <a:pt x="150903" y="385992"/>
                      <a:pt x="158805" y="346762"/>
                      <a:pt x="161139" y="340640"/>
                    </a:cubicBezTo>
                    <a:cubicBezTo>
                      <a:pt x="162484" y="335954"/>
                      <a:pt x="165249" y="331801"/>
                      <a:pt x="169054" y="328766"/>
                    </a:cubicBezTo>
                    <a:cubicBezTo>
                      <a:pt x="172606" y="326061"/>
                      <a:pt x="184338" y="298388"/>
                      <a:pt x="187877" y="296140"/>
                    </a:cubicBezTo>
                    <a:cubicBezTo>
                      <a:pt x="191429" y="293930"/>
                      <a:pt x="197099" y="296178"/>
                      <a:pt x="199788" y="291542"/>
                    </a:cubicBezTo>
                    <a:cubicBezTo>
                      <a:pt x="202490" y="286869"/>
                      <a:pt x="197809" y="281966"/>
                      <a:pt x="195475" y="270270"/>
                    </a:cubicBezTo>
                    <a:cubicBezTo>
                      <a:pt x="193471" y="257481"/>
                      <a:pt x="193775" y="244425"/>
                      <a:pt x="196376" y="231751"/>
                    </a:cubicBezTo>
                    <a:cubicBezTo>
                      <a:pt x="198532" y="224283"/>
                      <a:pt x="196515" y="226252"/>
                      <a:pt x="193370" y="219825"/>
                    </a:cubicBezTo>
                    <a:cubicBezTo>
                      <a:pt x="190224" y="213437"/>
                      <a:pt x="198583" y="211405"/>
                      <a:pt x="208464" y="205284"/>
                    </a:cubicBezTo>
                    <a:cubicBezTo>
                      <a:pt x="218357" y="199125"/>
                      <a:pt x="226539" y="196877"/>
                      <a:pt x="229634" y="191060"/>
                    </a:cubicBezTo>
                    <a:cubicBezTo>
                      <a:pt x="232589" y="184278"/>
                      <a:pt x="234822" y="177179"/>
                      <a:pt x="236280" y="169914"/>
                    </a:cubicBezTo>
                    <a:cubicBezTo>
                      <a:pt x="236534" y="166105"/>
                      <a:pt x="235037" y="162396"/>
                      <a:pt x="232208" y="159831"/>
                    </a:cubicBezTo>
                    <a:close/>
                    <a:moveTo>
                      <a:pt x="50381" y="1054660"/>
                    </a:moveTo>
                    <a:cubicBezTo>
                      <a:pt x="44521" y="1055231"/>
                      <a:pt x="38787" y="1052704"/>
                      <a:pt x="35236" y="1048005"/>
                    </a:cubicBezTo>
                    <a:cubicBezTo>
                      <a:pt x="34348" y="1046595"/>
                      <a:pt x="33663" y="1045059"/>
                      <a:pt x="33206" y="1043459"/>
                    </a:cubicBezTo>
                    <a:cubicBezTo>
                      <a:pt x="43189" y="1040309"/>
                      <a:pt x="45840" y="1039636"/>
                      <a:pt x="48986" y="1045668"/>
                    </a:cubicBezTo>
                    <a:cubicBezTo>
                      <a:pt x="49658" y="1046976"/>
                      <a:pt x="50330" y="1048552"/>
                      <a:pt x="51091" y="1050482"/>
                    </a:cubicBezTo>
                    <a:cubicBezTo>
                      <a:pt x="51637" y="1051739"/>
                      <a:pt x="52169" y="1053136"/>
                      <a:pt x="52803" y="1054711"/>
                    </a:cubicBezTo>
                    <a:cubicBezTo>
                      <a:pt x="51992" y="1054711"/>
                      <a:pt x="51180" y="1054660"/>
                      <a:pt x="50381" y="105466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30" name="Vrije vorm 529">
                <a:extLst>
                  <a:ext uri="{FF2B5EF4-FFF2-40B4-BE49-F238E27FC236}">
                    <a16:creationId xmlns:a16="http://schemas.microsoft.com/office/drawing/2014/main" id="{460507A0-B20F-474F-8547-31D3F73D4F32}"/>
                  </a:ext>
                </a:extLst>
              </p:cNvPr>
              <p:cNvSpPr/>
              <p:nvPr/>
            </p:nvSpPr>
            <p:spPr>
              <a:xfrm>
                <a:off x="3382580" y="5697854"/>
                <a:ext cx="18556" cy="58260"/>
              </a:xfrm>
              <a:custGeom>
                <a:avLst/>
                <a:gdLst>
                  <a:gd name="connsiteX0" fmla="*/ 18531 w 18556"/>
                  <a:gd name="connsiteY0" fmla="*/ 1 h 58260"/>
                  <a:gd name="connsiteX1" fmla="*/ 16235 w 18556"/>
                  <a:gd name="connsiteY1" fmla="*/ 48236 h 58260"/>
                  <a:gd name="connsiteX2" fmla="*/ -26 w 18556"/>
                  <a:gd name="connsiteY2" fmla="*/ 56021 h 58260"/>
                  <a:gd name="connsiteX3" fmla="*/ 18531 w 18556"/>
                  <a:gd name="connsiteY3" fmla="*/ 1 h 58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556" h="58260">
                    <a:moveTo>
                      <a:pt x="18531" y="1"/>
                    </a:moveTo>
                    <a:cubicBezTo>
                      <a:pt x="17947" y="16105"/>
                      <a:pt x="17897" y="32259"/>
                      <a:pt x="16235" y="48236"/>
                    </a:cubicBezTo>
                    <a:cubicBezTo>
                      <a:pt x="15563" y="54980"/>
                      <a:pt x="11529" y="61952"/>
                      <a:pt x="-26" y="56021"/>
                    </a:cubicBezTo>
                    <a:cubicBezTo>
                      <a:pt x="7572" y="38063"/>
                      <a:pt x="-5594" y="13451"/>
                      <a:pt x="18531" y="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31" name="Vrije vorm 530">
                <a:extLst>
                  <a:ext uri="{FF2B5EF4-FFF2-40B4-BE49-F238E27FC236}">
                    <a16:creationId xmlns:a16="http://schemas.microsoft.com/office/drawing/2014/main" id="{02768096-CB7C-7A43-B088-8967415221C0}"/>
                  </a:ext>
                </a:extLst>
              </p:cNvPr>
              <p:cNvSpPr/>
              <p:nvPr/>
            </p:nvSpPr>
            <p:spPr>
              <a:xfrm>
                <a:off x="3402709" y="6128511"/>
                <a:ext cx="26202" cy="20814"/>
              </a:xfrm>
              <a:custGeom>
                <a:avLst/>
                <a:gdLst>
                  <a:gd name="connsiteX0" fmla="*/ 10224 w 26202"/>
                  <a:gd name="connsiteY0" fmla="*/ 20156 h 20814"/>
                  <a:gd name="connsiteX1" fmla="*/ 153 w 26202"/>
                  <a:gd name="connsiteY1" fmla="*/ 6834 h 20814"/>
                  <a:gd name="connsiteX2" fmla="*/ 25686 w 26202"/>
                  <a:gd name="connsiteY2" fmla="*/ 1 h 20814"/>
                  <a:gd name="connsiteX3" fmla="*/ 10224 w 26202"/>
                  <a:gd name="connsiteY3" fmla="*/ 20156 h 208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202" h="20814">
                    <a:moveTo>
                      <a:pt x="10224" y="20156"/>
                    </a:moveTo>
                    <a:cubicBezTo>
                      <a:pt x="-3893" y="23445"/>
                      <a:pt x="965" y="13717"/>
                      <a:pt x="153" y="6834"/>
                    </a:cubicBezTo>
                    <a:cubicBezTo>
                      <a:pt x="9324" y="4357"/>
                      <a:pt x="17556" y="2160"/>
                      <a:pt x="25686" y="1"/>
                    </a:cubicBezTo>
                    <a:cubicBezTo>
                      <a:pt x="28870" y="12866"/>
                      <a:pt x="15704" y="13679"/>
                      <a:pt x="10224" y="20156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32" name="Vrije vorm 531">
                <a:extLst>
                  <a:ext uri="{FF2B5EF4-FFF2-40B4-BE49-F238E27FC236}">
                    <a16:creationId xmlns:a16="http://schemas.microsoft.com/office/drawing/2014/main" id="{D089EEAE-2455-B74B-BD51-4FA2A3DA03EA}"/>
                  </a:ext>
                </a:extLst>
              </p:cNvPr>
              <p:cNvSpPr/>
              <p:nvPr/>
            </p:nvSpPr>
            <p:spPr>
              <a:xfrm>
                <a:off x="3411526" y="6202497"/>
                <a:ext cx="21451" cy="15282"/>
              </a:xfrm>
              <a:custGeom>
                <a:avLst/>
                <a:gdLst>
                  <a:gd name="connsiteX0" fmla="*/ 21093 w 21451"/>
                  <a:gd name="connsiteY0" fmla="*/ 15283 h 15282"/>
                  <a:gd name="connsiteX1" fmla="*/ -26 w 21451"/>
                  <a:gd name="connsiteY1" fmla="*/ 2368 h 15282"/>
                  <a:gd name="connsiteX2" fmla="*/ 21093 w 21451"/>
                  <a:gd name="connsiteY2" fmla="*/ 15283 h 152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1451" h="15282">
                    <a:moveTo>
                      <a:pt x="21093" y="15283"/>
                    </a:moveTo>
                    <a:cubicBezTo>
                      <a:pt x="13444" y="10597"/>
                      <a:pt x="6709" y="6457"/>
                      <a:pt x="-26" y="2368"/>
                    </a:cubicBezTo>
                    <a:cubicBezTo>
                      <a:pt x="22120" y="-1900"/>
                      <a:pt x="22120" y="-1900"/>
                      <a:pt x="21093" y="15283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33" name="Vrije vorm 532">
                <a:extLst>
                  <a:ext uri="{FF2B5EF4-FFF2-40B4-BE49-F238E27FC236}">
                    <a16:creationId xmlns:a16="http://schemas.microsoft.com/office/drawing/2014/main" id="{54FF6EA9-F8A8-7A44-8EB1-211A824A8180}"/>
                  </a:ext>
                </a:extLst>
              </p:cNvPr>
              <p:cNvSpPr/>
              <p:nvPr/>
            </p:nvSpPr>
            <p:spPr>
              <a:xfrm>
                <a:off x="3532545" y="6264579"/>
                <a:ext cx="11098" cy="15836"/>
              </a:xfrm>
              <a:custGeom>
                <a:avLst/>
                <a:gdLst>
                  <a:gd name="connsiteX0" fmla="*/ 11073 w 11098"/>
                  <a:gd name="connsiteY0" fmla="*/ 1 h 15836"/>
                  <a:gd name="connsiteX1" fmla="*/ 11073 w 11098"/>
                  <a:gd name="connsiteY1" fmla="*/ 13044 h 15836"/>
                  <a:gd name="connsiteX2" fmla="*/ 10895 w 11098"/>
                  <a:gd name="connsiteY2" fmla="*/ 15838 h 15836"/>
                  <a:gd name="connsiteX3" fmla="*/ -26 w 11098"/>
                  <a:gd name="connsiteY3" fmla="*/ 2706 h 15836"/>
                  <a:gd name="connsiteX4" fmla="*/ 11073 w 11098"/>
                  <a:gd name="connsiteY4" fmla="*/ 1 h 158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098" h="15836">
                    <a:moveTo>
                      <a:pt x="11073" y="1"/>
                    </a:moveTo>
                    <a:lnTo>
                      <a:pt x="11073" y="13044"/>
                    </a:lnTo>
                    <a:cubicBezTo>
                      <a:pt x="11035" y="13946"/>
                      <a:pt x="10933" y="14847"/>
                      <a:pt x="10895" y="15838"/>
                    </a:cubicBezTo>
                    <a:cubicBezTo>
                      <a:pt x="6671" y="10758"/>
                      <a:pt x="3297" y="6707"/>
                      <a:pt x="-26" y="2706"/>
                    </a:cubicBezTo>
                    <a:cubicBezTo>
                      <a:pt x="3437" y="1842"/>
                      <a:pt x="6887" y="1030"/>
                      <a:pt x="11073" y="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34" name="Vrije vorm 533">
                <a:extLst>
                  <a:ext uri="{FF2B5EF4-FFF2-40B4-BE49-F238E27FC236}">
                    <a16:creationId xmlns:a16="http://schemas.microsoft.com/office/drawing/2014/main" id="{563E5474-DCE2-964C-9934-9740D62B25DB}"/>
                  </a:ext>
                </a:extLst>
              </p:cNvPr>
              <p:cNvSpPr/>
              <p:nvPr/>
            </p:nvSpPr>
            <p:spPr>
              <a:xfrm>
                <a:off x="3513037" y="6269113"/>
                <a:ext cx="17123" cy="5625"/>
              </a:xfrm>
              <a:custGeom>
                <a:avLst/>
                <a:gdLst>
                  <a:gd name="connsiteX0" fmla="*/ 17097 w 17123"/>
                  <a:gd name="connsiteY0" fmla="*/ 1 h 5625"/>
                  <a:gd name="connsiteX1" fmla="*/ -26 w 17123"/>
                  <a:gd name="connsiteY1" fmla="*/ 2173 h 5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123" h="5625">
                    <a:moveTo>
                      <a:pt x="17097" y="1"/>
                    </a:moveTo>
                    <a:cubicBezTo>
                      <a:pt x="14003" y="9640"/>
                      <a:pt x="6443" y="4459"/>
                      <a:pt x="-26" y="2173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35" name="Vrije vorm 534">
                <a:extLst>
                  <a:ext uri="{FF2B5EF4-FFF2-40B4-BE49-F238E27FC236}">
                    <a16:creationId xmlns:a16="http://schemas.microsoft.com/office/drawing/2014/main" id="{C4B73B41-6D6B-3046-91A4-18536928A8B9}"/>
                  </a:ext>
                </a:extLst>
              </p:cNvPr>
              <p:cNvSpPr/>
              <p:nvPr/>
            </p:nvSpPr>
            <p:spPr>
              <a:xfrm>
                <a:off x="3470748" y="6152555"/>
                <a:ext cx="72895" cy="116561"/>
              </a:xfrm>
              <a:custGeom>
                <a:avLst/>
                <a:gdLst>
                  <a:gd name="connsiteX0" fmla="*/ 72870 w 72895"/>
                  <a:gd name="connsiteY0" fmla="*/ 4747 h 116561"/>
                  <a:gd name="connsiteX1" fmla="*/ 72870 w 72895"/>
                  <a:gd name="connsiteY1" fmla="*/ 105446 h 116561"/>
                  <a:gd name="connsiteX2" fmla="*/ 61403 w 72895"/>
                  <a:gd name="connsiteY2" fmla="*/ 114272 h 116561"/>
                  <a:gd name="connsiteX3" fmla="*/ 61771 w 72895"/>
                  <a:gd name="connsiteY3" fmla="*/ 114717 h 116561"/>
                  <a:gd name="connsiteX4" fmla="*/ 61276 w 72895"/>
                  <a:gd name="connsiteY4" fmla="*/ 114806 h 116561"/>
                  <a:gd name="connsiteX5" fmla="*/ 61276 w 72895"/>
                  <a:gd name="connsiteY5" fmla="*/ 115796 h 116561"/>
                  <a:gd name="connsiteX6" fmla="*/ 59564 w 72895"/>
                  <a:gd name="connsiteY6" fmla="*/ 115987 h 116561"/>
                  <a:gd name="connsiteX7" fmla="*/ 59615 w 72895"/>
                  <a:gd name="connsiteY7" fmla="*/ 116520 h 116561"/>
                  <a:gd name="connsiteX8" fmla="*/ 59386 w 72895"/>
                  <a:gd name="connsiteY8" fmla="*/ 116558 h 116561"/>
                  <a:gd name="connsiteX9" fmla="*/ 59437 w 72895"/>
                  <a:gd name="connsiteY9" fmla="*/ 116380 h 116561"/>
                  <a:gd name="connsiteX10" fmla="*/ 28957 w 72895"/>
                  <a:gd name="connsiteY10" fmla="*/ 102207 h 116561"/>
                  <a:gd name="connsiteX11" fmla="*/ -26 w 72895"/>
                  <a:gd name="connsiteY11" fmla="*/ 91958 h 116561"/>
                  <a:gd name="connsiteX12" fmla="*/ 59653 w 72895"/>
                  <a:gd name="connsiteY12" fmla="*/ 87767 h 116561"/>
                  <a:gd name="connsiteX13" fmla="*/ 44965 w 72895"/>
                  <a:gd name="connsiteY13" fmla="*/ 75753 h 116561"/>
                  <a:gd name="connsiteX14" fmla="*/ 43481 w 72895"/>
                  <a:gd name="connsiteY14" fmla="*/ 46010 h 116561"/>
                  <a:gd name="connsiteX15" fmla="*/ 55531 w 72895"/>
                  <a:gd name="connsiteY15" fmla="*/ 41158 h 116561"/>
                  <a:gd name="connsiteX16" fmla="*/ 50635 w 72895"/>
                  <a:gd name="connsiteY16" fmla="*/ 34542 h 116561"/>
                  <a:gd name="connsiteX17" fmla="*/ 23985 w 72895"/>
                  <a:gd name="connsiteY17" fmla="*/ 34542 h 116561"/>
                  <a:gd name="connsiteX18" fmla="*/ 28437 w 72895"/>
                  <a:gd name="connsiteY18" fmla="*/ 15454 h 116561"/>
                  <a:gd name="connsiteX19" fmla="*/ 57725 w 72895"/>
                  <a:gd name="connsiteY19" fmla="*/ 341 h 116561"/>
                  <a:gd name="connsiteX20" fmla="*/ 72870 w 72895"/>
                  <a:gd name="connsiteY20" fmla="*/ 4747 h 116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72895" h="116561">
                    <a:moveTo>
                      <a:pt x="72870" y="4747"/>
                    </a:moveTo>
                    <a:lnTo>
                      <a:pt x="72870" y="105446"/>
                    </a:lnTo>
                    <a:cubicBezTo>
                      <a:pt x="67289" y="104760"/>
                      <a:pt x="62177" y="108684"/>
                      <a:pt x="61403" y="114272"/>
                    </a:cubicBezTo>
                    <a:cubicBezTo>
                      <a:pt x="61556" y="114399"/>
                      <a:pt x="61670" y="114551"/>
                      <a:pt x="61771" y="114717"/>
                    </a:cubicBezTo>
                    <a:cubicBezTo>
                      <a:pt x="61632" y="114767"/>
                      <a:pt x="61454" y="114767"/>
                      <a:pt x="61276" y="114806"/>
                    </a:cubicBezTo>
                    <a:lnTo>
                      <a:pt x="61276" y="115796"/>
                    </a:lnTo>
                    <a:lnTo>
                      <a:pt x="59564" y="115987"/>
                    </a:lnTo>
                    <a:lnTo>
                      <a:pt x="59615" y="116520"/>
                    </a:lnTo>
                    <a:cubicBezTo>
                      <a:pt x="59539" y="116558"/>
                      <a:pt x="59463" y="116571"/>
                      <a:pt x="59386" y="116558"/>
                    </a:cubicBezTo>
                    <a:lnTo>
                      <a:pt x="59437" y="116380"/>
                    </a:lnTo>
                    <a:cubicBezTo>
                      <a:pt x="50990" y="108240"/>
                      <a:pt x="43925" y="99781"/>
                      <a:pt x="28957" y="102207"/>
                    </a:cubicBezTo>
                    <a:cubicBezTo>
                      <a:pt x="18518" y="101674"/>
                      <a:pt x="8447" y="98118"/>
                      <a:pt x="-26" y="91958"/>
                    </a:cubicBezTo>
                    <a:cubicBezTo>
                      <a:pt x="17947" y="83272"/>
                      <a:pt x="36644" y="85659"/>
                      <a:pt x="59653" y="87767"/>
                    </a:cubicBezTo>
                    <a:cubicBezTo>
                      <a:pt x="55023" y="83449"/>
                      <a:pt x="50114" y="79436"/>
                      <a:pt x="44965" y="75753"/>
                    </a:cubicBezTo>
                    <a:cubicBezTo>
                      <a:pt x="25368" y="64094"/>
                      <a:pt x="24924" y="58202"/>
                      <a:pt x="43481" y="46010"/>
                    </a:cubicBezTo>
                    <a:cubicBezTo>
                      <a:pt x="47324" y="43978"/>
                      <a:pt x="51357" y="42352"/>
                      <a:pt x="55531" y="41158"/>
                    </a:cubicBezTo>
                    <a:cubicBezTo>
                      <a:pt x="53907" y="38948"/>
                      <a:pt x="52245" y="36739"/>
                      <a:pt x="50635" y="34542"/>
                    </a:cubicBezTo>
                    <a:lnTo>
                      <a:pt x="23985" y="34542"/>
                    </a:lnTo>
                    <a:cubicBezTo>
                      <a:pt x="16476" y="25944"/>
                      <a:pt x="22235" y="21042"/>
                      <a:pt x="28437" y="15454"/>
                    </a:cubicBezTo>
                    <a:cubicBezTo>
                      <a:pt x="36936" y="7897"/>
                      <a:pt x="41781" y="-1958"/>
                      <a:pt x="57725" y="341"/>
                    </a:cubicBezTo>
                    <a:cubicBezTo>
                      <a:pt x="63040" y="696"/>
                      <a:pt x="68202" y="2195"/>
                      <a:pt x="72870" y="4747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359" name="Graphic 5">
              <a:extLst>
                <a:ext uri="{FF2B5EF4-FFF2-40B4-BE49-F238E27FC236}">
                  <a16:creationId xmlns:a16="http://schemas.microsoft.com/office/drawing/2014/main" id="{A091352D-5678-874F-91FD-C5E3A42016CC}"/>
                </a:ext>
              </a:extLst>
            </p:cNvPr>
            <p:cNvGrpSpPr/>
            <p:nvPr/>
          </p:nvGrpSpPr>
          <p:grpSpPr>
            <a:xfrm>
              <a:off x="1487451" y="1399977"/>
              <a:ext cx="2507052" cy="1690084"/>
              <a:chOff x="1487451" y="1399977"/>
              <a:chExt cx="2507052" cy="1690084"/>
            </a:xfrm>
            <a:solidFill>
              <a:schemeClr val="bg2"/>
            </a:solidFill>
          </p:grpSpPr>
          <p:sp>
            <p:nvSpPr>
              <p:cNvPr id="473" name="Vrije vorm 472">
                <a:extLst>
                  <a:ext uri="{FF2B5EF4-FFF2-40B4-BE49-F238E27FC236}">
                    <a16:creationId xmlns:a16="http://schemas.microsoft.com/office/drawing/2014/main" id="{177D93BC-6619-3B4C-8DC2-BC923A19D3B1}"/>
                  </a:ext>
                </a:extLst>
              </p:cNvPr>
              <p:cNvSpPr/>
              <p:nvPr/>
            </p:nvSpPr>
            <p:spPr>
              <a:xfrm>
                <a:off x="3748239" y="2888162"/>
                <a:ext cx="46437" cy="58858"/>
              </a:xfrm>
              <a:custGeom>
                <a:avLst/>
                <a:gdLst>
                  <a:gd name="connsiteX0" fmla="*/ 46412 w 46437"/>
                  <a:gd name="connsiteY0" fmla="*/ 42947 h 58858"/>
                  <a:gd name="connsiteX1" fmla="*/ 46196 w 46437"/>
                  <a:gd name="connsiteY1" fmla="*/ 36496 h 58858"/>
                  <a:gd name="connsiteX2" fmla="*/ 32598 w 46437"/>
                  <a:gd name="connsiteY2" fmla="*/ 34819 h 58858"/>
                  <a:gd name="connsiteX3" fmla="*/ 22705 w 46437"/>
                  <a:gd name="connsiteY3" fmla="*/ 38477 h 58858"/>
                  <a:gd name="connsiteX4" fmla="*/ 29326 w 46437"/>
                  <a:gd name="connsiteY4" fmla="*/ 34502 h 58858"/>
                  <a:gd name="connsiteX5" fmla="*/ 19775 w 46437"/>
                  <a:gd name="connsiteY5" fmla="*/ 53234 h 58858"/>
                  <a:gd name="connsiteX6" fmla="*/ 16718 w 46437"/>
                  <a:gd name="connsiteY6" fmla="*/ 55368 h 58858"/>
                  <a:gd name="connsiteX7" fmla="*/ 8283 w 46437"/>
                  <a:gd name="connsiteY7" fmla="*/ 53069 h 58858"/>
                  <a:gd name="connsiteX8" fmla="*/ 13356 w 46437"/>
                  <a:gd name="connsiteY8" fmla="*/ 47951 h 58858"/>
                  <a:gd name="connsiteX9" fmla="*/ 12760 w 46437"/>
                  <a:gd name="connsiteY9" fmla="*/ 45728 h 58858"/>
                  <a:gd name="connsiteX10" fmla="*/ 15678 w 46437"/>
                  <a:gd name="connsiteY10" fmla="*/ 44928 h 58858"/>
                  <a:gd name="connsiteX11" fmla="*/ 8879 w 46437"/>
                  <a:gd name="connsiteY11" fmla="*/ 44065 h 58858"/>
                  <a:gd name="connsiteX12" fmla="*/ 20548 w 46437"/>
                  <a:gd name="connsiteY12" fmla="*/ 36826 h 58858"/>
                  <a:gd name="connsiteX13" fmla="*/ 11999 w 46437"/>
                  <a:gd name="connsiteY13" fmla="*/ 14880 h 58858"/>
                  <a:gd name="connsiteX14" fmla="*/ 38535 w 46437"/>
                  <a:gd name="connsiteY14" fmla="*/ 49640 h 58858"/>
                  <a:gd name="connsiteX15" fmla="*/ 46412 w 46437"/>
                  <a:gd name="connsiteY15" fmla="*/ 42947 h 58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6437" h="58858">
                    <a:moveTo>
                      <a:pt x="46412" y="42947"/>
                    </a:moveTo>
                    <a:cubicBezTo>
                      <a:pt x="42898" y="39112"/>
                      <a:pt x="40069" y="42312"/>
                      <a:pt x="46196" y="36496"/>
                    </a:cubicBezTo>
                    <a:cubicBezTo>
                      <a:pt x="42061" y="33917"/>
                      <a:pt x="37672" y="28850"/>
                      <a:pt x="32598" y="34819"/>
                    </a:cubicBezTo>
                    <a:cubicBezTo>
                      <a:pt x="39511" y="22526"/>
                      <a:pt x="22819" y="32457"/>
                      <a:pt x="22705" y="38477"/>
                    </a:cubicBezTo>
                    <a:cubicBezTo>
                      <a:pt x="25470" y="36115"/>
                      <a:pt x="36569" y="27313"/>
                      <a:pt x="29326" y="34502"/>
                    </a:cubicBezTo>
                    <a:cubicBezTo>
                      <a:pt x="7205" y="54707"/>
                      <a:pt x="36898" y="32216"/>
                      <a:pt x="19775" y="53234"/>
                    </a:cubicBezTo>
                    <a:cubicBezTo>
                      <a:pt x="20624" y="53221"/>
                      <a:pt x="16832" y="56117"/>
                      <a:pt x="16718" y="55368"/>
                    </a:cubicBezTo>
                    <a:cubicBezTo>
                      <a:pt x="21309" y="46935"/>
                      <a:pt x="10452" y="54872"/>
                      <a:pt x="8283" y="53069"/>
                    </a:cubicBezTo>
                    <a:cubicBezTo>
                      <a:pt x="9411" y="51088"/>
                      <a:pt x="9944" y="49132"/>
                      <a:pt x="13356" y="47951"/>
                    </a:cubicBezTo>
                    <a:cubicBezTo>
                      <a:pt x="14117" y="48027"/>
                      <a:pt x="15437" y="46516"/>
                      <a:pt x="12760" y="45728"/>
                    </a:cubicBezTo>
                    <a:cubicBezTo>
                      <a:pt x="7940" y="49462"/>
                      <a:pt x="10921" y="43455"/>
                      <a:pt x="15678" y="44928"/>
                    </a:cubicBezTo>
                    <a:cubicBezTo>
                      <a:pt x="24582" y="34146"/>
                      <a:pt x="14752" y="42134"/>
                      <a:pt x="8879" y="44065"/>
                    </a:cubicBezTo>
                    <a:cubicBezTo>
                      <a:pt x="12468" y="41182"/>
                      <a:pt x="16388" y="38756"/>
                      <a:pt x="20548" y="36826"/>
                    </a:cubicBezTo>
                    <a:cubicBezTo>
                      <a:pt x="32763" y="34743"/>
                      <a:pt x="37558" y="-27817"/>
                      <a:pt x="11999" y="14880"/>
                    </a:cubicBezTo>
                    <a:cubicBezTo>
                      <a:pt x="-10756" y="43976"/>
                      <a:pt x="-837" y="74646"/>
                      <a:pt x="38535" y="49640"/>
                    </a:cubicBezTo>
                    <a:cubicBezTo>
                      <a:pt x="33512" y="44725"/>
                      <a:pt x="44319" y="46605"/>
                      <a:pt x="46412" y="42947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74" name="Vrije vorm 473">
                <a:extLst>
                  <a:ext uri="{FF2B5EF4-FFF2-40B4-BE49-F238E27FC236}">
                    <a16:creationId xmlns:a16="http://schemas.microsoft.com/office/drawing/2014/main" id="{360E43AD-B652-A64E-B2EB-35E2C15586F9}"/>
                  </a:ext>
                </a:extLst>
              </p:cNvPr>
              <p:cNvSpPr/>
              <p:nvPr/>
            </p:nvSpPr>
            <p:spPr>
              <a:xfrm>
                <a:off x="1849704" y="2719433"/>
                <a:ext cx="143476" cy="111099"/>
              </a:xfrm>
              <a:custGeom>
                <a:avLst/>
                <a:gdLst>
                  <a:gd name="connsiteX0" fmla="*/ 138186 w 143476"/>
                  <a:gd name="connsiteY0" fmla="*/ 95941 h 111099"/>
                  <a:gd name="connsiteX1" fmla="*/ 136563 w 143476"/>
                  <a:gd name="connsiteY1" fmla="*/ 93515 h 111099"/>
                  <a:gd name="connsiteX2" fmla="*/ 135573 w 143476"/>
                  <a:gd name="connsiteY2" fmla="*/ 92118 h 111099"/>
                  <a:gd name="connsiteX3" fmla="*/ 134000 w 143476"/>
                  <a:gd name="connsiteY3" fmla="*/ 89997 h 111099"/>
                  <a:gd name="connsiteX4" fmla="*/ 130144 w 143476"/>
                  <a:gd name="connsiteY4" fmla="*/ 85362 h 111099"/>
                  <a:gd name="connsiteX5" fmla="*/ 130144 w 143476"/>
                  <a:gd name="connsiteY5" fmla="*/ 85324 h 111099"/>
                  <a:gd name="connsiteX6" fmla="*/ 127798 w 143476"/>
                  <a:gd name="connsiteY6" fmla="*/ 82797 h 111099"/>
                  <a:gd name="connsiteX7" fmla="*/ 127709 w 143476"/>
                  <a:gd name="connsiteY7" fmla="*/ 82670 h 111099"/>
                  <a:gd name="connsiteX8" fmla="*/ 127709 w 143476"/>
                  <a:gd name="connsiteY8" fmla="*/ 82619 h 111099"/>
                  <a:gd name="connsiteX9" fmla="*/ 115583 w 143476"/>
                  <a:gd name="connsiteY9" fmla="*/ 70605 h 111099"/>
                  <a:gd name="connsiteX10" fmla="*/ 105740 w 143476"/>
                  <a:gd name="connsiteY10" fmla="*/ 61156 h 111099"/>
                  <a:gd name="connsiteX11" fmla="*/ 102227 w 143476"/>
                  <a:gd name="connsiteY11" fmla="*/ 57511 h 111099"/>
                  <a:gd name="connsiteX12" fmla="*/ 98776 w 143476"/>
                  <a:gd name="connsiteY12" fmla="*/ 53739 h 111099"/>
                  <a:gd name="connsiteX13" fmla="*/ 94553 w 143476"/>
                  <a:gd name="connsiteY13" fmla="*/ 48735 h 111099"/>
                  <a:gd name="connsiteX14" fmla="*/ 92485 w 143476"/>
                  <a:gd name="connsiteY14" fmla="*/ 45992 h 111099"/>
                  <a:gd name="connsiteX15" fmla="*/ 92206 w 143476"/>
                  <a:gd name="connsiteY15" fmla="*/ 45675 h 111099"/>
                  <a:gd name="connsiteX16" fmla="*/ 89644 w 143476"/>
                  <a:gd name="connsiteY16" fmla="*/ 41991 h 111099"/>
                  <a:gd name="connsiteX17" fmla="*/ 89517 w 143476"/>
                  <a:gd name="connsiteY17" fmla="*/ 41776 h 111099"/>
                  <a:gd name="connsiteX18" fmla="*/ 87855 w 143476"/>
                  <a:gd name="connsiteY18" fmla="*/ 39159 h 111099"/>
                  <a:gd name="connsiteX19" fmla="*/ 85065 w 143476"/>
                  <a:gd name="connsiteY19" fmla="*/ 34206 h 111099"/>
                  <a:gd name="connsiteX20" fmla="*/ 83758 w 143476"/>
                  <a:gd name="connsiteY20" fmla="*/ 31641 h 111099"/>
                  <a:gd name="connsiteX21" fmla="*/ 82503 w 143476"/>
                  <a:gd name="connsiteY21" fmla="*/ 28936 h 111099"/>
                  <a:gd name="connsiteX22" fmla="*/ 81742 w 143476"/>
                  <a:gd name="connsiteY22" fmla="*/ 27145 h 111099"/>
                  <a:gd name="connsiteX23" fmla="*/ 80981 w 143476"/>
                  <a:gd name="connsiteY23" fmla="*/ 25253 h 111099"/>
                  <a:gd name="connsiteX24" fmla="*/ 79141 w 143476"/>
                  <a:gd name="connsiteY24" fmla="*/ 24707 h 111099"/>
                  <a:gd name="connsiteX25" fmla="*/ 75590 w 143476"/>
                  <a:gd name="connsiteY25" fmla="*/ 23678 h 111099"/>
                  <a:gd name="connsiteX26" fmla="*/ 71265 w 143476"/>
                  <a:gd name="connsiteY26" fmla="*/ 22370 h 111099"/>
                  <a:gd name="connsiteX27" fmla="*/ 67003 w 143476"/>
                  <a:gd name="connsiteY27" fmla="*/ 20262 h 111099"/>
                  <a:gd name="connsiteX28" fmla="*/ 43905 w 143476"/>
                  <a:gd name="connsiteY28" fmla="*/ 14229 h 111099"/>
                  <a:gd name="connsiteX29" fmla="*/ 43854 w 143476"/>
                  <a:gd name="connsiteY29" fmla="*/ 14229 h 111099"/>
                  <a:gd name="connsiteX30" fmla="*/ 43042 w 143476"/>
                  <a:gd name="connsiteY30" fmla="*/ 14051 h 111099"/>
                  <a:gd name="connsiteX31" fmla="*/ 34151 w 143476"/>
                  <a:gd name="connsiteY31" fmla="*/ 11524 h 111099"/>
                  <a:gd name="connsiteX32" fmla="*/ 33428 w 143476"/>
                  <a:gd name="connsiteY32" fmla="*/ 11346 h 111099"/>
                  <a:gd name="connsiteX33" fmla="*/ 30282 w 143476"/>
                  <a:gd name="connsiteY33" fmla="*/ 10495 h 111099"/>
                  <a:gd name="connsiteX34" fmla="*/ 22786 w 143476"/>
                  <a:gd name="connsiteY34" fmla="*/ 8603 h 111099"/>
                  <a:gd name="connsiteX35" fmla="*/ 20135 w 143476"/>
                  <a:gd name="connsiteY35" fmla="*/ 7968 h 111099"/>
                  <a:gd name="connsiteX36" fmla="*/ 18511 w 143476"/>
                  <a:gd name="connsiteY36" fmla="*/ 7613 h 111099"/>
                  <a:gd name="connsiteX37" fmla="*/ 1933 w 143476"/>
                  <a:gd name="connsiteY37" fmla="*/ 2342 h 111099"/>
                  <a:gd name="connsiteX38" fmla="*/ 182 w 143476"/>
                  <a:gd name="connsiteY38" fmla="*/ 8819 h 111099"/>
                  <a:gd name="connsiteX39" fmla="*/ 7907 w 143476"/>
                  <a:gd name="connsiteY39" fmla="*/ 14128 h 111099"/>
                  <a:gd name="connsiteX40" fmla="*/ 7996 w 143476"/>
                  <a:gd name="connsiteY40" fmla="*/ 14128 h 111099"/>
                  <a:gd name="connsiteX41" fmla="*/ 11091 w 143476"/>
                  <a:gd name="connsiteY41" fmla="*/ 16198 h 111099"/>
                  <a:gd name="connsiteX42" fmla="*/ 14782 w 143476"/>
                  <a:gd name="connsiteY42" fmla="*/ 18496 h 111099"/>
                  <a:gd name="connsiteX43" fmla="*/ 13653 w 143476"/>
                  <a:gd name="connsiteY43" fmla="*/ 20706 h 111099"/>
                  <a:gd name="connsiteX44" fmla="*/ 13475 w 143476"/>
                  <a:gd name="connsiteY44" fmla="*/ 20922 h 111099"/>
                  <a:gd name="connsiteX45" fmla="*/ 13120 w 143476"/>
                  <a:gd name="connsiteY45" fmla="*/ 21468 h 111099"/>
                  <a:gd name="connsiteX46" fmla="*/ 12943 w 143476"/>
                  <a:gd name="connsiteY46" fmla="*/ 21824 h 111099"/>
                  <a:gd name="connsiteX47" fmla="*/ 12664 w 143476"/>
                  <a:gd name="connsiteY47" fmla="*/ 22726 h 111099"/>
                  <a:gd name="connsiteX48" fmla="*/ 12664 w 143476"/>
                  <a:gd name="connsiteY48" fmla="*/ 22764 h 111099"/>
                  <a:gd name="connsiteX49" fmla="*/ 12270 w 143476"/>
                  <a:gd name="connsiteY49" fmla="*/ 23665 h 111099"/>
                  <a:gd name="connsiteX50" fmla="*/ 12714 w 143476"/>
                  <a:gd name="connsiteY50" fmla="*/ 24034 h 111099"/>
                  <a:gd name="connsiteX51" fmla="*/ 12943 w 143476"/>
                  <a:gd name="connsiteY51" fmla="*/ 24796 h 111099"/>
                  <a:gd name="connsiteX52" fmla="*/ 13298 w 143476"/>
                  <a:gd name="connsiteY52" fmla="*/ 25558 h 111099"/>
                  <a:gd name="connsiteX53" fmla="*/ 16304 w 143476"/>
                  <a:gd name="connsiteY53" fmla="*/ 28479 h 111099"/>
                  <a:gd name="connsiteX54" fmla="*/ 16989 w 143476"/>
                  <a:gd name="connsiteY54" fmla="*/ 28796 h 111099"/>
                  <a:gd name="connsiteX55" fmla="*/ 17699 w 143476"/>
                  <a:gd name="connsiteY55" fmla="*/ 29101 h 111099"/>
                  <a:gd name="connsiteX56" fmla="*/ 23864 w 143476"/>
                  <a:gd name="connsiteY56" fmla="*/ 33419 h 111099"/>
                  <a:gd name="connsiteX57" fmla="*/ 25437 w 143476"/>
                  <a:gd name="connsiteY57" fmla="*/ 34638 h 111099"/>
                  <a:gd name="connsiteX58" fmla="*/ 25297 w 143476"/>
                  <a:gd name="connsiteY58" fmla="*/ 34778 h 111099"/>
                  <a:gd name="connsiteX59" fmla="*/ 26236 w 143476"/>
                  <a:gd name="connsiteY59" fmla="*/ 36086 h 111099"/>
                  <a:gd name="connsiteX60" fmla="*/ 27098 w 143476"/>
                  <a:gd name="connsiteY60" fmla="*/ 37115 h 111099"/>
                  <a:gd name="connsiteX61" fmla="*/ 28303 w 143476"/>
                  <a:gd name="connsiteY61" fmla="*/ 38143 h 111099"/>
                  <a:gd name="connsiteX62" fmla="*/ 28798 w 143476"/>
                  <a:gd name="connsiteY62" fmla="*/ 38372 h 111099"/>
                  <a:gd name="connsiteX63" fmla="*/ 29660 w 143476"/>
                  <a:gd name="connsiteY63" fmla="*/ 38372 h 111099"/>
                  <a:gd name="connsiteX64" fmla="*/ 30104 w 143476"/>
                  <a:gd name="connsiteY64" fmla="*/ 38105 h 111099"/>
                  <a:gd name="connsiteX65" fmla="*/ 30371 w 143476"/>
                  <a:gd name="connsiteY65" fmla="*/ 37877 h 111099"/>
                  <a:gd name="connsiteX66" fmla="*/ 33922 w 143476"/>
                  <a:gd name="connsiteY66" fmla="*/ 39413 h 111099"/>
                  <a:gd name="connsiteX67" fmla="*/ 34823 w 143476"/>
                  <a:gd name="connsiteY67" fmla="*/ 43058 h 111099"/>
                  <a:gd name="connsiteX68" fmla="*/ 35685 w 143476"/>
                  <a:gd name="connsiteY68" fmla="*/ 46792 h 111099"/>
                  <a:gd name="connsiteX69" fmla="*/ 37525 w 143476"/>
                  <a:gd name="connsiteY69" fmla="*/ 47110 h 111099"/>
                  <a:gd name="connsiteX70" fmla="*/ 38463 w 143476"/>
                  <a:gd name="connsiteY70" fmla="*/ 46970 h 111099"/>
                  <a:gd name="connsiteX71" fmla="*/ 39047 w 143476"/>
                  <a:gd name="connsiteY71" fmla="*/ 46741 h 111099"/>
                  <a:gd name="connsiteX72" fmla="*/ 39135 w 143476"/>
                  <a:gd name="connsiteY72" fmla="*/ 46703 h 111099"/>
                  <a:gd name="connsiteX73" fmla="*/ 39947 w 143476"/>
                  <a:gd name="connsiteY73" fmla="*/ 46068 h 111099"/>
                  <a:gd name="connsiteX74" fmla="*/ 40493 w 143476"/>
                  <a:gd name="connsiteY74" fmla="*/ 45344 h 111099"/>
                  <a:gd name="connsiteX75" fmla="*/ 40581 w 143476"/>
                  <a:gd name="connsiteY75" fmla="*/ 45166 h 111099"/>
                  <a:gd name="connsiteX76" fmla="*/ 40899 w 143476"/>
                  <a:gd name="connsiteY76" fmla="*/ 44582 h 111099"/>
                  <a:gd name="connsiteX77" fmla="*/ 41025 w 143476"/>
                  <a:gd name="connsiteY77" fmla="*/ 44265 h 111099"/>
                  <a:gd name="connsiteX78" fmla="*/ 41165 w 143476"/>
                  <a:gd name="connsiteY78" fmla="*/ 43820 h 111099"/>
                  <a:gd name="connsiteX79" fmla="*/ 41292 w 143476"/>
                  <a:gd name="connsiteY79" fmla="*/ 43452 h 111099"/>
                  <a:gd name="connsiteX80" fmla="*/ 41431 w 143476"/>
                  <a:gd name="connsiteY80" fmla="*/ 43046 h 111099"/>
                  <a:gd name="connsiteX81" fmla="*/ 41786 w 143476"/>
                  <a:gd name="connsiteY81" fmla="*/ 43325 h 111099"/>
                  <a:gd name="connsiteX82" fmla="*/ 42421 w 143476"/>
                  <a:gd name="connsiteY82" fmla="*/ 45700 h 111099"/>
                  <a:gd name="connsiteX83" fmla="*/ 43588 w 143476"/>
                  <a:gd name="connsiteY83" fmla="*/ 45027 h 111099"/>
                  <a:gd name="connsiteX84" fmla="*/ 43638 w 143476"/>
                  <a:gd name="connsiteY84" fmla="*/ 45078 h 111099"/>
                  <a:gd name="connsiteX85" fmla="*/ 53126 w 143476"/>
                  <a:gd name="connsiteY85" fmla="*/ 58882 h 111099"/>
                  <a:gd name="connsiteX86" fmla="*/ 52226 w 143476"/>
                  <a:gd name="connsiteY86" fmla="*/ 60330 h 111099"/>
                  <a:gd name="connsiteX87" fmla="*/ 51642 w 143476"/>
                  <a:gd name="connsiteY87" fmla="*/ 61816 h 111099"/>
                  <a:gd name="connsiteX88" fmla="*/ 51274 w 143476"/>
                  <a:gd name="connsiteY88" fmla="*/ 63213 h 111099"/>
                  <a:gd name="connsiteX89" fmla="*/ 53532 w 143476"/>
                  <a:gd name="connsiteY89" fmla="*/ 66134 h 111099"/>
                  <a:gd name="connsiteX90" fmla="*/ 53925 w 143476"/>
                  <a:gd name="connsiteY90" fmla="*/ 65677 h 111099"/>
                  <a:gd name="connsiteX91" fmla="*/ 54788 w 143476"/>
                  <a:gd name="connsiteY91" fmla="*/ 64470 h 111099"/>
                  <a:gd name="connsiteX92" fmla="*/ 55232 w 143476"/>
                  <a:gd name="connsiteY92" fmla="*/ 63658 h 111099"/>
                  <a:gd name="connsiteX93" fmla="*/ 60267 w 143476"/>
                  <a:gd name="connsiteY93" fmla="*/ 64597 h 111099"/>
                  <a:gd name="connsiteX94" fmla="*/ 60584 w 143476"/>
                  <a:gd name="connsiteY94" fmla="*/ 64686 h 111099"/>
                  <a:gd name="connsiteX95" fmla="*/ 67726 w 143476"/>
                  <a:gd name="connsiteY95" fmla="*/ 69690 h 111099"/>
                  <a:gd name="connsiteX96" fmla="*/ 68043 w 143476"/>
                  <a:gd name="connsiteY96" fmla="*/ 70401 h 111099"/>
                  <a:gd name="connsiteX97" fmla="*/ 68271 w 143476"/>
                  <a:gd name="connsiteY97" fmla="*/ 71075 h 111099"/>
                  <a:gd name="connsiteX98" fmla="*/ 68487 w 143476"/>
                  <a:gd name="connsiteY98" fmla="*/ 71709 h 111099"/>
                  <a:gd name="connsiteX99" fmla="*/ 68943 w 143476"/>
                  <a:gd name="connsiteY99" fmla="*/ 73195 h 111099"/>
                  <a:gd name="connsiteX100" fmla="*/ 69616 w 143476"/>
                  <a:gd name="connsiteY100" fmla="*/ 73068 h 111099"/>
                  <a:gd name="connsiteX101" fmla="*/ 70516 w 143476"/>
                  <a:gd name="connsiteY101" fmla="*/ 72078 h 111099"/>
                  <a:gd name="connsiteX102" fmla="*/ 73662 w 143476"/>
                  <a:gd name="connsiteY102" fmla="*/ 75583 h 111099"/>
                  <a:gd name="connsiteX103" fmla="*/ 74017 w 143476"/>
                  <a:gd name="connsiteY103" fmla="*/ 77209 h 111099"/>
                  <a:gd name="connsiteX104" fmla="*/ 74562 w 143476"/>
                  <a:gd name="connsiteY104" fmla="*/ 78733 h 111099"/>
                  <a:gd name="connsiteX105" fmla="*/ 74740 w 143476"/>
                  <a:gd name="connsiteY105" fmla="*/ 79177 h 111099"/>
                  <a:gd name="connsiteX106" fmla="*/ 75767 w 143476"/>
                  <a:gd name="connsiteY106" fmla="*/ 81209 h 111099"/>
                  <a:gd name="connsiteX107" fmla="*/ 76402 w 143476"/>
                  <a:gd name="connsiteY107" fmla="*/ 82149 h 111099"/>
                  <a:gd name="connsiteX108" fmla="*/ 77657 w 143476"/>
                  <a:gd name="connsiteY108" fmla="*/ 83724 h 111099"/>
                  <a:gd name="connsiteX109" fmla="*/ 79370 w 143476"/>
                  <a:gd name="connsiteY109" fmla="*/ 85210 h 111099"/>
                  <a:gd name="connsiteX110" fmla="*/ 80321 w 143476"/>
                  <a:gd name="connsiteY110" fmla="*/ 85845 h 111099"/>
                  <a:gd name="connsiteX111" fmla="*/ 87602 w 143476"/>
                  <a:gd name="connsiteY111" fmla="*/ 87153 h 111099"/>
                  <a:gd name="connsiteX112" fmla="*/ 87640 w 143476"/>
                  <a:gd name="connsiteY112" fmla="*/ 87203 h 111099"/>
                  <a:gd name="connsiteX113" fmla="*/ 95961 w 143476"/>
                  <a:gd name="connsiteY113" fmla="*/ 92918 h 111099"/>
                  <a:gd name="connsiteX114" fmla="*/ 96988 w 143476"/>
                  <a:gd name="connsiteY114" fmla="*/ 94887 h 111099"/>
                  <a:gd name="connsiteX115" fmla="*/ 98206 w 143476"/>
                  <a:gd name="connsiteY115" fmla="*/ 96601 h 111099"/>
                  <a:gd name="connsiteX116" fmla="*/ 99728 w 143476"/>
                  <a:gd name="connsiteY116" fmla="*/ 98354 h 111099"/>
                  <a:gd name="connsiteX117" fmla="*/ 101707 w 143476"/>
                  <a:gd name="connsiteY117" fmla="*/ 100208 h 111099"/>
                  <a:gd name="connsiteX118" fmla="*/ 103457 w 143476"/>
                  <a:gd name="connsiteY118" fmla="*/ 101593 h 111099"/>
                  <a:gd name="connsiteX119" fmla="*/ 104801 w 143476"/>
                  <a:gd name="connsiteY119" fmla="*/ 102583 h 111099"/>
                  <a:gd name="connsiteX120" fmla="*/ 105613 w 143476"/>
                  <a:gd name="connsiteY120" fmla="*/ 103129 h 111099"/>
                  <a:gd name="connsiteX121" fmla="*/ 107896 w 143476"/>
                  <a:gd name="connsiteY121" fmla="*/ 104526 h 111099"/>
                  <a:gd name="connsiteX122" fmla="*/ 111905 w 143476"/>
                  <a:gd name="connsiteY122" fmla="*/ 106546 h 111099"/>
                  <a:gd name="connsiteX123" fmla="*/ 113655 w 143476"/>
                  <a:gd name="connsiteY123" fmla="*/ 107308 h 111099"/>
                  <a:gd name="connsiteX124" fmla="*/ 115405 w 143476"/>
                  <a:gd name="connsiteY124" fmla="*/ 107993 h 111099"/>
                  <a:gd name="connsiteX125" fmla="*/ 117435 w 143476"/>
                  <a:gd name="connsiteY125" fmla="*/ 108705 h 111099"/>
                  <a:gd name="connsiteX126" fmla="*/ 118386 w 143476"/>
                  <a:gd name="connsiteY126" fmla="*/ 109022 h 111099"/>
                  <a:gd name="connsiteX127" fmla="*/ 120314 w 143476"/>
                  <a:gd name="connsiteY127" fmla="*/ 109568 h 111099"/>
                  <a:gd name="connsiteX128" fmla="*/ 125794 w 143476"/>
                  <a:gd name="connsiteY128" fmla="*/ 110686 h 111099"/>
                  <a:gd name="connsiteX129" fmla="*/ 126834 w 143476"/>
                  <a:gd name="connsiteY129" fmla="*/ 110825 h 111099"/>
                  <a:gd name="connsiteX130" fmla="*/ 131096 w 143476"/>
                  <a:gd name="connsiteY130" fmla="*/ 111092 h 111099"/>
                  <a:gd name="connsiteX131" fmla="*/ 134964 w 143476"/>
                  <a:gd name="connsiteY131" fmla="*/ 110775 h 111099"/>
                  <a:gd name="connsiteX132" fmla="*/ 137070 w 143476"/>
                  <a:gd name="connsiteY132" fmla="*/ 110330 h 111099"/>
                  <a:gd name="connsiteX133" fmla="*/ 138516 w 143476"/>
                  <a:gd name="connsiteY133" fmla="*/ 109835 h 111099"/>
                  <a:gd name="connsiteX134" fmla="*/ 139861 w 143476"/>
                  <a:gd name="connsiteY134" fmla="*/ 109200 h 111099"/>
                  <a:gd name="connsiteX135" fmla="*/ 143450 w 143476"/>
                  <a:gd name="connsiteY135" fmla="*/ 105822 h 111099"/>
                  <a:gd name="connsiteX136" fmla="*/ 138186 w 143476"/>
                  <a:gd name="connsiteY136" fmla="*/ 95941 h 111099"/>
                  <a:gd name="connsiteX137" fmla="*/ 16938 w 143476"/>
                  <a:gd name="connsiteY137" fmla="*/ 14001 h 111099"/>
                  <a:gd name="connsiteX138" fmla="*/ 14236 w 143476"/>
                  <a:gd name="connsiteY138" fmla="*/ 12604 h 111099"/>
                  <a:gd name="connsiteX139" fmla="*/ 17204 w 143476"/>
                  <a:gd name="connsiteY139" fmla="*/ 13467 h 111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</a:cxnLst>
                <a:rect l="l" t="t" r="r" b="b"/>
                <a:pathLst>
                  <a:path w="143476" h="111099">
                    <a:moveTo>
                      <a:pt x="138186" y="95941"/>
                    </a:moveTo>
                    <a:cubicBezTo>
                      <a:pt x="137692" y="95128"/>
                      <a:pt x="137146" y="94328"/>
                      <a:pt x="136563" y="93515"/>
                    </a:cubicBezTo>
                    <a:cubicBezTo>
                      <a:pt x="136246" y="93058"/>
                      <a:pt x="135928" y="92563"/>
                      <a:pt x="135573" y="92118"/>
                    </a:cubicBezTo>
                    <a:cubicBezTo>
                      <a:pt x="135079" y="91394"/>
                      <a:pt x="134546" y="90671"/>
                      <a:pt x="134000" y="89997"/>
                    </a:cubicBezTo>
                    <a:cubicBezTo>
                      <a:pt x="132745" y="88423"/>
                      <a:pt x="131438" y="86899"/>
                      <a:pt x="130144" y="85362"/>
                    </a:cubicBezTo>
                    <a:lnTo>
                      <a:pt x="130144" y="85324"/>
                    </a:lnTo>
                    <a:cubicBezTo>
                      <a:pt x="129333" y="84460"/>
                      <a:pt x="128572" y="83660"/>
                      <a:pt x="127798" y="82797"/>
                    </a:cubicBezTo>
                    <a:lnTo>
                      <a:pt x="127709" y="82670"/>
                    </a:lnTo>
                    <a:lnTo>
                      <a:pt x="127709" y="82619"/>
                    </a:lnTo>
                    <a:cubicBezTo>
                      <a:pt x="125134" y="77361"/>
                      <a:pt x="120860" y="73132"/>
                      <a:pt x="115583" y="70605"/>
                    </a:cubicBezTo>
                    <a:cubicBezTo>
                      <a:pt x="112298" y="67506"/>
                      <a:pt x="109013" y="64394"/>
                      <a:pt x="105740" y="61156"/>
                    </a:cubicBezTo>
                    <a:cubicBezTo>
                      <a:pt x="104573" y="59949"/>
                      <a:pt x="103355" y="58730"/>
                      <a:pt x="102227" y="57511"/>
                    </a:cubicBezTo>
                    <a:cubicBezTo>
                      <a:pt x="101060" y="56292"/>
                      <a:pt x="99893" y="55034"/>
                      <a:pt x="98776" y="53739"/>
                    </a:cubicBezTo>
                    <a:cubicBezTo>
                      <a:pt x="97331" y="52113"/>
                      <a:pt x="95935" y="50450"/>
                      <a:pt x="94553" y="48735"/>
                    </a:cubicBezTo>
                    <a:cubicBezTo>
                      <a:pt x="93868" y="47833"/>
                      <a:pt x="93157" y="46932"/>
                      <a:pt x="92485" y="45992"/>
                    </a:cubicBezTo>
                    <a:cubicBezTo>
                      <a:pt x="92384" y="45903"/>
                      <a:pt x="92282" y="45789"/>
                      <a:pt x="92206" y="45675"/>
                    </a:cubicBezTo>
                    <a:cubicBezTo>
                      <a:pt x="91356" y="44506"/>
                      <a:pt x="90506" y="43249"/>
                      <a:pt x="89644" y="41991"/>
                    </a:cubicBezTo>
                    <a:lnTo>
                      <a:pt x="89517" y="41776"/>
                    </a:lnTo>
                    <a:cubicBezTo>
                      <a:pt x="88934" y="40912"/>
                      <a:pt x="88388" y="40010"/>
                      <a:pt x="87855" y="39159"/>
                    </a:cubicBezTo>
                    <a:cubicBezTo>
                      <a:pt x="86904" y="37585"/>
                      <a:pt x="85965" y="35921"/>
                      <a:pt x="85065" y="34206"/>
                    </a:cubicBezTo>
                    <a:cubicBezTo>
                      <a:pt x="84608" y="33355"/>
                      <a:pt x="84164" y="32492"/>
                      <a:pt x="83758" y="31641"/>
                    </a:cubicBezTo>
                    <a:cubicBezTo>
                      <a:pt x="83314" y="30739"/>
                      <a:pt x="82909" y="29838"/>
                      <a:pt x="82503" y="28936"/>
                    </a:cubicBezTo>
                    <a:cubicBezTo>
                      <a:pt x="82224" y="28364"/>
                      <a:pt x="81957" y="27729"/>
                      <a:pt x="81742" y="27145"/>
                    </a:cubicBezTo>
                    <a:cubicBezTo>
                      <a:pt x="81475" y="26510"/>
                      <a:pt x="81196" y="25888"/>
                      <a:pt x="80981" y="25253"/>
                    </a:cubicBezTo>
                    <a:cubicBezTo>
                      <a:pt x="80435" y="25113"/>
                      <a:pt x="79852" y="24935"/>
                      <a:pt x="79141" y="24707"/>
                    </a:cubicBezTo>
                    <a:cubicBezTo>
                      <a:pt x="78101" y="24402"/>
                      <a:pt x="76884" y="24084"/>
                      <a:pt x="75590" y="23678"/>
                    </a:cubicBezTo>
                    <a:cubicBezTo>
                      <a:pt x="74283" y="23322"/>
                      <a:pt x="72837" y="22865"/>
                      <a:pt x="71265" y="22370"/>
                    </a:cubicBezTo>
                    <a:cubicBezTo>
                      <a:pt x="69933" y="21506"/>
                      <a:pt x="68499" y="20795"/>
                      <a:pt x="67003" y="20262"/>
                    </a:cubicBezTo>
                    <a:cubicBezTo>
                      <a:pt x="59430" y="17760"/>
                      <a:pt x="51718" y="15753"/>
                      <a:pt x="43905" y="14229"/>
                    </a:cubicBezTo>
                    <a:lnTo>
                      <a:pt x="43854" y="14229"/>
                    </a:lnTo>
                    <a:cubicBezTo>
                      <a:pt x="43588" y="14153"/>
                      <a:pt x="43321" y="14090"/>
                      <a:pt x="43042" y="14051"/>
                    </a:cubicBezTo>
                    <a:cubicBezTo>
                      <a:pt x="40087" y="13201"/>
                      <a:pt x="37068" y="12337"/>
                      <a:pt x="34151" y="11524"/>
                    </a:cubicBezTo>
                    <a:cubicBezTo>
                      <a:pt x="33910" y="11448"/>
                      <a:pt x="33669" y="11397"/>
                      <a:pt x="33428" y="11346"/>
                    </a:cubicBezTo>
                    <a:cubicBezTo>
                      <a:pt x="32400" y="11080"/>
                      <a:pt x="31322" y="10762"/>
                      <a:pt x="30282" y="10495"/>
                    </a:cubicBezTo>
                    <a:cubicBezTo>
                      <a:pt x="27720" y="9822"/>
                      <a:pt x="25208" y="9187"/>
                      <a:pt x="22786" y="8603"/>
                    </a:cubicBezTo>
                    <a:cubicBezTo>
                      <a:pt x="21885" y="8375"/>
                      <a:pt x="20984" y="8159"/>
                      <a:pt x="20135" y="7968"/>
                    </a:cubicBezTo>
                    <a:cubicBezTo>
                      <a:pt x="19589" y="7841"/>
                      <a:pt x="19056" y="7740"/>
                      <a:pt x="18511" y="7613"/>
                    </a:cubicBezTo>
                    <a:cubicBezTo>
                      <a:pt x="15720" y="-985"/>
                      <a:pt x="9480" y="-1620"/>
                      <a:pt x="1933" y="2342"/>
                    </a:cubicBezTo>
                    <a:cubicBezTo>
                      <a:pt x="258" y="4057"/>
                      <a:pt x="-401" y="6508"/>
                      <a:pt x="182" y="8819"/>
                    </a:cubicBezTo>
                    <a:cubicBezTo>
                      <a:pt x="2516" y="13416"/>
                      <a:pt x="5167" y="14534"/>
                      <a:pt x="7907" y="14128"/>
                    </a:cubicBezTo>
                    <a:lnTo>
                      <a:pt x="7996" y="14128"/>
                    </a:lnTo>
                    <a:cubicBezTo>
                      <a:pt x="8934" y="14763"/>
                      <a:pt x="9975" y="15487"/>
                      <a:pt x="11091" y="16198"/>
                    </a:cubicBezTo>
                    <a:cubicBezTo>
                      <a:pt x="12220" y="16922"/>
                      <a:pt x="13437" y="17684"/>
                      <a:pt x="14782" y="18496"/>
                    </a:cubicBezTo>
                    <a:cubicBezTo>
                      <a:pt x="14427" y="19220"/>
                      <a:pt x="14021" y="19982"/>
                      <a:pt x="13653" y="20706"/>
                    </a:cubicBezTo>
                    <a:cubicBezTo>
                      <a:pt x="13615" y="20795"/>
                      <a:pt x="13526" y="20833"/>
                      <a:pt x="13475" y="20922"/>
                    </a:cubicBezTo>
                    <a:cubicBezTo>
                      <a:pt x="13348" y="21100"/>
                      <a:pt x="13222" y="21278"/>
                      <a:pt x="13120" y="21468"/>
                    </a:cubicBezTo>
                    <a:cubicBezTo>
                      <a:pt x="13044" y="21570"/>
                      <a:pt x="12981" y="21697"/>
                      <a:pt x="12943" y="21824"/>
                    </a:cubicBezTo>
                    <a:cubicBezTo>
                      <a:pt x="12790" y="22103"/>
                      <a:pt x="12702" y="22408"/>
                      <a:pt x="12664" y="22726"/>
                    </a:cubicBezTo>
                    <a:lnTo>
                      <a:pt x="12664" y="22764"/>
                    </a:lnTo>
                    <a:cubicBezTo>
                      <a:pt x="12537" y="23043"/>
                      <a:pt x="12397" y="23361"/>
                      <a:pt x="12270" y="23665"/>
                    </a:cubicBezTo>
                    <a:cubicBezTo>
                      <a:pt x="12410" y="23805"/>
                      <a:pt x="12549" y="23919"/>
                      <a:pt x="12714" y="24034"/>
                    </a:cubicBezTo>
                    <a:cubicBezTo>
                      <a:pt x="12778" y="24288"/>
                      <a:pt x="12854" y="24542"/>
                      <a:pt x="12943" y="24796"/>
                    </a:cubicBezTo>
                    <a:cubicBezTo>
                      <a:pt x="13031" y="25062"/>
                      <a:pt x="13146" y="25316"/>
                      <a:pt x="13298" y="25558"/>
                    </a:cubicBezTo>
                    <a:cubicBezTo>
                      <a:pt x="13983" y="26815"/>
                      <a:pt x="15036" y="27831"/>
                      <a:pt x="16304" y="28479"/>
                    </a:cubicBezTo>
                    <a:cubicBezTo>
                      <a:pt x="16520" y="28606"/>
                      <a:pt x="16748" y="28707"/>
                      <a:pt x="16989" y="28796"/>
                    </a:cubicBezTo>
                    <a:cubicBezTo>
                      <a:pt x="17204" y="28923"/>
                      <a:pt x="17458" y="29025"/>
                      <a:pt x="17699" y="29101"/>
                    </a:cubicBezTo>
                    <a:cubicBezTo>
                      <a:pt x="9302" y="39502"/>
                      <a:pt x="19183" y="34816"/>
                      <a:pt x="23864" y="33419"/>
                    </a:cubicBezTo>
                    <a:cubicBezTo>
                      <a:pt x="24396" y="33825"/>
                      <a:pt x="24891" y="34232"/>
                      <a:pt x="25437" y="34638"/>
                    </a:cubicBezTo>
                    <a:lnTo>
                      <a:pt x="25297" y="34778"/>
                    </a:lnTo>
                    <a:cubicBezTo>
                      <a:pt x="25652" y="35273"/>
                      <a:pt x="25931" y="35718"/>
                      <a:pt x="26236" y="36086"/>
                    </a:cubicBezTo>
                    <a:cubicBezTo>
                      <a:pt x="26553" y="36480"/>
                      <a:pt x="26832" y="36797"/>
                      <a:pt x="27098" y="37115"/>
                    </a:cubicBezTo>
                    <a:cubicBezTo>
                      <a:pt x="27441" y="37521"/>
                      <a:pt x="27846" y="37877"/>
                      <a:pt x="28303" y="38143"/>
                    </a:cubicBezTo>
                    <a:cubicBezTo>
                      <a:pt x="28468" y="38245"/>
                      <a:pt x="28633" y="38321"/>
                      <a:pt x="28798" y="38372"/>
                    </a:cubicBezTo>
                    <a:cubicBezTo>
                      <a:pt x="29077" y="38461"/>
                      <a:pt x="29381" y="38461"/>
                      <a:pt x="29660" y="38372"/>
                    </a:cubicBezTo>
                    <a:cubicBezTo>
                      <a:pt x="29825" y="38334"/>
                      <a:pt x="29990" y="38232"/>
                      <a:pt x="30104" y="38105"/>
                    </a:cubicBezTo>
                    <a:cubicBezTo>
                      <a:pt x="30193" y="38016"/>
                      <a:pt x="30282" y="37966"/>
                      <a:pt x="30371" y="37877"/>
                    </a:cubicBezTo>
                    <a:cubicBezTo>
                      <a:pt x="31512" y="38486"/>
                      <a:pt x="32705" y="39007"/>
                      <a:pt x="33922" y="39413"/>
                    </a:cubicBezTo>
                    <a:cubicBezTo>
                      <a:pt x="34201" y="40404"/>
                      <a:pt x="34506" y="41611"/>
                      <a:pt x="34823" y="43058"/>
                    </a:cubicBezTo>
                    <a:cubicBezTo>
                      <a:pt x="35102" y="44176"/>
                      <a:pt x="35368" y="45395"/>
                      <a:pt x="35685" y="46792"/>
                    </a:cubicBezTo>
                    <a:cubicBezTo>
                      <a:pt x="36269" y="46995"/>
                      <a:pt x="36890" y="47097"/>
                      <a:pt x="37525" y="47110"/>
                    </a:cubicBezTo>
                    <a:cubicBezTo>
                      <a:pt x="37842" y="47110"/>
                      <a:pt x="38159" y="47059"/>
                      <a:pt x="38463" y="46970"/>
                    </a:cubicBezTo>
                    <a:cubicBezTo>
                      <a:pt x="38666" y="46919"/>
                      <a:pt x="38869" y="46843"/>
                      <a:pt x="39047" y="46741"/>
                    </a:cubicBezTo>
                    <a:lnTo>
                      <a:pt x="39135" y="46703"/>
                    </a:lnTo>
                    <a:cubicBezTo>
                      <a:pt x="39440" y="46525"/>
                      <a:pt x="39706" y="46309"/>
                      <a:pt x="39947" y="46068"/>
                    </a:cubicBezTo>
                    <a:cubicBezTo>
                      <a:pt x="40163" y="45852"/>
                      <a:pt x="40353" y="45611"/>
                      <a:pt x="40493" y="45344"/>
                    </a:cubicBezTo>
                    <a:lnTo>
                      <a:pt x="40581" y="45166"/>
                    </a:lnTo>
                    <a:cubicBezTo>
                      <a:pt x="40696" y="44976"/>
                      <a:pt x="40810" y="44786"/>
                      <a:pt x="40899" y="44582"/>
                    </a:cubicBezTo>
                    <a:lnTo>
                      <a:pt x="41025" y="44265"/>
                    </a:lnTo>
                    <a:cubicBezTo>
                      <a:pt x="41076" y="44087"/>
                      <a:pt x="41114" y="43947"/>
                      <a:pt x="41165" y="43820"/>
                    </a:cubicBezTo>
                    <a:cubicBezTo>
                      <a:pt x="41203" y="43693"/>
                      <a:pt x="41241" y="43566"/>
                      <a:pt x="41292" y="43452"/>
                    </a:cubicBezTo>
                    <a:cubicBezTo>
                      <a:pt x="41330" y="43312"/>
                      <a:pt x="41368" y="43173"/>
                      <a:pt x="41431" y="43046"/>
                    </a:cubicBezTo>
                    <a:cubicBezTo>
                      <a:pt x="41558" y="43122"/>
                      <a:pt x="41685" y="43223"/>
                      <a:pt x="41786" y="43325"/>
                    </a:cubicBezTo>
                    <a:cubicBezTo>
                      <a:pt x="41926" y="43769"/>
                      <a:pt x="42154" y="44531"/>
                      <a:pt x="42421" y="45700"/>
                    </a:cubicBezTo>
                    <a:cubicBezTo>
                      <a:pt x="42839" y="45522"/>
                      <a:pt x="43232" y="45306"/>
                      <a:pt x="43588" y="45027"/>
                    </a:cubicBezTo>
                    <a:lnTo>
                      <a:pt x="43638" y="45078"/>
                    </a:lnTo>
                    <a:cubicBezTo>
                      <a:pt x="47596" y="49396"/>
                      <a:pt x="49435" y="54971"/>
                      <a:pt x="53126" y="58882"/>
                    </a:cubicBezTo>
                    <a:cubicBezTo>
                      <a:pt x="52796" y="59352"/>
                      <a:pt x="52492" y="59835"/>
                      <a:pt x="52226" y="60330"/>
                    </a:cubicBezTo>
                    <a:cubicBezTo>
                      <a:pt x="51984" y="60800"/>
                      <a:pt x="51794" y="61308"/>
                      <a:pt x="51642" y="61816"/>
                    </a:cubicBezTo>
                    <a:cubicBezTo>
                      <a:pt x="51503" y="62261"/>
                      <a:pt x="51363" y="62756"/>
                      <a:pt x="51274" y="63213"/>
                    </a:cubicBezTo>
                    <a:cubicBezTo>
                      <a:pt x="50779" y="65956"/>
                      <a:pt x="51680" y="67976"/>
                      <a:pt x="53532" y="66134"/>
                    </a:cubicBezTo>
                    <a:cubicBezTo>
                      <a:pt x="53672" y="65994"/>
                      <a:pt x="53811" y="65842"/>
                      <a:pt x="53925" y="65677"/>
                    </a:cubicBezTo>
                    <a:cubicBezTo>
                      <a:pt x="54242" y="65296"/>
                      <a:pt x="54534" y="64890"/>
                      <a:pt x="54788" y="64470"/>
                    </a:cubicBezTo>
                    <a:cubicBezTo>
                      <a:pt x="54915" y="64191"/>
                      <a:pt x="55092" y="63924"/>
                      <a:pt x="55232" y="63658"/>
                    </a:cubicBezTo>
                    <a:cubicBezTo>
                      <a:pt x="56538" y="67074"/>
                      <a:pt x="60407" y="70541"/>
                      <a:pt x="60267" y="64597"/>
                    </a:cubicBezTo>
                    <a:cubicBezTo>
                      <a:pt x="60356" y="64648"/>
                      <a:pt x="60496" y="64648"/>
                      <a:pt x="60584" y="64686"/>
                    </a:cubicBezTo>
                    <a:cubicBezTo>
                      <a:pt x="62956" y="66261"/>
                      <a:pt x="65392" y="67836"/>
                      <a:pt x="67726" y="69690"/>
                    </a:cubicBezTo>
                    <a:cubicBezTo>
                      <a:pt x="67852" y="69919"/>
                      <a:pt x="67954" y="70160"/>
                      <a:pt x="68043" y="70401"/>
                    </a:cubicBezTo>
                    <a:cubicBezTo>
                      <a:pt x="68131" y="70617"/>
                      <a:pt x="68208" y="70846"/>
                      <a:pt x="68271" y="71075"/>
                    </a:cubicBezTo>
                    <a:cubicBezTo>
                      <a:pt x="68309" y="71303"/>
                      <a:pt x="68385" y="71519"/>
                      <a:pt x="68487" y="71709"/>
                    </a:cubicBezTo>
                    <a:cubicBezTo>
                      <a:pt x="68626" y="72471"/>
                      <a:pt x="68715" y="73018"/>
                      <a:pt x="68943" y="73195"/>
                    </a:cubicBezTo>
                    <a:cubicBezTo>
                      <a:pt x="69070" y="73373"/>
                      <a:pt x="69260" y="73335"/>
                      <a:pt x="69616" y="73068"/>
                    </a:cubicBezTo>
                    <a:cubicBezTo>
                      <a:pt x="69958" y="72776"/>
                      <a:pt x="70262" y="72446"/>
                      <a:pt x="70516" y="72078"/>
                    </a:cubicBezTo>
                    <a:cubicBezTo>
                      <a:pt x="71670" y="73145"/>
                      <a:pt x="72723" y="74326"/>
                      <a:pt x="73662" y="75583"/>
                    </a:cubicBezTo>
                    <a:cubicBezTo>
                      <a:pt x="73751" y="76129"/>
                      <a:pt x="73877" y="76662"/>
                      <a:pt x="74017" y="77209"/>
                    </a:cubicBezTo>
                    <a:cubicBezTo>
                      <a:pt x="74245" y="77742"/>
                      <a:pt x="74385" y="78199"/>
                      <a:pt x="74562" y="78733"/>
                    </a:cubicBezTo>
                    <a:cubicBezTo>
                      <a:pt x="74600" y="78885"/>
                      <a:pt x="74664" y="79037"/>
                      <a:pt x="74740" y="79177"/>
                    </a:cubicBezTo>
                    <a:cubicBezTo>
                      <a:pt x="75057" y="79850"/>
                      <a:pt x="75412" y="80523"/>
                      <a:pt x="75767" y="81209"/>
                    </a:cubicBezTo>
                    <a:cubicBezTo>
                      <a:pt x="75996" y="81527"/>
                      <a:pt x="76173" y="81844"/>
                      <a:pt x="76402" y="82149"/>
                    </a:cubicBezTo>
                    <a:cubicBezTo>
                      <a:pt x="76769" y="82720"/>
                      <a:pt x="77201" y="83241"/>
                      <a:pt x="77657" y="83724"/>
                    </a:cubicBezTo>
                    <a:cubicBezTo>
                      <a:pt x="78203" y="84257"/>
                      <a:pt x="78773" y="84752"/>
                      <a:pt x="79370" y="85210"/>
                    </a:cubicBezTo>
                    <a:cubicBezTo>
                      <a:pt x="79687" y="85438"/>
                      <a:pt x="80004" y="85616"/>
                      <a:pt x="80321" y="85845"/>
                    </a:cubicBezTo>
                    <a:cubicBezTo>
                      <a:pt x="82515" y="87127"/>
                      <a:pt x="85090" y="87584"/>
                      <a:pt x="87602" y="87153"/>
                    </a:cubicBezTo>
                    <a:lnTo>
                      <a:pt x="87640" y="87203"/>
                    </a:lnTo>
                    <a:cubicBezTo>
                      <a:pt x="90557" y="88893"/>
                      <a:pt x="93335" y="90798"/>
                      <a:pt x="95961" y="92918"/>
                    </a:cubicBezTo>
                    <a:cubicBezTo>
                      <a:pt x="96252" y="93592"/>
                      <a:pt x="96595" y="94252"/>
                      <a:pt x="96988" y="94887"/>
                    </a:cubicBezTo>
                    <a:cubicBezTo>
                      <a:pt x="97369" y="95484"/>
                      <a:pt x="97762" y="96055"/>
                      <a:pt x="98206" y="96601"/>
                    </a:cubicBezTo>
                    <a:cubicBezTo>
                      <a:pt x="98700" y="97186"/>
                      <a:pt x="99195" y="97770"/>
                      <a:pt x="99728" y="98354"/>
                    </a:cubicBezTo>
                    <a:cubicBezTo>
                      <a:pt x="100337" y="99014"/>
                      <a:pt x="100996" y="99637"/>
                      <a:pt x="101707" y="100208"/>
                    </a:cubicBezTo>
                    <a:cubicBezTo>
                      <a:pt x="102290" y="100704"/>
                      <a:pt x="102873" y="101148"/>
                      <a:pt x="103457" y="101593"/>
                    </a:cubicBezTo>
                    <a:cubicBezTo>
                      <a:pt x="103901" y="101961"/>
                      <a:pt x="104358" y="102278"/>
                      <a:pt x="104801" y="102583"/>
                    </a:cubicBezTo>
                    <a:lnTo>
                      <a:pt x="105613" y="103129"/>
                    </a:lnTo>
                    <a:cubicBezTo>
                      <a:pt x="106324" y="103574"/>
                      <a:pt x="107097" y="104069"/>
                      <a:pt x="107896" y="104526"/>
                    </a:cubicBezTo>
                    <a:cubicBezTo>
                      <a:pt x="109190" y="105288"/>
                      <a:pt x="110522" y="105961"/>
                      <a:pt x="111905" y="106546"/>
                    </a:cubicBezTo>
                    <a:cubicBezTo>
                      <a:pt x="112488" y="106825"/>
                      <a:pt x="113072" y="107092"/>
                      <a:pt x="113655" y="107308"/>
                    </a:cubicBezTo>
                    <a:cubicBezTo>
                      <a:pt x="114226" y="107574"/>
                      <a:pt x="114809" y="107803"/>
                      <a:pt x="115405" y="107993"/>
                    </a:cubicBezTo>
                    <a:cubicBezTo>
                      <a:pt x="116078" y="108260"/>
                      <a:pt x="116750" y="108476"/>
                      <a:pt x="117435" y="108705"/>
                    </a:cubicBezTo>
                    <a:cubicBezTo>
                      <a:pt x="117739" y="108832"/>
                      <a:pt x="118056" y="108933"/>
                      <a:pt x="118386" y="109022"/>
                    </a:cubicBezTo>
                    <a:cubicBezTo>
                      <a:pt x="119008" y="109200"/>
                      <a:pt x="119680" y="109378"/>
                      <a:pt x="120314" y="109568"/>
                    </a:cubicBezTo>
                    <a:cubicBezTo>
                      <a:pt x="122115" y="110076"/>
                      <a:pt x="123942" y="110457"/>
                      <a:pt x="125794" y="110686"/>
                    </a:cubicBezTo>
                    <a:cubicBezTo>
                      <a:pt x="126136" y="110749"/>
                      <a:pt x="126479" y="110800"/>
                      <a:pt x="126834" y="110825"/>
                    </a:cubicBezTo>
                    <a:cubicBezTo>
                      <a:pt x="128242" y="111041"/>
                      <a:pt x="129675" y="111130"/>
                      <a:pt x="131096" y="111092"/>
                    </a:cubicBezTo>
                    <a:cubicBezTo>
                      <a:pt x="132390" y="111105"/>
                      <a:pt x="133683" y="111003"/>
                      <a:pt x="134964" y="110775"/>
                    </a:cubicBezTo>
                    <a:cubicBezTo>
                      <a:pt x="135675" y="110698"/>
                      <a:pt x="136385" y="110546"/>
                      <a:pt x="137070" y="110330"/>
                    </a:cubicBezTo>
                    <a:cubicBezTo>
                      <a:pt x="137565" y="110190"/>
                      <a:pt x="138047" y="110025"/>
                      <a:pt x="138516" y="109835"/>
                    </a:cubicBezTo>
                    <a:cubicBezTo>
                      <a:pt x="138985" y="109657"/>
                      <a:pt x="139429" y="109441"/>
                      <a:pt x="139861" y="109200"/>
                    </a:cubicBezTo>
                    <a:cubicBezTo>
                      <a:pt x="141357" y="108425"/>
                      <a:pt x="142600" y="107257"/>
                      <a:pt x="143450" y="105822"/>
                    </a:cubicBezTo>
                    <a:cubicBezTo>
                      <a:pt x="141991" y="102380"/>
                      <a:pt x="140228" y="99065"/>
                      <a:pt x="138186" y="95941"/>
                    </a:cubicBezTo>
                    <a:close/>
                    <a:moveTo>
                      <a:pt x="16938" y="14001"/>
                    </a:moveTo>
                    <a:cubicBezTo>
                      <a:pt x="15999" y="13607"/>
                      <a:pt x="15099" y="13137"/>
                      <a:pt x="14236" y="12604"/>
                    </a:cubicBezTo>
                    <a:cubicBezTo>
                      <a:pt x="15226" y="12921"/>
                      <a:pt x="16215" y="13188"/>
                      <a:pt x="17204" y="13467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75" name="Vrije vorm 474">
                <a:extLst>
                  <a:ext uri="{FF2B5EF4-FFF2-40B4-BE49-F238E27FC236}">
                    <a16:creationId xmlns:a16="http://schemas.microsoft.com/office/drawing/2014/main" id="{91352CC5-FF76-1847-91D6-6D046500437C}"/>
                  </a:ext>
                </a:extLst>
              </p:cNvPr>
              <p:cNvSpPr/>
              <p:nvPr/>
            </p:nvSpPr>
            <p:spPr>
              <a:xfrm>
                <a:off x="1487451" y="1399981"/>
                <a:ext cx="2417203" cy="1690080"/>
              </a:xfrm>
              <a:custGeom>
                <a:avLst/>
                <a:gdLst>
                  <a:gd name="connsiteX0" fmla="*/ 2417083 w 2417203"/>
                  <a:gd name="connsiteY0" fmla="*/ 1253814 h 1690080"/>
                  <a:gd name="connsiteX1" fmla="*/ 2416905 w 2417203"/>
                  <a:gd name="connsiteY1" fmla="*/ 1252464 h 1690080"/>
                  <a:gd name="connsiteX2" fmla="*/ 2416182 w 2417203"/>
                  <a:gd name="connsiteY2" fmla="*/ 1250124 h 1690080"/>
                  <a:gd name="connsiteX3" fmla="*/ 2414293 w 2417203"/>
                  <a:gd name="connsiteY3" fmla="*/ 1245669 h 1690080"/>
                  <a:gd name="connsiteX4" fmla="*/ 2413570 w 2417203"/>
                  <a:gd name="connsiteY4" fmla="*/ 1243374 h 1690080"/>
                  <a:gd name="connsiteX5" fmla="*/ 2412897 w 2417203"/>
                  <a:gd name="connsiteY5" fmla="*/ 1240494 h 1690080"/>
                  <a:gd name="connsiteX6" fmla="*/ 2412771 w 2417203"/>
                  <a:gd name="connsiteY6" fmla="*/ 1239505 h 1690080"/>
                  <a:gd name="connsiteX7" fmla="*/ 2412491 w 2417203"/>
                  <a:gd name="connsiteY7" fmla="*/ 1234465 h 1690080"/>
                  <a:gd name="connsiteX8" fmla="*/ 2412542 w 2417203"/>
                  <a:gd name="connsiteY8" fmla="*/ 1233068 h 1690080"/>
                  <a:gd name="connsiteX9" fmla="*/ 2414432 w 2417203"/>
                  <a:gd name="connsiteY9" fmla="*/ 1223485 h 1690080"/>
                  <a:gd name="connsiteX10" fmla="*/ 2414610 w 2417203"/>
                  <a:gd name="connsiteY10" fmla="*/ 1222945 h 1690080"/>
                  <a:gd name="connsiteX11" fmla="*/ 2415054 w 2417203"/>
                  <a:gd name="connsiteY11" fmla="*/ 1221459 h 1690080"/>
                  <a:gd name="connsiteX12" fmla="*/ 2415371 w 2417203"/>
                  <a:gd name="connsiteY12" fmla="*/ 1205577 h 1690080"/>
                  <a:gd name="connsiteX13" fmla="*/ 2415193 w 2417203"/>
                  <a:gd name="connsiteY13" fmla="*/ 1205127 h 1690080"/>
                  <a:gd name="connsiteX14" fmla="*/ 2413215 w 2417203"/>
                  <a:gd name="connsiteY14" fmla="*/ 1201212 h 1690080"/>
                  <a:gd name="connsiteX15" fmla="*/ 2413176 w 2417203"/>
                  <a:gd name="connsiteY15" fmla="*/ 1201167 h 1690080"/>
                  <a:gd name="connsiteX16" fmla="*/ 2410246 w 2417203"/>
                  <a:gd name="connsiteY16" fmla="*/ 1197611 h 1690080"/>
                  <a:gd name="connsiteX17" fmla="*/ 2407595 w 2417203"/>
                  <a:gd name="connsiteY17" fmla="*/ 1195182 h 1690080"/>
                  <a:gd name="connsiteX18" fmla="*/ 2407380 w 2417203"/>
                  <a:gd name="connsiteY18" fmla="*/ 1195001 h 1690080"/>
                  <a:gd name="connsiteX19" fmla="*/ 2406708 w 2417203"/>
                  <a:gd name="connsiteY19" fmla="*/ 1194462 h 1690080"/>
                  <a:gd name="connsiteX20" fmla="*/ 2406656 w 2417203"/>
                  <a:gd name="connsiteY20" fmla="*/ 1194462 h 1690080"/>
                  <a:gd name="connsiteX21" fmla="*/ 2406073 w 2417203"/>
                  <a:gd name="connsiteY21" fmla="*/ 1194011 h 1690080"/>
                  <a:gd name="connsiteX22" fmla="*/ 2399731 w 2417203"/>
                  <a:gd name="connsiteY22" fmla="*/ 1190277 h 1690080"/>
                  <a:gd name="connsiteX23" fmla="*/ 2395647 w 2417203"/>
                  <a:gd name="connsiteY23" fmla="*/ 1188837 h 1690080"/>
                  <a:gd name="connsiteX24" fmla="*/ 2389939 w 2417203"/>
                  <a:gd name="connsiteY24" fmla="*/ 1188477 h 1690080"/>
                  <a:gd name="connsiteX25" fmla="*/ 2375327 w 2417203"/>
                  <a:gd name="connsiteY25" fmla="*/ 1196936 h 1690080"/>
                  <a:gd name="connsiteX26" fmla="*/ 2374692 w 2417203"/>
                  <a:gd name="connsiteY26" fmla="*/ 1197611 h 1690080"/>
                  <a:gd name="connsiteX27" fmla="*/ 2374959 w 2417203"/>
                  <a:gd name="connsiteY27" fmla="*/ 1196486 h 1690080"/>
                  <a:gd name="connsiteX28" fmla="*/ 2375910 w 2417203"/>
                  <a:gd name="connsiteY28" fmla="*/ 1192121 h 1690080"/>
                  <a:gd name="connsiteX29" fmla="*/ 2367374 w 2417203"/>
                  <a:gd name="connsiteY29" fmla="*/ 1165843 h 1690080"/>
                  <a:gd name="connsiteX30" fmla="*/ 2357531 w 2417203"/>
                  <a:gd name="connsiteY30" fmla="*/ 1161652 h 1690080"/>
                  <a:gd name="connsiteX31" fmla="*/ 2352622 w 2417203"/>
                  <a:gd name="connsiteY31" fmla="*/ 1165117 h 1690080"/>
                  <a:gd name="connsiteX32" fmla="*/ 2348360 w 2417203"/>
                  <a:gd name="connsiteY32" fmla="*/ 1168132 h 1690080"/>
                  <a:gd name="connsiteX33" fmla="*/ 2293894 w 2417203"/>
                  <a:gd name="connsiteY33" fmla="*/ 1206867 h 1690080"/>
                  <a:gd name="connsiteX34" fmla="*/ 2292499 w 2417203"/>
                  <a:gd name="connsiteY34" fmla="*/ 1207858 h 1690080"/>
                  <a:gd name="connsiteX35" fmla="*/ 2292588 w 2417203"/>
                  <a:gd name="connsiteY35" fmla="*/ 1206913 h 1690080"/>
                  <a:gd name="connsiteX36" fmla="*/ 2292626 w 2417203"/>
                  <a:gd name="connsiteY36" fmla="*/ 1206151 h 1690080"/>
                  <a:gd name="connsiteX37" fmla="*/ 2309978 w 2417203"/>
                  <a:gd name="connsiteY37" fmla="*/ 1178749 h 1690080"/>
                  <a:gd name="connsiteX38" fmla="*/ 2318108 w 2417203"/>
                  <a:gd name="connsiteY38" fmla="*/ 1175014 h 1690080"/>
                  <a:gd name="connsiteX39" fmla="*/ 2324767 w 2417203"/>
                  <a:gd name="connsiteY39" fmla="*/ 1171054 h 1690080"/>
                  <a:gd name="connsiteX40" fmla="*/ 2324894 w 2417203"/>
                  <a:gd name="connsiteY40" fmla="*/ 1171010 h 1690080"/>
                  <a:gd name="connsiteX41" fmla="*/ 2353522 w 2417203"/>
                  <a:gd name="connsiteY41" fmla="*/ 1161381 h 1690080"/>
                  <a:gd name="connsiteX42" fmla="*/ 2368135 w 2417203"/>
                  <a:gd name="connsiteY42" fmla="*/ 1143561 h 1690080"/>
                  <a:gd name="connsiteX43" fmla="*/ 2370507 w 2417203"/>
                  <a:gd name="connsiteY43" fmla="*/ 1140640 h 1690080"/>
                  <a:gd name="connsiteX44" fmla="*/ 2332048 w 2417203"/>
                  <a:gd name="connsiteY44" fmla="*/ 1129121 h 1690080"/>
                  <a:gd name="connsiteX45" fmla="*/ 2322522 w 2417203"/>
                  <a:gd name="connsiteY45" fmla="*/ 1124847 h 1690080"/>
                  <a:gd name="connsiteX46" fmla="*/ 2321622 w 2417203"/>
                  <a:gd name="connsiteY46" fmla="*/ 1124441 h 1690080"/>
                  <a:gd name="connsiteX47" fmla="*/ 2318387 w 2417203"/>
                  <a:gd name="connsiteY47" fmla="*/ 1123044 h 1690080"/>
                  <a:gd name="connsiteX48" fmla="*/ 2316041 w 2417203"/>
                  <a:gd name="connsiteY48" fmla="*/ 1122055 h 1690080"/>
                  <a:gd name="connsiteX49" fmla="*/ 2310029 w 2417203"/>
                  <a:gd name="connsiteY49" fmla="*/ 1119716 h 1690080"/>
                  <a:gd name="connsiteX50" fmla="*/ 2306299 w 2417203"/>
                  <a:gd name="connsiteY50" fmla="*/ 1118410 h 1690080"/>
                  <a:gd name="connsiteX51" fmla="*/ 2300858 w 2417203"/>
                  <a:gd name="connsiteY51" fmla="*/ 1116791 h 1690080"/>
                  <a:gd name="connsiteX52" fmla="*/ 2299869 w 2417203"/>
                  <a:gd name="connsiteY52" fmla="*/ 1116520 h 1690080"/>
                  <a:gd name="connsiteX53" fmla="*/ 2297661 w 2417203"/>
                  <a:gd name="connsiteY53" fmla="*/ 1115981 h 1690080"/>
                  <a:gd name="connsiteX54" fmla="*/ 2296317 w 2417203"/>
                  <a:gd name="connsiteY54" fmla="*/ 1115710 h 1690080"/>
                  <a:gd name="connsiteX55" fmla="*/ 2293577 w 2417203"/>
                  <a:gd name="connsiteY55" fmla="*/ 1115170 h 1690080"/>
                  <a:gd name="connsiteX56" fmla="*/ 2287464 w 2417203"/>
                  <a:gd name="connsiteY56" fmla="*/ 1114360 h 1690080"/>
                  <a:gd name="connsiteX57" fmla="*/ 2285979 w 2417203"/>
                  <a:gd name="connsiteY57" fmla="*/ 1114226 h 1690080"/>
                  <a:gd name="connsiteX58" fmla="*/ 2284495 w 2417203"/>
                  <a:gd name="connsiteY58" fmla="*/ 1094743 h 1690080"/>
                  <a:gd name="connsiteX59" fmla="*/ 2283557 w 2417203"/>
                  <a:gd name="connsiteY59" fmla="*/ 1093258 h 1690080"/>
                  <a:gd name="connsiteX60" fmla="*/ 2280639 w 2417203"/>
                  <a:gd name="connsiteY60" fmla="*/ 1089613 h 1690080"/>
                  <a:gd name="connsiteX61" fmla="*/ 2279510 w 2417203"/>
                  <a:gd name="connsiteY61" fmla="*/ 1088443 h 1690080"/>
                  <a:gd name="connsiteX62" fmla="*/ 2275426 w 2417203"/>
                  <a:gd name="connsiteY62" fmla="*/ 1084618 h 1690080"/>
                  <a:gd name="connsiteX63" fmla="*/ 2270391 w 2417203"/>
                  <a:gd name="connsiteY63" fmla="*/ 1080479 h 1690080"/>
                  <a:gd name="connsiteX64" fmla="*/ 2269173 w 2417203"/>
                  <a:gd name="connsiteY64" fmla="*/ 1079488 h 1690080"/>
                  <a:gd name="connsiteX65" fmla="*/ 2268323 w 2417203"/>
                  <a:gd name="connsiteY65" fmla="*/ 1078814 h 1690080"/>
                  <a:gd name="connsiteX66" fmla="*/ 2263959 w 2417203"/>
                  <a:gd name="connsiteY66" fmla="*/ 1075304 h 1690080"/>
                  <a:gd name="connsiteX67" fmla="*/ 2252277 w 2417203"/>
                  <a:gd name="connsiteY67" fmla="*/ 1065271 h 1690080"/>
                  <a:gd name="connsiteX68" fmla="*/ 2249271 w 2417203"/>
                  <a:gd name="connsiteY68" fmla="*/ 1062031 h 1690080"/>
                  <a:gd name="connsiteX69" fmla="*/ 2244236 w 2417203"/>
                  <a:gd name="connsiteY69" fmla="*/ 1054877 h 1690080"/>
                  <a:gd name="connsiteX70" fmla="*/ 2243158 w 2417203"/>
                  <a:gd name="connsiteY70" fmla="*/ 1052897 h 1690080"/>
                  <a:gd name="connsiteX71" fmla="*/ 2240240 w 2417203"/>
                  <a:gd name="connsiteY71" fmla="*/ 1043673 h 1690080"/>
                  <a:gd name="connsiteX72" fmla="*/ 2239872 w 2417203"/>
                  <a:gd name="connsiteY72" fmla="*/ 1040879 h 1690080"/>
                  <a:gd name="connsiteX73" fmla="*/ 2239834 w 2417203"/>
                  <a:gd name="connsiteY73" fmla="*/ 1040384 h 1690080"/>
                  <a:gd name="connsiteX74" fmla="*/ 2261854 w 2417203"/>
                  <a:gd name="connsiteY74" fmla="*/ 1019730 h 1690080"/>
                  <a:gd name="connsiteX75" fmla="*/ 2257947 w 2417203"/>
                  <a:gd name="connsiteY75" fmla="*/ 1017751 h 1690080"/>
                  <a:gd name="connsiteX76" fmla="*/ 2254890 w 2417203"/>
                  <a:gd name="connsiteY76" fmla="*/ 1016265 h 1690080"/>
                  <a:gd name="connsiteX77" fmla="*/ 2253089 w 2417203"/>
                  <a:gd name="connsiteY77" fmla="*/ 1015141 h 1690080"/>
                  <a:gd name="connsiteX78" fmla="*/ 2251656 w 2417203"/>
                  <a:gd name="connsiteY78" fmla="*/ 1013926 h 1690080"/>
                  <a:gd name="connsiteX79" fmla="*/ 2247521 w 2417203"/>
                  <a:gd name="connsiteY79" fmla="*/ 1009111 h 1690080"/>
                  <a:gd name="connsiteX80" fmla="*/ 2241813 w 2417203"/>
                  <a:gd name="connsiteY80" fmla="*/ 1002137 h 1690080"/>
                  <a:gd name="connsiteX81" fmla="*/ 2239111 w 2417203"/>
                  <a:gd name="connsiteY81" fmla="*/ 998628 h 1690080"/>
                  <a:gd name="connsiteX82" fmla="*/ 2237006 w 2417203"/>
                  <a:gd name="connsiteY82" fmla="*/ 995027 h 1690080"/>
                  <a:gd name="connsiteX83" fmla="*/ 2243564 w 2417203"/>
                  <a:gd name="connsiteY83" fmla="*/ 983959 h 1690080"/>
                  <a:gd name="connsiteX84" fmla="*/ 2242168 w 2417203"/>
                  <a:gd name="connsiteY84" fmla="*/ 979999 h 1690080"/>
                  <a:gd name="connsiteX85" fmla="*/ 2238173 w 2417203"/>
                  <a:gd name="connsiteY85" fmla="*/ 976130 h 1690080"/>
                  <a:gd name="connsiteX86" fmla="*/ 2235204 w 2417203"/>
                  <a:gd name="connsiteY86" fmla="*/ 974098 h 1690080"/>
                  <a:gd name="connsiteX87" fmla="*/ 2235154 w 2417203"/>
                  <a:gd name="connsiteY87" fmla="*/ 974053 h 1690080"/>
                  <a:gd name="connsiteX88" fmla="*/ 2232642 w 2417203"/>
                  <a:gd name="connsiteY88" fmla="*/ 972388 h 1690080"/>
                  <a:gd name="connsiteX89" fmla="*/ 2229230 w 2417203"/>
                  <a:gd name="connsiteY89" fmla="*/ 969778 h 1690080"/>
                  <a:gd name="connsiteX90" fmla="*/ 2225222 w 2417203"/>
                  <a:gd name="connsiteY90" fmla="*/ 964698 h 1690080"/>
                  <a:gd name="connsiteX91" fmla="*/ 2224550 w 2417203"/>
                  <a:gd name="connsiteY91" fmla="*/ 963483 h 1690080"/>
                  <a:gd name="connsiteX92" fmla="*/ 2222799 w 2417203"/>
                  <a:gd name="connsiteY92" fmla="*/ 958714 h 1690080"/>
                  <a:gd name="connsiteX93" fmla="*/ 2222749 w 2417203"/>
                  <a:gd name="connsiteY93" fmla="*/ 958399 h 1690080"/>
                  <a:gd name="connsiteX94" fmla="*/ 2222571 w 2417203"/>
                  <a:gd name="connsiteY94" fmla="*/ 954349 h 1690080"/>
                  <a:gd name="connsiteX95" fmla="*/ 2221315 w 2417203"/>
                  <a:gd name="connsiteY95" fmla="*/ 946564 h 1690080"/>
                  <a:gd name="connsiteX96" fmla="*/ 2210661 w 2417203"/>
                  <a:gd name="connsiteY96" fmla="*/ 945215 h 1690080"/>
                  <a:gd name="connsiteX97" fmla="*/ 2207388 w 2417203"/>
                  <a:gd name="connsiteY97" fmla="*/ 942515 h 1690080"/>
                  <a:gd name="connsiteX98" fmla="*/ 2212995 w 2417203"/>
                  <a:gd name="connsiteY98" fmla="*/ 925596 h 1690080"/>
                  <a:gd name="connsiteX99" fmla="*/ 2210889 w 2417203"/>
                  <a:gd name="connsiteY99" fmla="*/ 922537 h 1690080"/>
                  <a:gd name="connsiteX100" fmla="*/ 2209405 w 2417203"/>
                  <a:gd name="connsiteY100" fmla="*/ 920647 h 1690080"/>
                  <a:gd name="connsiteX101" fmla="*/ 2209354 w 2417203"/>
                  <a:gd name="connsiteY101" fmla="*/ 920647 h 1690080"/>
                  <a:gd name="connsiteX102" fmla="*/ 2208821 w 2417203"/>
                  <a:gd name="connsiteY102" fmla="*/ 920012 h 1690080"/>
                  <a:gd name="connsiteX103" fmla="*/ 2205042 w 2417203"/>
                  <a:gd name="connsiteY103" fmla="*/ 915332 h 1690080"/>
                  <a:gd name="connsiteX104" fmla="*/ 2201401 w 2417203"/>
                  <a:gd name="connsiteY104" fmla="*/ 912812 h 1690080"/>
                  <a:gd name="connsiteX105" fmla="*/ 2197583 w 2417203"/>
                  <a:gd name="connsiteY105" fmla="*/ 909843 h 1690080"/>
                  <a:gd name="connsiteX106" fmla="*/ 2193042 w 2417203"/>
                  <a:gd name="connsiteY106" fmla="*/ 897424 h 1690080"/>
                  <a:gd name="connsiteX107" fmla="*/ 2192104 w 2417203"/>
                  <a:gd name="connsiteY107" fmla="*/ 895309 h 1690080"/>
                  <a:gd name="connsiteX108" fmla="*/ 2189047 w 2417203"/>
                  <a:gd name="connsiteY108" fmla="*/ 888920 h 1690080"/>
                  <a:gd name="connsiteX109" fmla="*/ 2188996 w 2417203"/>
                  <a:gd name="connsiteY109" fmla="*/ 888784 h 1690080"/>
                  <a:gd name="connsiteX110" fmla="*/ 2184772 w 2417203"/>
                  <a:gd name="connsiteY110" fmla="*/ 880730 h 1690080"/>
                  <a:gd name="connsiteX111" fmla="*/ 2182121 w 2417203"/>
                  <a:gd name="connsiteY111" fmla="*/ 875871 h 1690080"/>
                  <a:gd name="connsiteX112" fmla="*/ 2182121 w 2417203"/>
                  <a:gd name="connsiteY112" fmla="*/ 875847 h 1690080"/>
                  <a:gd name="connsiteX113" fmla="*/ 2176959 w 2417203"/>
                  <a:gd name="connsiteY113" fmla="*/ 866396 h 1690080"/>
                  <a:gd name="connsiteX114" fmla="*/ 2176781 w 2417203"/>
                  <a:gd name="connsiteY114" fmla="*/ 865991 h 1690080"/>
                  <a:gd name="connsiteX115" fmla="*/ 2175297 w 2417203"/>
                  <a:gd name="connsiteY115" fmla="*/ 863070 h 1690080"/>
                  <a:gd name="connsiteX116" fmla="*/ 2174929 w 2417203"/>
                  <a:gd name="connsiteY116" fmla="*/ 862350 h 1690080"/>
                  <a:gd name="connsiteX117" fmla="*/ 2173141 w 2417203"/>
                  <a:gd name="connsiteY117" fmla="*/ 858840 h 1690080"/>
                  <a:gd name="connsiteX118" fmla="*/ 2172418 w 2417203"/>
                  <a:gd name="connsiteY118" fmla="*/ 857265 h 1690080"/>
                  <a:gd name="connsiteX119" fmla="*/ 2166355 w 2417203"/>
                  <a:gd name="connsiteY119" fmla="*/ 842777 h 1690080"/>
                  <a:gd name="connsiteX120" fmla="*/ 2165137 w 2417203"/>
                  <a:gd name="connsiteY120" fmla="*/ 839357 h 1690080"/>
                  <a:gd name="connsiteX121" fmla="*/ 2164110 w 2417203"/>
                  <a:gd name="connsiteY121" fmla="*/ 841921 h 1690080"/>
                  <a:gd name="connsiteX122" fmla="*/ 2164110 w 2417203"/>
                  <a:gd name="connsiteY122" fmla="*/ 841967 h 1690080"/>
                  <a:gd name="connsiteX123" fmla="*/ 2149142 w 2417203"/>
                  <a:gd name="connsiteY123" fmla="*/ 873328 h 1690080"/>
                  <a:gd name="connsiteX124" fmla="*/ 2146491 w 2417203"/>
                  <a:gd name="connsiteY124" fmla="*/ 883047 h 1690080"/>
                  <a:gd name="connsiteX125" fmla="*/ 2146085 w 2417203"/>
                  <a:gd name="connsiteY125" fmla="*/ 892445 h 1690080"/>
                  <a:gd name="connsiteX126" fmla="*/ 2145946 w 2417203"/>
                  <a:gd name="connsiteY126" fmla="*/ 899684 h 1690080"/>
                  <a:gd name="connsiteX127" fmla="*/ 2142077 w 2417203"/>
                  <a:gd name="connsiteY127" fmla="*/ 912778 h 1690080"/>
                  <a:gd name="connsiteX128" fmla="*/ 2139832 w 2417203"/>
                  <a:gd name="connsiteY128" fmla="*/ 916377 h 1690080"/>
                  <a:gd name="connsiteX129" fmla="*/ 2138399 w 2417203"/>
                  <a:gd name="connsiteY129" fmla="*/ 918267 h 1690080"/>
                  <a:gd name="connsiteX130" fmla="*/ 2137181 w 2417203"/>
                  <a:gd name="connsiteY130" fmla="*/ 919571 h 1690080"/>
                  <a:gd name="connsiteX131" fmla="*/ 2133947 w 2417203"/>
                  <a:gd name="connsiteY131" fmla="*/ 922407 h 1690080"/>
                  <a:gd name="connsiteX132" fmla="*/ 2133008 w 2417203"/>
                  <a:gd name="connsiteY132" fmla="*/ 923126 h 1690080"/>
                  <a:gd name="connsiteX133" fmla="*/ 2122620 w 2417203"/>
                  <a:gd name="connsiteY133" fmla="*/ 930460 h 1690080"/>
                  <a:gd name="connsiteX134" fmla="*/ 2114806 w 2417203"/>
                  <a:gd name="connsiteY134" fmla="*/ 936085 h 1690080"/>
                  <a:gd name="connsiteX135" fmla="*/ 2083476 w 2417203"/>
                  <a:gd name="connsiteY135" fmla="*/ 959259 h 1690080"/>
                  <a:gd name="connsiteX136" fmla="*/ 2082893 w 2417203"/>
                  <a:gd name="connsiteY136" fmla="*/ 959708 h 1690080"/>
                  <a:gd name="connsiteX137" fmla="*/ 2079113 w 2417203"/>
                  <a:gd name="connsiteY137" fmla="*/ 954628 h 1690080"/>
                  <a:gd name="connsiteX138" fmla="*/ 2077274 w 2417203"/>
                  <a:gd name="connsiteY138" fmla="*/ 952245 h 1690080"/>
                  <a:gd name="connsiteX139" fmla="*/ 2072910 w 2417203"/>
                  <a:gd name="connsiteY139" fmla="*/ 946484 h 1690080"/>
                  <a:gd name="connsiteX140" fmla="*/ 2061139 w 2417203"/>
                  <a:gd name="connsiteY140" fmla="*/ 930101 h 1690080"/>
                  <a:gd name="connsiteX141" fmla="*/ 2031484 w 2417203"/>
                  <a:gd name="connsiteY141" fmla="*/ 930641 h 1690080"/>
                  <a:gd name="connsiteX142" fmla="*/ 2031344 w 2417203"/>
                  <a:gd name="connsiteY142" fmla="*/ 930641 h 1690080"/>
                  <a:gd name="connsiteX143" fmla="*/ 2030900 w 2417203"/>
                  <a:gd name="connsiteY143" fmla="*/ 926456 h 1690080"/>
                  <a:gd name="connsiteX144" fmla="*/ 2028148 w 2417203"/>
                  <a:gd name="connsiteY144" fmla="*/ 901079 h 1690080"/>
                  <a:gd name="connsiteX145" fmla="*/ 2027882 w 2417203"/>
                  <a:gd name="connsiteY145" fmla="*/ 898064 h 1690080"/>
                  <a:gd name="connsiteX146" fmla="*/ 2027615 w 2417203"/>
                  <a:gd name="connsiteY146" fmla="*/ 895185 h 1690080"/>
                  <a:gd name="connsiteX147" fmla="*/ 2026981 w 2417203"/>
                  <a:gd name="connsiteY147" fmla="*/ 887085 h 1690080"/>
                  <a:gd name="connsiteX148" fmla="*/ 2026486 w 2417203"/>
                  <a:gd name="connsiteY148" fmla="*/ 877726 h 1690080"/>
                  <a:gd name="connsiteX149" fmla="*/ 2022300 w 2417203"/>
                  <a:gd name="connsiteY149" fmla="*/ 865487 h 1690080"/>
                  <a:gd name="connsiteX150" fmla="*/ 2018888 w 2417203"/>
                  <a:gd name="connsiteY150" fmla="*/ 862922 h 1690080"/>
                  <a:gd name="connsiteX151" fmla="*/ 2018800 w 2417203"/>
                  <a:gd name="connsiteY151" fmla="*/ 862922 h 1690080"/>
                  <a:gd name="connsiteX152" fmla="*/ 2007650 w 2417203"/>
                  <a:gd name="connsiteY152" fmla="*/ 860448 h 1690080"/>
                  <a:gd name="connsiteX153" fmla="*/ 2021311 w 2417203"/>
                  <a:gd name="connsiteY153" fmla="*/ 854098 h 1690080"/>
                  <a:gd name="connsiteX154" fmla="*/ 2028503 w 2417203"/>
                  <a:gd name="connsiteY154" fmla="*/ 805412 h 1690080"/>
                  <a:gd name="connsiteX155" fmla="*/ 2027653 w 2417203"/>
                  <a:gd name="connsiteY155" fmla="*/ 805637 h 1690080"/>
                  <a:gd name="connsiteX156" fmla="*/ 2015514 w 2417203"/>
                  <a:gd name="connsiteY156" fmla="*/ 808742 h 1690080"/>
                  <a:gd name="connsiteX157" fmla="*/ 2014309 w 2417203"/>
                  <a:gd name="connsiteY157" fmla="*/ 806537 h 1690080"/>
                  <a:gd name="connsiteX158" fmla="*/ 2014309 w 2417203"/>
                  <a:gd name="connsiteY158" fmla="*/ 806505 h 1690080"/>
                  <a:gd name="connsiteX159" fmla="*/ 2007473 w 2417203"/>
                  <a:gd name="connsiteY159" fmla="*/ 800430 h 1690080"/>
                  <a:gd name="connsiteX160" fmla="*/ 1985909 w 2417203"/>
                  <a:gd name="connsiteY160" fmla="*/ 795796 h 1690080"/>
                  <a:gd name="connsiteX161" fmla="*/ 1970181 w 2417203"/>
                  <a:gd name="connsiteY161" fmla="*/ 787336 h 1690080"/>
                  <a:gd name="connsiteX162" fmla="*/ 1967708 w 2417203"/>
                  <a:gd name="connsiteY162" fmla="*/ 784542 h 1690080"/>
                  <a:gd name="connsiteX163" fmla="*/ 1967657 w 2417203"/>
                  <a:gd name="connsiteY163" fmla="*/ 784542 h 1690080"/>
                  <a:gd name="connsiteX164" fmla="*/ 1967162 w 2417203"/>
                  <a:gd name="connsiteY164" fmla="*/ 783868 h 1690080"/>
                  <a:gd name="connsiteX165" fmla="*/ 1965006 w 2417203"/>
                  <a:gd name="connsiteY165" fmla="*/ 780043 h 1690080"/>
                  <a:gd name="connsiteX166" fmla="*/ 1964689 w 2417203"/>
                  <a:gd name="connsiteY166" fmla="*/ 779324 h 1690080"/>
                  <a:gd name="connsiteX167" fmla="*/ 1963661 w 2417203"/>
                  <a:gd name="connsiteY167" fmla="*/ 776488 h 1690080"/>
                  <a:gd name="connsiteX168" fmla="*/ 1960871 w 2417203"/>
                  <a:gd name="connsiteY168" fmla="*/ 769154 h 1690080"/>
                  <a:gd name="connsiteX169" fmla="*/ 1959704 w 2417203"/>
                  <a:gd name="connsiteY169" fmla="*/ 766409 h 1690080"/>
                  <a:gd name="connsiteX170" fmla="*/ 1957180 w 2417203"/>
                  <a:gd name="connsiteY170" fmla="*/ 761550 h 1690080"/>
                  <a:gd name="connsiteX171" fmla="*/ 1956013 w 2417203"/>
                  <a:gd name="connsiteY171" fmla="*/ 759705 h 1690080"/>
                  <a:gd name="connsiteX172" fmla="*/ 1950584 w 2417203"/>
                  <a:gd name="connsiteY172" fmla="*/ 751787 h 1690080"/>
                  <a:gd name="connsiteX173" fmla="*/ 1943887 w 2417203"/>
                  <a:gd name="connsiteY173" fmla="*/ 744001 h 1690080"/>
                  <a:gd name="connsiteX174" fmla="*/ 1937456 w 2417203"/>
                  <a:gd name="connsiteY174" fmla="*/ 737612 h 1690080"/>
                  <a:gd name="connsiteX175" fmla="*/ 1932331 w 2417203"/>
                  <a:gd name="connsiteY175" fmla="*/ 732932 h 1690080"/>
                  <a:gd name="connsiteX176" fmla="*/ 1920738 w 2417203"/>
                  <a:gd name="connsiteY176" fmla="*/ 723123 h 1690080"/>
                  <a:gd name="connsiteX177" fmla="*/ 1909551 w 2417203"/>
                  <a:gd name="connsiteY177" fmla="*/ 713764 h 1690080"/>
                  <a:gd name="connsiteX178" fmla="*/ 1848565 w 2417203"/>
                  <a:gd name="connsiteY178" fmla="*/ 722719 h 1690080"/>
                  <a:gd name="connsiteX179" fmla="*/ 1845064 w 2417203"/>
                  <a:gd name="connsiteY179" fmla="*/ 721322 h 1690080"/>
                  <a:gd name="connsiteX180" fmla="*/ 1839483 w 2417203"/>
                  <a:gd name="connsiteY180" fmla="*/ 718982 h 1690080"/>
                  <a:gd name="connsiteX181" fmla="*/ 1812479 w 2417203"/>
                  <a:gd name="connsiteY181" fmla="*/ 709893 h 1690080"/>
                  <a:gd name="connsiteX182" fmla="*/ 1806137 w 2417203"/>
                  <a:gd name="connsiteY182" fmla="*/ 709624 h 1690080"/>
                  <a:gd name="connsiteX183" fmla="*/ 1805921 w 2417203"/>
                  <a:gd name="connsiteY183" fmla="*/ 709624 h 1690080"/>
                  <a:gd name="connsiteX184" fmla="*/ 1785246 w 2417203"/>
                  <a:gd name="connsiteY184" fmla="*/ 732594 h 1690080"/>
                  <a:gd name="connsiteX185" fmla="*/ 1785740 w 2417203"/>
                  <a:gd name="connsiteY185" fmla="*/ 736216 h 1690080"/>
                  <a:gd name="connsiteX186" fmla="*/ 1786945 w 2417203"/>
                  <a:gd name="connsiteY186" fmla="*/ 741435 h 1690080"/>
                  <a:gd name="connsiteX187" fmla="*/ 1796573 w 2417203"/>
                  <a:gd name="connsiteY187" fmla="*/ 765868 h 1690080"/>
                  <a:gd name="connsiteX188" fmla="*/ 1796611 w 2417203"/>
                  <a:gd name="connsiteY188" fmla="*/ 765913 h 1690080"/>
                  <a:gd name="connsiteX189" fmla="*/ 1799756 w 2417203"/>
                  <a:gd name="connsiteY189" fmla="*/ 773652 h 1690080"/>
                  <a:gd name="connsiteX190" fmla="*/ 1790637 w 2417203"/>
                  <a:gd name="connsiteY190" fmla="*/ 806050 h 1690080"/>
                  <a:gd name="connsiteX191" fmla="*/ 1791448 w 2417203"/>
                  <a:gd name="connsiteY191" fmla="*/ 807574 h 1690080"/>
                  <a:gd name="connsiteX192" fmla="*/ 1796167 w 2417203"/>
                  <a:gd name="connsiteY192" fmla="*/ 818194 h 1690080"/>
                  <a:gd name="connsiteX193" fmla="*/ 1797866 w 2417203"/>
                  <a:gd name="connsiteY193" fmla="*/ 823008 h 1690080"/>
                  <a:gd name="connsiteX194" fmla="*/ 1799985 w 2417203"/>
                  <a:gd name="connsiteY194" fmla="*/ 829937 h 1690080"/>
                  <a:gd name="connsiteX195" fmla="*/ 1801241 w 2417203"/>
                  <a:gd name="connsiteY195" fmla="*/ 834662 h 1690080"/>
                  <a:gd name="connsiteX196" fmla="*/ 1806365 w 2417203"/>
                  <a:gd name="connsiteY196" fmla="*/ 859635 h 1690080"/>
                  <a:gd name="connsiteX197" fmla="*/ 1807887 w 2417203"/>
                  <a:gd name="connsiteY197" fmla="*/ 866835 h 1690080"/>
                  <a:gd name="connsiteX198" fmla="*/ 1808026 w 2417203"/>
                  <a:gd name="connsiteY198" fmla="*/ 867597 h 1690080"/>
                  <a:gd name="connsiteX199" fmla="*/ 1808065 w 2417203"/>
                  <a:gd name="connsiteY199" fmla="*/ 868002 h 1690080"/>
                  <a:gd name="connsiteX200" fmla="*/ 1806086 w 2417203"/>
                  <a:gd name="connsiteY200" fmla="*/ 872320 h 1690080"/>
                  <a:gd name="connsiteX201" fmla="*/ 1801329 w 2417203"/>
                  <a:gd name="connsiteY201" fmla="*/ 880829 h 1690080"/>
                  <a:gd name="connsiteX202" fmla="*/ 1797105 w 2417203"/>
                  <a:gd name="connsiteY202" fmla="*/ 888343 h 1690080"/>
                  <a:gd name="connsiteX203" fmla="*/ 1784612 w 2417203"/>
                  <a:gd name="connsiteY203" fmla="*/ 909941 h 1690080"/>
                  <a:gd name="connsiteX204" fmla="*/ 1778269 w 2417203"/>
                  <a:gd name="connsiteY204" fmla="*/ 921235 h 1690080"/>
                  <a:gd name="connsiteX205" fmla="*/ 1776608 w 2417203"/>
                  <a:gd name="connsiteY205" fmla="*/ 925465 h 1690080"/>
                  <a:gd name="connsiteX206" fmla="*/ 1776646 w 2417203"/>
                  <a:gd name="connsiteY206" fmla="*/ 933295 h 1690080"/>
                  <a:gd name="connsiteX207" fmla="*/ 1781364 w 2417203"/>
                  <a:gd name="connsiteY207" fmla="*/ 939999 h 1690080"/>
                  <a:gd name="connsiteX208" fmla="*/ 1790535 w 2417203"/>
                  <a:gd name="connsiteY208" fmla="*/ 948054 h 1690080"/>
                  <a:gd name="connsiteX209" fmla="*/ 1795926 w 2417203"/>
                  <a:gd name="connsiteY209" fmla="*/ 951743 h 1690080"/>
                  <a:gd name="connsiteX210" fmla="*/ 1801278 w 2417203"/>
                  <a:gd name="connsiteY210" fmla="*/ 955477 h 1690080"/>
                  <a:gd name="connsiteX211" fmla="*/ 1832012 w 2417203"/>
                  <a:gd name="connsiteY211" fmla="*/ 1052084 h 1690080"/>
                  <a:gd name="connsiteX212" fmla="*/ 1826761 w 2417203"/>
                  <a:gd name="connsiteY212" fmla="*/ 1069363 h 1690080"/>
                  <a:gd name="connsiteX213" fmla="*/ 1770811 w 2417203"/>
                  <a:gd name="connsiteY213" fmla="*/ 1126012 h 1690080"/>
                  <a:gd name="connsiteX214" fmla="*/ 1745506 w 2417203"/>
                  <a:gd name="connsiteY214" fmla="*/ 1138747 h 1690080"/>
                  <a:gd name="connsiteX215" fmla="*/ 1745773 w 2417203"/>
                  <a:gd name="connsiteY215" fmla="*/ 1141221 h 1690080"/>
                  <a:gd name="connsiteX216" fmla="*/ 1746229 w 2417203"/>
                  <a:gd name="connsiteY216" fmla="*/ 1146846 h 1690080"/>
                  <a:gd name="connsiteX217" fmla="*/ 1746546 w 2417203"/>
                  <a:gd name="connsiteY217" fmla="*/ 1148286 h 1690080"/>
                  <a:gd name="connsiteX218" fmla="*/ 1747434 w 2417203"/>
                  <a:gd name="connsiteY218" fmla="*/ 1150040 h 1690080"/>
                  <a:gd name="connsiteX219" fmla="*/ 1756922 w 2417203"/>
                  <a:gd name="connsiteY219" fmla="*/ 1166958 h 1690080"/>
                  <a:gd name="connsiteX220" fmla="*/ 1758051 w 2417203"/>
                  <a:gd name="connsiteY220" fmla="*/ 1170558 h 1690080"/>
                  <a:gd name="connsiteX221" fmla="*/ 1758406 w 2417203"/>
                  <a:gd name="connsiteY221" fmla="*/ 1171908 h 1690080"/>
                  <a:gd name="connsiteX222" fmla="*/ 1759750 w 2417203"/>
                  <a:gd name="connsiteY222" fmla="*/ 1178028 h 1690080"/>
                  <a:gd name="connsiteX223" fmla="*/ 1759750 w 2417203"/>
                  <a:gd name="connsiteY223" fmla="*/ 1178162 h 1690080"/>
                  <a:gd name="connsiteX224" fmla="*/ 1760156 w 2417203"/>
                  <a:gd name="connsiteY224" fmla="*/ 1180457 h 1690080"/>
                  <a:gd name="connsiteX225" fmla="*/ 1760207 w 2417203"/>
                  <a:gd name="connsiteY225" fmla="*/ 1180638 h 1690080"/>
                  <a:gd name="connsiteX226" fmla="*/ 1761057 w 2417203"/>
                  <a:gd name="connsiteY226" fmla="*/ 1186847 h 1690080"/>
                  <a:gd name="connsiteX227" fmla="*/ 1761463 w 2417203"/>
                  <a:gd name="connsiteY227" fmla="*/ 1190492 h 1690080"/>
                  <a:gd name="connsiteX228" fmla="*/ 1761640 w 2417203"/>
                  <a:gd name="connsiteY228" fmla="*/ 1192016 h 1690080"/>
                  <a:gd name="connsiteX229" fmla="*/ 1761869 w 2417203"/>
                  <a:gd name="connsiteY229" fmla="*/ 1194581 h 1690080"/>
                  <a:gd name="connsiteX230" fmla="*/ 1762046 w 2417203"/>
                  <a:gd name="connsiteY230" fmla="*/ 1196471 h 1690080"/>
                  <a:gd name="connsiteX231" fmla="*/ 1762135 w 2417203"/>
                  <a:gd name="connsiteY231" fmla="*/ 1197233 h 1690080"/>
                  <a:gd name="connsiteX232" fmla="*/ 1762363 w 2417203"/>
                  <a:gd name="connsiteY232" fmla="*/ 1199303 h 1690080"/>
                  <a:gd name="connsiteX233" fmla="*/ 1762769 w 2417203"/>
                  <a:gd name="connsiteY233" fmla="*/ 1202813 h 1690080"/>
                  <a:gd name="connsiteX234" fmla="*/ 1763569 w 2417203"/>
                  <a:gd name="connsiteY234" fmla="*/ 1208797 h 1690080"/>
                  <a:gd name="connsiteX235" fmla="*/ 1764431 w 2417203"/>
                  <a:gd name="connsiteY235" fmla="*/ 1213297 h 1690080"/>
                  <a:gd name="connsiteX236" fmla="*/ 1766993 w 2417203"/>
                  <a:gd name="connsiteY236" fmla="*/ 1223286 h 1690080"/>
                  <a:gd name="connsiteX237" fmla="*/ 1767488 w 2417203"/>
                  <a:gd name="connsiteY237" fmla="*/ 1225086 h 1690080"/>
                  <a:gd name="connsiteX238" fmla="*/ 1767488 w 2417203"/>
                  <a:gd name="connsiteY238" fmla="*/ 1225131 h 1690080"/>
                  <a:gd name="connsiteX239" fmla="*/ 1768655 w 2417203"/>
                  <a:gd name="connsiteY239" fmla="*/ 1229360 h 1690080"/>
                  <a:gd name="connsiteX240" fmla="*/ 1769238 w 2417203"/>
                  <a:gd name="connsiteY240" fmla="*/ 1231519 h 1690080"/>
                  <a:gd name="connsiteX241" fmla="*/ 1769365 w 2417203"/>
                  <a:gd name="connsiteY241" fmla="*/ 1231924 h 1690080"/>
                  <a:gd name="connsiteX242" fmla="*/ 1769682 w 2417203"/>
                  <a:gd name="connsiteY242" fmla="*/ 1233094 h 1690080"/>
                  <a:gd name="connsiteX243" fmla="*/ 1771483 w 2417203"/>
                  <a:gd name="connsiteY243" fmla="*/ 1241417 h 1690080"/>
                  <a:gd name="connsiteX244" fmla="*/ 1771572 w 2417203"/>
                  <a:gd name="connsiteY244" fmla="*/ 1242228 h 1690080"/>
                  <a:gd name="connsiteX245" fmla="*/ 1770938 w 2417203"/>
                  <a:gd name="connsiteY245" fmla="*/ 1263641 h 1690080"/>
                  <a:gd name="connsiteX246" fmla="*/ 1769771 w 2417203"/>
                  <a:gd name="connsiteY246" fmla="*/ 1268861 h 1690080"/>
                  <a:gd name="connsiteX247" fmla="*/ 1764824 w 2417203"/>
                  <a:gd name="connsiteY247" fmla="*/ 1285650 h 1690080"/>
                  <a:gd name="connsiteX248" fmla="*/ 1762617 w 2417203"/>
                  <a:gd name="connsiteY248" fmla="*/ 1292800 h 1690080"/>
                  <a:gd name="connsiteX249" fmla="*/ 1748817 w 2417203"/>
                  <a:gd name="connsiteY249" fmla="*/ 1286272 h 1690080"/>
                  <a:gd name="connsiteX250" fmla="*/ 1737769 w 2417203"/>
                  <a:gd name="connsiteY250" fmla="*/ 1303468 h 1690080"/>
                  <a:gd name="connsiteX251" fmla="*/ 1718261 w 2417203"/>
                  <a:gd name="connsiteY251" fmla="*/ 1292483 h 1690080"/>
                  <a:gd name="connsiteX252" fmla="*/ 1714937 w 2417203"/>
                  <a:gd name="connsiteY252" fmla="*/ 1284126 h 1690080"/>
                  <a:gd name="connsiteX253" fmla="*/ 1704562 w 2417203"/>
                  <a:gd name="connsiteY253" fmla="*/ 1269724 h 1690080"/>
                  <a:gd name="connsiteX254" fmla="*/ 1699031 w 2417203"/>
                  <a:gd name="connsiteY254" fmla="*/ 1264809 h 1690080"/>
                  <a:gd name="connsiteX255" fmla="*/ 1689366 w 2417203"/>
                  <a:gd name="connsiteY255" fmla="*/ 1254967 h 1690080"/>
                  <a:gd name="connsiteX256" fmla="*/ 1672559 w 2417203"/>
                  <a:gd name="connsiteY256" fmla="*/ 1227784 h 1690080"/>
                  <a:gd name="connsiteX257" fmla="*/ 1670352 w 2417203"/>
                  <a:gd name="connsiteY257" fmla="*/ 1221125 h 1690080"/>
                  <a:gd name="connsiteX258" fmla="*/ 1668830 w 2417203"/>
                  <a:gd name="connsiteY258" fmla="*/ 1190302 h 1690080"/>
                  <a:gd name="connsiteX259" fmla="*/ 1668792 w 2417203"/>
                  <a:gd name="connsiteY259" fmla="*/ 1177389 h 1690080"/>
                  <a:gd name="connsiteX260" fmla="*/ 1667219 w 2417203"/>
                  <a:gd name="connsiteY260" fmla="*/ 1134373 h 1690080"/>
                  <a:gd name="connsiteX261" fmla="*/ 1660712 w 2417203"/>
                  <a:gd name="connsiteY261" fmla="*/ 1118438 h 1690080"/>
                  <a:gd name="connsiteX262" fmla="*/ 1660611 w 2417203"/>
                  <a:gd name="connsiteY262" fmla="*/ 1118399 h 1690080"/>
                  <a:gd name="connsiteX263" fmla="*/ 1656121 w 2417203"/>
                  <a:gd name="connsiteY263" fmla="*/ 1117139 h 1690080"/>
                  <a:gd name="connsiteX264" fmla="*/ 1634139 w 2417203"/>
                  <a:gd name="connsiteY264" fmla="*/ 1113855 h 1690080"/>
                  <a:gd name="connsiteX265" fmla="*/ 1607756 w 2417203"/>
                  <a:gd name="connsiteY265" fmla="*/ 1111061 h 1690080"/>
                  <a:gd name="connsiteX266" fmla="*/ 1605067 w 2417203"/>
                  <a:gd name="connsiteY266" fmla="*/ 1110926 h 1690080"/>
                  <a:gd name="connsiteX267" fmla="*/ 1580168 w 2417203"/>
                  <a:gd name="connsiteY267" fmla="*/ 1104132 h 1690080"/>
                  <a:gd name="connsiteX268" fmla="*/ 1576566 w 2417203"/>
                  <a:gd name="connsiteY268" fmla="*/ 1101117 h 1690080"/>
                  <a:gd name="connsiteX269" fmla="*/ 1572925 w 2417203"/>
                  <a:gd name="connsiteY269" fmla="*/ 1097652 h 1690080"/>
                  <a:gd name="connsiteX270" fmla="*/ 1562194 w 2417203"/>
                  <a:gd name="connsiteY270" fmla="*/ 1090272 h 1690080"/>
                  <a:gd name="connsiteX271" fmla="*/ 1512447 w 2417203"/>
                  <a:gd name="connsiteY271" fmla="*/ 1063770 h 1690080"/>
                  <a:gd name="connsiteX272" fmla="*/ 1498596 w 2417203"/>
                  <a:gd name="connsiteY272" fmla="*/ 1048831 h 1690080"/>
                  <a:gd name="connsiteX273" fmla="*/ 1491949 w 2417203"/>
                  <a:gd name="connsiteY273" fmla="*/ 1041452 h 1690080"/>
                  <a:gd name="connsiteX274" fmla="*/ 1491721 w 2417203"/>
                  <a:gd name="connsiteY274" fmla="*/ 1041272 h 1690080"/>
                  <a:gd name="connsiteX275" fmla="*/ 1428313 w 2417203"/>
                  <a:gd name="connsiteY275" fmla="*/ 1011080 h 1690080"/>
                  <a:gd name="connsiteX276" fmla="*/ 1406065 w 2417203"/>
                  <a:gd name="connsiteY276" fmla="*/ 1013959 h 1690080"/>
                  <a:gd name="connsiteX277" fmla="*/ 1376320 w 2417203"/>
                  <a:gd name="connsiteY277" fmla="*/ 1023865 h 1690080"/>
                  <a:gd name="connsiteX278" fmla="*/ 1376358 w 2417203"/>
                  <a:gd name="connsiteY278" fmla="*/ 1023460 h 1690080"/>
                  <a:gd name="connsiteX279" fmla="*/ 1376358 w 2417203"/>
                  <a:gd name="connsiteY279" fmla="*/ 1023415 h 1690080"/>
                  <a:gd name="connsiteX280" fmla="*/ 1358791 w 2417203"/>
                  <a:gd name="connsiteY280" fmla="*/ 941072 h 1690080"/>
                  <a:gd name="connsiteX281" fmla="*/ 1356812 w 2417203"/>
                  <a:gd name="connsiteY281" fmla="*/ 932883 h 1690080"/>
                  <a:gd name="connsiteX282" fmla="*/ 1330568 w 2417203"/>
                  <a:gd name="connsiteY282" fmla="*/ 932208 h 1690080"/>
                  <a:gd name="connsiteX283" fmla="*/ 1326027 w 2417203"/>
                  <a:gd name="connsiteY283" fmla="*/ 938508 h 1690080"/>
                  <a:gd name="connsiteX284" fmla="*/ 1318303 w 2417203"/>
                  <a:gd name="connsiteY284" fmla="*/ 925818 h 1690080"/>
                  <a:gd name="connsiteX285" fmla="*/ 1317225 w 2417203"/>
                  <a:gd name="connsiteY285" fmla="*/ 924109 h 1690080"/>
                  <a:gd name="connsiteX286" fmla="*/ 1312823 w 2417203"/>
                  <a:gd name="connsiteY286" fmla="*/ 915244 h 1690080"/>
                  <a:gd name="connsiteX287" fmla="*/ 1312417 w 2417203"/>
                  <a:gd name="connsiteY287" fmla="*/ 914075 h 1690080"/>
                  <a:gd name="connsiteX288" fmla="*/ 1311339 w 2417203"/>
                  <a:gd name="connsiteY288" fmla="*/ 909395 h 1690080"/>
                  <a:gd name="connsiteX289" fmla="*/ 1312278 w 2417203"/>
                  <a:gd name="connsiteY289" fmla="*/ 857560 h 1690080"/>
                  <a:gd name="connsiteX290" fmla="*/ 1348542 w 2417203"/>
                  <a:gd name="connsiteY290" fmla="*/ 752784 h 1690080"/>
                  <a:gd name="connsiteX291" fmla="*/ 1349760 w 2417203"/>
                  <a:gd name="connsiteY291" fmla="*/ 750579 h 1690080"/>
                  <a:gd name="connsiteX292" fmla="*/ 1350432 w 2417203"/>
                  <a:gd name="connsiteY292" fmla="*/ 749273 h 1690080"/>
                  <a:gd name="connsiteX293" fmla="*/ 1363636 w 2417203"/>
                  <a:gd name="connsiteY293" fmla="*/ 726235 h 1690080"/>
                  <a:gd name="connsiteX294" fmla="*/ 1364004 w 2417203"/>
                  <a:gd name="connsiteY294" fmla="*/ 725600 h 1690080"/>
                  <a:gd name="connsiteX295" fmla="*/ 1373352 w 2417203"/>
                  <a:gd name="connsiteY295" fmla="*/ 710437 h 1690080"/>
                  <a:gd name="connsiteX296" fmla="*/ 1381305 w 2417203"/>
                  <a:gd name="connsiteY296" fmla="*/ 696173 h 1690080"/>
                  <a:gd name="connsiteX297" fmla="*/ 1382206 w 2417203"/>
                  <a:gd name="connsiteY297" fmla="*/ 694464 h 1690080"/>
                  <a:gd name="connsiteX298" fmla="*/ 1383233 w 2417203"/>
                  <a:gd name="connsiteY298" fmla="*/ 692528 h 1690080"/>
                  <a:gd name="connsiteX299" fmla="*/ 1425662 w 2417203"/>
                  <a:gd name="connsiteY299" fmla="*/ 682179 h 1690080"/>
                  <a:gd name="connsiteX300" fmla="*/ 1418381 w 2417203"/>
                  <a:gd name="connsiteY300" fmla="*/ 653833 h 1690080"/>
                  <a:gd name="connsiteX301" fmla="*/ 1418204 w 2417203"/>
                  <a:gd name="connsiteY301" fmla="*/ 653697 h 1690080"/>
                  <a:gd name="connsiteX302" fmla="*/ 1396894 w 2417203"/>
                  <a:gd name="connsiteY302" fmla="*/ 636868 h 1690080"/>
                  <a:gd name="connsiteX303" fmla="*/ 1396717 w 2417203"/>
                  <a:gd name="connsiteY303" fmla="*/ 636599 h 1690080"/>
                  <a:gd name="connsiteX304" fmla="*/ 1396501 w 2417203"/>
                  <a:gd name="connsiteY304" fmla="*/ 636733 h 1690080"/>
                  <a:gd name="connsiteX305" fmla="*/ 1388764 w 2417203"/>
                  <a:gd name="connsiteY305" fmla="*/ 641233 h 1690080"/>
                  <a:gd name="connsiteX306" fmla="*/ 1388269 w 2417203"/>
                  <a:gd name="connsiteY306" fmla="*/ 641504 h 1690080"/>
                  <a:gd name="connsiteX307" fmla="*/ 1381534 w 2417203"/>
                  <a:gd name="connsiteY307" fmla="*/ 644563 h 1690080"/>
                  <a:gd name="connsiteX308" fmla="*/ 1385174 w 2417203"/>
                  <a:gd name="connsiteY308" fmla="*/ 636418 h 1690080"/>
                  <a:gd name="connsiteX309" fmla="*/ 1385567 w 2417203"/>
                  <a:gd name="connsiteY309" fmla="*/ 635698 h 1690080"/>
                  <a:gd name="connsiteX310" fmla="*/ 1405748 w 2417203"/>
                  <a:gd name="connsiteY310" fmla="*/ 634348 h 1690080"/>
                  <a:gd name="connsiteX311" fmla="*/ 1443052 w 2417203"/>
                  <a:gd name="connsiteY311" fmla="*/ 634983 h 1690080"/>
                  <a:gd name="connsiteX312" fmla="*/ 1445703 w 2417203"/>
                  <a:gd name="connsiteY312" fmla="*/ 623465 h 1690080"/>
                  <a:gd name="connsiteX313" fmla="*/ 1446109 w 2417203"/>
                  <a:gd name="connsiteY313" fmla="*/ 621845 h 1690080"/>
                  <a:gd name="connsiteX314" fmla="*/ 1448214 w 2417203"/>
                  <a:gd name="connsiteY314" fmla="*/ 612936 h 1690080"/>
                  <a:gd name="connsiteX315" fmla="*/ 1448582 w 2417203"/>
                  <a:gd name="connsiteY315" fmla="*/ 611361 h 1690080"/>
                  <a:gd name="connsiteX316" fmla="*/ 1449432 w 2417203"/>
                  <a:gd name="connsiteY316" fmla="*/ 607716 h 1690080"/>
                  <a:gd name="connsiteX317" fmla="*/ 1455051 w 2417203"/>
                  <a:gd name="connsiteY317" fmla="*/ 609021 h 1690080"/>
                  <a:gd name="connsiteX318" fmla="*/ 1457524 w 2417203"/>
                  <a:gd name="connsiteY318" fmla="*/ 609561 h 1690080"/>
                  <a:gd name="connsiteX319" fmla="*/ 1471731 w 2417203"/>
                  <a:gd name="connsiteY319" fmla="*/ 613341 h 1690080"/>
                  <a:gd name="connsiteX320" fmla="*/ 1472492 w 2417203"/>
                  <a:gd name="connsiteY320" fmla="*/ 613611 h 1690080"/>
                  <a:gd name="connsiteX321" fmla="*/ 1472809 w 2417203"/>
                  <a:gd name="connsiteY321" fmla="*/ 613745 h 1690080"/>
                  <a:gd name="connsiteX322" fmla="*/ 1500042 w 2417203"/>
                  <a:gd name="connsiteY322" fmla="*/ 604206 h 1690080"/>
                  <a:gd name="connsiteX323" fmla="*/ 1534594 w 2417203"/>
                  <a:gd name="connsiteY323" fmla="*/ 540313 h 1690080"/>
                  <a:gd name="connsiteX324" fmla="*/ 1536623 w 2417203"/>
                  <a:gd name="connsiteY324" fmla="*/ 536487 h 1690080"/>
                  <a:gd name="connsiteX325" fmla="*/ 1503314 w 2417203"/>
                  <a:gd name="connsiteY325" fmla="*/ 532393 h 1690080"/>
                  <a:gd name="connsiteX326" fmla="*/ 1473342 w 2417203"/>
                  <a:gd name="connsiteY326" fmla="*/ 524878 h 1690080"/>
                  <a:gd name="connsiteX327" fmla="*/ 1462877 w 2417203"/>
                  <a:gd name="connsiteY327" fmla="*/ 513585 h 1690080"/>
                  <a:gd name="connsiteX328" fmla="*/ 1461520 w 2417203"/>
                  <a:gd name="connsiteY328" fmla="*/ 511290 h 1690080"/>
                  <a:gd name="connsiteX329" fmla="*/ 1449432 w 2417203"/>
                  <a:gd name="connsiteY329" fmla="*/ 495316 h 1690080"/>
                  <a:gd name="connsiteX330" fmla="*/ 1443597 w 2417203"/>
                  <a:gd name="connsiteY330" fmla="*/ 488522 h 1690080"/>
                  <a:gd name="connsiteX331" fmla="*/ 1462915 w 2417203"/>
                  <a:gd name="connsiteY331" fmla="*/ 490681 h 1690080"/>
                  <a:gd name="connsiteX332" fmla="*/ 1487548 w 2417203"/>
                  <a:gd name="connsiteY332" fmla="*/ 509985 h 1690080"/>
                  <a:gd name="connsiteX333" fmla="*/ 1488981 w 2417203"/>
                  <a:gd name="connsiteY333" fmla="*/ 511245 h 1690080"/>
                  <a:gd name="connsiteX334" fmla="*/ 1496896 w 2417203"/>
                  <a:gd name="connsiteY334" fmla="*/ 518399 h 1690080"/>
                  <a:gd name="connsiteX335" fmla="*/ 1526590 w 2417203"/>
                  <a:gd name="connsiteY335" fmla="*/ 523169 h 1690080"/>
                  <a:gd name="connsiteX336" fmla="*/ 1561294 w 2417203"/>
                  <a:gd name="connsiteY336" fmla="*/ 470884 h 1690080"/>
                  <a:gd name="connsiteX337" fmla="*/ 1555002 w 2417203"/>
                  <a:gd name="connsiteY337" fmla="*/ 466294 h 1690080"/>
                  <a:gd name="connsiteX338" fmla="*/ 1542420 w 2417203"/>
                  <a:gd name="connsiteY338" fmla="*/ 452300 h 1690080"/>
                  <a:gd name="connsiteX339" fmla="*/ 1538640 w 2417203"/>
                  <a:gd name="connsiteY339" fmla="*/ 445551 h 1690080"/>
                  <a:gd name="connsiteX340" fmla="*/ 1577694 w 2417203"/>
                  <a:gd name="connsiteY340" fmla="*/ 442630 h 1690080"/>
                  <a:gd name="connsiteX341" fmla="*/ 1579039 w 2417203"/>
                  <a:gd name="connsiteY341" fmla="*/ 446313 h 1690080"/>
                  <a:gd name="connsiteX342" fmla="*/ 1583440 w 2417203"/>
                  <a:gd name="connsiteY342" fmla="*/ 456077 h 1690080"/>
                  <a:gd name="connsiteX343" fmla="*/ 1595845 w 2417203"/>
                  <a:gd name="connsiteY343" fmla="*/ 461971 h 1690080"/>
                  <a:gd name="connsiteX344" fmla="*/ 1623129 w 2417203"/>
                  <a:gd name="connsiteY344" fmla="*/ 460713 h 1690080"/>
                  <a:gd name="connsiteX345" fmla="*/ 1612297 w 2417203"/>
                  <a:gd name="connsiteY345" fmla="*/ 437764 h 1690080"/>
                  <a:gd name="connsiteX346" fmla="*/ 1610280 w 2417203"/>
                  <a:gd name="connsiteY346" fmla="*/ 434208 h 1690080"/>
                  <a:gd name="connsiteX347" fmla="*/ 1606411 w 2417203"/>
                  <a:gd name="connsiteY347" fmla="*/ 428809 h 1690080"/>
                  <a:gd name="connsiteX348" fmla="*/ 1606361 w 2417203"/>
                  <a:gd name="connsiteY348" fmla="*/ 428763 h 1690080"/>
                  <a:gd name="connsiteX349" fmla="*/ 1605562 w 2417203"/>
                  <a:gd name="connsiteY349" fmla="*/ 427909 h 1690080"/>
                  <a:gd name="connsiteX350" fmla="*/ 1595630 w 2417203"/>
                  <a:gd name="connsiteY350" fmla="*/ 421114 h 1690080"/>
                  <a:gd name="connsiteX351" fmla="*/ 1589732 w 2417203"/>
                  <a:gd name="connsiteY351" fmla="*/ 419405 h 1690080"/>
                  <a:gd name="connsiteX352" fmla="*/ 1586370 w 2417203"/>
                  <a:gd name="connsiteY352" fmla="*/ 418909 h 1690080"/>
                  <a:gd name="connsiteX353" fmla="*/ 1607172 w 2417203"/>
                  <a:gd name="connsiteY353" fmla="*/ 415445 h 1690080"/>
                  <a:gd name="connsiteX354" fmla="*/ 1619476 w 2417203"/>
                  <a:gd name="connsiteY354" fmla="*/ 432049 h 1690080"/>
                  <a:gd name="connsiteX355" fmla="*/ 1622000 w 2417203"/>
                  <a:gd name="connsiteY355" fmla="*/ 436637 h 1690080"/>
                  <a:gd name="connsiteX356" fmla="*/ 1637183 w 2417203"/>
                  <a:gd name="connsiteY356" fmla="*/ 454726 h 1690080"/>
                  <a:gd name="connsiteX357" fmla="*/ 1687387 w 2417203"/>
                  <a:gd name="connsiteY357" fmla="*/ 407300 h 1690080"/>
                  <a:gd name="connsiteX358" fmla="*/ 1691472 w 2417203"/>
                  <a:gd name="connsiteY358" fmla="*/ 369454 h 1690080"/>
                  <a:gd name="connsiteX359" fmla="*/ 1691116 w 2417203"/>
                  <a:gd name="connsiteY359" fmla="*/ 368819 h 1690080"/>
                  <a:gd name="connsiteX360" fmla="*/ 1690178 w 2417203"/>
                  <a:gd name="connsiteY360" fmla="*/ 367244 h 1690080"/>
                  <a:gd name="connsiteX361" fmla="*/ 1688998 w 2417203"/>
                  <a:gd name="connsiteY361" fmla="*/ 365804 h 1690080"/>
                  <a:gd name="connsiteX362" fmla="*/ 1665101 w 2417203"/>
                  <a:gd name="connsiteY362" fmla="*/ 319504 h 1690080"/>
                  <a:gd name="connsiteX363" fmla="*/ 1664733 w 2417203"/>
                  <a:gd name="connsiteY363" fmla="*/ 318558 h 1690080"/>
                  <a:gd name="connsiteX364" fmla="*/ 1664733 w 2417203"/>
                  <a:gd name="connsiteY364" fmla="*/ 318513 h 1690080"/>
                  <a:gd name="connsiteX365" fmla="*/ 1661816 w 2417203"/>
                  <a:gd name="connsiteY365" fmla="*/ 309649 h 1690080"/>
                  <a:gd name="connsiteX366" fmla="*/ 1661017 w 2417203"/>
                  <a:gd name="connsiteY366" fmla="*/ 307400 h 1690080"/>
                  <a:gd name="connsiteX367" fmla="*/ 1658353 w 2417203"/>
                  <a:gd name="connsiteY367" fmla="*/ 300161 h 1690080"/>
                  <a:gd name="connsiteX368" fmla="*/ 1694313 w 2417203"/>
                  <a:gd name="connsiteY368" fmla="*/ 282026 h 1690080"/>
                  <a:gd name="connsiteX369" fmla="*/ 1692740 w 2417203"/>
                  <a:gd name="connsiteY369" fmla="*/ 276088 h 1690080"/>
                  <a:gd name="connsiteX370" fmla="*/ 1685092 w 2417203"/>
                  <a:gd name="connsiteY370" fmla="*/ 265603 h 1690080"/>
                  <a:gd name="connsiteX371" fmla="*/ 1683480 w 2417203"/>
                  <a:gd name="connsiteY371" fmla="*/ 263129 h 1690080"/>
                  <a:gd name="connsiteX372" fmla="*/ 1692017 w 2417203"/>
                  <a:gd name="connsiteY372" fmla="*/ 245895 h 1690080"/>
                  <a:gd name="connsiteX373" fmla="*/ 1693057 w 2417203"/>
                  <a:gd name="connsiteY373" fmla="*/ 243780 h 1690080"/>
                  <a:gd name="connsiteX374" fmla="*/ 1671659 w 2417203"/>
                  <a:gd name="connsiteY374" fmla="*/ 235951 h 1690080"/>
                  <a:gd name="connsiteX375" fmla="*/ 1662767 w 2417203"/>
                  <a:gd name="connsiteY375" fmla="*/ 227896 h 1690080"/>
                  <a:gd name="connsiteX376" fmla="*/ 1657097 w 2417203"/>
                  <a:gd name="connsiteY376" fmla="*/ 217952 h 1690080"/>
                  <a:gd name="connsiteX377" fmla="*/ 1656793 w 2417203"/>
                  <a:gd name="connsiteY377" fmla="*/ 217143 h 1690080"/>
                  <a:gd name="connsiteX378" fmla="*/ 1654675 w 2417203"/>
                  <a:gd name="connsiteY378" fmla="*/ 209314 h 1690080"/>
                  <a:gd name="connsiteX379" fmla="*/ 1654269 w 2417203"/>
                  <a:gd name="connsiteY379" fmla="*/ 206838 h 1690080"/>
                  <a:gd name="connsiteX380" fmla="*/ 1621912 w 2417203"/>
                  <a:gd name="connsiteY380" fmla="*/ 198559 h 1690080"/>
                  <a:gd name="connsiteX381" fmla="*/ 1584519 w 2417203"/>
                  <a:gd name="connsiteY381" fmla="*/ 196625 h 1690080"/>
                  <a:gd name="connsiteX382" fmla="*/ 1582324 w 2417203"/>
                  <a:gd name="connsiteY382" fmla="*/ 197884 h 1690080"/>
                  <a:gd name="connsiteX383" fmla="*/ 1579356 w 2417203"/>
                  <a:gd name="connsiteY383" fmla="*/ 199819 h 1690080"/>
                  <a:gd name="connsiteX384" fmla="*/ 1579305 w 2417203"/>
                  <a:gd name="connsiteY384" fmla="*/ 200359 h 1690080"/>
                  <a:gd name="connsiteX385" fmla="*/ 1578950 w 2417203"/>
                  <a:gd name="connsiteY385" fmla="*/ 203599 h 1690080"/>
                  <a:gd name="connsiteX386" fmla="*/ 1578405 w 2417203"/>
                  <a:gd name="connsiteY386" fmla="*/ 208863 h 1690080"/>
                  <a:gd name="connsiteX387" fmla="*/ 1578405 w 2417203"/>
                  <a:gd name="connsiteY387" fmla="*/ 208909 h 1690080"/>
                  <a:gd name="connsiteX388" fmla="*/ 1578050 w 2417203"/>
                  <a:gd name="connsiteY388" fmla="*/ 213318 h 1690080"/>
                  <a:gd name="connsiteX389" fmla="*/ 1577733 w 2417203"/>
                  <a:gd name="connsiteY389" fmla="*/ 220923 h 1690080"/>
                  <a:gd name="connsiteX390" fmla="*/ 1578012 w 2417203"/>
                  <a:gd name="connsiteY390" fmla="*/ 226052 h 1690080"/>
                  <a:gd name="connsiteX391" fmla="*/ 1580117 w 2417203"/>
                  <a:gd name="connsiteY391" fmla="*/ 234420 h 1690080"/>
                  <a:gd name="connsiteX392" fmla="*/ 1591355 w 2417203"/>
                  <a:gd name="connsiteY392" fmla="*/ 249495 h 1690080"/>
                  <a:gd name="connsiteX393" fmla="*/ 1591888 w 2417203"/>
                  <a:gd name="connsiteY393" fmla="*/ 250079 h 1690080"/>
                  <a:gd name="connsiteX394" fmla="*/ 1596391 w 2417203"/>
                  <a:gd name="connsiteY394" fmla="*/ 254623 h 1690080"/>
                  <a:gd name="connsiteX395" fmla="*/ 1596023 w 2417203"/>
                  <a:gd name="connsiteY395" fmla="*/ 256469 h 1690080"/>
                  <a:gd name="connsiteX396" fmla="*/ 1594628 w 2417203"/>
                  <a:gd name="connsiteY396" fmla="*/ 263534 h 1690080"/>
                  <a:gd name="connsiteX397" fmla="*/ 1594412 w 2417203"/>
                  <a:gd name="connsiteY397" fmla="*/ 264613 h 1690080"/>
                  <a:gd name="connsiteX398" fmla="*/ 1593778 w 2417203"/>
                  <a:gd name="connsiteY398" fmla="*/ 267718 h 1690080"/>
                  <a:gd name="connsiteX399" fmla="*/ 1591799 w 2417203"/>
                  <a:gd name="connsiteY399" fmla="*/ 277617 h 1690080"/>
                  <a:gd name="connsiteX400" fmla="*/ 1591520 w 2417203"/>
                  <a:gd name="connsiteY400" fmla="*/ 278967 h 1690080"/>
                  <a:gd name="connsiteX401" fmla="*/ 1572202 w 2417203"/>
                  <a:gd name="connsiteY401" fmla="*/ 282297 h 1690080"/>
                  <a:gd name="connsiteX402" fmla="*/ 1551210 w 2417203"/>
                  <a:gd name="connsiteY402" fmla="*/ 346596 h 1690080"/>
                  <a:gd name="connsiteX403" fmla="*/ 1546263 w 2417203"/>
                  <a:gd name="connsiteY403" fmla="*/ 316043 h 1690080"/>
                  <a:gd name="connsiteX404" fmla="*/ 1543117 w 2417203"/>
                  <a:gd name="connsiteY404" fmla="*/ 353121 h 1690080"/>
                  <a:gd name="connsiteX405" fmla="*/ 1545147 w 2417203"/>
                  <a:gd name="connsiteY405" fmla="*/ 381333 h 1690080"/>
                  <a:gd name="connsiteX406" fmla="*/ 1542039 w 2417203"/>
                  <a:gd name="connsiteY406" fmla="*/ 385158 h 1690080"/>
                  <a:gd name="connsiteX407" fmla="*/ 1536788 w 2417203"/>
                  <a:gd name="connsiteY407" fmla="*/ 389748 h 1690080"/>
                  <a:gd name="connsiteX408" fmla="*/ 1536788 w 2417203"/>
                  <a:gd name="connsiteY408" fmla="*/ 389792 h 1690080"/>
                  <a:gd name="connsiteX409" fmla="*/ 1535799 w 2417203"/>
                  <a:gd name="connsiteY409" fmla="*/ 390554 h 1690080"/>
                  <a:gd name="connsiteX410" fmla="*/ 1534226 w 2417203"/>
                  <a:gd name="connsiteY410" fmla="*/ 391679 h 1690080"/>
                  <a:gd name="connsiteX411" fmla="*/ 1522772 w 2417203"/>
                  <a:gd name="connsiteY411" fmla="*/ 399914 h 1690080"/>
                  <a:gd name="connsiteX412" fmla="*/ 1522277 w 2417203"/>
                  <a:gd name="connsiteY412" fmla="*/ 398744 h 1690080"/>
                  <a:gd name="connsiteX413" fmla="*/ 1511889 w 2417203"/>
                  <a:gd name="connsiteY413" fmla="*/ 376921 h 1690080"/>
                  <a:gd name="connsiteX414" fmla="*/ 1496021 w 2417203"/>
                  <a:gd name="connsiteY414" fmla="*/ 313929 h 1690080"/>
                  <a:gd name="connsiteX415" fmla="*/ 1500930 w 2417203"/>
                  <a:gd name="connsiteY415" fmla="*/ 314289 h 1690080"/>
                  <a:gd name="connsiteX416" fmla="*/ 1502947 w 2417203"/>
                  <a:gd name="connsiteY416" fmla="*/ 314424 h 1690080"/>
                  <a:gd name="connsiteX417" fmla="*/ 1507437 w 2417203"/>
                  <a:gd name="connsiteY417" fmla="*/ 314783 h 1690080"/>
                  <a:gd name="connsiteX418" fmla="*/ 1474864 w 2417203"/>
                  <a:gd name="connsiteY418" fmla="*/ 242250 h 1690080"/>
                  <a:gd name="connsiteX419" fmla="*/ 1470450 w 2417203"/>
                  <a:gd name="connsiteY419" fmla="*/ 238059 h 1690080"/>
                  <a:gd name="connsiteX420" fmla="*/ 1456345 w 2417203"/>
                  <a:gd name="connsiteY420" fmla="*/ 273831 h 1690080"/>
                  <a:gd name="connsiteX421" fmla="*/ 1455850 w 2417203"/>
                  <a:gd name="connsiteY421" fmla="*/ 284451 h 1690080"/>
                  <a:gd name="connsiteX422" fmla="*/ 1454188 w 2417203"/>
                  <a:gd name="connsiteY422" fmla="*/ 292730 h 1690080"/>
                  <a:gd name="connsiteX423" fmla="*/ 1454138 w 2417203"/>
                  <a:gd name="connsiteY423" fmla="*/ 292999 h 1690080"/>
                  <a:gd name="connsiteX424" fmla="*/ 1441695 w 2417203"/>
                  <a:gd name="connsiteY424" fmla="*/ 315902 h 1690080"/>
                  <a:gd name="connsiteX425" fmla="*/ 1440261 w 2417203"/>
                  <a:gd name="connsiteY425" fmla="*/ 317523 h 1690080"/>
                  <a:gd name="connsiteX426" fmla="*/ 1438866 w 2417203"/>
                  <a:gd name="connsiteY426" fmla="*/ 314729 h 1690080"/>
                  <a:gd name="connsiteX427" fmla="*/ 1438727 w 2417203"/>
                  <a:gd name="connsiteY427" fmla="*/ 314458 h 1690080"/>
                  <a:gd name="connsiteX428" fmla="*/ 1428389 w 2417203"/>
                  <a:gd name="connsiteY428" fmla="*/ 256278 h 1690080"/>
                  <a:gd name="connsiteX429" fmla="*/ 1416390 w 2417203"/>
                  <a:gd name="connsiteY429" fmla="*/ 239361 h 1690080"/>
                  <a:gd name="connsiteX430" fmla="*/ 1414183 w 2417203"/>
                  <a:gd name="connsiteY430" fmla="*/ 237696 h 1690080"/>
                  <a:gd name="connsiteX431" fmla="*/ 1430913 w 2417203"/>
                  <a:gd name="connsiteY431" fmla="*/ 222487 h 1690080"/>
                  <a:gd name="connsiteX432" fmla="*/ 1432308 w 2417203"/>
                  <a:gd name="connsiteY432" fmla="*/ 221228 h 1690080"/>
                  <a:gd name="connsiteX433" fmla="*/ 1415717 w 2417203"/>
                  <a:gd name="connsiteY433" fmla="*/ 215422 h 1690080"/>
                  <a:gd name="connsiteX434" fmla="*/ 1406915 w 2417203"/>
                  <a:gd name="connsiteY434" fmla="*/ 212273 h 1690080"/>
                  <a:gd name="connsiteX435" fmla="*/ 1397300 w 2417203"/>
                  <a:gd name="connsiteY435" fmla="*/ 216817 h 1690080"/>
                  <a:gd name="connsiteX436" fmla="*/ 1386239 w 2417203"/>
                  <a:gd name="connsiteY436" fmla="*/ 212407 h 1690080"/>
                  <a:gd name="connsiteX437" fmla="*/ 1385783 w 2417203"/>
                  <a:gd name="connsiteY437" fmla="*/ 212183 h 1690080"/>
                  <a:gd name="connsiteX438" fmla="*/ 1379631 w 2417203"/>
                  <a:gd name="connsiteY438" fmla="*/ 208762 h 1690080"/>
                  <a:gd name="connsiteX439" fmla="*/ 1377386 w 2417203"/>
                  <a:gd name="connsiteY439" fmla="*/ 207503 h 1690080"/>
                  <a:gd name="connsiteX440" fmla="*/ 1375407 w 2417203"/>
                  <a:gd name="connsiteY440" fmla="*/ 206333 h 1690080"/>
                  <a:gd name="connsiteX441" fmla="*/ 1372807 w 2417203"/>
                  <a:gd name="connsiteY441" fmla="*/ 204848 h 1690080"/>
                  <a:gd name="connsiteX442" fmla="*/ 1368443 w 2417203"/>
                  <a:gd name="connsiteY442" fmla="*/ 202283 h 1690080"/>
                  <a:gd name="connsiteX443" fmla="*/ 1389423 w 2417203"/>
                  <a:gd name="connsiteY443" fmla="*/ 176322 h 1690080"/>
                  <a:gd name="connsiteX444" fmla="*/ 1389030 w 2417203"/>
                  <a:gd name="connsiteY444" fmla="*/ 175961 h 1690080"/>
                  <a:gd name="connsiteX445" fmla="*/ 1382066 w 2417203"/>
                  <a:gd name="connsiteY445" fmla="*/ 170246 h 1690080"/>
                  <a:gd name="connsiteX446" fmla="*/ 1377386 w 2417203"/>
                  <a:gd name="connsiteY446" fmla="*/ 166377 h 1690080"/>
                  <a:gd name="connsiteX447" fmla="*/ 1379314 w 2417203"/>
                  <a:gd name="connsiteY447" fmla="*/ 162193 h 1690080"/>
                  <a:gd name="connsiteX448" fmla="*/ 1384083 w 2417203"/>
                  <a:gd name="connsiteY448" fmla="*/ 162777 h 1690080"/>
                  <a:gd name="connsiteX449" fmla="*/ 1386645 w 2417203"/>
                  <a:gd name="connsiteY449" fmla="*/ 163138 h 1690080"/>
                  <a:gd name="connsiteX450" fmla="*/ 1402462 w 2417203"/>
                  <a:gd name="connsiteY450" fmla="*/ 165162 h 1690080"/>
                  <a:gd name="connsiteX451" fmla="*/ 1397249 w 2417203"/>
                  <a:gd name="connsiteY451" fmla="*/ 157062 h 1690080"/>
                  <a:gd name="connsiteX452" fmla="*/ 1394548 w 2417203"/>
                  <a:gd name="connsiteY452" fmla="*/ 152968 h 1690080"/>
                  <a:gd name="connsiteX453" fmla="*/ 1376396 w 2417203"/>
                  <a:gd name="connsiteY453" fmla="*/ 124756 h 1690080"/>
                  <a:gd name="connsiteX454" fmla="*/ 1375369 w 2417203"/>
                  <a:gd name="connsiteY454" fmla="*/ 123091 h 1690080"/>
                  <a:gd name="connsiteX455" fmla="*/ 1374468 w 2417203"/>
                  <a:gd name="connsiteY455" fmla="*/ 121606 h 1690080"/>
                  <a:gd name="connsiteX456" fmla="*/ 1374101 w 2417203"/>
                  <a:gd name="connsiteY456" fmla="*/ 121021 h 1690080"/>
                  <a:gd name="connsiteX457" fmla="*/ 1372579 w 2417203"/>
                  <a:gd name="connsiteY457" fmla="*/ 118366 h 1690080"/>
                  <a:gd name="connsiteX458" fmla="*/ 1370650 w 2417203"/>
                  <a:gd name="connsiteY458" fmla="*/ 115082 h 1690080"/>
                  <a:gd name="connsiteX459" fmla="*/ 1367822 w 2417203"/>
                  <a:gd name="connsiteY459" fmla="*/ 109097 h 1690080"/>
                  <a:gd name="connsiteX460" fmla="*/ 1365615 w 2417203"/>
                  <a:gd name="connsiteY460" fmla="*/ 93664 h 1690080"/>
                  <a:gd name="connsiteX461" fmla="*/ 1355506 w 2417203"/>
                  <a:gd name="connsiteY461" fmla="*/ 54471 h 1690080"/>
                  <a:gd name="connsiteX462" fmla="*/ 1355468 w 2417203"/>
                  <a:gd name="connsiteY462" fmla="*/ 54381 h 1690080"/>
                  <a:gd name="connsiteX463" fmla="*/ 1345219 w 2417203"/>
                  <a:gd name="connsiteY463" fmla="*/ 40703 h 1690080"/>
                  <a:gd name="connsiteX464" fmla="*/ 1338788 w 2417203"/>
                  <a:gd name="connsiteY464" fmla="*/ 31343 h 1690080"/>
                  <a:gd name="connsiteX465" fmla="*/ 1338433 w 2417203"/>
                  <a:gd name="connsiteY465" fmla="*/ 30894 h 1690080"/>
                  <a:gd name="connsiteX466" fmla="*/ 1324226 w 2417203"/>
                  <a:gd name="connsiteY466" fmla="*/ 24639 h 1690080"/>
                  <a:gd name="connsiteX467" fmla="*/ 1323288 w 2417203"/>
                  <a:gd name="connsiteY467" fmla="*/ 24370 h 1690080"/>
                  <a:gd name="connsiteX468" fmla="*/ 1321487 w 2417203"/>
                  <a:gd name="connsiteY468" fmla="*/ 23875 h 1690080"/>
                  <a:gd name="connsiteX469" fmla="*/ 1317174 w 2417203"/>
                  <a:gd name="connsiteY469" fmla="*/ 22570 h 1690080"/>
                  <a:gd name="connsiteX470" fmla="*/ 1315956 w 2417203"/>
                  <a:gd name="connsiteY470" fmla="*/ 22165 h 1690080"/>
                  <a:gd name="connsiteX471" fmla="*/ 1316147 w 2417203"/>
                  <a:gd name="connsiteY471" fmla="*/ 21445 h 1690080"/>
                  <a:gd name="connsiteX472" fmla="*/ 1318696 w 2417203"/>
                  <a:gd name="connsiteY472" fmla="*/ 9206 h 1690080"/>
                  <a:gd name="connsiteX473" fmla="*/ 1319153 w 2417203"/>
                  <a:gd name="connsiteY473" fmla="*/ 7631 h 1690080"/>
                  <a:gd name="connsiteX474" fmla="*/ 1319153 w 2417203"/>
                  <a:gd name="connsiteY474" fmla="*/ 7606 h 1690080"/>
                  <a:gd name="connsiteX475" fmla="*/ 1322742 w 2417203"/>
                  <a:gd name="connsiteY475" fmla="*/ 1845 h 1690080"/>
                  <a:gd name="connsiteX476" fmla="*/ 1325355 w 2417203"/>
                  <a:gd name="connsiteY476" fmla="*/ 1 h 1690080"/>
                  <a:gd name="connsiteX477" fmla="*/ 1305175 w 2417203"/>
                  <a:gd name="connsiteY477" fmla="*/ 1 h 1690080"/>
                  <a:gd name="connsiteX478" fmla="*/ 1304274 w 2417203"/>
                  <a:gd name="connsiteY478" fmla="*/ 7155 h 1690080"/>
                  <a:gd name="connsiteX479" fmla="*/ 1282039 w 2417203"/>
                  <a:gd name="connsiteY479" fmla="*/ 40186 h 1690080"/>
                  <a:gd name="connsiteX480" fmla="*/ 1284994 w 2417203"/>
                  <a:gd name="connsiteY480" fmla="*/ 44235 h 1690080"/>
                  <a:gd name="connsiteX481" fmla="*/ 1290702 w 2417203"/>
                  <a:gd name="connsiteY481" fmla="*/ 53370 h 1690080"/>
                  <a:gd name="connsiteX482" fmla="*/ 1290702 w 2417203"/>
                  <a:gd name="connsiteY482" fmla="*/ 53415 h 1690080"/>
                  <a:gd name="connsiteX483" fmla="*/ 1288457 w 2417203"/>
                  <a:gd name="connsiteY483" fmla="*/ 65158 h 1690080"/>
                  <a:gd name="connsiteX484" fmla="*/ 1275024 w 2417203"/>
                  <a:gd name="connsiteY484" fmla="*/ 59804 h 1690080"/>
                  <a:gd name="connsiteX485" fmla="*/ 1265004 w 2417203"/>
                  <a:gd name="connsiteY485" fmla="*/ 107725 h 1690080"/>
                  <a:gd name="connsiteX486" fmla="*/ 1276052 w 2417203"/>
                  <a:gd name="connsiteY486" fmla="*/ 126983 h 1690080"/>
                  <a:gd name="connsiteX487" fmla="*/ 1275608 w 2417203"/>
                  <a:gd name="connsiteY487" fmla="*/ 127618 h 1690080"/>
                  <a:gd name="connsiteX488" fmla="*/ 1268010 w 2417203"/>
                  <a:gd name="connsiteY488" fmla="*/ 176035 h 1690080"/>
                  <a:gd name="connsiteX489" fmla="*/ 1268061 w 2417203"/>
                  <a:gd name="connsiteY489" fmla="*/ 176214 h 1690080"/>
                  <a:gd name="connsiteX490" fmla="*/ 1294482 w 2417203"/>
                  <a:gd name="connsiteY490" fmla="*/ 201457 h 1690080"/>
                  <a:gd name="connsiteX491" fmla="*/ 1317808 w 2417203"/>
                  <a:gd name="connsiteY491" fmla="*/ 209601 h 1690080"/>
                  <a:gd name="connsiteX492" fmla="*/ 1317846 w 2417203"/>
                  <a:gd name="connsiteY492" fmla="*/ 209646 h 1690080"/>
                  <a:gd name="connsiteX493" fmla="*/ 1318214 w 2417203"/>
                  <a:gd name="connsiteY493" fmla="*/ 210186 h 1690080"/>
                  <a:gd name="connsiteX494" fmla="*/ 1323783 w 2417203"/>
                  <a:gd name="connsiteY494" fmla="*/ 218016 h 1690080"/>
                  <a:gd name="connsiteX495" fmla="*/ 1323833 w 2417203"/>
                  <a:gd name="connsiteY495" fmla="*/ 218060 h 1690080"/>
                  <a:gd name="connsiteX496" fmla="*/ 1351561 w 2417203"/>
                  <a:gd name="connsiteY496" fmla="*/ 216441 h 1690080"/>
                  <a:gd name="connsiteX497" fmla="*/ 1349848 w 2417203"/>
                  <a:gd name="connsiteY497" fmla="*/ 222200 h 1690080"/>
                  <a:gd name="connsiteX498" fmla="*/ 1347921 w 2417203"/>
                  <a:gd name="connsiteY498" fmla="*/ 228769 h 1690080"/>
                  <a:gd name="connsiteX499" fmla="*/ 1345853 w 2417203"/>
                  <a:gd name="connsiteY499" fmla="*/ 235699 h 1690080"/>
                  <a:gd name="connsiteX500" fmla="*/ 1344407 w 2417203"/>
                  <a:gd name="connsiteY500" fmla="*/ 240652 h 1690080"/>
                  <a:gd name="connsiteX501" fmla="*/ 1342796 w 2417203"/>
                  <a:gd name="connsiteY501" fmla="*/ 239890 h 1690080"/>
                  <a:gd name="connsiteX502" fmla="*/ 1333765 w 2417203"/>
                  <a:gd name="connsiteY502" fmla="*/ 235525 h 1690080"/>
                  <a:gd name="connsiteX503" fmla="*/ 1331735 w 2417203"/>
                  <a:gd name="connsiteY503" fmla="*/ 234580 h 1690080"/>
                  <a:gd name="connsiteX504" fmla="*/ 1330657 w 2417203"/>
                  <a:gd name="connsiteY504" fmla="*/ 238089 h 1690080"/>
                  <a:gd name="connsiteX505" fmla="*/ 1328273 w 2417203"/>
                  <a:gd name="connsiteY505" fmla="*/ 245874 h 1690080"/>
                  <a:gd name="connsiteX506" fmla="*/ 1322108 w 2417203"/>
                  <a:gd name="connsiteY506" fmla="*/ 266122 h 1690080"/>
                  <a:gd name="connsiteX507" fmla="*/ 1319774 w 2417203"/>
                  <a:gd name="connsiteY507" fmla="*/ 273727 h 1690080"/>
                  <a:gd name="connsiteX508" fmla="*/ 1319279 w 2417203"/>
                  <a:gd name="connsiteY508" fmla="*/ 275392 h 1690080"/>
                  <a:gd name="connsiteX509" fmla="*/ 1319863 w 2417203"/>
                  <a:gd name="connsiteY509" fmla="*/ 275617 h 1690080"/>
                  <a:gd name="connsiteX510" fmla="*/ 1340982 w 2417203"/>
                  <a:gd name="connsiteY510" fmla="*/ 260048 h 1690080"/>
                  <a:gd name="connsiteX511" fmla="*/ 1341794 w 2417203"/>
                  <a:gd name="connsiteY511" fmla="*/ 260048 h 1690080"/>
                  <a:gd name="connsiteX512" fmla="*/ 1343278 w 2417203"/>
                  <a:gd name="connsiteY512" fmla="*/ 260228 h 1690080"/>
                  <a:gd name="connsiteX513" fmla="*/ 1343633 w 2417203"/>
                  <a:gd name="connsiteY513" fmla="*/ 263917 h 1690080"/>
                  <a:gd name="connsiteX514" fmla="*/ 1345980 w 2417203"/>
                  <a:gd name="connsiteY514" fmla="*/ 286904 h 1690080"/>
                  <a:gd name="connsiteX515" fmla="*/ 1345980 w 2417203"/>
                  <a:gd name="connsiteY515" fmla="*/ 286949 h 1690080"/>
                  <a:gd name="connsiteX516" fmla="*/ 1346475 w 2417203"/>
                  <a:gd name="connsiteY516" fmla="*/ 291809 h 1690080"/>
                  <a:gd name="connsiteX517" fmla="*/ 1346652 w 2417203"/>
                  <a:gd name="connsiteY517" fmla="*/ 293563 h 1690080"/>
                  <a:gd name="connsiteX518" fmla="*/ 1306697 w 2417203"/>
                  <a:gd name="connsiteY518" fmla="*/ 334599 h 1690080"/>
                  <a:gd name="connsiteX519" fmla="*/ 1300228 w 2417203"/>
                  <a:gd name="connsiteY519" fmla="*/ 335590 h 1690080"/>
                  <a:gd name="connsiteX520" fmla="*/ 1296676 w 2417203"/>
                  <a:gd name="connsiteY520" fmla="*/ 335545 h 1690080"/>
                  <a:gd name="connsiteX521" fmla="*/ 1291235 w 2417203"/>
                  <a:gd name="connsiteY521" fmla="*/ 357817 h 1690080"/>
                  <a:gd name="connsiteX522" fmla="*/ 1293975 w 2417203"/>
                  <a:gd name="connsiteY522" fmla="*/ 368032 h 1690080"/>
                  <a:gd name="connsiteX523" fmla="*/ 1293975 w 2417203"/>
                  <a:gd name="connsiteY523" fmla="*/ 368076 h 1690080"/>
                  <a:gd name="connsiteX524" fmla="*/ 1298021 w 2417203"/>
                  <a:gd name="connsiteY524" fmla="*/ 381890 h 1690080"/>
                  <a:gd name="connsiteX525" fmla="*/ 1298160 w 2417203"/>
                  <a:gd name="connsiteY525" fmla="*/ 382652 h 1690080"/>
                  <a:gd name="connsiteX526" fmla="*/ 1295915 w 2417203"/>
                  <a:gd name="connsiteY526" fmla="*/ 400290 h 1690080"/>
                  <a:gd name="connsiteX527" fmla="*/ 1294520 w 2417203"/>
                  <a:gd name="connsiteY527" fmla="*/ 400019 h 1690080"/>
                  <a:gd name="connsiteX528" fmla="*/ 1293391 w 2417203"/>
                  <a:gd name="connsiteY528" fmla="*/ 399616 h 1690080"/>
                  <a:gd name="connsiteX529" fmla="*/ 1293353 w 2417203"/>
                  <a:gd name="connsiteY529" fmla="*/ 399616 h 1690080"/>
                  <a:gd name="connsiteX530" fmla="*/ 1289802 w 2417203"/>
                  <a:gd name="connsiteY530" fmla="*/ 397050 h 1690080"/>
                  <a:gd name="connsiteX531" fmla="*/ 1284677 w 2417203"/>
                  <a:gd name="connsiteY531" fmla="*/ 392460 h 1690080"/>
                  <a:gd name="connsiteX532" fmla="*/ 1275100 w 2417203"/>
                  <a:gd name="connsiteY532" fmla="*/ 392731 h 1690080"/>
                  <a:gd name="connsiteX533" fmla="*/ 1275050 w 2417203"/>
                  <a:gd name="connsiteY533" fmla="*/ 392551 h 1690080"/>
                  <a:gd name="connsiteX534" fmla="*/ 1267465 w 2417203"/>
                  <a:gd name="connsiteY534" fmla="*/ 365013 h 1690080"/>
                  <a:gd name="connsiteX535" fmla="*/ 1276179 w 2417203"/>
                  <a:gd name="connsiteY535" fmla="*/ 324562 h 1690080"/>
                  <a:gd name="connsiteX536" fmla="*/ 1277308 w 2417203"/>
                  <a:gd name="connsiteY536" fmla="*/ 319927 h 1690080"/>
                  <a:gd name="connsiteX537" fmla="*/ 1262289 w 2417203"/>
                  <a:gd name="connsiteY537" fmla="*/ 330051 h 1690080"/>
                  <a:gd name="connsiteX538" fmla="*/ 1260894 w 2417203"/>
                  <a:gd name="connsiteY538" fmla="*/ 330996 h 1690080"/>
                  <a:gd name="connsiteX539" fmla="*/ 1254552 w 2417203"/>
                  <a:gd name="connsiteY539" fmla="*/ 321725 h 1690080"/>
                  <a:gd name="connsiteX540" fmla="*/ 1251990 w 2417203"/>
                  <a:gd name="connsiteY540" fmla="*/ 317900 h 1690080"/>
                  <a:gd name="connsiteX541" fmla="*/ 1242819 w 2417203"/>
                  <a:gd name="connsiteY541" fmla="*/ 305571 h 1690080"/>
                  <a:gd name="connsiteX542" fmla="*/ 1241348 w 2417203"/>
                  <a:gd name="connsiteY542" fmla="*/ 303952 h 1690080"/>
                  <a:gd name="connsiteX543" fmla="*/ 1231226 w 2417203"/>
                  <a:gd name="connsiteY543" fmla="*/ 301207 h 1690080"/>
                  <a:gd name="connsiteX544" fmla="*/ 1225708 w 2417203"/>
                  <a:gd name="connsiteY544" fmla="*/ 305751 h 1690080"/>
                  <a:gd name="connsiteX545" fmla="*/ 1215992 w 2417203"/>
                  <a:gd name="connsiteY545" fmla="*/ 311735 h 1690080"/>
                  <a:gd name="connsiteX546" fmla="*/ 1211147 w 2417203"/>
                  <a:gd name="connsiteY546" fmla="*/ 312185 h 1690080"/>
                  <a:gd name="connsiteX547" fmla="*/ 1211147 w 2417203"/>
                  <a:gd name="connsiteY547" fmla="*/ 312231 h 1690080"/>
                  <a:gd name="connsiteX548" fmla="*/ 1209840 w 2417203"/>
                  <a:gd name="connsiteY548" fmla="*/ 312411 h 1690080"/>
                  <a:gd name="connsiteX549" fmla="*/ 1209701 w 2417203"/>
                  <a:gd name="connsiteY549" fmla="*/ 312455 h 1690080"/>
                  <a:gd name="connsiteX550" fmla="*/ 1209574 w 2417203"/>
                  <a:gd name="connsiteY550" fmla="*/ 313896 h 1690080"/>
                  <a:gd name="connsiteX551" fmla="*/ 1208673 w 2417203"/>
                  <a:gd name="connsiteY551" fmla="*/ 322129 h 1690080"/>
                  <a:gd name="connsiteX552" fmla="*/ 1207418 w 2417203"/>
                  <a:gd name="connsiteY552" fmla="*/ 334233 h 1690080"/>
                  <a:gd name="connsiteX553" fmla="*/ 1206022 w 2417203"/>
                  <a:gd name="connsiteY553" fmla="*/ 346697 h 1690080"/>
                  <a:gd name="connsiteX554" fmla="*/ 1205439 w 2417203"/>
                  <a:gd name="connsiteY554" fmla="*/ 352276 h 1690080"/>
                  <a:gd name="connsiteX555" fmla="*/ 1178828 w 2417203"/>
                  <a:gd name="connsiteY555" fmla="*/ 354481 h 1690080"/>
                  <a:gd name="connsiteX556" fmla="*/ 1136006 w 2417203"/>
                  <a:gd name="connsiteY556" fmla="*/ 354481 h 1690080"/>
                  <a:gd name="connsiteX557" fmla="*/ 1112591 w 2417203"/>
                  <a:gd name="connsiteY557" fmla="*/ 359341 h 1690080"/>
                  <a:gd name="connsiteX558" fmla="*/ 1108633 w 2417203"/>
                  <a:gd name="connsiteY558" fmla="*/ 358981 h 1690080"/>
                  <a:gd name="connsiteX559" fmla="*/ 1080677 w 2417203"/>
                  <a:gd name="connsiteY559" fmla="*/ 345708 h 1690080"/>
                  <a:gd name="connsiteX560" fmla="*/ 1076276 w 2417203"/>
                  <a:gd name="connsiteY560" fmla="*/ 342017 h 1690080"/>
                  <a:gd name="connsiteX561" fmla="*/ 1076187 w 2417203"/>
                  <a:gd name="connsiteY561" fmla="*/ 341973 h 1690080"/>
                  <a:gd name="connsiteX562" fmla="*/ 1064137 w 2417203"/>
                  <a:gd name="connsiteY562" fmla="*/ 334773 h 1690080"/>
                  <a:gd name="connsiteX563" fmla="*/ 1048447 w 2417203"/>
                  <a:gd name="connsiteY563" fmla="*/ 333648 h 1690080"/>
                  <a:gd name="connsiteX564" fmla="*/ 1039378 w 2417203"/>
                  <a:gd name="connsiteY564" fmla="*/ 332124 h 1690080"/>
                  <a:gd name="connsiteX565" fmla="*/ 1034482 w 2417203"/>
                  <a:gd name="connsiteY565" fmla="*/ 329153 h 1690080"/>
                  <a:gd name="connsiteX566" fmla="*/ 1028051 w 2417203"/>
                  <a:gd name="connsiteY566" fmla="*/ 323799 h 1690080"/>
                  <a:gd name="connsiteX567" fmla="*/ 1027290 w 2417203"/>
                  <a:gd name="connsiteY567" fmla="*/ 323164 h 1690080"/>
                  <a:gd name="connsiteX568" fmla="*/ 1023599 w 2417203"/>
                  <a:gd name="connsiteY568" fmla="*/ 319924 h 1690080"/>
                  <a:gd name="connsiteX569" fmla="*/ 1017256 w 2417203"/>
                  <a:gd name="connsiteY569" fmla="*/ 314209 h 1690080"/>
                  <a:gd name="connsiteX570" fmla="*/ 1012310 w 2417203"/>
                  <a:gd name="connsiteY570" fmla="*/ 309664 h 1690080"/>
                  <a:gd name="connsiteX571" fmla="*/ 1009621 w 2417203"/>
                  <a:gd name="connsiteY571" fmla="*/ 307144 h 1690080"/>
                  <a:gd name="connsiteX572" fmla="*/ 1004813 w 2417203"/>
                  <a:gd name="connsiteY572" fmla="*/ 302826 h 1690080"/>
                  <a:gd name="connsiteX573" fmla="*/ 1003507 w 2417203"/>
                  <a:gd name="connsiteY573" fmla="*/ 301611 h 1690080"/>
                  <a:gd name="connsiteX574" fmla="*/ 945578 w 2417203"/>
                  <a:gd name="connsiteY574" fmla="*/ 339993 h 1690080"/>
                  <a:gd name="connsiteX575" fmla="*/ 945312 w 2417203"/>
                  <a:gd name="connsiteY575" fmla="*/ 340533 h 1690080"/>
                  <a:gd name="connsiteX576" fmla="*/ 944944 w 2417203"/>
                  <a:gd name="connsiteY576" fmla="*/ 341208 h 1690080"/>
                  <a:gd name="connsiteX577" fmla="*/ 944944 w 2417203"/>
                  <a:gd name="connsiteY577" fmla="*/ 341253 h 1690080"/>
                  <a:gd name="connsiteX578" fmla="*/ 939020 w 2417203"/>
                  <a:gd name="connsiteY578" fmla="*/ 353132 h 1690080"/>
                  <a:gd name="connsiteX579" fmla="*/ 940048 w 2417203"/>
                  <a:gd name="connsiteY579" fmla="*/ 356641 h 1690080"/>
                  <a:gd name="connsiteX580" fmla="*/ 943282 w 2417203"/>
                  <a:gd name="connsiteY580" fmla="*/ 367576 h 1690080"/>
                  <a:gd name="connsiteX581" fmla="*/ 948356 w 2417203"/>
                  <a:gd name="connsiteY581" fmla="*/ 384403 h 1690080"/>
                  <a:gd name="connsiteX582" fmla="*/ 948762 w 2417203"/>
                  <a:gd name="connsiteY582" fmla="*/ 385753 h 1690080"/>
                  <a:gd name="connsiteX583" fmla="*/ 950335 w 2417203"/>
                  <a:gd name="connsiteY583" fmla="*/ 390524 h 1690080"/>
                  <a:gd name="connsiteX584" fmla="*/ 953937 w 2417203"/>
                  <a:gd name="connsiteY584" fmla="*/ 416352 h 1690080"/>
                  <a:gd name="connsiteX585" fmla="*/ 951641 w 2417203"/>
                  <a:gd name="connsiteY585" fmla="*/ 419995 h 1690080"/>
                  <a:gd name="connsiteX586" fmla="*/ 950297 w 2417203"/>
                  <a:gd name="connsiteY586" fmla="*/ 421750 h 1690080"/>
                  <a:gd name="connsiteX587" fmla="*/ 948039 w 2417203"/>
                  <a:gd name="connsiteY587" fmla="*/ 424360 h 1690080"/>
                  <a:gd name="connsiteX588" fmla="*/ 941037 w 2417203"/>
                  <a:gd name="connsiteY588" fmla="*/ 431599 h 1690080"/>
                  <a:gd name="connsiteX589" fmla="*/ 940048 w 2417203"/>
                  <a:gd name="connsiteY589" fmla="*/ 432634 h 1690080"/>
                  <a:gd name="connsiteX590" fmla="*/ 936230 w 2417203"/>
                  <a:gd name="connsiteY590" fmla="*/ 425705 h 1690080"/>
                  <a:gd name="connsiteX591" fmla="*/ 935596 w 2417203"/>
                  <a:gd name="connsiteY591" fmla="*/ 424580 h 1690080"/>
                  <a:gd name="connsiteX592" fmla="*/ 929482 w 2417203"/>
                  <a:gd name="connsiteY592" fmla="*/ 413466 h 1690080"/>
                  <a:gd name="connsiteX593" fmla="*/ 927592 w 2417203"/>
                  <a:gd name="connsiteY593" fmla="*/ 410002 h 1690080"/>
                  <a:gd name="connsiteX594" fmla="*/ 928087 w 2417203"/>
                  <a:gd name="connsiteY594" fmla="*/ 409462 h 1690080"/>
                  <a:gd name="connsiteX595" fmla="*/ 927998 w 2417203"/>
                  <a:gd name="connsiteY595" fmla="*/ 383993 h 1690080"/>
                  <a:gd name="connsiteX596" fmla="*/ 927592 w 2417203"/>
                  <a:gd name="connsiteY596" fmla="*/ 383768 h 1690080"/>
                  <a:gd name="connsiteX597" fmla="*/ 925981 w 2417203"/>
                  <a:gd name="connsiteY597" fmla="*/ 382779 h 1690080"/>
                  <a:gd name="connsiteX598" fmla="*/ 918967 w 2417203"/>
                  <a:gd name="connsiteY598" fmla="*/ 379630 h 1690080"/>
                  <a:gd name="connsiteX599" fmla="*/ 912181 w 2417203"/>
                  <a:gd name="connsiteY599" fmla="*/ 376165 h 1690080"/>
                  <a:gd name="connsiteX600" fmla="*/ 906473 w 2417203"/>
                  <a:gd name="connsiteY600" fmla="*/ 362847 h 1690080"/>
                  <a:gd name="connsiteX601" fmla="*/ 905483 w 2417203"/>
                  <a:gd name="connsiteY601" fmla="*/ 361226 h 1690080"/>
                  <a:gd name="connsiteX602" fmla="*/ 902832 w 2417203"/>
                  <a:gd name="connsiteY602" fmla="*/ 359651 h 1690080"/>
                  <a:gd name="connsiteX603" fmla="*/ 900803 w 2417203"/>
                  <a:gd name="connsiteY603" fmla="*/ 359832 h 1690080"/>
                  <a:gd name="connsiteX604" fmla="*/ 899940 w 2417203"/>
                  <a:gd name="connsiteY604" fmla="*/ 359876 h 1690080"/>
                  <a:gd name="connsiteX605" fmla="*/ 892178 w 2417203"/>
                  <a:gd name="connsiteY605" fmla="*/ 357581 h 1690080"/>
                  <a:gd name="connsiteX606" fmla="*/ 885290 w 2417203"/>
                  <a:gd name="connsiteY606" fmla="*/ 351011 h 1690080"/>
                  <a:gd name="connsiteX607" fmla="*/ 883679 w 2417203"/>
                  <a:gd name="connsiteY607" fmla="*/ 349033 h 1690080"/>
                  <a:gd name="connsiteX608" fmla="*/ 877832 w 2417203"/>
                  <a:gd name="connsiteY608" fmla="*/ 342822 h 1690080"/>
                  <a:gd name="connsiteX609" fmla="*/ 873976 w 2417203"/>
                  <a:gd name="connsiteY609" fmla="*/ 340842 h 1690080"/>
                  <a:gd name="connsiteX610" fmla="*/ 726395 w 2417203"/>
                  <a:gd name="connsiteY610" fmla="*/ 347097 h 1690080"/>
                  <a:gd name="connsiteX611" fmla="*/ 723148 w 2417203"/>
                  <a:gd name="connsiteY611" fmla="*/ 345928 h 1690080"/>
                  <a:gd name="connsiteX612" fmla="*/ 738077 w 2417203"/>
                  <a:gd name="connsiteY612" fmla="*/ 322754 h 1690080"/>
                  <a:gd name="connsiteX613" fmla="*/ 742834 w 2417203"/>
                  <a:gd name="connsiteY613" fmla="*/ 319833 h 1690080"/>
                  <a:gd name="connsiteX614" fmla="*/ 743012 w 2417203"/>
                  <a:gd name="connsiteY614" fmla="*/ 319787 h 1690080"/>
                  <a:gd name="connsiteX615" fmla="*/ 763192 w 2417203"/>
                  <a:gd name="connsiteY615" fmla="*/ 312723 h 1690080"/>
                  <a:gd name="connsiteX616" fmla="*/ 747159 w 2417203"/>
                  <a:gd name="connsiteY616" fmla="*/ 279962 h 1690080"/>
                  <a:gd name="connsiteX617" fmla="*/ 722260 w 2417203"/>
                  <a:gd name="connsiteY617" fmla="*/ 264348 h 1690080"/>
                  <a:gd name="connsiteX618" fmla="*/ 717098 w 2417203"/>
                  <a:gd name="connsiteY618" fmla="*/ 263854 h 1690080"/>
                  <a:gd name="connsiteX619" fmla="*/ 715436 w 2417203"/>
                  <a:gd name="connsiteY619" fmla="*/ 263988 h 1690080"/>
                  <a:gd name="connsiteX620" fmla="*/ 712151 w 2417203"/>
                  <a:gd name="connsiteY620" fmla="*/ 265068 h 1690080"/>
                  <a:gd name="connsiteX621" fmla="*/ 710578 w 2417203"/>
                  <a:gd name="connsiteY621" fmla="*/ 265968 h 1690080"/>
                  <a:gd name="connsiteX622" fmla="*/ 705187 w 2417203"/>
                  <a:gd name="connsiteY622" fmla="*/ 268398 h 1690080"/>
                  <a:gd name="connsiteX623" fmla="*/ 667566 w 2417203"/>
                  <a:gd name="connsiteY623" fmla="*/ 263178 h 1690080"/>
                  <a:gd name="connsiteX624" fmla="*/ 611667 w 2417203"/>
                  <a:gd name="connsiteY624" fmla="*/ 234425 h 1690080"/>
                  <a:gd name="connsiteX625" fmla="*/ 592564 w 2417203"/>
                  <a:gd name="connsiteY625" fmla="*/ 229296 h 1690080"/>
                  <a:gd name="connsiteX626" fmla="*/ 580515 w 2417203"/>
                  <a:gd name="connsiteY626" fmla="*/ 219712 h 1690080"/>
                  <a:gd name="connsiteX627" fmla="*/ 576291 w 2417203"/>
                  <a:gd name="connsiteY627" fmla="*/ 214538 h 1690080"/>
                  <a:gd name="connsiteX628" fmla="*/ 511348 w 2417203"/>
                  <a:gd name="connsiteY628" fmla="*/ 196584 h 1690080"/>
                  <a:gd name="connsiteX629" fmla="*/ 473739 w 2417203"/>
                  <a:gd name="connsiteY629" fmla="*/ 228172 h 1690080"/>
                  <a:gd name="connsiteX630" fmla="*/ 469021 w 2417203"/>
                  <a:gd name="connsiteY630" fmla="*/ 227227 h 1690080"/>
                  <a:gd name="connsiteX631" fmla="*/ 473511 w 2417203"/>
                  <a:gd name="connsiteY631" fmla="*/ 205539 h 1690080"/>
                  <a:gd name="connsiteX632" fmla="*/ 472877 w 2417203"/>
                  <a:gd name="connsiteY632" fmla="*/ 202659 h 1690080"/>
                  <a:gd name="connsiteX633" fmla="*/ 466446 w 2417203"/>
                  <a:gd name="connsiteY633" fmla="*/ 184885 h 1690080"/>
                  <a:gd name="connsiteX634" fmla="*/ 465862 w 2417203"/>
                  <a:gd name="connsiteY634" fmla="*/ 183488 h 1690080"/>
                  <a:gd name="connsiteX635" fmla="*/ 463795 w 2417203"/>
                  <a:gd name="connsiteY635" fmla="*/ 178224 h 1690080"/>
                  <a:gd name="connsiteX636" fmla="*/ 461727 w 2417203"/>
                  <a:gd name="connsiteY636" fmla="*/ 181508 h 1690080"/>
                  <a:gd name="connsiteX637" fmla="*/ 452747 w 2417203"/>
                  <a:gd name="connsiteY637" fmla="*/ 196132 h 1690080"/>
                  <a:gd name="connsiteX638" fmla="*/ 450768 w 2417203"/>
                  <a:gd name="connsiteY638" fmla="*/ 200046 h 1690080"/>
                  <a:gd name="connsiteX639" fmla="*/ 447255 w 2417203"/>
                  <a:gd name="connsiteY639" fmla="*/ 211026 h 1690080"/>
                  <a:gd name="connsiteX640" fmla="*/ 446950 w 2417203"/>
                  <a:gd name="connsiteY640" fmla="*/ 214895 h 1690080"/>
                  <a:gd name="connsiteX641" fmla="*/ 448155 w 2417203"/>
                  <a:gd name="connsiteY641" fmla="*/ 223309 h 1690080"/>
                  <a:gd name="connsiteX642" fmla="*/ 449144 w 2417203"/>
                  <a:gd name="connsiteY642" fmla="*/ 226189 h 1690080"/>
                  <a:gd name="connsiteX643" fmla="*/ 448878 w 2417203"/>
                  <a:gd name="connsiteY643" fmla="*/ 226414 h 1690080"/>
                  <a:gd name="connsiteX644" fmla="*/ 432477 w 2417203"/>
                  <a:gd name="connsiteY644" fmla="*/ 229923 h 1690080"/>
                  <a:gd name="connsiteX645" fmla="*/ 425146 w 2417203"/>
                  <a:gd name="connsiteY645" fmla="*/ 223760 h 1690080"/>
                  <a:gd name="connsiteX646" fmla="*/ 403177 w 2417203"/>
                  <a:gd name="connsiteY646" fmla="*/ 188933 h 1690080"/>
                  <a:gd name="connsiteX647" fmla="*/ 391761 w 2417203"/>
                  <a:gd name="connsiteY647" fmla="*/ 157120 h 1690080"/>
                  <a:gd name="connsiteX648" fmla="*/ 374726 w 2417203"/>
                  <a:gd name="connsiteY648" fmla="*/ 138222 h 1690080"/>
                  <a:gd name="connsiteX649" fmla="*/ 364160 w 2417203"/>
                  <a:gd name="connsiteY649" fmla="*/ 136153 h 1690080"/>
                  <a:gd name="connsiteX650" fmla="*/ 366811 w 2417203"/>
                  <a:gd name="connsiteY650" fmla="*/ 141417 h 1690080"/>
                  <a:gd name="connsiteX651" fmla="*/ 369196 w 2417203"/>
                  <a:gd name="connsiteY651" fmla="*/ 146051 h 1690080"/>
                  <a:gd name="connsiteX652" fmla="*/ 372202 w 2417203"/>
                  <a:gd name="connsiteY652" fmla="*/ 151946 h 1690080"/>
                  <a:gd name="connsiteX653" fmla="*/ 374270 w 2417203"/>
                  <a:gd name="connsiteY653" fmla="*/ 156041 h 1690080"/>
                  <a:gd name="connsiteX654" fmla="*/ 372836 w 2417203"/>
                  <a:gd name="connsiteY654" fmla="*/ 158156 h 1690080"/>
                  <a:gd name="connsiteX655" fmla="*/ 342775 w 2417203"/>
                  <a:gd name="connsiteY655" fmla="*/ 202612 h 1690080"/>
                  <a:gd name="connsiteX656" fmla="*/ 339858 w 2417203"/>
                  <a:gd name="connsiteY656" fmla="*/ 200767 h 1690080"/>
                  <a:gd name="connsiteX657" fmla="*/ 335405 w 2417203"/>
                  <a:gd name="connsiteY657" fmla="*/ 197797 h 1690080"/>
                  <a:gd name="connsiteX658" fmla="*/ 334150 w 2417203"/>
                  <a:gd name="connsiteY658" fmla="*/ 196672 h 1690080"/>
                  <a:gd name="connsiteX659" fmla="*/ 330471 w 2417203"/>
                  <a:gd name="connsiteY659" fmla="*/ 193116 h 1690080"/>
                  <a:gd name="connsiteX660" fmla="*/ 288182 w 2417203"/>
                  <a:gd name="connsiteY660" fmla="*/ 232397 h 1690080"/>
                  <a:gd name="connsiteX661" fmla="*/ 286026 w 2417203"/>
                  <a:gd name="connsiteY661" fmla="*/ 236401 h 1690080"/>
                  <a:gd name="connsiteX662" fmla="*/ 280622 w 2417203"/>
                  <a:gd name="connsiteY662" fmla="*/ 234062 h 1690080"/>
                  <a:gd name="connsiteX663" fmla="*/ 280318 w 2417203"/>
                  <a:gd name="connsiteY663" fmla="*/ 233928 h 1690080"/>
                  <a:gd name="connsiteX664" fmla="*/ 276500 w 2417203"/>
                  <a:gd name="connsiteY664" fmla="*/ 232307 h 1690080"/>
                  <a:gd name="connsiteX665" fmla="*/ 275143 w 2417203"/>
                  <a:gd name="connsiteY665" fmla="*/ 231723 h 1690080"/>
                  <a:gd name="connsiteX666" fmla="*/ 270297 w 2417203"/>
                  <a:gd name="connsiteY666" fmla="*/ 229653 h 1690080"/>
                  <a:gd name="connsiteX667" fmla="*/ 265401 w 2417203"/>
                  <a:gd name="connsiteY667" fmla="*/ 232622 h 1690080"/>
                  <a:gd name="connsiteX668" fmla="*/ 248633 w 2417203"/>
                  <a:gd name="connsiteY668" fmla="*/ 242702 h 1690080"/>
                  <a:gd name="connsiteX669" fmla="*/ 244269 w 2417203"/>
                  <a:gd name="connsiteY669" fmla="*/ 245356 h 1690080"/>
                  <a:gd name="connsiteX670" fmla="*/ 236722 w 2417203"/>
                  <a:gd name="connsiteY670" fmla="*/ 249900 h 1690080"/>
                  <a:gd name="connsiteX671" fmla="*/ 230380 w 2417203"/>
                  <a:gd name="connsiteY671" fmla="*/ 253726 h 1690080"/>
                  <a:gd name="connsiteX672" fmla="*/ 268230 w 2417203"/>
                  <a:gd name="connsiteY672" fmla="*/ 213004 h 1690080"/>
                  <a:gd name="connsiteX673" fmla="*/ 322911 w 2417203"/>
                  <a:gd name="connsiteY673" fmla="*/ 175433 h 1690080"/>
                  <a:gd name="connsiteX674" fmla="*/ 324624 w 2417203"/>
                  <a:gd name="connsiteY674" fmla="*/ 165758 h 1690080"/>
                  <a:gd name="connsiteX675" fmla="*/ 321478 w 2417203"/>
                  <a:gd name="connsiteY675" fmla="*/ 166299 h 1690080"/>
                  <a:gd name="connsiteX676" fmla="*/ 305344 w 2417203"/>
                  <a:gd name="connsiteY676" fmla="*/ 168999 h 1690080"/>
                  <a:gd name="connsiteX677" fmla="*/ 301348 w 2417203"/>
                  <a:gd name="connsiteY677" fmla="*/ 169853 h 1690080"/>
                  <a:gd name="connsiteX678" fmla="*/ 300676 w 2417203"/>
                  <a:gd name="connsiteY678" fmla="*/ 170033 h 1690080"/>
                  <a:gd name="connsiteX679" fmla="*/ 300587 w 2417203"/>
                  <a:gd name="connsiteY679" fmla="*/ 170033 h 1690080"/>
                  <a:gd name="connsiteX680" fmla="*/ 287142 w 2417203"/>
                  <a:gd name="connsiteY680" fmla="*/ 175387 h 1690080"/>
                  <a:gd name="connsiteX681" fmla="*/ 269803 w 2417203"/>
                  <a:gd name="connsiteY681" fmla="*/ 188436 h 1690080"/>
                  <a:gd name="connsiteX682" fmla="*/ 232943 w 2417203"/>
                  <a:gd name="connsiteY682" fmla="*/ 210440 h 1690080"/>
                  <a:gd name="connsiteX683" fmla="*/ 202069 w 2417203"/>
                  <a:gd name="connsiteY683" fmla="*/ 234018 h 1690080"/>
                  <a:gd name="connsiteX684" fmla="*/ 192721 w 2417203"/>
                  <a:gd name="connsiteY684" fmla="*/ 239777 h 1690080"/>
                  <a:gd name="connsiteX685" fmla="*/ 199012 w 2417203"/>
                  <a:gd name="connsiteY685" fmla="*/ 224479 h 1690080"/>
                  <a:gd name="connsiteX686" fmla="*/ 189398 w 2417203"/>
                  <a:gd name="connsiteY686" fmla="*/ 213094 h 1690080"/>
                  <a:gd name="connsiteX687" fmla="*/ 188637 w 2417203"/>
                  <a:gd name="connsiteY687" fmla="*/ 215568 h 1690080"/>
                  <a:gd name="connsiteX688" fmla="*/ 168417 w 2417203"/>
                  <a:gd name="connsiteY688" fmla="*/ 222858 h 1690080"/>
                  <a:gd name="connsiteX689" fmla="*/ 152508 w 2417203"/>
                  <a:gd name="connsiteY689" fmla="*/ 238157 h 1690080"/>
                  <a:gd name="connsiteX690" fmla="*/ 150575 w 2417203"/>
                  <a:gd name="connsiteY690" fmla="*/ 241892 h 1690080"/>
                  <a:gd name="connsiteX691" fmla="*/ 148733 w 2417203"/>
                  <a:gd name="connsiteY691" fmla="*/ 246706 h 1690080"/>
                  <a:gd name="connsiteX692" fmla="*/ 147430 w 2417203"/>
                  <a:gd name="connsiteY692" fmla="*/ 253366 h 1690080"/>
                  <a:gd name="connsiteX693" fmla="*/ 148239 w 2417203"/>
                  <a:gd name="connsiteY693" fmla="*/ 261194 h 1690080"/>
                  <a:gd name="connsiteX694" fmla="*/ 148912 w 2417203"/>
                  <a:gd name="connsiteY694" fmla="*/ 262815 h 1690080"/>
                  <a:gd name="connsiteX695" fmla="*/ 154890 w 2417203"/>
                  <a:gd name="connsiteY695" fmla="*/ 271229 h 1690080"/>
                  <a:gd name="connsiteX696" fmla="*/ 161002 w 2417203"/>
                  <a:gd name="connsiteY696" fmla="*/ 278248 h 1690080"/>
                  <a:gd name="connsiteX697" fmla="*/ 161451 w 2417203"/>
                  <a:gd name="connsiteY697" fmla="*/ 278788 h 1690080"/>
                  <a:gd name="connsiteX698" fmla="*/ 161182 w 2417203"/>
                  <a:gd name="connsiteY698" fmla="*/ 278743 h 1690080"/>
                  <a:gd name="connsiteX699" fmla="*/ 133140 w 2417203"/>
                  <a:gd name="connsiteY699" fmla="*/ 269294 h 1690080"/>
                  <a:gd name="connsiteX700" fmla="*/ 91435 w 2417203"/>
                  <a:gd name="connsiteY700" fmla="*/ 254943 h 1690080"/>
                  <a:gd name="connsiteX701" fmla="*/ 89772 w 2417203"/>
                  <a:gd name="connsiteY701" fmla="*/ 253323 h 1690080"/>
                  <a:gd name="connsiteX702" fmla="*/ 83974 w 2417203"/>
                  <a:gd name="connsiteY702" fmla="*/ 247878 h 1690080"/>
                  <a:gd name="connsiteX703" fmla="*/ 78492 w 2417203"/>
                  <a:gd name="connsiteY703" fmla="*/ 243019 h 1690080"/>
                  <a:gd name="connsiteX704" fmla="*/ 75481 w 2417203"/>
                  <a:gd name="connsiteY704" fmla="*/ 240454 h 1690080"/>
                  <a:gd name="connsiteX705" fmla="*/ 73774 w 2417203"/>
                  <a:gd name="connsiteY705" fmla="*/ 239014 h 1690080"/>
                  <a:gd name="connsiteX706" fmla="*/ 70718 w 2417203"/>
                  <a:gd name="connsiteY706" fmla="*/ 236630 h 1690080"/>
                  <a:gd name="connsiteX707" fmla="*/ 60156 w 2417203"/>
                  <a:gd name="connsiteY707" fmla="*/ 228981 h 1690080"/>
                  <a:gd name="connsiteX708" fmla="*/ 59841 w 2417203"/>
                  <a:gd name="connsiteY708" fmla="*/ 228710 h 1690080"/>
                  <a:gd name="connsiteX709" fmla="*/ 21058 w 2417203"/>
                  <a:gd name="connsiteY709" fmla="*/ 211207 h 1690080"/>
                  <a:gd name="connsiteX710" fmla="*/ 22991 w 2417203"/>
                  <a:gd name="connsiteY710" fmla="*/ 214267 h 1690080"/>
                  <a:gd name="connsiteX711" fmla="*/ 15666 w 2417203"/>
                  <a:gd name="connsiteY711" fmla="*/ 212917 h 1690080"/>
                  <a:gd name="connsiteX712" fmla="*/ 13284 w 2417203"/>
                  <a:gd name="connsiteY712" fmla="*/ 212467 h 1690080"/>
                  <a:gd name="connsiteX713" fmla="*/ 11487 w 2417203"/>
                  <a:gd name="connsiteY713" fmla="*/ 212106 h 1690080"/>
                  <a:gd name="connsiteX714" fmla="*/ 8161 w 2417203"/>
                  <a:gd name="connsiteY714" fmla="*/ 211386 h 1690080"/>
                  <a:gd name="connsiteX715" fmla="*/ 7891 w 2417203"/>
                  <a:gd name="connsiteY715" fmla="*/ 211342 h 1690080"/>
                  <a:gd name="connsiteX716" fmla="*/ 4162 w 2417203"/>
                  <a:gd name="connsiteY716" fmla="*/ 210397 h 1690080"/>
                  <a:gd name="connsiteX717" fmla="*/ 4162 w 2417203"/>
                  <a:gd name="connsiteY717" fmla="*/ 211476 h 1690080"/>
                  <a:gd name="connsiteX718" fmla="*/ 17554 w 2417203"/>
                  <a:gd name="connsiteY718" fmla="*/ 850374 h 1690080"/>
                  <a:gd name="connsiteX719" fmla="*/ 19980 w 2417203"/>
                  <a:gd name="connsiteY719" fmla="*/ 846010 h 1690080"/>
                  <a:gd name="connsiteX720" fmla="*/ 32204 w 2417203"/>
                  <a:gd name="connsiteY720" fmla="*/ 852129 h 1690080"/>
                  <a:gd name="connsiteX721" fmla="*/ 58134 w 2417203"/>
                  <a:gd name="connsiteY721" fmla="*/ 843040 h 1690080"/>
                  <a:gd name="connsiteX722" fmla="*/ 104917 w 2417203"/>
                  <a:gd name="connsiteY722" fmla="*/ 924213 h 1690080"/>
                  <a:gd name="connsiteX723" fmla="*/ 123837 w 2417203"/>
                  <a:gd name="connsiteY723" fmla="*/ 909989 h 1690080"/>
                  <a:gd name="connsiteX724" fmla="*/ 127073 w 2417203"/>
                  <a:gd name="connsiteY724" fmla="*/ 910304 h 1690080"/>
                  <a:gd name="connsiteX725" fmla="*/ 132869 w 2417203"/>
                  <a:gd name="connsiteY725" fmla="*/ 893070 h 1690080"/>
                  <a:gd name="connsiteX726" fmla="*/ 135701 w 2417203"/>
                  <a:gd name="connsiteY726" fmla="*/ 893746 h 1690080"/>
                  <a:gd name="connsiteX727" fmla="*/ 160777 w 2417203"/>
                  <a:gd name="connsiteY727" fmla="*/ 874532 h 1690080"/>
                  <a:gd name="connsiteX728" fmla="*/ 268268 w 2417203"/>
                  <a:gd name="connsiteY728" fmla="*/ 1047136 h 1690080"/>
                  <a:gd name="connsiteX729" fmla="*/ 271325 w 2417203"/>
                  <a:gd name="connsiteY729" fmla="*/ 1046597 h 1690080"/>
                  <a:gd name="connsiteX730" fmla="*/ 310291 w 2417203"/>
                  <a:gd name="connsiteY730" fmla="*/ 1072425 h 1690080"/>
                  <a:gd name="connsiteX731" fmla="*/ 312992 w 2417203"/>
                  <a:gd name="connsiteY731" fmla="*/ 1071614 h 1690080"/>
                  <a:gd name="connsiteX732" fmla="*/ 315732 w 2417203"/>
                  <a:gd name="connsiteY732" fmla="*/ 1081647 h 1690080"/>
                  <a:gd name="connsiteX733" fmla="*/ 314109 w 2417203"/>
                  <a:gd name="connsiteY733" fmla="*/ 1098116 h 1690080"/>
                  <a:gd name="connsiteX734" fmla="*/ 314071 w 2417203"/>
                  <a:gd name="connsiteY734" fmla="*/ 1099241 h 1690080"/>
                  <a:gd name="connsiteX735" fmla="*/ 318066 w 2417203"/>
                  <a:gd name="connsiteY735" fmla="*/ 1120974 h 1690080"/>
                  <a:gd name="connsiteX736" fmla="*/ 316582 w 2417203"/>
                  <a:gd name="connsiteY736" fmla="*/ 1144281 h 1690080"/>
                  <a:gd name="connsiteX737" fmla="*/ 314476 w 2417203"/>
                  <a:gd name="connsiteY737" fmla="*/ 1154181 h 1690080"/>
                  <a:gd name="connsiteX738" fmla="*/ 303822 w 2417203"/>
                  <a:gd name="connsiteY738" fmla="*/ 1145497 h 1690080"/>
                  <a:gd name="connsiteX739" fmla="*/ 309213 w 2417203"/>
                  <a:gd name="connsiteY739" fmla="*/ 1156115 h 1690080"/>
                  <a:gd name="connsiteX740" fmla="*/ 327769 w 2417203"/>
                  <a:gd name="connsiteY740" fmla="*/ 1166148 h 1690080"/>
                  <a:gd name="connsiteX741" fmla="*/ 327769 w 2417203"/>
                  <a:gd name="connsiteY741" fmla="*/ 1166148 h 1690080"/>
                  <a:gd name="connsiteX742" fmla="*/ 322911 w 2417203"/>
                  <a:gd name="connsiteY742" fmla="*/ 1165969 h 1690080"/>
                  <a:gd name="connsiteX743" fmla="*/ 322734 w 2417203"/>
                  <a:gd name="connsiteY743" fmla="*/ 1175328 h 1690080"/>
                  <a:gd name="connsiteX744" fmla="*/ 336446 w 2417203"/>
                  <a:gd name="connsiteY744" fmla="*/ 1205205 h 1690080"/>
                  <a:gd name="connsiteX745" fmla="*/ 356043 w 2417203"/>
                  <a:gd name="connsiteY745" fmla="*/ 1174383 h 1690080"/>
                  <a:gd name="connsiteX746" fmla="*/ 354191 w 2417203"/>
                  <a:gd name="connsiteY746" fmla="*/ 1181087 h 1690080"/>
                  <a:gd name="connsiteX747" fmla="*/ 351045 w 2417203"/>
                  <a:gd name="connsiteY747" fmla="*/ 1189996 h 1690080"/>
                  <a:gd name="connsiteX748" fmla="*/ 364351 w 2417203"/>
                  <a:gd name="connsiteY748" fmla="*/ 1201426 h 1690080"/>
                  <a:gd name="connsiteX749" fmla="*/ 345388 w 2417203"/>
                  <a:gd name="connsiteY749" fmla="*/ 1197063 h 1690080"/>
                  <a:gd name="connsiteX750" fmla="*/ 346466 w 2417203"/>
                  <a:gd name="connsiteY750" fmla="*/ 1202282 h 1690080"/>
                  <a:gd name="connsiteX751" fmla="*/ 347278 w 2417203"/>
                  <a:gd name="connsiteY751" fmla="*/ 1204531 h 1690080"/>
                  <a:gd name="connsiteX752" fmla="*/ 347988 w 2417203"/>
                  <a:gd name="connsiteY752" fmla="*/ 1206421 h 1690080"/>
                  <a:gd name="connsiteX753" fmla="*/ 348533 w 2417203"/>
                  <a:gd name="connsiteY753" fmla="*/ 1207591 h 1690080"/>
                  <a:gd name="connsiteX754" fmla="*/ 348495 w 2417203"/>
                  <a:gd name="connsiteY754" fmla="*/ 1207591 h 1690080"/>
                  <a:gd name="connsiteX755" fmla="*/ 345350 w 2417203"/>
                  <a:gd name="connsiteY755" fmla="*/ 1207951 h 1690080"/>
                  <a:gd name="connsiteX756" fmla="*/ 345756 w 2417203"/>
                  <a:gd name="connsiteY756" fmla="*/ 1232564 h 1690080"/>
                  <a:gd name="connsiteX757" fmla="*/ 350880 w 2417203"/>
                  <a:gd name="connsiteY757" fmla="*/ 1213895 h 1690080"/>
                  <a:gd name="connsiteX758" fmla="*/ 358427 w 2417203"/>
                  <a:gd name="connsiteY758" fmla="*/ 1225055 h 1690080"/>
                  <a:gd name="connsiteX759" fmla="*/ 362917 w 2417203"/>
                  <a:gd name="connsiteY759" fmla="*/ 1232569 h 1690080"/>
                  <a:gd name="connsiteX760" fmla="*/ 363412 w 2417203"/>
                  <a:gd name="connsiteY760" fmla="*/ 1232838 h 1690080"/>
                  <a:gd name="connsiteX761" fmla="*/ 363780 w 2417203"/>
                  <a:gd name="connsiteY761" fmla="*/ 1233019 h 1690080"/>
                  <a:gd name="connsiteX762" fmla="*/ 367966 w 2417203"/>
                  <a:gd name="connsiteY762" fmla="*/ 1239139 h 1690080"/>
                  <a:gd name="connsiteX763" fmla="*/ 364592 w 2417203"/>
                  <a:gd name="connsiteY763" fmla="*/ 1250432 h 1690080"/>
                  <a:gd name="connsiteX764" fmla="*/ 364363 w 2417203"/>
                  <a:gd name="connsiteY764" fmla="*/ 1251152 h 1690080"/>
                  <a:gd name="connsiteX765" fmla="*/ 364097 w 2417203"/>
                  <a:gd name="connsiteY765" fmla="*/ 1255297 h 1690080"/>
                  <a:gd name="connsiteX766" fmla="*/ 364909 w 2417203"/>
                  <a:gd name="connsiteY766" fmla="*/ 1255018 h 1690080"/>
                  <a:gd name="connsiteX767" fmla="*/ 365619 w 2417203"/>
                  <a:gd name="connsiteY767" fmla="*/ 1254387 h 1690080"/>
                  <a:gd name="connsiteX768" fmla="*/ 366304 w 2417203"/>
                  <a:gd name="connsiteY768" fmla="*/ 1253576 h 1690080"/>
                  <a:gd name="connsiteX769" fmla="*/ 367281 w 2417203"/>
                  <a:gd name="connsiteY769" fmla="*/ 1252318 h 1690080"/>
                  <a:gd name="connsiteX770" fmla="*/ 370477 w 2417203"/>
                  <a:gd name="connsiteY770" fmla="*/ 1248087 h 1690080"/>
                  <a:gd name="connsiteX771" fmla="*/ 371200 w 2417203"/>
                  <a:gd name="connsiteY771" fmla="*/ 1247188 h 1690080"/>
                  <a:gd name="connsiteX772" fmla="*/ 372405 w 2417203"/>
                  <a:gd name="connsiteY772" fmla="*/ 1245748 h 1690080"/>
                  <a:gd name="connsiteX773" fmla="*/ 373166 w 2417203"/>
                  <a:gd name="connsiteY773" fmla="*/ 1246872 h 1690080"/>
                  <a:gd name="connsiteX774" fmla="*/ 371860 w 2417203"/>
                  <a:gd name="connsiteY774" fmla="*/ 1247634 h 1690080"/>
                  <a:gd name="connsiteX775" fmla="*/ 371593 w 2417203"/>
                  <a:gd name="connsiteY775" fmla="*/ 1247949 h 1690080"/>
                  <a:gd name="connsiteX776" fmla="*/ 371555 w 2417203"/>
                  <a:gd name="connsiteY776" fmla="*/ 1248039 h 1690080"/>
                  <a:gd name="connsiteX777" fmla="*/ 371238 w 2417203"/>
                  <a:gd name="connsiteY777" fmla="*/ 1248713 h 1690080"/>
                  <a:gd name="connsiteX778" fmla="*/ 371187 w 2417203"/>
                  <a:gd name="connsiteY778" fmla="*/ 1248938 h 1690080"/>
                  <a:gd name="connsiteX779" fmla="*/ 372228 w 2417203"/>
                  <a:gd name="connsiteY779" fmla="*/ 1253348 h 1690080"/>
                  <a:gd name="connsiteX780" fmla="*/ 375728 w 2417203"/>
                  <a:gd name="connsiteY780" fmla="*/ 1251504 h 1690080"/>
                  <a:gd name="connsiteX781" fmla="*/ 375817 w 2417203"/>
                  <a:gd name="connsiteY781" fmla="*/ 1255411 h 1690080"/>
                  <a:gd name="connsiteX782" fmla="*/ 376223 w 2417203"/>
                  <a:gd name="connsiteY782" fmla="*/ 1256542 h 1690080"/>
                  <a:gd name="connsiteX783" fmla="*/ 376807 w 2417203"/>
                  <a:gd name="connsiteY783" fmla="*/ 1257304 h 1690080"/>
                  <a:gd name="connsiteX784" fmla="*/ 378874 w 2417203"/>
                  <a:gd name="connsiteY784" fmla="*/ 1257850 h 1690080"/>
                  <a:gd name="connsiteX785" fmla="*/ 377390 w 2417203"/>
                  <a:gd name="connsiteY785" fmla="*/ 1286196 h 1690080"/>
                  <a:gd name="connsiteX786" fmla="*/ 377441 w 2417203"/>
                  <a:gd name="connsiteY786" fmla="*/ 1286374 h 1690080"/>
                  <a:gd name="connsiteX787" fmla="*/ 378024 w 2417203"/>
                  <a:gd name="connsiteY787" fmla="*/ 1288177 h 1690080"/>
                  <a:gd name="connsiteX788" fmla="*/ 378747 w 2417203"/>
                  <a:gd name="connsiteY788" fmla="*/ 1289574 h 1690080"/>
                  <a:gd name="connsiteX789" fmla="*/ 378836 w 2417203"/>
                  <a:gd name="connsiteY789" fmla="*/ 1289701 h 1690080"/>
                  <a:gd name="connsiteX790" fmla="*/ 380092 w 2417203"/>
                  <a:gd name="connsiteY790" fmla="*/ 1292902 h 1690080"/>
                  <a:gd name="connsiteX791" fmla="*/ 382426 w 2417203"/>
                  <a:gd name="connsiteY791" fmla="*/ 1299112 h 1690080"/>
                  <a:gd name="connsiteX792" fmla="*/ 382071 w 2417203"/>
                  <a:gd name="connsiteY792" fmla="*/ 1300281 h 1690080"/>
                  <a:gd name="connsiteX793" fmla="*/ 382971 w 2417203"/>
                  <a:gd name="connsiteY793" fmla="*/ 1300509 h 1690080"/>
                  <a:gd name="connsiteX794" fmla="*/ 383999 w 2417203"/>
                  <a:gd name="connsiteY794" fmla="*/ 1303163 h 1690080"/>
                  <a:gd name="connsiteX795" fmla="*/ 416495 w 2417203"/>
                  <a:gd name="connsiteY795" fmla="*/ 1319902 h 1690080"/>
                  <a:gd name="connsiteX796" fmla="*/ 417256 w 2417203"/>
                  <a:gd name="connsiteY796" fmla="*/ 1322467 h 1690080"/>
                  <a:gd name="connsiteX797" fmla="*/ 418867 w 2417203"/>
                  <a:gd name="connsiteY797" fmla="*/ 1323496 h 1690080"/>
                  <a:gd name="connsiteX798" fmla="*/ 433023 w 2417203"/>
                  <a:gd name="connsiteY798" fmla="*/ 1328716 h 1690080"/>
                  <a:gd name="connsiteX799" fmla="*/ 433568 w 2417203"/>
                  <a:gd name="connsiteY799" fmla="*/ 1329071 h 1690080"/>
                  <a:gd name="connsiteX800" fmla="*/ 428127 w 2417203"/>
                  <a:gd name="connsiteY800" fmla="*/ 1331281 h 1690080"/>
                  <a:gd name="connsiteX801" fmla="*/ 426516 w 2417203"/>
                  <a:gd name="connsiteY801" fmla="*/ 1331865 h 1690080"/>
                  <a:gd name="connsiteX802" fmla="*/ 424842 w 2417203"/>
                  <a:gd name="connsiteY802" fmla="*/ 1332589 h 1690080"/>
                  <a:gd name="connsiteX803" fmla="*/ 431501 w 2417203"/>
                  <a:gd name="connsiteY803" fmla="*/ 1332043 h 1690080"/>
                  <a:gd name="connsiteX804" fmla="*/ 436752 w 2417203"/>
                  <a:gd name="connsiteY804" fmla="*/ 1337492 h 1690080"/>
                  <a:gd name="connsiteX805" fmla="*/ 438642 w 2417203"/>
                  <a:gd name="connsiteY805" fmla="*/ 1340730 h 1690080"/>
                  <a:gd name="connsiteX806" fmla="*/ 438959 w 2417203"/>
                  <a:gd name="connsiteY806" fmla="*/ 1340590 h 1690080"/>
                  <a:gd name="connsiteX807" fmla="*/ 440671 w 2417203"/>
                  <a:gd name="connsiteY807" fmla="*/ 1336818 h 1690080"/>
                  <a:gd name="connsiteX808" fmla="*/ 441027 w 2417203"/>
                  <a:gd name="connsiteY808" fmla="*/ 1335739 h 1690080"/>
                  <a:gd name="connsiteX809" fmla="*/ 441965 w 2417203"/>
                  <a:gd name="connsiteY809" fmla="*/ 1333034 h 1690080"/>
                  <a:gd name="connsiteX810" fmla="*/ 443817 w 2417203"/>
                  <a:gd name="connsiteY810" fmla="*/ 1333580 h 1690080"/>
                  <a:gd name="connsiteX811" fmla="*/ 445479 w 2417203"/>
                  <a:gd name="connsiteY811" fmla="*/ 1339473 h 1690080"/>
                  <a:gd name="connsiteX812" fmla="*/ 446151 w 2417203"/>
                  <a:gd name="connsiteY812" fmla="*/ 1339651 h 1690080"/>
                  <a:gd name="connsiteX813" fmla="*/ 447635 w 2417203"/>
                  <a:gd name="connsiteY813" fmla="*/ 1339651 h 1690080"/>
                  <a:gd name="connsiteX814" fmla="*/ 448218 w 2417203"/>
                  <a:gd name="connsiteY814" fmla="*/ 1339562 h 1690080"/>
                  <a:gd name="connsiteX815" fmla="*/ 454066 w 2417203"/>
                  <a:gd name="connsiteY815" fmla="*/ 1336679 h 1690080"/>
                  <a:gd name="connsiteX816" fmla="*/ 459051 w 2417203"/>
                  <a:gd name="connsiteY816" fmla="*/ 1339473 h 1690080"/>
                  <a:gd name="connsiteX817" fmla="*/ 459089 w 2417203"/>
                  <a:gd name="connsiteY817" fmla="*/ 1339473 h 1690080"/>
                  <a:gd name="connsiteX818" fmla="*/ 458962 w 2417203"/>
                  <a:gd name="connsiteY818" fmla="*/ 1340235 h 1690080"/>
                  <a:gd name="connsiteX819" fmla="*/ 458784 w 2417203"/>
                  <a:gd name="connsiteY819" fmla="*/ 1341136 h 1690080"/>
                  <a:gd name="connsiteX820" fmla="*/ 458683 w 2417203"/>
                  <a:gd name="connsiteY820" fmla="*/ 1343257 h 1690080"/>
                  <a:gd name="connsiteX821" fmla="*/ 458873 w 2417203"/>
                  <a:gd name="connsiteY821" fmla="*/ 1344019 h 1690080"/>
                  <a:gd name="connsiteX822" fmla="*/ 459901 w 2417203"/>
                  <a:gd name="connsiteY822" fmla="*/ 1344908 h 1690080"/>
                  <a:gd name="connsiteX823" fmla="*/ 461334 w 2417203"/>
                  <a:gd name="connsiteY823" fmla="*/ 1345010 h 1690080"/>
                  <a:gd name="connsiteX824" fmla="*/ 461917 w 2417203"/>
                  <a:gd name="connsiteY824" fmla="*/ 1344959 h 1690080"/>
                  <a:gd name="connsiteX825" fmla="*/ 463275 w 2417203"/>
                  <a:gd name="connsiteY825" fmla="*/ 1344604 h 1690080"/>
                  <a:gd name="connsiteX826" fmla="*/ 464848 w 2417203"/>
                  <a:gd name="connsiteY826" fmla="*/ 1352566 h 1690080"/>
                  <a:gd name="connsiteX827" fmla="*/ 467765 w 2417203"/>
                  <a:gd name="connsiteY827" fmla="*/ 1362333 h 1690080"/>
                  <a:gd name="connsiteX828" fmla="*/ 467854 w 2417203"/>
                  <a:gd name="connsiteY828" fmla="*/ 1362422 h 1690080"/>
                  <a:gd name="connsiteX829" fmla="*/ 468488 w 2417203"/>
                  <a:gd name="connsiteY829" fmla="*/ 1363768 h 1690080"/>
                  <a:gd name="connsiteX830" fmla="*/ 468627 w 2417203"/>
                  <a:gd name="connsiteY830" fmla="*/ 1363996 h 1690080"/>
                  <a:gd name="connsiteX831" fmla="*/ 470555 w 2417203"/>
                  <a:gd name="connsiteY831" fmla="*/ 1366651 h 1690080"/>
                  <a:gd name="connsiteX832" fmla="*/ 471811 w 2417203"/>
                  <a:gd name="connsiteY832" fmla="*/ 1367857 h 1690080"/>
                  <a:gd name="connsiteX833" fmla="*/ 473206 w 2417203"/>
                  <a:gd name="connsiteY833" fmla="*/ 1368810 h 1690080"/>
                  <a:gd name="connsiteX834" fmla="*/ 474196 w 2417203"/>
                  <a:gd name="connsiteY834" fmla="*/ 1369254 h 1690080"/>
                  <a:gd name="connsiteX835" fmla="*/ 475540 w 2417203"/>
                  <a:gd name="connsiteY835" fmla="*/ 1369661 h 1690080"/>
                  <a:gd name="connsiteX836" fmla="*/ 480043 w 2417203"/>
                  <a:gd name="connsiteY836" fmla="*/ 1369216 h 1690080"/>
                  <a:gd name="connsiteX837" fmla="*/ 481121 w 2417203"/>
                  <a:gd name="connsiteY837" fmla="*/ 1368721 h 1690080"/>
                  <a:gd name="connsiteX838" fmla="*/ 482732 w 2417203"/>
                  <a:gd name="connsiteY838" fmla="*/ 1367679 h 1690080"/>
                  <a:gd name="connsiteX839" fmla="*/ 484356 w 2417203"/>
                  <a:gd name="connsiteY839" fmla="*/ 1366282 h 1690080"/>
                  <a:gd name="connsiteX840" fmla="*/ 485472 w 2417203"/>
                  <a:gd name="connsiteY840" fmla="*/ 1365114 h 1690080"/>
                  <a:gd name="connsiteX841" fmla="*/ 486055 w 2417203"/>
                  <a:gd name="connsiteY841" fmla="*/ 1365838 h 1690080"/>
                  <a:gd name="connsiteX842" fmla="*/ 486690 w 2417203"/>
                  <a:gd name="connsiteY842" fmla="*/ 1366422 h 1690080"/>
                  <a:gd name="connsiteX843" fmla="*/ 487235 w 2417203"/>
                  <a:gd name="connsiteY843" fmla="*/ 1366651 h 1690080"/>
                  <a:gd name="connsiteX844" fmla="*/ 487235 w 2417203"/>
                  <a:gd name="connsiteY844" fmla="*/ 1366689 h 1690080"/>
                  <a:gd name="connsiteX845" fmla="*/ 494338 w 2417203"/>
                  <a:gd name="connsiteY845" fmla="*/ 1377763 h 1690080"/>
                  <a:gd name="connsiteX846" fmla="*/ 493438 w 2417203"/>
                  <a:gd name="connsiteY846" fmla="*/ 1378563 h 1690080"/>
                  <a:gd name="connsiteX847" fmla="*/ 492943 w 2417203"/>
                  <a:gd name="connsiteY847" fmla="*/ 1378881 h 1690080"/>
                  <a:gd name="connsiteX848" fmla="*/ 492499 w 2417203"/>
                  <a:gd name="connsiteY848" fmla="*/ 1379021 h 1690080"/>
                  <a:gd name="connsiteX849" fmla="*/ 492131 w 2417203"/>
                  <a:gd name="connsiteY849" fmla="*/ 1378932 h 1690080"/>
                  <a:gd name="connsiteX850" fmla="*/ 491725 w 2417203"/>
                  <a:gd name="connsiteY850" fmla="*/ 1378563 h 1690080"/>
                  <a:gd name="connsiteX851" fmla="*/ 488174 w 2417203"/>
                  <a:gd name="connsiteY851" fmla="*/ 1371286 h 1690080"/>
                  <a:gd name="connsiteX852" fmla="*/ 484800 w 2417203"/>
                  <a:gd name="connsiteY852" fmla="*/ 1376912 h 1690080"/>
                  <a:gd name="connsiteX853" fmla="*/ 485218 w 2417203"/>
                  <a:gd name="connsiteY853" fmla="*/ 1377979 h 1690080"/>
                  <a:gd name="connsiteX854" fmla="*/ 485929 w 2417203"/>
                  <a:gd name="connsiteY854" fmla="*/ 1379198 h 1690080"/>
                  <a:gd name="connsiteX855" fmla="*/ 486778 w 2417203"/>
                  <a:gd name="connsiteY855" fmla="*/ 1380240 h 1690080"/>
                  <a:gd name="connsiteX856" fmla="*/ 487679 w 2417203"/>
                  <a:gd name="connsiteY856" fmla="*/ 1381091 h 1690080"/>
                  <a:gd name="connsiteX857" fmla="*/ 490558 w 2417203"/>
                  <a:gd name="connsiteY857" fmla="*/ 1383021 h 1690080"/>
                  <a:gd name="connsiteX858" fmla="*/ 492765 w 2417203"/>
                  <a:gd name="connsiteY858" fmla="*/ 1383885 h 1690080"/>
                  <a:gd name="connsiteX859" fmla="*/ 504219 w 2417203"/>
                  <a:gd name="connsiteY859" fmla="*/ 1381586 h 1690080"/>
                  <a:gd name="connsiteX860" fmla="*/ 504270 w 2417203"/>
                  <a:gd name="connsiteY860" fmla="*/ 1381624 h 1690080"/>
                  <a:gd name="connsiteX861" fmla="*/ 507010 w 2417203"/>
                  <a:gd name="connsiteY861" fmla="*/ 1386577 h 1690080"/>
                  <a:gd name="connsiteX862" fmla="*/ 506515 w 2417203"/>
                  <a:gd name="connsiteY862" fmla="*/ 1387568 h 1690080"/>
                  <a:gd name="connsiteX863" fmla="*/ 507010 w 2417203"/>
                  <a:gd name="connsiteY863" fmla="*/ 1388203 h 1690080"/>
                  <a:gd name="connsiteX864" fmla="*/ 508443 w 2417203"/>
                  <a:gd name="connsiteY864" fmla="*/ 1389333 h 1690080"/>
                  <a:gd name="connsiteX865" fmla="*/ 508494 w 2417203"/>
                  <a:gd name="connsiteY865" fmla="*/ 1389422 h 1690080"/>
                  <a:gd name="connsiteX866" fmla="*/ 509610 w 2417203"/>
                  <a:gd name="connsiteY866" fmla="*/ 1391441 h 1690080"/>
                  <a:gd name="connsiteX867" fmla="*/ 509661 w 2417203"/>
                  <a:gd name="connsiteY867" fmla="*/ 1391492 h 1690080"/>
                  <a:gd name="connsiteX868" fmla="*/ 509026 w 2417203"/>
                  <a:gd name="connsiteY868" fmla="*/ 1394464 h 1690080"/>
                  <a:gd name="connsiteX869" fmla="*/ 509166 w 2417203"/>
                  <a:gd name="connsiteY869" fmla="*/ 1397207 h 1690080"/>
                  <a:gd name="connsiteX870" fmla="*/ 510777 w 2417203"/>
                  <a:gd name="connsiteY870" fmla="*/ 1400992 h 1690080"/>
                  <a:gd name="connsiteX871" fmla="*/ 520480 w 2417203"/>
                  <a:gd name="connsiteY871" fmla="*/ 1403557 h 1690080"/>
                  <a:gd name="connsiteX872" fmla="*/ 673908 w 2417203"/>
                  <a:gd name="connsiteY872" fmla="*/ 1400534 h 1690080"/>
                  <a:gd name="connsiteX873" fmla="*/ 829987 w 2417203"/>
                  <a:gd name="connsiteY873" fmla="*/ 1404408 h 1690080"/>
                  <a:gd name="connsiteX874" fmla="*/ 986738 w 2417203"/>
                  <a:gd name="connsiteY874" fmla="*/ 1408904 h 1690080"/>
                  <a:gd name="connsiteX875" fmla="*/ 1137921 w 2417203"/>
                  <a:gd name="connsiteY875" fmla="*/ 1407291 h 1690080"/>
                  <a:gd name="connsiteX876" fmla="*/ 1277270 w 2417203"/>
                  <a:gd name="connsiteY876" fmla="*/ 1392889 h 1690080"/>
                  <a:gd name="connsiteX877" fmla="*/ 1287341 w 2417203"/>
                  <a:gd name="connsiteY877" fmla="*/ 1391263 h 1690080"/>
                  <a:gd name="connsiteX878" fmla="*/ 1300951 w 2417203"/>
                  <a:gd name="connsiteY878" fmla="*/ 1387530 h 1690080"/>
                  <a:gd name="connsiteX879" fmla="*/ 1315563 w 2417203"/>
                  <a:gd name="connsiteY879" fmla="*/ 1396127 h 1690080"/>
                  <a:gd name="connsiteX880" fmla="*/ 1318392 w 2417203"/>
                  <a:gd name="connsiteY880" fmla="*/ 1412777 h 1690080"/>
                  <a:gd name="connsiteX881" fmla="*/ 1332458 w 2417203"/>
                  <a:gd name="connsiteY881" fmla="*/ 1417946 h 1690080"/>
                  <a:gd name="connsiteX882" fmla="*/ 1344914 w 2417203"/>
                  <a:gd name="connsiteY882" fmla="*/ 1425414 h 1690080"/>
                  <a:gd name="connsiteX883" fmla="*/ 1376409 w 2417203"/>
                  <a:gd name="connsiteY883" fmla="*/ 1426684 h 1690080"/>
                  <a:gd name="connsiteX884" fmla="*/ 1383779 w 2417203"/>
                  <a:gd name="connsiteY884" fmla="*/ 1436933 h 1690080"/>
                  <a:gd name="connsiteX885" fmla="*/ 1392455 w 2417203"/>
                  <a:gd name="connsiteY885" fmla="*/ 1433021 h 1690080"/>
                  <a:gd name="connsiteX886" fmla="*/ 1401169 w 2417203"/>
                  <a:gd name="connsiteY886" fmla="*/ 1440400 h 1690080"/>
                  <a:gd name="connsiteX887" fmla="*/ 1424482 w 2417203"/>
                  <a:gd name="connsiteY887" fmla="*/ 1436272 h 1690080"/>
                  <a:gd name="connsiteX888" fmla="*/ 1424672 w 2417203"/>
                  <a:gd name="connsiteY888" fmla="*/ 1435993 h 1690080"/>
                  <a:gd name="connsiteX889" fmla="*/ 1440008 w 2417203"/>
                  <a:gd name="connsiteY889" fmla="*/ 1443232 h 1690080"/>
                  <a:gd name="connsiteX890" fmla="*/ 1457930 w 2417203"/>
                  <a:gd name="connsiteY890" fmla="*/ 1445708 h 1690080"/>
                  <a:gd name="connsiteX891" fmla="*/ 1461393 w 2417203"/>
                  <a:gd name="connsiteY891" fmla="*/ 1446115 h 1690080"/>
                  <a:gd name="connsiteX892" fmla="*/ 1472403 w 2417203"/>
                  <a:gd name="connsiteY892" fmla="*/ 1430278 h 1690080"/>
                  <a:gd name="connsiteX893" fmla="*/ 1482652 w 2417203"/>
                  <a:gd name="connsiteY893" fmla="*/ 1430189 h 1690080"/>
                  <a:gd name="connsiteX894" fmla="*/ 1486787 w 2417203"/>
                  <a:gd name="connsiteY894" fmla="*/ 1430049 h 1690080"/>
                  <a:gd name="connsiteX895" fmla="*/ 1491683 w 2417203"/>
                  <a:gd name="connsiteY895" fmla="*/ 1428017 h 1690080"/>
                  <a:gd name="connsiteX896" fmla="*/ 1499230 w 2417203"/>
                  <a:gd name="connsiteY896" fmla="*/ 1420232 h 1690080"/>
                  <a:gd name="connsiteX897" fmla="*/ 1513348 w 2417203"/>
                  <a:gd name="connsiteY897" fmla="*/ 1406465 h 1690080"/>
                  <a:gd name="connsiteX898" fmla="*/ 1567763 w 2417203"/>
                  <a:gd name="connsiteY898" fmla="*/ 1446521 h 1690080"/>
                  <a:gd name="connsiteX899" fmla="*/ 1595668 w 2417203"/>
                  <a:gd name="connsiteY899" fmla="*/ 1454751 h 1690080"/>
                  <a:gd name="connsiteX900" fmla="*/ 1598585 w 2417203"/>
                  <a:gd name="connsiteY900" fmla="*/ 1487999 h 1690080"/>
                  <a:gd name="connsiteX901" fmla="*/ 1604877 w 2417203"/>
                  <a:gd name="connsiteY901" fmla="*/ 1498985 h 1690080"/>
                  <a:gd name="connsiteX902" fmla="*/ 1606906 w 2417203"/>
                  <a:gd name="connsiteY902" fmla="*/ 1498578 h 1690080"/>
                  <a:gd name="connsiteX903" fmla="*/ 1606944 w 2417203"/>
                  <a:gd name="connsiteY903" fmla="*/ 1510008 h 1690080"/>
                  <a:gd name="connsiteX904" fmla="*/ 1606044 w 2417203"/>
                  <a:gd name="connsiteY904" fmla="*/ 1510364 h 1690080"/>
                  <a:gd name="connsiteX905" fmla="*/ 1606411 w 2417203"/>
                  <a:gd name="connsiteY905" fmla="*/ 1510910 h 1690080"/>
                  <a:gd name="connsiteX906" fmla="*/ 1610952 w 2417203"/>
                  <a:gd name="connsiteY906" fmla="*/ 1507989 h 1690080"/>
                  <a:gd name="connsiteX907" fmla="*/ 1612297 w 2417203"/>
                  <a:gd name="connsiteY907" fmla="*/ 1508840 h 1690080"/>
                  <a:gd name="connsiteX908" fmla="*/ 1615354 w 2417203"/>
                  <a:gd name="connsiteY908" fmla="*/ 1506998 h 1690080"/>
                  <a:gd name="connsiteX909" fmla="*/ 1618182 w 2417203"/>
                  <a:gd name="connsiteY909" fmla="*/ 1518835 h 1690080"/>
                  <a:gd name="connsiteX910" fmla="*/ 1690355 w 2417203"/>
                  <a:gd name="connsiteY910" fmla="*/ 1526163 h 1690080"/>
                  <a:gd name="connsiteX911" fmla="*/ 1686804 w 2417203"/>
                  <a:gd name="connsiteY911" fmla="*/ 1531382 h 1690080"/>
                  <a:gd name="connsiteX912" fmla="*/ 1715115 w 2417203"/>
                  <a:gd name="connsiteY912" fmla="*/ 1535383 h 1690080"/>
                  <a:gd name="connsiteX913" fmla="*/ 1722535 w 2417203"/>
                  <a:gd name="connsiteY913" fmla="*/ 1544527 h 1690080"/>
                  <a:gd name="connsiteX914" fmla="*/ 1732556 w 2417203"/>
                  <a:gd name="connsiteY914" fmla="*/ 1554065 h 1690080"/>
                  <a:gd name="connsiteX915" fmla="*/ 1739164 w 2417203"/>
                  <a:gd name="connsiteY915" fmla="*/ 1573140 h 1690080"/>
                  <a:gd name="connsiteX916" fmla="*/ 1743692 w 2417203"/>
                  <a:gd name="connsiteY916" fmla="*/ 1579033 h 1690080"/>
                  <a:gd name="connsiteX917" fmla="*/ 1717994 w 2417203"/>
                  <a:gd name="connsiteY917" fmla="*/ 1585243 h 1690080"/>
                  <a:gd name="connsiteX918" fmla="*/ 1708912 w 2417203"/>
                  <a:gd name="connsiteY918" fmla="*/ 1578131 h 1690080"/>
                  <a:gd name="connsiteX919" fmla="*/ 1702393 w 2417203"/>
                  <a:gd name="connsiteY919" fmla="*/ 1579617 h 1690080"/>
                  <a:gd name="connsiteX920" fmla="*/ 1697446 w 2417203"/>
                  <a:gd name="connsiteY920" fmla="*/ 1559640 h 1690080"/>
                  <a:gd name="connsiteX921" fmla="*/ 1687387 w 2417203"/>
                  <a:gd name="connsiteY921" fmla="*/ 1561304 h 1690080"/>
                  <a:gd name="connsiteX922" fmla="*/ 1674399 w 2417203"/>
                  <a:gd name="connsiteY922" fmla="*/ 1644323 h 1690080"/>
                  <a:gd name="connsiteX923" fmla="*/ 1664683 w 2417203"/>
                  <a:gd name="connsiteY923" fmla="*/ 1643155 h 1690080"/>
                  <a:gd name="connsiteX924" fmla="*/ 1649182 w 2417203"/>
                  <a:gd name="connsiteY924" fmla="*/ 1685624 h 1690080"/>
                  <a:gd name="connsiteX925" fmla="*/ 1663300 w 2417203"/>
                  <a:gd name="connsiteY925" fmla="*/ 1690082 h 1690080"/>
                  <a:gd name="connsiteX926" fmla="*/ 1680690 w 2417203"/>
                  <a:gd name="connsiteY926" fmla="*/ 1675959 h 1690080"/>
                  <a:gd name="connsiteX927" fmla="*/ 1724730 w 2417203"/>
                  <a:gd name="connsiteY927" fmla="*/ 1663754 h 1690080"/>
                  <a:gd name="connsiteX928" fmla="*/ 1753307 w 2417203"/>
                  <a:gd name="connsiteY928" fmla="*/ 1654128 h 1690080"/>
                  <a:gd name="connsiteX929" fmla="*/ 1765357 w 2417203"/>
                  <a:gd name="connsiteY929" fmla="*/ 1637618 h 1690080"/>
                  <a:gd name="connsiteX930" fmla="*/ 1764101 w 2417203"/>
                  <a:gd name="connsiteY930" fmla="*/ 1614720 h 1690080"/>
                  <a:gd name="connsiteX931" fmla="*/ 1811197 w 2417203"/>
                  <a:gd name="connsiteY931" fmla="*/ 1611164 h 1690080"/>
                  <a:gd name="connsiteX932" fmla="*/ 1823742 w 2417203"/>
                  <a:gd name="connsiteY932" fmla="*/ 1611519 h 1690080"/>
                  <a:gd name="connsiteX933" fmla="*/ 1823691 w 2417203"/>
                  <a:gd name="connsiteY933" fmla="*/ 1604865 h 1690080"/>
                  <a:gd name="connsiteX934" fmla="*/ 1814204 w 2417203"/>
                  <a:gd name="connsiteY934" fmla="*/ 1603607 h 1690080"/>
                  <a:gd name="connsiteX935" fmla="*/ 1809942 w 2417203"/>
                  <a:gd name="connsiteY935" fmla="*/ 1602299 h 1690080"/>
                  <a:gd name="connsiteX936" fmla="*/ 1822651 w 2417203"/>
                  <a:gd name="connsiteY936" fmla="*/ 1602248 h 1690080"/>
                  <a:gd name="connsiteX937" fmla="*/ 1820495 w 2417203"/>
                  <a:gd name="connsiteY937" fmla="*/ 1606211 h 1690080"/>
                  <a:gd name="connsiteX938" fmla="*/ 1848730 w 2417203"/>
                  <a:gd name="connsiteY938" fmla="*/ 1592889 h 1690080"/>
                  <a:gd name="connsiteX939" fmla="*/ 1879908 w 2417203"/>
                  <a:gd name="connsiteY939" fmla="*/ 1569355 h 1690080"/>
                  <a:gd name="connsiteX940" fmla="*/ 1883510 w 2417203"/>
                  <a:gd name="connsiteY940" fmla="*/ 1569813 h 1690080"/>
                  <a:gd name="connsiteX941" fmla="*/ 1884322 w 2417203"/>
                  <a:gd name="connsiteY941" fmla="*/ 1569762 h 1690080"/>
                  <a:gd name="connsiteX942" fmla="*/ 1884817 w 2417203"/>
                  <a:gd name="connsiteY942" fmla="*/ 1569851 h 1690080"/>
                  <a:gd name="connsiteX943" fmla="*/ 1933207 w 2417203"/>
                  <a:gd name="connsiteY943" fmla="*/ 1570219 h 1690080"/>
                  <a:gd name="connsiteX944" fmla="*/ 1981381 w 2417203"/>
                  <a:gd name="connsiteY944" fmla="*/ 1558027 h 1690080"/>
                  <a:gd name="connsiteX945" fmla="*/ 1984223 w 2417203"/>
                  <a:gd name="connsiteY945" fmla="*/ 1559551 h 1690080"/>
                  <a:gd name="connsiteX946" fmla="*/ 1987279 w 2417203"/>
                  <a:gd name="connsiteY946" fmla="*/ 1557443 h 1690080"/>
                  <a:gd name="connsiteX947" fmla="*/ 1990691 w 2417203"/>
                  <a:gd name="connsiteY947" fmla="*/ 1556579 h 1690080"/>
                  <a:gd name="connsiteX948" fmla="*/ 1992531 w 2417203"/>
                  <a:gd name="connsiteY948" fmla="*/ 1560275 h 1690080"/>
                  <a:gd name="connsiteX949" fmla="*/ 1993964 w 2417203"/>
                  <a:gd name="connsiteY949" fmla="*/ 1556897 h 1690080"/>
                  <a:gd name="connsiteX950" fmla="*/ 1995004 w 2417203"/>
                  <a:gd name="connsiteY950" fmla="*/ 1553252 h 1690080"/>
                  <a:gd name="connsiteX951" fmla="*/ 1997883 w 2417203"/>
                  <a:gd name="connsiteY951" fmla="*/ 1554014 h 1690080"/>
                  <a:gd name="connsiteX952" fmla="*/ 2005697 w 2417203"/>
                  <a:gd name="connsiteY952" fmla="*/ 1535472 h 1690080"/>
                  <a:gd name="connsiteX953" fmla="*/ 2014322 w 2417203"/>
                  <a:gd name="connsiteY953" fmla="*/ 1512891 h 1690080"/>
                  <a:gd name="connsiteX954" fmla="*/ 2040071 w 2417203"/>
                  <a:gd name="connsiteY954" fmla="*/ 1469102 h 1690080"/>
                  <a:gd name="connsiteX955" fmla="*/ 2044612 w 2417203"/>
                  <a:gd name="connsiteY955" fmla="*/ 1472924 h 1690080"/>
                  <a:gd name="connsiteX956" fmla="*/ 2048164 w 2417203"/>
                  <a:gd name="connsiteY956" fmla="*/ 1479770 h 1690080"/>
                  <a:gd name="connsiteX957" fmla="*/ 2054277 w 2417203"/>
                  <a:gd name="connsiteY957" fmla="*/ 1478462 h 1690080"/>
                  <a:gd name="connsiteX958" fmla="*/ 2063308 w 2417203"/>
                  <a:gd name="connsiteY958" fmla="*/ 1474550 h 1690080"/>
                  <a:gd name="connsiteX959" fmla="*/ 2066860 w 2417203"/>
                  <a:gd name="connsiteY959" fmla="*/ 1473610 h 1690080"/>
                  <a:gd name="connsiteX960" fmla="*/ 2078910 w 2417203"/>
                  <a:gd name="connsiteY960" fmla="*/ 1486209 h 1690080"/>
                  <a:gd name="connsiteX961" fmla="*/ 2081244 w 2417203"/>
                  <a:gd name="connsiteY961" fmla="*/ 1505055 h 1690080"/>
                  <a:gd name="connsiteX962" fmla="*/ 2081878 w 2417203"/>
                  <a:gd name="connsiteY962" fmla="*/ 1542444 h 1690080"/>
                  <a:gd name="connsiteX963" fmla="*/ 2082461 w 2417203"/>
                  <a:gd name="connsiteY963" fmla="*/ 1541860 h 1690080"/>
                  <a:gd name="connsiteX964" fmla="*/ 2088715 w 2417203"/>
                  <a:gd name="connsiteY964" fmla="*/ 1545200 h 1690080"/>
                  <a:gd name="connsiteX965" fmla="*/ 2089615 w 2417203"/>
                  <a:gd name="connsiteY965" fmla="*/ 1545098 h 1690080"/>
                  <a:gd name="connsiteX966" fmla="*/ 2094017 w 2417203"/>
                  <a:gd name="connsiteY966" fmla="*/ 1563602 h 1690080"/>
                  <a:gd name="connsiteX967" fmla="*/ 2095856 w 2417203"/>
                  <a:gd name="connsiteY967" fmla="*/ 1561532 h 1690080"/>
                  <a:gd name="connsiteX968" fmla="*/ 2097924 w 2417203"/>
                  <a:gd name="connsiteY968" fmla="*/ 1562929 h 1690080"/>
                  <a:gd name="connsiteX969" fmla="*/ 2098862 w 2417203"/>
                  <a:gd name="connsiteY969" fmla="*/ 1561532 h 1690080"/>
                  <a:gd name="connsiteX970" fmla="*/ 2099814 w 2417203"/>
                  <a:gd name="connsiteY970" fmla="*/ 1564225 h 1690080"/>
                  <a:gd name="connsiteX971" fmla="*/ 2100930 w 2417203"/>
                  <a:gd name="connsiteY971" fmla="*/ 1564987 h 1690080"/>
                  <a:gd name="connsiteX972" fmla="*/ 2103492 w 2417203"/>
                  <a:gd name="connsiteY972" fmla="*/ 1563374 h 1690080"/>
                  <a:gd name="connsiteX973" fmla="*/ 2108756 w 2417203"/>
                  <a:gd name="connsiteY973" fmla="*/ 1565444 h 1690080"/>
                  <a:gd name="connsiteX974" fmla="*/ 2117521 w 2417203"/>
                  <a:gd name="connsiteY974" fmla="*/ 1563501 h 1690080"/>
                  <a:gd name="connsiteX975" fmla="*/ 2122645 w 2417203"/>
                  <a:gd name="connsiteY975" fmla="*/ 1561520 h 1690080"/>
                  <a:gd name="connsiteX976" fmla="*/ 2128746 w 2417203"/>
                  <a:gd name="connsiteY976" fmla="*/ 1555538 h 1690080"/>
                  <a:gd name="connsiteX977" fmla="*/ 2127579 w 2417203"/>
                  <a:gd name="connsiteY977" fmla="*/ 1557201 h 1690080"/>
                  <a:gd name="connsiteX978" fmla="*/ 2167496 w 2417203"/>
                  <a:gd name="connsiteY978" fmla="*/ 1542622 h 1690080"/>
                  <a:gd name="connsiteX979" fmla="*/ 2170452 w 2417203"/>
                  <a:gd name="connsiteY979" fmla="*/ 1533541 h 1690080"/>
                  <a:gd name="connsiteX980" fmla="*/ 2180523 w 2417203"/>
                  <a:gd name="connsiteY980" fmla="*/ 1538533 h 1690080"/>
                  <a:gd name="connsiteX981" fmla="*/ 2166418 w 2417203"/>
                  <a:gd name="connsiteY981" fmla="*/ 1556706 h 1690080"/>
                  <a:gd name="connsiteX982" fmla="*/ 2177149 w 2417203"/>
                  <a:gd name="connsiteY982" fmla="*/ 1555004 h 1690080"/>
                  <a:gd name="connsiteX983" fmla="*/ 2203215 w 2417203"/>
                  <a:gd name="connsiteY983" fmla="*/ 1558014 h 1690080"/>
                  <a:gd name="connsiteX984" fmla="*/ 2184924 w 2417203"/>
                  <a:gd name="connsiteY984" fmla="*/ 1567920 h 1690080"/>
                  <a:gd name="connsiteX985" fmla="*/ 2179495 w 2417203"/>
                  <a:gd name="connsiteY985" fmla="*/ 1563780 h 1690080"/>
                  <a:gd name="connsiteX986" fmla="*/ 2177733 w 2417203"/>
                  <a:gd name="connsiteY986" fmla="*/ 1561888 h 1690080"/>
                  <a:gd name="connsiteX987" fmla="*/ 2144703 w 2417203"/>
                  <a:gd name="connsiteY987" fmla="*/ 1579833 h 1690080"/>
                  <a:gd name="connsiteX988" fmla="*/ 2132031 w 2417203"/>
                  <a:gd name="connsiteY988" fmla="*/ 1620968 h 1690080"/>
                  <a:gd name="connsiteX989" fmla="*/ 2139401 w 2417203"/>
                  <a:gd name="connsiteY989" fmla="*/ 1628664 h 1690080"/>
                  <a:gd name="connsiteX990" fmla="*/ 2146326 w 2417203"/>
                  <a:gd name="connsiteY990" fmla="*/ 1630138 h 1690080"/>
                  <a:gd name="connsiteX991" fmla="*/ 2148432 w 2417203"/>
                  <a:gd name="connsiteY991" fmla="*/ 1628842 h 1690080"/>
                  <a:gd name="connsiteX992" fmla="*/ 2150144 w 2417203"/>
                  <a:gd name="connsiteY992" fmla="*/ 1627267 h 1690080"/>
                  <a:gd name="connsiteX993" fmla="*/ 2150005 w 2417203"/>
                  <a:gd name="connsiteY993" fmla="*/ 1619571 h 1690080"/>
                  <a:gd name="connsiteX994" fmla="*/ 2150550 w 2417203"/>
                  <a:gd name="connsiteY994" fmla="*/ 1621324 h 1690080"/>
                  <a:gd name="connsiteX995" fmla="*/ 2153062 w 2417203"/>
                  <a:gd name="connsiteY995" fmla="*/ 1617057 h 1690080"/>
                  <a:gd name="connsiteX996" fmla="*/ 2157336 w 2417203"/>
                  <a:gd name="connsiteY996" fmla="*/ 1618936 h 1690080"/>
                  <a:gd name="connsiteX997" fmla="*/ 2158681 w 2417203"/>
                  <a:gd name="connsiteY997" fmla="*/ 1616015 h 1690080"/>
                  <a:gd name="connsiteX998" fmla="*/ 2160748 w 2417203"/>
                  <a:gd name="connsiteY998" fmla="*/ 1614402 h 1690080"/>
                  <a:gd name="connsiteX999" fmla="*/ 2164160 w 2417203"/>
                  <a:gd name="connsiteY999" fmla="*/ 1612243 h 1690080"/>
                  <a:gd name="connsiteX1000" fmla="*/ 2172304 w 2417203"/>
                  <a:gd name="connsiteY1000" fmla="*/ 1603607 h 1690080"/>
                  <a:gd name="connsiteX1001" fmla="*/ 2180028 w 2417203"/>
                  <a:gd name="connsiteY1001" fmla="*/ 1599239 h 1690080"/>
                  <a:gd name="connsiteX1002" fmla="*/ 2181690 w 2417203"/>
                  <a:gd name="connsiteY1002" fmla="*/ 1595238 h 1690080"/>
                  <a:gd name="connsiteX1003" fmla="*/ 2181741 w 2417203"/>
                  <a:gd name="connsiteY1003" fmla="*/ 1588215 h 1690080"/>
                  <a:gd name="connsiteX1004" fmla="*/ 2184797 w 2417203"/>
                  <a:gd name="connsiteY1004" fmla="*/ 1588215 h 1690080"/>
                  <a:gd name="connsiteX1005" fmla="*/ 2191355 w 2417203"/>
                  <a:gd name="connsiteY1005" fmla="*/ 1581865 h 1690080"/>
                  <a:gd name="connsiteX1006" fmla="*/ 2198268 w 2417203"/>
                  <a:gd name="connsiteY1006" fmla="*/ 1581052 h 1690080"/>
                  <a:gd name="connsiteX1007" fmla="*/ 2212563 w 2417203"/>
                  <a:gd name="connsiteY1007" fmla="*/ 1582182 h 1690080"/>
                  <a:gd name="connsiteX1008" fmla="*/ 2215214 w 2417203"/>
                  <a:gd name="connsiteY1008" fmla="*/ 1579071 h 1690080"/>
                  <a:gd name="connsiteX1009" fmla="*/ 2220389 w 2417203"/>
                  <a:gd name="connsiteY1009" fmla="*/ 1580201 h 1690080"/>
                  <a:gd name="connsiteX1010" fmla="*/ 2225425 w 2417203"/>
                  <a:gd name="connsiteY1010" fmla="*/ 1577687 h 1690080"/>
                  <a:gd name="connsiteX1011" fmla="*/ 2231399 w 2417203"/>
                  <a:gd name="connsiteY1011" fmla="*/ 1573724 h 1690080"/>
                  <a:gd name="connsiteX1012" fmla="*/ 2233556 w 2417203"/>
                  <a:gd name="connsiteY1012" fmla="*/ 1574486 h 1690080"/>
                  <a:gd name="connsiteX1013" fmla="*/ 2247800 w 2417203"/>
                  <a:gd name="connsiteY1013" fmla="*/ 1568505 h 1690080"/>
                  <a:gd name="connsiteX1014" fmla="*/ 2267118 w 2417203"/>
                  <a:gd name="connsiteY1014" fmla="*/ 1559818 h 1690080"/>
                  <a:gd name="connsiteX1015" fmla="*/ 2269858 w 2417203"/>
                  <a:gd name="connsiteY1015" fmla="*/ 1561215 h 1690080"/>
                  <a:gd name="connsiteX1016" fmla="*/ 2274094 w 2417203"/>
                  <a:gd name="connsiteY1016" fmla="*/ 1557163 h 1690080"/>
                  <a:gd name="connsiteX1017" fmla="*/ 2259926 w 2417203"/>
                  <a:gd name="connsiteY1017" fmla="*/ 1542266 h 1690080"/>
                  <a:gd name="connsiteX1018" fmla="*/ 2230905 w 2417203"/>
                  <a:gd name="connsiteY1018" fmla="*/ 1545289 h 1690080"/>
                  <a:gd name="connsiteX1019" fmla="*/ 2223675 w 2417203"/>
                  <a:gd name="connsiteY1019" fmla="*/ 1543028 h 1690080"/>
                  <a:gd name="connsiteX1020" fmla="*/ 2210014 w 2417203"/>
                  <a:gd name="connsiteY1020" fmla="*/ 1537275 h 1690080"/>
                  <a:gd name="connsiteX1021" fmla="*/ 2185914 w 2417203"/>
                  <a:gd name="connsiteY1021" fmla="*/ 1527865 h 1690080"/>
                  <a:gd name="connsiteX1022" fmla="*/ 2177377 w 2417203"/>
                  <a:gd name="connsiteY1022" fmla="*/ 1520219 h 1690080"/>
                  <a:gd name="connsiteX1023" fmla="*/ 2168220 w 2417203"/>
                  <a:gd name="connsiteY1023" fmla="*/ 1515990 h 1690080"/>
                  <a:gd name="connsiteX1024" fmla="*/ 2165518 w 2417203"/>
                  <a:gd name="connsiteY1024" fmla="*/ 1484850 h 1690080"/>
                  <a:gd name="connsiteX1025" fmla="*/ 2160571 w 2417203"/>
                  <a:gd name="connsiteY1025" fmla="*/ 1476303 h 1690080"/>
                  <a:gd name="connsiteX1026" fmla="*/ 2140847 w 2417203"/>
                  <a:gd name="connsiteY1026" fmla="*/ 1460821 h 1690080"/>
                  <a:gd name="connsiteX1027" fmla="*/ 2107411 w 2417203"/>
                  <a:gd name="connsiteY1027" fmla="*/ 1446381 h 1690080"/>
                  <a:gd name="connsiteX1028" fmla="*/ 2168803 w 2417203"/>
                  <a:gd name="connsiteY1028" fmla="*/ 1431891 h 1690080"/>
                  <a:gd name="connsiteX1029" fmla="*/ 2177555 w 2417203"/>
                  <a:gd name="connsiteY1029" fmla="*/ 1412587 h 1690080"/>
                  <a:gd name="connsiteX1030" fmla="*/ 2174650 w 2417203"/>
                  <a:gd name="connsiteY1030" fmla="*/ 1410694 h 1690080"/>
                  <a:gd name="connsiteX1031" fmla="*/ 2183402 w 2417203"/>
                  <a:gd name="connsiteY1031" fmla="*/ 1413844 h 1690080"/>
                  <a:gd name="connsiteX1032" fmla="*/ 2087599 w 2417203"/>
                  <a:gd name="connsiteY1032" fmla="*/ 1409526 h 1690080"/>
                  <a:gd name="connsiteX1033" fmla="*/ 2006572 w 2417203"/>
                  <a:gd name="connsiteY1033" fmla="*/ 1471629 h 1690080"/>
                  <a:gd name="connsiteX1034" fmla="*/ 2009718 w 2417203"/>
                  <a:gd name="connsiteY1034" fmla="*/ 1432703 h 1690080"/>
                  <a:gd name="connsiteX1035" fmla="*/ 2063283 w 2417203"/>
                  <a:gd name="connsiteY1035" fmla="*/ 1395632 h 1690080"/>
                  <a:gd name="connsiteX1036" fmla="*/ 2091734 w 2417203"/>
                  <a:gd name="connsiteY1036" fmla="*/ 1389333 h 1690080"/>
                  <a:gd name="connsiteX1037" fmla="*/ 2119284 w 2417203"/>
                  <a:gd name="connsiteY1037" fmla="*/ 1347931 h 1690080"/>
                  <a:gd name="connsiteX1038" fmla="*/ 2171276 w 2417203"/>
                  <a:gd name="connsiteY1038" fmla="*/ 1344908 h 1690080"/>
                  <a:gd name="connsiteX1039" fmla="*/ 2251047 w 2417203"/>
                  <a:gd name="connsiteY1039" fmla="*/ 1347474 h 1690080"/>
                  <a:gd name="connsiteX1040" fmla="*/ 2325871 w 2417203"/>
                  <a:gd name="connsiteY1040" fmla="*/ 1317057 h 1690080"/>
                  <a:gd name="connsiteX1041" fmla="*/ 2373373 w 2417203"/>
                  <a:gd name="connsiteY1041" fmla="*/ 1291048 h 1690080"/>
                  <a:gd name="connsiteX1042" fmla="*/ 2412555 w 2417203"/>
                  <a:gd name="connsiteY1042" fmla="*/ 1268378 h 1690080"/>
                  <a:gd name="connsiteX1043" fmla="*/ 2417083 w 2417203"/>
                  <a:gd name="connsiteY1043" fmla="*/ 1253814 h 1690080"/>
                  <a:gd name="connsiteX1044" fmla="*/ 1410289 w 2417203"/>
                  <a:gd name="connsiteY1044" fmla="*/ 484967 h 1690080"/>
                  <a:gd name="connsiteX1045" fmla="*/ 1423543 w 2417203"/>
                  <a:gd name="connsiteY1045" fmla="*/ 486947 h 1690080"/>
                  <a:gd name="connsiteX1046" fmla="*/ 1423594 w 2417203"/>
                  <a:gd name="connsiteY1046" fmla="*/ 488792 h 1690080"/>
                  <a:gd name="connsiteX1047" fmla="*/ 1418242 w 2417203"/>
                  <a:gd name="connsiteY1047" fmla="*/ 489554 h 1690080"/>
                  <a:gd name="connsiteX1048" fmla="*/ 1410289 w 2417203"/>
                  <a:gd name="connsiteY1048" fmla="*/ 490680 h 1690080"/>
                  <a:gd name="connsiteX1049" fmla="*/ 1346157 w 2417203"/>
                  <a:gd name="connsiteY1049" fmla="*/ 613791 h 1690080"/>
                  <a:gd name="connsiteX1050" fmla="*/ 1347007 w 2417203"/>
                  <a:gd name="connsiteY1050" fmla="*/ 612441 h 1690080"/>
                  <a:gd name="connsiteX1051" fmla="*/ 1348859 w 2417203"/>
                  <a:gd name="connsiteY1051" fmla="*/ 613431 h 1690080"/>
                  <a:gd name="connsiteX1052" fmla="*/ 1348986 w 2417203"/>
                  <a:gd name="connsiteY1052" fmla="*/ 613520 h 1690080"/>
                  <a:gd name="connsiteX1053" fmla="*/ 1365792 w 2417203"/>
                  <a:gd name="connsiteY1053" fmla="*/ 622700 h 1690080"/>
                  <a:gd name="connsiteX1054" fmla="*/ 1362469 w 2417203"/>
                  <a:gd name="connsiteY1054" fmla="*/ 623195 h 1690080"/>
                  <a:gd name="connsiteX1055" fmla="*/ 1355100 w 2417203"/>
                  <a:gd name="connsiteY1055" fmla="*/ 625175 h 1690080"/>
                  <a:gd name="connsiteX1056" fmla="*/ 1354199 w 2417203"/>
                  <a:gd name="connsiteY1056" fmla="*/ 625400 h 1690080"/>
                  <a:gd name="connsiteX1057" fmla="*/ 1344813 w 2417203"/>
                  <a:gd name="connsiteY1057" fmla="*/ 623645 h 1690080"/>
                  <a:gd name="connsiteX1058" fmla="*/ 1342834 w 2417203"/>
                  <a:gd name="connsiteY1058" fmla="*/ 619191 h 1690080"/>
                  <a:gd name="connsiteX1059" fmla="*/ 1346157 w 2417203"/>
                  <a:gd name="connsiteY1059" fmla="*/ 613791 h 1690080"/>
                  <a:gd name="connsiteX1060" fmla="*/ 237763 w 2417203"/>
                  <a:gd name="connsiteY1060" fmla="*/ 273082 h 1690080"/>
                  <a:gd name="connsiteX1061" fmla="*/ 226220 w 2417203"/>
                  <a:gd name="connsiteY1061" fmla="*/ 276502 h 1690080"/>
                  <a:gd name="connsiteX1062" fmla="*/ 220969 w 2417203"/>
                  <a:gd name="connsiteY1062" fmla="*/ 278026 h 1690080"/>
                  <a:gd name="connsiteX1063" fmla="*/ 219256 w 2417203"/>
                  <a:gd name="connsiteY1063" fmla="*/ 278521 h 1690080"/>
                  <a:gd name="connsiteX1064" fmla="*/ 216022 w 2417203"/>
                  <a:gd name="connsiteY1064" fmla="*/ 279466 h 1690080"/>
                  <a:gd name="connsiteX1065" fmla="*/ 229949 w 2417203"/>
                  <a:gd name="connsiteY1065" fmla="*/ 254763 h 1690080"/>
                  <a:gd name="connsiteX1066" fmla="*/ 232511 w 2417203"/>
                  <a:gd name="connsiteY1066" fmla="*/ 258272 h 1690080"/>
                  <a:gd name="connsiteX1067" fmla="*/ 233095 w 2417203"/>
                  <a:gd name="connsiteY1067" fmla="*/ 259034 h 1690080"/>
                  <a:gd name="connsiteX1068" fmla="*/ 234084 w 2417203"/>
                  <a:gd name="connsiteY1068" fmla="*/ 260338 h 1690080"/>
                  <a:gd name="connsiteX1069" fmla="*/ 234084 w 2417203"/>
                  <a:gd name="connsiteY1069" fmla="*/ 260384 h 1690080"/>
                  <a:gd name="connsiteX1070" fmla="*/ 236012 w 2417203"/>
                  <a:gd name="connsiteY1070" fmla="*/ 263083 h 1690080"/>
                  <a:gd name="connsiteX1071" fmla="*/ 242392 w 2417203"/>
                  <a:gd name="connsiteY1071" fmla="*/ 271678 h 1690080"/>
                  <a:gd name="connsiteX1072" fmla="*/ 237763 w 2417203"/>
                  <a:gd name="connsiteY1072" fmla="*/ 273082 h 1690080"/>
                  <a:gd name="connsiteX1073" fmla="*/ 831243 w 2417203"/>
                  <a:gd name="connsiteY1073" fmla="*/ 752828 h 1690080"/>
                  <a:gd name="connsiteX1074" fmla="*/ 788865 w 2417203"/>
                  <a:gd name="connsiteY1074" fmla="*/ 778431 h 1690080"/>
                  <a:gd name="connsiteX1075" fmla="*/ 764816 w 2417203"/>
                  <a:gd name="connsiteY1075" fmla="*/ 805249 h 1690080"/>
                  <a:gd name="connsiteX1076" fmla="*/ 665461 w 2417203"/>
                  <a:gd name="connsiteY1076" fmla="*/ 787160 h 1690080"/>
                  <a:gd name="connsiteX1077" fmla="*/ 708333 w 2417203"/>
                  <a:gd name="connsiteY1077" fmla="*/ 790805 h 1690080"/>
                  <a:gd name="connsiteX1078" fmla="*/ 712684 w 2417203"/>
                  <a:gd name="connsiteY1078" fmla="*/ 791615 h 1690080"/>
                  <a:gd name="connsiteX1079" fmla="*/ 716109 w 2417203"/>
                  <a:gd name="connsiteY1079" fmla="*/ 786125 h 1690080"/>
                  <a:gd name="connsiteX1080" fmla="*/ 712430 w 2417203"/>
                  <a:gd name="connsiteY1080" fmla="*/ 782076 h 1690080"/>
                  <a:gd name="connsiteX1081" fmla="*/ 727118 w 2417203"/>
                  <a:gd name="connsiteY1081" fmla="*/ 763534 h 1690080"/>
                  <a:gd name="connsiteX1082" fmla="*/ 747121 w 2417203"/>
                  <a:gd name="connsiteY1082" fmla="*/ 744410 h 1690080"/>
                  <a:gd name="connsiteX1083" fmla="*/ 721550 w 2417203"/>
                  <a:gd name="connsiteY1083" fmla="*/ 715252 h 1690080"/>
                  <a:gd name="connsiteX1084" fmla="*/ 711834 w 2417203"/>
                  <a:gd name="connsiteY1084" fmla="*/ 702654 h 1690080"/>
                  <a:gd name="connsiteX1085" fmla="*/ 750977 w 2417203"/>
                  <a:gd name="connsiteY1085" fmla="*/ 722902 h 1690080"/>
                  <a:gd name="connsiteX1086" fmla="*/ 763611 w 2417203"/>
                  <a:gd name="connsiteY1086" fmla="*/ 724567 h 1690080"/>
                  <a:gd name="connsiteX1087" fmla="*/ 836190 w 2417203"/>
                  <a:gd name="connsiteY1087" fmla="*/ 722227 h 1690080"/>
                  <a:gd name="connsiteX1088" fmla="*/ 890161 w 2417203"/>
                  <a:gd name="connsiteY1088" fmla="*/ 701439 h 1690080"/>
                  <a:gd name="connsiteX1089" fmla="*/ 871376 w 2417203"/>
                  <a:gd name="connsiteY1089" fmla="*/ 703734 h 1690080"/>
                  <a:gd name="connsiteX1090" fmla="*/ 862116 w 2417203"/>
                  <a:gd name="connsiteY1090" fmla="*/ 712283 h 1690080"/>
                  <a:gd name="connsiteX1091" fmla="*/ 874432 w 2417203"/>
                  <a:gd name="connsiteY1091" fmla="*/ 712823 h 1690080"/>
                  <a:gd name="connsiteX1092" fmla="*/ 887015 w 2417203"/>
                  <a:gd name="connsiteY1092" fmla="*/ 711114 h 1690080"/>
                  <a:gd name="connsiteX1093" fmla="*/ 869942 w 2417203"/>
                  <a:gd name="connsiteY1093" fmla="*/ 722047 h 1690080"/>
                  <a:gd name="connsiteX1094" fmla="*/ 864450 w 2417203"/>
                  <a:gd name="connsiteY1094" fmla="*/ 721102 h 1690080"/>
                  <a:gd name="connsiteX1095" fmla="*/ 848278 w 2417203"/>
                  <a:gd name="connsiteY1095" fmla="*/ 729066 h 1690080"/>
                  <a:gd name="connsiteX1096" fmla="*/ 831243 w 2417203"/>
                  <a:gd name="connsiteY1096" fmla="*/ 752828 h 1690080"/>
                  <a:gd name="connsiteX1097" fmla="*/ 906790 w 2417203"/>
                  <a:gd name="connsiteY1097" fmla="*/ 913692 h 1690080"/>
                  <a:gd name="connsiteX1098" fmla="*/ 861939 w 2417203"/>
                  <a:gd name="connsiteY1098" fmla="*/ 943792 h 1690080"/>
                  <a:gd name="connsiteX1099" fmla="*/ 857119 w 2417203"/>
                  <a:gd name="connsiteY1099" fmla="*/ 937942 h 1690080"/>
                  <a:gd name="connsiteX1100" fmla="*/ 851462 w 2417203"/>
                  <a:gd name="connsiteY1100" fmla="*/ 939607 h 1690080"/>
                  <a:gd name="connsiteX1101" fmla="*/ 850028 w 2417203"/>
                  <a:gd name="connsiteY1101" fmla="*/ 934747 h 1690080"/>
                  <a:gd name="connsiteX1102" fmla="*/ 896579 w 2417203"/>
                  <a:gd name="connsiteY1102" fmla="*/ 885746 h 1690080"/>
                  <a:gd name="connsiteX1103" fmla="*/ 916582 w 2417203"/>
                  <a:gd name="connsiteY1103" fmla="*/ 889121 h 1690080"/>
                  <a:gd name="connsiteX1104" fmla="*/ 917115 w 2417203"/>
                  <a:gd name="connsiteY1104" fmla="*/ 898300 h 1690080"/>
                  <a:gd name="connsiteX1105" fmla="*/ 978151 w 2417203"/>
                  <a:gd name="connsiteY1105" fmla="*/ 902485 h 1690080"/>
                  <a:gd name="connsiteX1106" fmla="*/ 906790 w 2417203"/>
                  <a:gd name="connsiteY1106" fmla="*/ 913692 h 1690080"/>
                  <a:gd name="connsiteX1107" fmla="*/ 1216335 w 2417203"/>
                  <a:gd name="connsiteY1107" fmla="*/ 351603 h 1690080"/>
                  <a:gd name="connsiteX1108" fmla="*/ 1217134 w 2417203"/>
                  <a:gd name="connsiteY1108" fmla="*/ 346923 h 1690080"/>
                  <a:gd name="connsiteX1109" fmla="*/ 1229387 w 2417203"/>
                  <a:gd name="connsiteY1109" fmla="*/ 337407 h 1690080"/>
                  <a:gd name="connsiteX1110" fmla="*/ 1231974 w 2417203"/>
                  <a:gd name="connsiteY1110" fmla="*/ 338060 h 1690080"/>
                  <a:gd name="connsiteX1111" fmla="*/ 1244785 w 2417203"/>
                  <a:gd name="connsiteY1111" fmla="*/ 352907 h 1690080"/>
                  <a:gd name="connsiteX1112" fmla="*/ 1240777 w 2417203"/>
                  <a:gd name="connsiteY1112" fmla="*/ 367172 h 1690080"/>
                  <a:gd name="connsiteX1113" fmla="*/ 1218757 w 2417203"/>
                  <a:gd name="connsiteY1113" fmla="*/ 354753 h 1690080"/>
                  <a:gd name="connsiteX1114" fmla="*/ 1216195 w 2417203"/>
                  <a:gd name="connsiteY1114" fmla="*/ 353313 h 1690080"/>
                  <a:gd name="connsiteX1115" fmla="*/ 1216335 w 2417203"/>
                  <a:gd name="connsiteY1115" fmla="*/ 351599 h 1690080"/>
                  <a:gd name="connsiteX1116" fmla="*/ 1272234 w 2417203"/>
                  <a:gd name="connsiteY1116" fmla="*/ 1332335 h 1690080"/>
                  <a:gd name="connsiteX1117" fmla="*/ 1263837 w 2417203"/>
                  <a:gd name="connsiteY1117" fmla="*/ 1330532 h 1690080"/>
                  <a:gd name="connsiteX1118" fmla="*/ 1263241 w 2417203"/>
                  <a:gd name="connsiteY1118" fmla="*/ 1299887 h 1690080"/>
                  <a:gd name="connsiteX1119" fmla="*/ 1260780 w 2417203"/>
                  <a:gd name="connsiteY1119" fmla="*/ 1299137 h 1690080"/>
                  <a:gd name="connsiteX1120" fmla="*/ 1257863 w 2417203"/>
                  <a:gd name="connsiteY1120" fmla="*/ 1287835 h 1690080"/>
                  <a:gd name="connsiteX1121" fmla="*/ 1244608 w 2417203"/>
                  <a:gd name="connsiteY1121" fmla="*/ 1295582 h 1690080"/>
                  <a:gd name="connsiteX1122" fmla="*/ 1236287 w 2417203"/>
                  <a:gd name="connsiteY1122" fmla="*/ 1273750 h 1690080"/>
                  <a:gd name="connsiteX1123" fmla="*/ 1233319 w 2417203"/>
                  <a:gd name="connsiteY1123" fmla="*/ 1265025 h 1690080"/>
                  <a:gd name="connsiteX1124" fmla="*/ 1202674 w 2417203"/>
                  <a:gd name="connsiteY1124" fmla="*/ 1238296 h 1690080"/>
                  <a:gd name="connsiteX1125" fmla="*/ 1211439 w 2417203"/>
                  <a:gd name="connsiteY1125" fmla="*/ 1220838 h 1690080"/>
                  <a:gd name="connsiteX1126" fmla="*/ 1224148 w 2417203"/>
                  <a:gd name="connsiteY1126" fmla="*/ 1190645 h 1690080"/>
                  <a:gd name="connsiteX1127" fmla="*/ 1215028 w 2417203"/>
                  <a:gd name="connsiteY1127" fmla="*/ 1176697 h 1690080"/>
                  <a:gd name="connsiteX1128" fmla="*/ 1226089 w 2417203"/>
                  <a:gd name="connsiteY1128" fmla="*/ 1159148 h 1690080"/>
                  <a:gd name="connsiteX1129" fmla="*/ 1228829 w 2417203"/>
                  <a:gd name="connsiteY1129" fmla="*/ 1160139 h 1690080"/>
                  <a:gd name="connsiteX1130" fmla="*/ 1228512 w 2417203"/>
                  <a:gd name="connsiteY1130" fmla="*/ 1174627 h 1690080"/>
                  <a:gd name="connsiteX1131" fmla="*/ 1272640 w 2417203"/>
                  <a:gd name="connsiteY1131" fmla="*/ 1304624 h 1690080"/>
                  <a:gd name="connsiteX1132" fmla="*/ 1272234 w 2417203"/>
                  <a:gd name="connsiteY1132" fmla="*/ 1332335 h 1690080"/>
                  <a:gd name="connsiteX1133" fmla="*/ 1281087 w 2417203"/>
                  <a:gd name="connsiteY1133" fmla="*/ 417027 h 1690080"/>
                  <a:gd name="connsiteX1134" fmla="*/ 1281037 w 2417203"/>
                  <a:gd name="connsiteY1134" fmla="*/ 417027 h 1690080"/>
                  <a:gd name="connsiteX1135" fmla="*/ 1278931 w 2417203"/>
                  <a:gd name="connsiteY1135" fmla="*/ 417523 h 1690080"/>
                  <a:gd name="connsiteX1136" fmla="*/ 1277041 w 2417203"/>
                  <a:gd name="connsiteY1136" fmla="*/ 417657 h 1690080"/>
                  <a:gd name="connsiteX1137" fmla="*/ 1269811 w 2417203"/>
                  <a:gd name="connsiteY1137" fmla="*/ 413922 h 1690080"/>
                  <a:gd name="connsiteX1138" fmla="*/ 1266488 w 2417203"/>
                  <a:gd name="connsiteY1138" fmla="*/ 408253 h 1690080"/>
                  <a:gd name="connsiteX1139" fmla="*/ 1268593 w 2417203"/>
                  <a:gd name="connsiteY1139" fmla="*/ 408658 h 1690080"/>
                  <a:gd name="connsiteX1140" fmla="*/ 1270889 w 2417203"/>
                  <a:gd name="connsiteY1140" fmla="*/ 409108 h 1690080"/>
                  <a:gd name="connsiteX1141" fmla="*/ 1280593 w 2417203"/>
                  <a:gd name="connsiteY1141" fmla="*/ 411043 h 1690080"/>
                  <a:gd name="connsiteX1142" fmla="*/ 1282178 w 2417203"/>
                  <a:gd name="connsiteY1142" fmla="*/ 411312 h 1690080"/>
                  <a:gd name="connsiteX1143" fmla="*/ 1292694 w 2417203"/>
                  <a:gd name="connsiteY1143" fmla="*/ 413428 h 1690080"/>
                  <a:gd name="connsiteX1144" fmla="*/ 1281087 w 2417203"/>
                  <a:gd name="connsiteY1144" fmla="*/ 417023 h 1690080"/>
                  <a:gd name="connsiteX1145" fmla="*/ 2019814 w 2417203"/>
                  <a:gd name="connsiteY1145" fmla="*/ 933176 h 1690080"/>
                  <a:gd name="connsiteX1146" fmla="*/ 2017125 w 2417203"/>
                  <a:gd name="connsiteY1146" fmla="*/ 932006 h 1690080"/>
                  <a:gd name="connsiteX1147" fmla="*/ 2015362 w 2417203"/>
                  <a:gd name="connsiteY1147" fmla="*/ 929396 h 1690080"/>
                  <a:gd name="connsiteX1148" fmla="*/ 2014868 w 2417203"/>
                  <a:gd name="connsiteY1148" fmla="*/ 928136 h 1690080"/>
                  <a:gd name="connsiteX1149" fmla="*/ 2021971 w 2417203"/>
                  <a:gd name="connsiteY1149" fmla="*/ 915267 h 1690080"/>
                  <a:gd name="connsiteX1150" fmla="*/ 2023366 w 2417203"/>
                  <a:gd name="connsiteY1150" fmla="*/ 917608 h 1690080"/>
                  <a:gd name="connsiteX1151" fmla="*/ 2026030 w 2417203"/>
                  <a:gd name="connsiteY1151" fmla="*/ 921881 h 1690080"/>
                  <a:gd name="connsiteX1152" fmla="*/ 2030025 w 2417203"/>
                  <a:gd name="connsiteY1152" fmla="*/ 928541 h 1690080"/>
                  <a:gd name="connsiteX1153" fmla="*/ 2031281 w 2417203"/>
                  <a:gd name="connsiteY1153" fmla="*/ 930656 h 1690080"/>
                  <a:gd name="connsiteX1154" fmla="*/ 2019814 w 2417203"/>
                  <a:gd name="connsiteY1154" fmla="*/ 933172 h 1690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</a:cxnLst>
                <a:rect l="l" t="t" r="r" b="b"/>
                <a:pathLst>
                  <a:path w="2417203" h="1690080">
                    <a:moveTo>
                      <a:pt x="2417083" y="1253814"/>
                    </a:moveTo>
                    <a:cubicBezTo>
                      <a:pt x="2417032" y="1253363"/>
                      <a:pt x="2416994" y="1252913"/>
                      <a:pt x="2416905" y="1252464"/>
                    </a:cubicBezTo>
                    <a:cubicBezTo>
                      <a:pt x="2416791" y="1251650"/>
                      <a:pt x="2416551" y="1250860"/>
                      <a:pt x="2416182" y="1250124"/>
                    </a:cubicBezTo>
                    <a:cubicBezTo>
                      <a:pt x="2415434" y="1248691"/>
                      <a:pt x="2414812" y="1247201"/>
                      <a:pt x="2414293" y="1245669"/>
                    </a:cubicBezTo>
                    <a:cubicBezTo>
                      <a:pt x="2414014" y="1244917"/>
                      <a:pt x="2413772" y="1244152"/>
                      <a:pt x="2413570" y="1243374"/>
                    </a:cubicBezTo>
                    <a:cubicBezTo>
                      <a:pt x="2413303" y="1242430"/>
                      <a:pt x="2413075" y="1241439"/>
                      <a:pt x="2412897" y="1240494"/>
                    </a:cubicBezTo>
                    <a:lnTo>
                      <a:pt x="2412771" y="1239505"/>
                    </a:lnTo>
                    <a:cubicBezTo>
                      <a:pt x="2412491" y="1237840"/>
                      <a:pt x="2412402" y="1236149"/>
                      <a:pt x="2412491" y="1234465"/>
                    </a:cubicBezTo>
                    <a:cubicBezTo>
                      <a:pt x="2412466" y="1233999"/>
                      <a:pt x="2412479" y="1233532"/>
                      <a:pt x="2412542" y="1233068"/>
                    </a:cubicBezTo>
                    <a:cubicBezTo>
                      <a:pt x="2412771" y="1229808"/>
                      <a:pt x="2413405" y="1226589"/>
                      <a:pt x="2414432" y="1223485"/>
                    </a:cubicBezTo>
                    <a:cubicBezTo>
                      <a:pt x="2414470" y="1223305"/>
                      <a:pt x="2414559" y="1223125"/>
                      <a:pt x="2414610" y="1222945"/>
                    </a:cubicBezTo>
                    <a:cubicBezTo>
                      <a:pt x="2414787" y="1222450"/>
                      <a:pt x="2414927" y="1221955"/>
                      <a:pt x="2415054" y="1221459"/>
                    </a:cubicBezTo>
                    <a:cubicBezTo>
                      <a:pt x="2416817" y="1216328"/>
                      <a:pt x="2416931" y="1210774"/>
                      <a:pt x="2415371" y="1205577"/>
                    </a:cubicBezTo>
                    <a:cubicBezTo>
                      <a:pt x="2415320" y="1205423"/>
                      <a:pt x="2415256" y="1205273"/>
                      <a:pt x="2415193" y="1205127"/>
                    </a:cubicBezTo>
                    <a:cubicBezTo>
                      <a:pt x="2414673" y="1203753"/>
                      <a:pt x="2414014" y="1202440"/>
                      <a:pt x="2413215" y="1201212"/>
                    </a:cubicBezTo>
                    <a:lnTo>
                      <a:pt x="2413176" y="1201167"/>
                    </a:lnTo>
                    <a:cubicBezTo>
                      <a:pt x="2412339" y="1199868"/>
                      <a:pt x="2411362" y="1198674"/>
                      <a:pt x="2410246" y="1197611"/>
                    </a:cubicBezTo>
                    <a:cubicBezTo>
                      <a:pt x="2409435" y="1196734"/>
                      <a:pt x="2408547" y="1195922"/>
                      <a:pt x="2407595" y="1195182"/>
                    </a:cubicBezTo>
                    <a:cubicBezTo>
                      <a:pt x="2407532" y="1195111"/>
                      <a:pt x="2407456" y="1195050"/>
                      <a:pt x="2407380" y="1195001"/>
                    </a:cubicBezTo>
                    <a:lnTo>
                      <a:pt x="2406708" y="1194462"/>
                    </a:lnTo>
                    <a:lnTo>
                      <a:pt x="2406656" y="1194462"/>
                    </a:lnTo>
                    <a:cubicBezTo>
                      <a:pt x="2406454" y="1194322"/>
                      <a:pt x="2406264" y="1194172"/>
                      <a:pt x="2406073" y="1194011"/>
                    </a:cubicBezTo>
                    <a:cubicBezTo>
                      <a:pt x="2404094" y="1192552"/>
                      <a:pt x="2401963" y="1191301"/>
                      <a:pt x="2399731" y="1190277"/>
                    </a:cubicBezTo>
                    <a:cubicBezTo>
                      <a:pt x="2398412" y="1189678"/>
                      <a:pt x="2397042" y="1189195"/>
                      <a:pt x="2395647" y="1188837"/>
                    </a:cubicBezTo>
                    <a:cubicBezTo>
                      <a:pt x="2393769" y="1188424"/>
                      <a:pt x="2391841" y="1188303"/>
                      <a:pt x="2389939" y="1188477"/>
                    </a:cubicBezTo>
                    <a:cubicBezTo>
                      <a:pt x="2384206" y="1189436"/>
                      <a:pt x="2379018" y="1192441"/>
                      <a:pt x="2375327" y="1196936"/>
                    </a:cubicBezTo>
                    <a:cubicBezTo>
                      <a:pt x="2375124" y="1197172"/>
                      <a:pt x="2374921" y="1197398"/>
                      <a:pt x="2374692" y="1197611"/>
                    </a:cubicBezTo>
                    <a:cubicBezTo>
                      <a:pt x="2374782" y="1197250"/>
                      <a:pt x="2374870" y="1196849"/>
                      <a:pt x="2374959" y="1196486"/>
                    </a:cubicBezTo>
                    <a:cubicBezTo>
                      <a:pt x="2375327" y="1194962"/>
                      <a:pt x="2375631" y="1193471"/>
                      <a:pt x="2375910" y="1192121"/>
                    </a:cubicBezTo>
                    <a:cubicBezTo>
                      <a:pt x="2379411" y="1175833"/>
                      <a:pt x="2378510" y="1171243"/>
                      <a:pt x="2367374" y="1165843"/>
                    </a:cubicBezTo>
                    <a:cubicBezTo>
                      <a:pt x="2364723" y="1164539"/>
                      <a:pt x="2361438" y="1163234"/>
                      <a:pt x="2357531" y="1161652"/>
                    </a:cubicBezTo>
                    <a:cubicBezTo>
                      <a:pt x="2355907" y="1162822"/>
                      <a:pt x="2354246" y="1163993"/>
                      <a:pt x="2352622" y="1165117"/>
                    </a:cubicBezTo>
                    <a:cubicBezTo>
                      <a:pt x="2351239" y="1166152"/>
                      <a:pt x="2349794" y="1167143"/>
                      <a:pt x="2348360" y="1168132"/>
                    </a:cubicBezTo>
                    <a:cubicBezTo>
                      <a:pt x="2330970" y="1180551"/>
                      <a:pt x="2313301" y="1193105"/>
                      <a:pt x="2293894" y="1206867"/>
                    </a:cubicBezTo>
                    <a:cubicBezTo>
                      <a:pt x="2293438" y="1207182"/>
                      <a:pt x="2292943" y="1207543"/>
                      <a:pt x="2292499" y="1207858"/>
                    </a:cubicBezTo>
                    <a:cubicBezTo>
                      <a:pt x="2292537" y="1207543"/>
                      <a:pt x="2292537" y="1207223"/>
                      <a:pt x="2292588" y="1206913"/>
                    </a:cubicBezTo>
                    <a:cubicBezTo>
                      <a:pt x="2292588" y="1206642"/>
                      <a:pt x="2292626" y="1206373"/>
                      <a:pt x="2292626" y="1206151"/>
                    </a:cubicBezTo>
                    <a:cubicBezTo>
                      <a:pt x="2293704" y="1192248"/>
                      <a:pt x="2295328" y="1183743"/>
                      <a:pt x="2309978" y="1178749"/>
                    </a:cubicBezTo>
                    <a:cubicBezTo>
                      <a:pt x="2312794" y="1177755"/>
                      <a:pt x="2315521" y="1176505"/>
                      <a:pt x="2318108" y="1175014"/>
                    </a:cubicBezTo>
                    <a:cubicBezTo>
                      <a:pt x="2320353" y="1173799"/>
                      <a:pt x="2322561" y="1172450"/>
                      <a:pt x="2324767" y="1171054"/>
                    </a:cubicBezTo>
                    <a:lnTo>
                      <a:pt x="2324894" y="1171010"/>
                    </a:lnTo>
                    <a:cubicBezTo>
                      <a:pt x="2333076" y="1164641"/>
                      <a:pt x="2343172" y="1161245"/>
                      <a:pt x="2353522" y="1161381"/>
                    </a:cubicBezTo>
                    <a:cubicBezTo>
                      <a:pt x="2357886" y="1156071"/>
                      <a:pt x="2362199" y="1150807"/>
                      <a:pt x="2368135" y="1143561"/>
                    </a:cubicBezTo>
                    <a:cubicBezTo>
                      <a:pt x="2368896" y="1142616"/>
                      <a:pt x="2369708" y="1141627"/>
                      <a:pt x="2370507" y="1140640"/>
                    </a:cubicBezTo>
                    <a:cubicBezTo>
                      <a:pt x="2357100" y="1139130"/>
                      <a:pt x="2344073" y="1135230"/>
                      <a:pt x="2332048" y="1129121"/>
                    </a:cubicBezTo>
                    <a:cubicBezTo>
                      <a:pt x="2328852" y="1127724"/>
                      <a:pt x="2325706" y="1126241"/>
                      <a:pt x="2322522" y="1124847"/>
                    </a:cubicBezTo>
                    <a:cubicBezTo>
                      <a:pt x="2322205" y="1124711"/>
                      <a:pt x="2321926" y="1124576"/>
                      <a:pt x="2321622" y="1124441"/>
                    </a:cubicBezTo>
                    <a:cubicBezTo>
                      <a:pt x="2320544" y="1123991"/>
                      <a:pt x="2319465" y="1123497"/>
                      <a:pt x="2318387" y="1123044"/>
                    </a:cubicBezTo>
                    <a:cubicBezTo>
                      <a:pt x="2317626" y="1122731"/>
                      <a:pt x="2316802" y="1122370"/>
                      <a:pt x="2316041" y="1122055"/>
                    </a:cubicBezTo>
                    <a:cubicBezTo>
                      <a:pt x="2314062" y="1121245"/>
                      <a:pt x="2312045" y="1120436"/>
                      <a:pt x="2310029" y="1119716"/>
                    </a:cubicBezTo>
                    <a:cubicBezTo>
                      <a:pt x="2308811" y="1119265"/>
                      <a:pt x="2307555" y="1118815"/>
                      <a:pt x="2306299" y="1118410"/>
                    </a:cubicBezTo>
                    <a:cubicBezTo>
                      <a:pt x="2304498" y="1117826"/>
                      <a:pt x="2302697" y="1117285"/>
                      <a:pt x="2300858" y="1116791"/>
                    </a:cubicBezTo>
                    <a:cubicBezTo>
                      <a:pt x="2300541" y="1116701"/>
                      <a:pt x="2300186" y="1116611"/>
                      <a:pt x="2299869" y="1116520"/>
                    </a:cubicBezTo>
                    <a:cubicBezTo>
                      <a:pt x="2299146" y="1116340"/>
                      <a:pt x="2298385" y="1116161"/>
                      <a:pt x="2297661" y="1115981"/>
                    </a:cubicBezTo>
                    <a:lnTo>
                      <a:pt x="2296317" y="1115710"/>
                    </a:lnTo>
                    <a:cubicBezTo>
                      <a:pt x="2295416" y="1115485"/>
                      <a:pt x="2294478" y="1115306"/>
                      <a:pt x="2293577" y="1115170"/>
                    </a:cubicBezTo>
                    <a:cubicBezTo>
                      <a:pt x="2291548" y="1114811"/>
                      <a:pt x="2289531" y="1114535"/>
                      <a:pt x="2287464" y="1114360"/>
                    </a:cubicBezTo>
                    <a:lnTo>
                      <a:pt x="2285979" y="1114226"/>
                    </a:lnTo>
                    <a:cubicBezTo>
                      <a:pt x="2288427" y="1107837"/>
                      <a:pt x="2287895" y="1100685"/>
                      <a:pt x="2284495" y="1094743"/>
                    </a:cubicBezTo>
                    <a:cubicBezTo>
                      <a:pt x="2284216" y="1094227"/>
                      <a:pt x="2283899" y="1093732"/>
                      <a:pt x="2283557" y="1093258"/>
                    </a:cubicBezTo>
                    <a:cubicBezTo>
                      <a:pt x="2282669" y="1091971"/>
                      <a:pt x="2281692" y="1090753"/>
                      <a:pt x="2280639" y="1089613"/>
                    </a:cubicBezTo>
                    <a:cubicBezTo>
                      <a:pt x="2280284" y="1089200"/>
                      <a:pt x="2279904" y="1088810"/>
                      <a:pt x="2279510" y="1088443"/>
                    </a:cubicBezTo>
                    <a:cubicBezTo>
                      <a:pt x="2278255" y="1087138"/>
                      <a:pt x="2276860" y="1085878"/>
                      <a:pt x="2275426" y="1084618"/>
                    </a:cubicBezTo>
                    <a:cubicBezTo>
                      <a:pt x="2273802" y="1083268"/>
                      <a:pt x="2272103" y="1081874"/>
                      <a:pt x="2270391" y="1080479"/>
                    </a:cubicBezTo>
                    <a:cubicBezTo>
                      <a:pt x="2269984" y="1080164"/>
                      <a:pt x="2269579" y="1079803"/>
                      <a:pt x="2269173" y="1079488"/>
                    </a:cubicBezTo>
                    <a:cubicBezTo>
                      <a:pt x="2268906" y="1079264"/>
                      <a:pt x="2268589" y="1079039"/>
                      <a:pt x="2268323" y="1078814"/>
                    </a:cubicBezTo>
                    <a:cubicBezTo>
                      <a:pt x="2266890" y="1077644"/>
                      <a:pt x="2265444" y="1076473"/>
                      <a:pt x="2263959" y="1075304"/>
                    </a:cubicBezTo>
                    <a:cubicBezTo>
                      <a:pt x="2259875" y="1072191"/>
                      <a:pt x="2255969" y="1068841"/>
                      <a:pt x="2252277" y="1065271"/>
                    </a:cubicBezTo>
                    <a:cubicBezTo>
                      <a:pt x="2251212" y="1064246"/>
                      <a:pt x="2250210" y="1063165"/>
                      <a:pt x="2249271" y="1062031"/>
                    </a:cubicBezTo>
                    <a:cubicBezTo>
                      <a:pt x="2247331" y="1059840"/>
                      <a:pt x="2245644" y="1057441"/>
                      <a:pt x="2244236" y="1054877"/>
                    </a:cubicBezTo>
                    <a:cubicBezTo>
                      <a:pt x="2243830" y="1054242"/>
                      <a:pt x="2243513" y="1053573"/>
                      <a:pt x="2243158" y="1052897"/>
                    </a:cubicBezTo>
                    <a:cubicBezTo>
                      <a:pt x="2241762" y="1049975"/>
                      <a:pt x="2240773" y="1046870"/>
                      <a:pt x="2240240" y="1043673"/>
                    </a:cubicBezTo>
                    <a:cubicBezTo>
                      <a:pt x="2240101" y="1042774"/>
                      <a:pt x="2239974" y="1041828"/>
                      <a:pt x="2239872" y="1040879"/>
                    </a:cubicBezTo>
                    <a:cubicBezTo>
                      <a:pt x="2239872" y="1040743"/>
                      <a:pt x="2239834" y="1040564"/>
                      <a:pt x="2239834" y="1040384"/>
                    </a:cubicBezTo>
                    <a:cubicBezTo>
                      <a:pt x="2246760" y="1033907"/>
                      <a:pt x="2253407" y="1027650"/>
                      <a:pt x="2261854" y="1019730"/>
                    </a:cubicBezTo>
                    <a:cubicBezTo>
                      <a:pt x="2260421" y="1018921"/>
                      <a:pt x="2259114" y="1018291"/>
                      <a:pt x="2257947" y="1017751"/>
                    </a:cubicBezTo>
                    <a:cubicBezTo>
                      <a:pt x="2256780" y="1017211"/>
                      <a:pt x="2255791" y="1016715"/>
                      <a:pt x="2254890" y="1016265"/>
                    </a:cubicBezTo>
                    <a:cubicBezTo>
                      <a:pt x="2254256" y="1015938"/>
                      <a:pt x="2253660" y="1015563"/>
                      <a:pt x="2253089" y="1015141"/>
                    </a:cubicBezTo>
                    <a:cubicBezTo>
                      <a:pt x="2252556" y="1014811"/>
                      <a:pt x="2252075" y="1014401"/>
                      <a:pt x="2251656" y="1013926"/>
                    </a:cubicBezTo>
                    <a:cubicBezTo>
                      <a:pt x="2250438" y="1012529"/>
                      <a:pt x="2249005" y="1010867"/>
                      <a:pt x="2247521" y="1009111"/>
                    </a:cubicBezTo>
                    <a:cubicBezTo>
                      <a:pt x="2245580" y="1006817"/>
                      <a:pt x="2243564" y="1004341"/>
                      <a:pt x="2241813" y="1002137"/>
                    </a:cubicBezTo>
                    <a:cubicBezTo>
                      <a:pt x="2240824" y="1000877"/>
                      <a:pt x="2239872" y="999663"/>
                      <a:pt x="2239111" y="998628"/>
                    </a:cubicBezTo>
                    <a:cubicBezTo>
                      <a:pt x="2237678" y="996648"/>
                      <a:pt x="2236778" y="995253"/>
                      <a:pt x="2237006" y="995027"/>
                    </a:cubicBezTo>
                    <a:cubicBezTo>
                      <a:pt x="2241813" y="990348"/>
                      <a:pt x="2243602" y="986838"/>
                      <a:pt x="2243564" y="983959"/>
                    </a:cubicBezTo>
                    <a:cubicBezTo>
                      <a:pt x="2243513" y="982526"/>
                      <a:pt x="2243031" y="981143"/>
                      <a:pt x="2242168" y="979999"/>
                    </a:cubicBezTo>
                    <a:cubicBezTo>
                      <a:pt x="2241052" y="978502"/>
                      <a:pt x="2239707" y="977195"/>
                      <a:pt x="2238173" y="976130"/>
                    </a:cubicBezTo>
                    <a:cubicBezTo>
                      <a:pt x="2237222" y="975453"/>
                      <a:pt x="2236232" y="974774"/>
                      <a:pt x="2235204" y="974098"/>
                    </a:cubicBezTo>
                    <a:lnTo>
                      <a:pt x="2235154" y="974053"/>
                    </a:lnTo>
                    <a:cubicBezTo>
                      <a:pt x="2234304" y="973513"/>
                      <a:pt x="2233492" y="972928"/>
                      <a:pt x="2232642" y="972388"/>
                    </a:cubicBezTo>
                    <a:cubicBezTo>
                      <a:pt x="2231476" y="971533"/>
                      <a:pt x="2230308" y="970679"/>
                      <a:pt x="2229230" y="969778"/>
                    </a:cubicBezTo>
                    <a:cubicBezTo>
                      <a:pt x="2227607" y="968332"/>
                      <a:pt x="2226249" y="966612"/>
                      <a:pt x="2225222" y="964698"/>
                    </a:cubicBezTo>
                    <a:cubicBezTo>
                      <a:pt x="2224956" y="964293"/>
                      <a:pt x="2224778" y="963888"/>
                      <a:pt x="2224550" y="963483"/>
                    </a:cubicBezTo>
                    <a:cubicBezTo>
                      <a:pt x="2223789" y="961964"/>
                      <a:pt x="2223205" y="960364"/>
                      <a:pt x="2222799" y="958714"/>
                    </a:cubicBezTo>
                    <a:cubicBezTo>
                      <a:pt x="2222761" y="958614"/>
                      <a:pt x="2222749" y="958506"/>
                      <a:pt x="2222749" y="958399"/>
                    </a:cubicBezTo>
                    <a:cubicBezTo>
                      <a:pt x="2222432" y="957074"/>
                      <a:pt x="2222368" y="955698"/>
                      <a:pt x="2222571" y="954349"/>
                    </a:cubicBezTo>
                    <a:cubicBezTo>
                      <a:pt x="2223332" y="949940"/>
                      <a:pt x="2222711" y="947689"/>
                      <a:pt x="2221315" y="946564"/>
                    </a:cubicBezTo>
                    <a:cubicBezTo>
                      <a:pt x="2218842" y="944584"/>
                      <a:pt x="2214085" y="946070"/>
                      <a:pt x="2210661" y="945215"/>
                    </a:cubicBezTo>
                    <a:cubicBezTo>
                      <a:pt x="2209164" y="944956"/>
                      <a:pt x="2207921" y="943930"/>
                      <a:pt x="2207388" y="942515"/>
                    </a:cubicBezTo>
                    <a:cubicBezTo>
                      <a:pt x="2216762" y="936485"/>
                      <a:pt x="2216280" y="930996"/>
                      <a:pt x="2212995" y="925596"/>
                    </a:cubicBezTo>
                    <a:cubicBezTo>
                      <a:pt x="2212360" y="924561"/>
                      <a:pt x="2211650" y="923572"/>
                      <a:pt x="2210889" y="922537"/>
                    </a:cubicBezTo>
                    <a:lnTo>
                      <a:pt x="2209405" y="920647"/>
                    </a:lnTo>
                    <a:lnTo>
                      <a:pt x="2209354" y="920647"/>
                    </a:lnTo>
                    <a:cubicBezTo>
                      <a:pt x="2209177" y="920467"/>
                      <a:pt x="2209037" y="920242"/>
                      <a:pt x="2208821" y="920012"/>
                    </a:cubicBezTo>
                    <a:cubicBezTo>
                      <a:pt x="2207566" y="918482"/>
                      <a:pt x="2206209" y="916907"/>
                      <a:pt x="2205042" y="915332"/>
                    </a:cubicBezTo>
                    <a:cubicBezTo>
                      <a:pt x="2204027" y="914242"/>
                      <a:pt x="2202784" y="913384"/>
                      <a:pt x="2201401" y="912812"/>
                    </a:cubicBezTo>
                    <a:cubicBezTo>
                      <a:pt x="2199651" y="911958"/>
                      <a:pt x="2197938" y="911147"/>
                      <a:pt x="2197583" y="909843"/>
                    </a:cubicBezTo>
                    <a:cubicBezTo>
                      <a:pt x="2196328" y="905614"/>
                      <a:pt x="2194805" y="901466"/>
                      <a:pt x="2193042" y="897424"/>
                    </a:cubicBezTo>
                    <a:cubicBezTo>
                      <a:pt x="2192763" y="896702"/>
                      <a:pt x="2192459" y="895996"/>
                      <a:pt x="2192104" y="895309"/>
                    </a:cubicBezTo>
                    <a:cubicBezTo>
                      <a:pt x="2191152" y="893150"/>
                      <a:pt x="2190125" y="891034"/>
                      <a:pt x="2189047" y="888920"/>
                    </a:cubicBezTo>
                    <a:lnTo>
                      <a:pt x="2188996" y="888784"/>
                    </a:lnTo>
                    <a:cubicBezTo>
                      <a:pt x="2187651" y="886085"/>
                      <a:pt x="2186206" y="883385"/>
                      <a:pt x="2184772" y="880730"/>
                    </a:cubicBezTo>
                    <a:cubicBezTo>
                      <a:pt x="2183884" y="879110"/>
                      <a:pt x="2182984" y="877491"/>
                      <a:pt x="2182121" y="875871"/>
                    </a:cubicBezTo>
                    <a:lnTo>
                      <a:pt x="2182121" y="875847"/>
                    </a:lnTo>
                    <a:cubicBezTo>
                      <a:pt x="2180421" y="872741"/>
                      <a:pt x="2178659" y="869636"/>
                      <a:pt x="2176959" y="866396"/>
                    </a:cubicBezTo>
                    <a:cubicBezTo>
                      <a:pt x="2176921" y="866254"/>
                      <a:pt x="2176857" y="866117"/>
                      <a:pt x="2176781" y="865991"/>
                    </a:cubicBezTo>
                    <a:cubicBezTo>
                      <a:pt x="2176286" y="865046"/>
                      <a:pt x="2175741" y="864057"/>
                      <a:pt x="2175297" y="863070"/>
                    </a:cubicBezTo>
                    <a:cubicBezTo>
                      <a:pt x="2175132" y="862854"/>
                      <a:pt x="2175006" y="862611"/>
                      <a:pt x="2174929" y="862350"/>
                    </a:cubicBezTo>
                    <a:cubicBezTo>
                      <a:pt x="2174295" y="861181"/>
                      <a:pt x="2173724" y="860010"/>
                      <a:pt x="2173141" y="858840"/>
                    </a:cubicBezTo>
                    <a:cubicBezTo>
                      <a:pt x="2172862" y="858300"/>
                      <a:pt x="2172646" y="857805"/>
                      <a:pt x="2172418" y="857265"/>
                    </a:cubicBezTo>
                    <a:cubicBezTo>
                      <a:pt x="2170135" y="852548"/>
                      <a:pt x="2168118" y="847712"/>
                      <a:pt x="2166355" y="842777"/>
                    </a:cubicBezTo>
                    <a:cubicBezTo>
                      <a:pt x="2165898" y="841652"/>
                      <a:pt x="2165492" y="840527"/>
                      <a:pt x="2165137" y="839357"/>
                    </a:cubicBezTo>
                    <a:cubicBezTo>
                      <a:pt x="2164820" y="840212"/>
                      <a:pt x="2164465" y="841066"/>
                      <a:pt x="2164110" y="841921"/>
                    </a:cubicBezTo>
                    <a:lnTo>
                      <a:pt x="2164110" y="841967"/>
                    </a:lnTo>
                    <a:cubicBezTo>
                      <a:pt x="2159163" y="854032"/>
                      <a:pt x="2152871" y="863340"/>
                      <a:pt x="2149142" y="873328"/>
                    </a:cubicBezTo>
                    <a:cubicBezTo>
                      <a:pt x="2147937" y="876473"/>
                      <a:pt x="2147050" y="879728"/>
                      <a:pt x="2146491" y="883047"/>
                    </a:cubicBezTo>
                    <a:cubicBezTo>
                      <a:pt x="2146009" y="886156"/>
                      <a:pt x="2145870" y="889307"/>
                      <a:pt x="2146085" y="892445"/>
                    </a:cubicBezTo>
                    <a:cubicBezTo>
                      <a:pt x="2146238" y="894858"/>
                      <a:pt x="2146187" y="897279"/>
                      <a:pt x="2145946" y="899684"/>
                    </a:cubicBezTo>
                    <a:cubicBezTo>
                      <a:pt x="2145477" y="904250"/>
                      <a:pt x="2144157" y="908689"/>
                      <a:pt x="2142077" y="912778"/>
                    </a:cubicBezTo>
                    <a:cubicBezTo>
                      <a:pt x="2141430" y="914039"/>
                      <a:pt x="2140682" y="915243"/>
                      <a:pt x="2139832" y="916377"/>
                    </a:cubicBezTo>
                    <a:cubicBezTo>
                      <a:pt x="2139388" y="917012"/>
                      <a:pt x="2138932" y="917637"/>
                      <a:pt x="2138399" y="918267"/>
                    </a:cubicBezTo>
                    <a:cubicBezTo>
                      <a:pt x="2138018" y="918723"/>
                      <a:pt x="2137612" y="919159"/>
                      <a:pt x="2137181" y="919571"/>
                    </a:cubicBezTo>
                    <a:cubicBezTo>
                      <a:pt x="2136192" y="920610"/>
                      <a:pt x="2135114" y="921559"/>
                      <a:pt x="2133947" y="922407"/>
                    </a:cubicBezTo>
                    <a:cubicBezTo>
                      <a:pt x="2133630" y="922677"/>
                      <a:pt x="2133312" y="922901"/>
                      <a:pt x="2133008" y="923126"/>
                    </a:cubicBezTo>
                    <a:cubicBezTo>
                      <a:pt x="2129545" y="925511"/>
                      <a:pt x="2126083" y="927986"/>
                      <a:pt x="2122620" y="930460"/>
                    </a:cubicBezTo>
                    <a:cubicBezTo>
                      <a:pt x="2120019" y="932306"/>
                      <a:pt x="2117407" y="934195"/>
                      <a:pt x="2114806" y="936085"/>
                    </a:cubicBezTo>
                    <a:cubicBezTo>
                      <a:pt x="2104824" y="943419"/>
                      <a:pt x="2094575" y="951114"/>
                      <a:pt x="2083476" y="959259"/>
                    </a:cubicBezTo>
                    <a:cubicBezTo>
                      <a:pt x="2083286" y="959423"/>
                      <a:pt x="2083096" y="959573"/>
                      <a:pt x="2082893" y="959708"/>
                    </a:cubicBezTo>
                    <a:cubicBezTo>
                      <a:pt x="2081586" y="957999"/>
                      <a:pt x="2080331" y="956288"/>
                      <a:pt x="2079113" y="954628"/>
                    </a:cubicBezTo>
                    <a:cubicBezTo>
                      <a:pt x="2078479" y="953819"/>
                      <a:pt x="2077857" y="953009"/>
                      <a:pt x="2077274" y="952245"/>
                    </a:cubicBezTo>
                    <a:cubicBezTo>
                      <a:pt x="2075790" y="950265"/>
                      <a:pt x="2074356" y="948375"/>
                      <a:pt x="2072910" y="946484"/>
                    </a:cubicBezTo>
                    <a:cubicBezTo>
                      <a:pt x="2068775" y="940995"/>
                      <a:pt x="2064830" y="935641"/>
                      <a:pt x="2061139" y="930101"/>
                    </a:cubicBezTo>
                    <a:cubicBezTo>
                      <a:pt x="2052958" y="917817"/>
                      <a:pt x="2044244" y="917727"/>
                      <a:pt x="2031484" y="930641"/>
                    </a:cubicBezTo>
                    <a:lnTo>
                      <a:pt x="2031344" y="930641"/>
                    </a:lnTo>
                    <a:cubicBezTo>
                      <a:pt x="2031205" y="929244"/>
                      <a:pt x="2031078" y="927847"/>
                      <a:pt x="2030900" y="926456"/>
                    </a:cubicBezTo>
                    <a:cubicBezTo>
                      <a:pt x="2030038" y="917998"/>
                      <a:pt x="2029010" y="909538"/>
                      <a:pt x="2028148" y="901079"/>
                    </a:cubicBezTo>
                    <a:cubicBezTo>
                      <a:pt x="2028059" y="900088"/>
                      <a:pt x="2027970" y="899047"/>
                      <a:pt x="2027882" y="898064"/>
                    </a:cubicBezTo>
                    <a:cubicBezTo>
                      <a:pt x="2027793" y="897119"/>
                      <a:pt x="2027704" y="896128"/>
                      <a:pt x="2027615" y="895185"/>
                    </a:cubicBezTo>
                    <a:cubicBezTo>
                      <a:pt x="2027349" y="892485"/>
                      <a:pt x="2027158" y="889785"/>
                      <a:pt x="2026981" y="887085"/>
                    </a:cubicBezTo>
                    <a:cubicBezTo>
                      <a:pt x="2026753" y="883980"/>
                      <a:pt x="2026575" y="880830"/>
                      <a:pt x="2026486" y="877726"/>
                    </a:cubicBezTo>
                    <a:cubicBezTo>
                      <a:pt x="2026689" y="873265"/>
                      <a:pt x="2025192" y="868893"/>
                      <a:pt x="2022300" y="865487"/>
                    </a:cubicBezTo>
                    <a:cubicBezTo>
                      <a:pt x="2021324" y="864437"/>
                      <a:pt x="2020170" y="863569"/>
                      <a:pt x="2018888" y="862922"/>
                    </a:cubicBezTo>
                    <a:lnTo>
                      <a:pt x="2018800" y="862922"/>
                    </a:lnTo>
                    <a:cubicBezTo>
                      <a:pt x="2015299" y="861313"/>
                      <a:pt x="2011506" y="860469"/>
                      <a:pt x="2007650" y="860448"/>
                    </a:cubicBezTo>
                    <a:cubicBezTo>
                      <a:pt x="2013815" y="857567"/>
                      <a:pt x="2019066" y="855138"/>
                      <a:pt x="2021311" y="854098"/>
                    </a:cubicBezTo>
                    <a:cubicBezTo>
                      <a:pt x="2024013" y="835919"/>
                      <a:pt x="2026258" y="820570"/>
                      <a:pt x="2028503" y="805412"/>
                    </a:cubicBezTo>
                    <a:cubicBezTo>
                      <a:pt x="2028237" y="805502"/>
                      <a:pt x="2027970" y="805547"/>
                      <a:pt x="2027653" y="805637"/>
                    </a:cubicBezTo>
                    <a:cubicBezTo>
                      <a:pt x="2023746" y="807170"/>
                      <a:pt x="2019675" y="808213"/>
                      <a:pt x="2015514" y="808742"/>
                    </a:cubicBezTo>
                    <a:cubicBezTo>
                      <a:pt x="2015185" y="807974"/>
                      <a:pt x="2014779" y="807236"/>
                      <a:pt x="2014309" y="806537"/>
                    </a:cubicBezTo>
                    <a:lnTo>
                      <a:pt x="2014309" y="806505"/>
                    </a:lnTo>
                    <a:cubicBezTo>
                      <a:pt x="2012648" y="803874"/>
                      <a:pt x="2010276" y="801769"/>
                      <a:pt x="2007473" y="800430"/>
                    </a:cubicBezTo>
                    <a:cubicBezTo>
                      <a:pt x="2000395" y="798435"/>
                      <a:pt x="1993190" y="796888"/>
                      <a:pt x="1985909" y="795796"/>
                    </a:cubicBezTo>
                    <a:cubicBezTo>
                      <a:pt x="1980113" y="794146"/>
                      <a:pt x="1974748" y="791261"/>
                      <a:pt x="1970181" y="787336"/>
                    </a:cubicBezTo>
                    <a:cubicBezTo>
                      <a:pt x="1969243" y="786502"/>
                      <a:pt x="1968418" y="785565"/>
                      <a:pt x="1967708" y="784542"/>
                    </a:cubicBezTo>
                    <a:lnTo>
                      <a:pt x="1967657" y="784542"/>
                    </a:lnTo>
                    <a:cubicBezTo>
                      <a:pt x="1967480" y="784318"/>
                      <a:pt x="1967340" y="784093"/>
                      <a:pt x="1967162" y="783868"/>
                    </a:cubicBezTo>
                    <a:cubicBezTo>
                      <a:pt x="1966325" y="782662"/>
                      <a:pt x="1965615" y="781381"/>
                      <a:pt x="1965006" y="780043"/>
                    </a:cubicBezTo>
                    <a:cubicBezTo>
                      <a:pt x="1964879" y="779815"/>
                      <a:pt x="1964778" y="779574"/>
                      <a:pt x="1964689" y="779324"/>
                    </a:cubicBezTo>
                    <a:cubicBezTo>
                      <a:pt x="1964296" y="778399"/>
                      <a:pt x="1963953" y="777452"/>
                      <a:pt x="1963661" y="776488"/>
                    </a:cubicBezTo>
                    <a:cubicBezTo>
                      <a:pt x="1962888" y="773986"/>
                      <a:pt x="1961949" y="771536"/>
                      <a:pt x="1960871" y="769154"/>
                    </a:cubicBezTo>
                    <a:cubicBezTo>
                      <a:pt x="1960541" y="768213"/>
                      <a:pt x="1960161" y="767295"/>
                      <a:pt x="1959704" y="766409"/>
                    </a:cubicBezTo>
                    <a:cubicBezTo>
                      <a:pt x="1958892" y="764744"/>
                      <a:pt x="1958042" y="763125"/>
                      <a:pt x="1957180" y="761550"/>
                    </a:cubicBezTo>
                    <a:cubicBezTo>
                      <a:pt x="1956774" y="760915"/>
                      <a:pt x="1956419" y="760335"/>
                      <a:pt x="1956013" y="759705"/>
                    </a:cubicBezTo>
                    <a:cubicBezTo>
                      <a:pt x="1954377" y="756948"/>
                      <a:pt x="1952563" y="754302"/>
                      <a:pt x="1950584" y="751787"/>
                    </a:cubicBezTo>
                    <a:cubicBezTo>
                      <a:pt x="1948491" y="749068"/>
                      <a:pt x="1946259" y="746469"/>
                      <a:pt x="1943887" y="744001"/>
                    </a:cubicBezTo>
                    <a:cubicBezTo>
                      <a:pt x="1941857" y="741797"/>
                      <a:pt x="1939701" y="739683"/>
                      <a:pt x="1937456" y="737612"/>
                    </a:cubicBezTo>
                    <a:cubicBezTo>
                      <a:pt x="1935794" y="735993"/>
                      <a:pt x="1934082" y="734462"/>
                      <a:pt x="1932331" y="732932"/>
                    </a:cubicBezTo>
                    <a:cubicBezTo>
                      <a:pt x="1928552" y="729602"/>
                      <a:pt x="1924645" y="726364"/>
                      <a:pt x="1920738" y="723123"/>
                    </a:cubicBezTo>
                    <a:cubicBezTo>
                      <a:pt x="1917009" y="720019"/>
                      <a:pt x="1913229" y="716959"/>
                      <a:pt x="1909551" y="713764"/>
                    </a:cubicBezTo>
                    <a:cubicBezTo>
                      <a:pt x="1893099" y="729254"/>
                      <a:pt x="1868758" y="732829"/>
                      <a:pt x="1848565" y="722719"/>
                    </a:cubicBezTo>
                    <a:cubicBezTo>
                      <a:pt x="1847487" y="722269"/>
                      <a:pt x="1846320" y="721818"/>
                      <a:pt x="1845064" y="721322"/>
                    </a:cubicBezTo>
                    <a:cubicBezTo>
                      <a:pt x="1843212" y="720602"/>
                      <a:pt x="1841322" y="719798"/>
                      <a:pt x="1839483" y="718982"/>
                    </a:cubicBezTo>
                    <a:cubicBezTo>
                      <a:pt x="1830921" y="714786"/>
                      <a:pt x="1821840" y="711731"/>
                      <a:pt x="1812479" y="709893"/>
                    </a:cubicBezTo>
                    <a:cubicBezTo>
                      <a:pt x="1810386" y="709582"/>
                      <a:pt x="1808255" y="709492"/>
                      <a:pt x="1806137" y="709624"/>
                    </a:cubicBezTo>
                    <a:lnTo>
                      <a:pt x="1805921" y="709624"/>
                    </a:lnTo>
                    <a:cubicBezTo>
                      <a:pt x="1793871" y="710251"/>
                      <a:pt x="1784612" y="720536"/>
                      <a:pt x="1785246" y="732594"/>
                    </a:cubicBezTo>
                    <a:cubicBezTo>
                      <a:pt x="1785309" y="733814"/>
                      <a:pt x="1785474" y="735025"/>
                      <a:pt x="1785740" y="736216"/>
                    </a:cubicBezTo>
                    <a:cubicBezTo>
                      <a:pt x="1786058" y="737971"/>
                      <a:pt x="1786463" y="739681"/>
                      <a:pt x="1786945" y="741435"/>
                    </a:cubicBezTo>
                    <a:cubicBezTo>
                      <a:pt x="1789673" y="749763"/>
                      <a:pt x="1792882" y="757922"/>
                      <a:pt x="1796573" y="765868"/>
                    </a:cubicBezTo>
                    <a:lnTo>
                      <a:pt x="1796611" y="765913"/>
                    </a:lnTo>
                    <a:cubicBezTo>
                      <a:pt x="1797651" y="768344"/>
                      <a:pt x="1798678" y="770952"/>
                      <a:pt x="1799756" y="773652"/>
                    </a:cubicBezTo>
                    <a:cubicBezTo>
                      <a:pt x="1797511" y="781616"/>
                      <a:pt x="1793782" y="794800"/>
                      <a:pt x="1790637" y="806050"/>
                    </a:cubicBezTo>
                    <a:cubicBezTo>
                      <a:pt x="1790903" y="806545"/>
                      <a:pt x="1791182" y="807085"/>
                      <a:pt x="1791448" y="807574"/>
                    </a:cubicBezTo>
                    <a:cubicBezTo>
                      <a:pt x="1793237" y="811010"/>
                      <a:pt x="1794822" y="814558"/>
                      <a:pt x="1796167" y="818194"/>
                    </a:cubicBezTo>
                    <a:cubicBezTo>
                      <a:pt x="1796801" y="819768"/>
                      <a:pt x="1797385" y="821388"/>
                      <a:pt x="1797866" y="823008"/>
                    </a:cubicBezTo>
                    <a:cubicBezTo>
                      <a:pt x="1798678" y="825303"/>
                      <a:pt x="1799351" y="827642"/>
                      <a:pt x="1799985" y="829937"/>
                    </a:cubicBezTo>
                    <a:cubicBezTo>
                      <a:pt x="1800429" y="831512"/>
                      <a:pt x="1800835" y="833087"/>
                      <a:pt x="1801241" y="834662"/>
                    </a:cubicBezTo>
                    <a:cubicBezTo>
                      <a:pt x="1803270" y="842987"/>
                      <a:pt x="1804741" y="851356"/>
                      <a:pt x="1806365" y="859635"/>
                    </a:cubicBezTo>
                    <a:cubicBezTo>
                      <a:pt x="1806860" y="862064"/>
                      <a:pt x="1807354" y="864450"/>
                      <a:pt x="1807887" y="866835"/>
                    </a:cubicBezTo>
                    <a:lnTo>
                      <a:pt x="1808026" y="867597"/>
                    </a:lnTo>
                    <a:cubicBezTo>
                      <a:pt x="1808065" y="867729"/>
                      <a:pt x="1808077" y="867865"/>
                      <a:pt x="1808065" y="868002"/>
                    </a:cubicBezTo>
                    <a:cubicBezTo>
                      <a:pt x="1807684" y="869552"/>
                      <a:pt x="1807012" y="871018"/>
                      <a:pt x="1806086" y="872320"/>
                    </a:cubicBezTo>
                    <a:cubicBezTo>
                      <a:pt x="1804475" y="875154"/>
                      <a:pt x="1802902" y="877989"/>
                      <a:pt x="1801329" y="880829"/>
                    </a:cubicBezTo>
                    <a:cubicBezTo>
                      <a:pt x="1799883" y="883348"/>
                      <a:pt x="1798501" y="885869"/>
                      <a:pt x="1797105" y="888343"/>
                    </a:cubicBezTo>
                    <a:cubicBezTo>
                      <a:pt x="1793008" y="895633"/>
                      <a:pt x="1788924" y="902831"/>
                      <a:pt x="1784612" y="909941"/>
                    </a:cubicBezTo>
                    <a:cubicBezTo>
                      <a:pt x="1782303" y="913596"/>
                      <a:pt x="1780185" y="917365"/>
                      <a:pt x="1778269" y="921235"/>
                    </a:cubicBezTo>
                    <a:cubicBezTo>
                      <a:pt x="1777584" y="922588"/>
                      <a:pt x="1777026" y="924005"/>
                      <a:pt x="1776608" y="925465"/>
                    </a:cubicBezTo>
                    <a:cubicBezTo>
                      <a:pt x="1775695" y="927999"/>
                      <a:pt x="1775707" y="930773"/>
                      <a:pt x="1776646" y="933295"/>
                    </a:cubicBezTo>
                    <a:cubicBezTo>
                      <a:pt x="1777762" y="935826"/>
                      <a:pt x="1779360" y="938106"/>
                      <a:pt x="1781364" y="939999"/>
                    </a:cubicBezTo>
                    <a:cubicBezTo>
                      <a:pt x="1783660" y="942339"/>
                      <a:pt x="1786717" y="944904"/>
                      <a:pt x="1790535" y="948054"/>
                    </a:cubicBezTo>
                    <a:cubicBezTo>
                      <a:pt x="1792273" y="949376"/>
                      <a:pt x="1794074" y="950606"/>
                      <a:pt x="1795926" y="951743"/>
                    </a:cubicBezTo>
                    <a:cubicBezTo>
                      <a:pt x="1797803" y="952858"/>
                      <a:pt x="1799592" y="954105"/>
                      <a:pt x="1801278" y="955477"/>
                    </a:cubicBezTo>
                    <a:cubicBezTo>
                      <a:pt x="1823615" y="974421"/>
                      <a:pt x="1837225" y="1019731"/>
                      <a:pt x="1832012" y="1052084"/>
                    </a:cubicBezTo>
                    <a:cubicBezTo>
                      <a:pt x="1831175" y="1058083"/>
                      <a:pt x="1829399" y="1063912"/>
                      <a:pt x="1826761" y="1069363"/>
                    </a:cubicBezTo>
                    <a:cubicBezTo>
                      <a:pt x="1814876" y="1093923"/>
                      <a:pt x="1795203" y="1113847"/>
                      <a:pt x="1770811" y="1126012"/>
                    </a:cubicBezTo>
                    <a:cubicBezTo>
                      <a:pt x="1762452" y="1130151"/>
                      <a:pt x="1754131" y="1134426"/>
                      <a:pt x="1745506" y="1138747"/>
                    </a:cubicBezTo>
                    <a:cubicBezTo>
                      <a:pt x="1745633" y="1139566"/>
                      <a:pt x="1745734" y="1140391"/>
                      <a:pt x="1745773" y="1141221"/>
                    </a:cubicBezTo>
                    <a:cubicBezTo>
                      <a:pt x="1745950" y="1143291"/>
                      <a:pt x="1745950" y="1145225"/>
                      <a:pt x="1746229" y="1146846"/>
                    </a:cubicBezTo>
                    <a:cubicBezTo>
                      <a:pt x="1746280" y="1147336"/>
                      <a:pt x="1746381" y="1147818"/>
                      <a:pt x="1746546" y="1148286"/>
                    </a:cubicBezTo>
                    <a:cubicBezTo>
                      <a:pt x="1746711" y="1148928"/>
                      <a:pt x="1747016" y="1149526"/>
                      <a:pt x="1747434" y="1150040"/>
                    </a:cubicBezTo>
                    <a:cubicBezTo>
                      <a:pt x="1751645" y="1155024"/>
                      <a:pt x="1754867" y="1160766"/>
                      <a:pt x="1756922" y="1166958"/>
                    </a:cubicBezTo>
                    <a:cubicBezTo>
                      <a:pt x="1757328" y="1168128"/>
                      <a:pt x="1757734" y="1169344"/>
                      <a:pt x="1758051" y="1170558"/>
                    </a:cubicBezTo>
                    <a:cubicBezTo>
                      <a:pt x="1758178" y="1171008"/>
                      <a:pt x="1758317" y="1171458"/>
                      <a:pt x="1758406" y="1171908"/>
                    </a:cubicBezTo>
                    <a:cubicBezTo>
                      <a:pt x="1758939" y="1173940"/>
                      <a:pt x="1759395" y="1175958"/>
                      <a:pt x="1759750" y="1178028"/>
                    </a:cubicBezTo>
                    <a:lnTo>
                      <a:pt x="1759750" y="1178162"/>
                    </a:lnTo>
                    <a:cubicBezTo>
                      <a:pt x="1759928" y="1178919"/>
                      <a:pt x="1760068" y="1179685"/>
                      <a:pt x="1760156" y="1180457"/>
                    </a:cubicBezTo>
                    <a:lnTo>
                      <a:pt x="1760207" y="1180638"/>
                    </a:lnTo>
                    <a:cubicBezTo>
                      <a:pt x="1760512" y="1182707"/>
                      <a:pt x="1760791" y="1184777"/>
                      <a:pt x="1761057" y="1186847"/>
                    </a:cubicBezTo>
                    <a:lnTo>
                      <a:pt x="1761463" y="1190492"/>
                    </a:lnTo>
                    <a:cubicBezTo>
                      <a:pt x="1761501" y="1191031"/>
                      <a:pt x="1761552" y="1191527"/>
                      <a:pt x="1761640" y="1192016"/>
                    </a:cubicBezTo>
                    <a:cubicBezTo>
                      <a:pt x="1761691" y="1192872"/>
                      <a:pt x="1761780" y="1193726"/>
                      <a:pt x="1761869" y="1194581"/>
                    </a:cubicBezTo>
                    <a:cubicBezTo>
                      <a:pt x="1761907" y="1195216"/>
                      <a:pt x="1761996" y="1195841"/>
                      <a:pt x="1762046" y="1196471"/>
                    </a:cubicBezTo>
                    <a:cubicBezTo>
                      <a:pt x="1762084" y="1196741"/>
                      <a:pt x="1762084" y="1197010"/>
                      <a:pt x="1762135" y="1197233"/>
                    </a:cubicBezTo>
                    <a:cubicBezTo>
                      <a:pt x="1762224" y="1197953"/>
                      <a:pt x="1762275" y="1198630"/>
                      <a:pt x="1762363" y="1199303"/>
                    </a:cubicBezTo>
                    <a:cubicBezTo>
                      <a:pt x="1762490" y="1200472"/>
                      <a:pt x="1762579" y="1201642"/>
                      <a:pt x="1762769" y="1202813"/>
                    </a:cubicBezTo>
                    <a:cubicBezTo>
                      <a:pt x="1762985" y="1204793"/>
                      <a:pt x="1763251" y="1206817"/>
                      <a:pt x="1763569" y="1208797"/>
                    </a:cubicBezTo>
                    <a:cubicBezTo>
                      <a:pt x="1763797" y="1210321"/>
                      <a:pt x="1764114" y="1211812"/>
                      <a:pt x="1764431" y="1213297"/>
                    </a:cubicBezTo>
                    <a:cubicBezTo>
                      <a:pt x="1765141" y="1216671"/>
                      <a:pt x="1766042" y="1219956"/>
                      <a:pt x="1766993" y="1223286"/>
                    </a:cubicBezTo>
                    <a:cubicBezTo>
                      <a:pt x="1767120" y="1223871"/>
                      <a:pt x="1767298" y="1224501"/>
                      <a:pt x="1767488" y="1225086"/>
                    </a:cubicBezTo>
                    <a:lnTo>
                      <a:pt x="1767488" y="1225131"/>
                    </a:lnTo>
                    <a:cubicBezTo>
                      <a:pt x="1767894" y="1226528"/>
                      <a:pt x="1768287" y="1227965"/>
                      <a:pt x="1768655" y="1229360"/>
                    </a:cubicBezTo>
                    <a:cubicBezTo>
                      <a:pt x="1768870" y="1230080"/>
                      <a:pt x="1769061" y="1230800"/>
                      <a:pt x="1769238" y="1231519"/>
                    </a:cubicBezTo>
                    <a:lnTo>
                      <a:pt x="1769365" y="1231924"/>
                    </a:lnTo>
                    <a:cubicBezTo>
                      <a:pt x="1769454" y="1232329"/>
                      <a:pt x="1769593" y="1232733"/>
                      <a:pt x="1769682" y="1233094"/>
                    </a:cubicBezTo>
                    <a:cubicBezTo>
                      <a:pt x="1770405" y="1235838"/>
                      <a:pt x="1771039" y="1238628"/>
                      <a:pt x="1771483" y="1241417"/>
                    </a:cubicBezTo>
                    <a:cubicBezTo>
                      <a:pt x="1771534" y="1241684"/>
                      <a:pt x="1771559" y="1241956"/>
                      <a:pt x="1771572" y="1242228"/>
                    </a:cubicBezTo>
                    <a:cubicBezTo>
                      <a:pt x="1772536" y="1249354"/>
                      <a:pt x="1772321" y="1256593"/>
                      <a:pt x="1770938" y="1263641"/>
                    </a:cubicBezTo>
                    <a:cubicBezTo>
                      <a:pt x="1770621" y="1265406"/>
                      <a:pt x="1770215" y="1267108"/>
                      <a:pt x="1769771" y="1268861"/>
                    </a:cubicBezTo>
                    <a:cubicBezTo>
                      <a:pt x="1768465" y="1274309"/>
                      <a:pt x="1766663" y="1279757"/>
                      <a:pt x="1764824" y="1285650"/>
                    </a:cubicBezTo>
                    <a:cubicBezTo>
                      <a:pt x="1764101" y="1287949"/>
                      <a:pt x="1763340" y="1290324"/>
                      <a:pt x="1762617" y="1292800"/>
                    </a:cubicBezTo>
                    <a:cubicBezTo>
                      <a:pt x="1759154" y="1291137"/>
                      <a:pt x="1754309" y="1288851"/>
                      <a:pt x="1748817" y="1286272"/>
                    </a:cubicBezTo>
                    <a:cubicBezTo>
                      <a:pt x="1744821" y="1292483"/>
                      <a:pt x="1741232" y="1298071"/>
                      <a:pt x="1737769" y="1303468"/>
                    </a:cubicBezTo>
                    <a:cubicBezTo>
                      <a:pt x="1730146" y="1302325"/>
                      <a:pt x="1723195" y="1298426"/>
                      <a:pt x="1718261" y="1292483"/>
                    </a:cubicBezTo>
                    <a:cubicBezTo>
                      <a:pt x="1716599" y="1289955"/>
                      <a:pt x="1715470" y="1287111"/>
                      <a:pt x="1714937" y="1284126"/>
                    </a:cubicBezTo>
                    <a:cubicBezTo>
                      <a:pt x="1713060" y="1278360"/>
                      <a:pt x="1709432" y="1273318"/>
                      <a:pt x="1704562" y="1269724"/>
                    </a:cubicBezTo>
                    <a:cubicBezTo>
                      <a:pt x="1702672" y="1268099"/>
                      <a:pt x="1700833" y="1266486"/>
                      <a:pt x="1699031" y="1264809"/>
                    </a:cubicBezTo>
                    <a:cubicBezTo>
                      <a:pt x="1695645" y="1261698"/>
                      <a:pt x="1692410" y="1258409"/>
                      <a:pt x="1689366" y="1254967"/>
                    </a:cubicBezTo>
                    <a:cubicBezTo>
                      <a:pt x="1682111" y="1247040"/>
                      <a:pt x="1676415" y="1237819"/>
                      <a:pt x="1672559" y="1227784"/>
                    </a:cubicBezTo>
                    <a:cubicBezTo>
                      <a:pt x="1671671" y="1225619"/>
                      <a:pt x="1670936" y="1223393"/>
                      <a:pt x="1670352" y="1221125"/>
                    </a:cubicBezTo>
                    <a:cubicBezTo>
                      <a:pt x="1667727" y="1211068"/>
                      <a:pt x="1667207" y="1200572"/>
                      <a:pt x="1668830" y="1190302"/>
                    </a:cubicBezTo>
                    <a:cubicBezTo>
                      <a:pt x="1669972" y="1186071"/>
                      <a:pt x="1669959" y="1181613"/>
                      <a:pt x="1668792" y="1177389"/>
                    </a:cubicBezTo>
                    <a:cubicBezTo>
                      <a:pt x="1662577" y="1163829"/>
                      <a:pt x="1662019" y="1148350"/>
                      <a:pt x="1667219" y="1134373"/>
                    </a:cubicBezTo>
                    <a:cubicBezTo>
                      <a:pt x="1669820" y="1128173"/>
                      <a:pt x="1666902" y="1121038"/>
                      <a:pt x="1660712" y="1118438"/>
                    </a:cubicBezTo>
                    <a:cubicBezTo>
                      <a:pt x="1660674" y="1118424"/>
                      <a:pt x="1660649" y="1118411"/>
                      <a:pt x="1660611" y="1118399"/>
                    </a:cubicBezTo>
                    <a:cubicBezTo>
                      <a:pt x="1659178" y="1117794"/>
                      <a:pt x="1657668" y="1117370"/>
                      <a:pt x="1656121" y="1117139"/>
                    </a:cubicBezTo>
                    <a:cubicBezTo>
                      <a:pt x="1648789" y="1116014"/>
                      <a:pt x="1641470" y="1114890"/>
                      <a:pt x="1634139" y="1113855"/>
                    </a:cubicBezTo>
                    <a:cubicBezTo>
                      <a:pt x="1625374" y="1112595"/>
                      <a:pt x="1616571" y="1111560"/>
                      <a:pt x="1607756" y="1111061"/>
                    </a:cubicBezTo>
                    <a:lnTo>
                      <a:pt x="1605067" y="1110926"/>
                    </a:lnTo>
                    <a:cubicBezTo>
                      <a:pt x="1596264" y="1111251"/>
                      <a:pt x="1587575" y="1108880"/>
                      <a:pt x="1580168" y="1104132"/>
                    </a:cubicBezTo>
                    <a:cubicBezTo>
                      <a:pt x="1578899" y="1103218"/>
                      <a:pt x="1577694" y="1102210"/>
                      <a:pt x="1576566" y="1101117"/>
                    </a:cubicBezTo>
                    <a:cubicBezTo>
                      <a:pt x="1575399" y="1099991"/>
                      <a:pt x="1574194" y="1098822"/>
                      <a:pt x="1572925" y="1097652"/>
                    </a:cubicBezTo>
                    <a:cubicBezTo>
                      <a:pt x="1569856" y="1094532"/>
                      <a:pt x="1566203" y="1092027"/>
                      <a:pt x="1562194" y="1090272"/>
                    </a:cubicBezTo>
                    <a:cubicBezTo>
                      <a:pt x="1544208" y="1084381"/>
                      <a:pt x="1527376" y="1075414"/>
                      <a:pt x="1512447" y="1063770"/>
                    </a:cubicBezTo>
                    <a:cubicBezTo>
                      <a:pt x="1507272" y="1059341"/>
                      <a:pt x="1502629" y="1054329"/>
                      <a:pt x="1498596" y="1048831"/>
                    </a:cubicBezTo>
                    <a:cubicBezTo>
                      <a:pt x="1496617" y="1046166"/>
                      <a:pt x="1494397" y="1043695"/>
                      <a:pt x="1491949" y="1041452"/>
                    </a:cubicBezTo>
                    <a:cubicBezTo>
                      <a:pt x="1491861" y="1041419"/>
                      <a:pt x="1491772" y="1041355"/>
                      <a:pt x="1491721" y="1041272"/>
                    </a:cubicBezTo>
                    <a:cubicBezTo>
                      <a:pt x="1474382" y="1025568"/>
                      <a:pt x="1448405" y="1023094"/>
                      <a:pt x="1428313" y="1011080"/>
                    </a:cubicBezTo>
                    <a:cubicBezTo>
                      <a:pt x="1423277" y="1008020"/>
                      <a:pt x="1413434" y="1012025"/>
                      <a:pt x="1406065" y="1013959"/>
                    </a:cubicBezTo>
                    <a:cubicBezTo>
                      <a:pt x="1396501" y="1016479"/>
                      <a:pt x="1387191" y="1020169"/>
                      <a:pt x="1376320" y="1023865"/>
                    </a:cubicBezTo>
                    <a:cubicBezTo>
                      <a:pt x="1376308" y="1023728"/>
                      <a:pt x="1376333" y="1023592"/>
                      <a:pt x="1376358" y="1023460"/>
                    </a:cubicBezTo>
                    <a:lnTo>
                      <a:pt x="1376358" y="1023415"/>
                    </a:lnTo>
                    <a:cubicBezTo>
                      <a:pt x="1378388" y="991919"/>
                      <a:pt x="1365716" y="966900"/>
                      <a:pt x="1358791" y="941072"/>
                    </a:cubicBezTo>
                    <a:cubicBezTo>
                      <a:pt x="1358068" y="938328"/>
                      <a:pt x="1357396" y="935628"/>
                      <a:pt x="1356812" y="932883"/>
                    </a:cubicBezTo>
                    <a:cubicBezTo>
                      <a:pt x="1346753" y="929200"/>
                      <a:pt x="1337583" y="925684"/>
                      <a:pt x="1330568" y="932208"/>
                    </a:cubicBezTo>
                    <a:cubicBezTo>
                      <a:pt x="1328691" y="934018"/>
                      <a:pt x="1327156" y="936151"/>
                      <a:pt x="1326027" y="938508"/>
                    </a:cubicBezTo>
                    <a:cubicBezTo>
                      <a:pt x="1323783" y="934233"/>
                      <a:pt x="1320865" y="930049"/>
                      <a:pt x="1318303" y="925818"/>
                    </a:cubicBezTo>
                    <a:cubicBezTo>
                      <a:pt x="1317897" y="925234"/>
                      <a:pt x="1317580" y="924695"/>
                      <a:pt x="1317225" y="924109"/>
                    </a:cubicBezTo>
                    <a:cubicBezTo>
                      <a:pt x="1315500" y="921286"/>
                      <a:pt x="1314028" y="918319"/>
                      <a:pt x="1312823" y="915244"/>
                    </a:cubicBezTo>
                    <a:cubicBezTo>
                      <a:pt x="1312684" y="914885"/>
                      <a:pt x="1312544" y="914482"/>
                      <a:pt x="1312417" y="914075"/>
                    </a:cubicBezTo>
                    <a:cubicBezTo>
                      <a:pt x="1311923" y="912548"/>
                      <a:pt x="1311567" y="910982"/>
                      <a:pt x="1311339" y="909395"/>
                    </a:cubicBezTo>
                    <a:cubicBezTo>
                      <a:pt x="1309424" y="892147"/>
                      <a:pt x="1309741" y="874726"/>
                      <a:pt x="1312278" y="857560"/>
                    </a:cubicBezTo>
                    <a:cubicBezTo>
                      <a:pt x="1317960" y="820731"/>
                      <a:pt x="1330251" y="785235"/>
                      <a:pt x="1348542" y="752784"/>
                    </a:cubicBezTo>
                    <a:cubicBezTo>
                      <a:pt x="1348897" y="752025"/>
                      <a:pt x="1349303" y="751289"/>
                      <a:pt x="1349760" y="750579"/>
                    </a:cubicBezTo>
                    <a:cubicBezTo>
                      <a:pt x="1349937" y="750122"/>
                      <a:pt x="1350165" y="749683"/>
                      <a:pt x="1350432" y="749273"/>
                    </a:cubicBezTo>
                    <a:cubicBezTo>
                      <a:pt x="1354605" y="741489"/>
                      <a:pt x="1359057" y="733840"/>
                      <a:pt x="1363636" y="726235"/>
                    </a:cubicBezTo>
                    <a:cubicBezTo>
                      <a:pt x="1363750" y="726014"/>
                      <a:pt x="1363864" y="725802"/>
                      <a:pt x="1364004" y="725600"/>
                    </a:cubicBezTo>
                    <a:cubicBezTo>
                      <a:pt x="1367061" y="720520"/>
                      <a:pt x="1370156" y="715477"/>
                      <a:pt x="1373352" y="710437"/>
                    </a:cubicBezTo>
                    <a:cubicBezTo>
                      <a:pt x="1376409" y="705532"/>
                      <a:pt x="1379060" y="700448"/>
                      <a:pt x="1381305" y="696173"/>
                    </a:cubicBezTo>
                    <a:cubicBezTo>
                      <a:pt x="1381572" y="695588"/>
                      <a:pt x="1381889" y="695004"/>
                      <a:pt x="1382206" y="694464"/>
                    </a:cubicBezTo>
                    <a:cubicBezTo>
                      <a:pt x="1382561" y="693788"/>
                      <a:pt x="1382878" y="693158"/>
                      <a:pt x="1383233" y="692528"/>
                    </a:cubicBezTo>
                    <a:cubicBezTo>
                      <a:pt x="1398467" y="688845"/>
                      <a:pt x="1412940" y="685289"/>
                      <a:pt x="1425662" y="682179"/>
                    </a:cubicBezTo>
                    <a:cubicBezTo>
                      <a:pt x="1429911" y="672169"/>
                      <a:pt x="1426930" y="660548"/>
                      <a:pt x="1418381" y="653833"/>
                    </a:cubicBezTo>
                    <a:cubicBezTo>
                      <a:pt x="1418318" y="653784"/>
                      <a:pt x="1418267" y="653739"/>
                      <a:pt x="1418204" y="653697"/>
                    </a:cubicBezTo>
                    <a:cubicBezTo>
                      <a:pt x="1411012" y="647893"/>
                      <a:pt x="1401346" y="644383"/>
                      <a:pt x="1396894" y="636868"/>
                    </a:cubicBezTo>
                    <a:cubicBezTo>
                      <a:pt x="1396818" y="636789"/>
                      <a:pt x="1396767" y="636699"/>
                      <a:pt x="1396717" y="636599"/>
                    </a:cubicBezTo>
                    <a:lnTo>
                      <a:pt x="1396501" y="636733"/>
                    </a:lnTo>
                    <a:cubicBezTo>
                      <a:pt x="1392898" y="638804"/>
                      <a:pt x="1390831" y="640108"/>
                      <a:pt x="1388764" y="641233"/>
                    </a:cubicBezTo>
                    <a:cubicBezTo>
                      <a:pt x="1388586" y="641323"/>
                      <a:pt x="1388446" y="641413"/>
                      <a:pt x="1388269" y="641504"/>
                    </a:cubicBezTo>
                    <a:cubicBezTo>
                      <a:pt x="1386430" y="642493"/>
                      <a:pt x="1384451" y="643257"/>
                      <a:pt x="1381534" y="644563"/>
                    </a:cubicBezTo>
                    <a:cubicBezTo>
                      <a:pt x="1382586" y="641782"/>
                      <a:pt x="1383804" y="639061"/>
                      <a:pt x="1385174" y="636418"/>
                    </a:cubicBezTo>
                    <a:cubicBezTo>
                      <a:pt x="1385301" y="636194"/>
                      <a:pt x="1385440" y="635924"/>
                      <a:pt x="1385567" y="635698"/>
                    </a:cubicBezTo>
                    <a:cubicBezTo>
                      <a:pt x="1390019" y="627824"/>
                      <a:pt x="1394560" y="627780"/>
                      <a:pt x="1405748" y="634348"/>
                    </a:cubicBezTo>
                    <a:cubicBezTo>
                      <a:pt x="1416846" y="642296"/>
                      <a:pt x="1431699" y="642549"/>
                      <a:pt x="1443052" y="634983"/>
                    </a:cubicBezTo>
                    <a:cubicBezTo>
                      <a:pt x="1443990" y="630979"/>
                      <a:pt x="1444891" y="627155"/>
                      <a:pt x="1445703" y="623465"/>
                    </a:cubicBezTo>
                    <a:cubicBezTo>
                      <a:pt x="1445880" y="622936"/>
                      <a:pt x="1446020" y="622395"/>
                      <a:pt x="1446109" y="621845"/>
                    </a:cubicBezTo>
                    <a:cubicBezTo>
                      <a:pt x="1446832" y="618786"/>
                      <a:pt x="1447542" y="615815"/>
                      <a:pt x="1448214" y="612936"/>
                    </a:cubicBezTo>
                    <a:cubicBezTo>
                      <a:pt x="1448354" y="612396"/>
                      <a:pt x="1448443" y="611901"/>
                      <a:pt x="1448582" y="611361"/>
                    </a:cubicBezTo>
                    <a:cubicBezTo>
                      <a:pt x="1448899" y="610146"/>
                      <a:pt x="1449166" y="608932"/>
                      <a:pt x="1449432" y="607716"/>
                    </a:cubicBezTo>
                    <a:cubicBezTo>
                      <a:pt x="1451360" y="608212"/>
                      <a:pt x="1453212" y="608617"/>
                      <a:pt x="1455051" y="609021"/>
                    </a:cubicBezTo>
                    <a:cubicBezTo>
                      <a:pt x="1455901" y="609201"/>
                      <a:pt x="1456713" y="609381"/>
                      <a:pt x="1457524" y="609561"/>
                    </a:cubicBezTo>
                    <a:cubicBezTo>
                      <a:pt x="1462344" y="610462"/>
                      <a:pt x="1467088" y="611726"/>
                      <a:pt x="1471731" y="613341"/>
                    </a:cubicBezTo>
                    <a:cubicBezTo>
                      <a:pt x="1471997" y="613431"/>
                      <a:pt x="1472225" y="613520"/>
                      <a:pt x="1472492" y="613611"/>
                    </a:cubicBezTo>
                    <a:lnTo>
                      <a:pt x="1472809" y="613745"/>
                    </a:lnTo>
                    <a:cubicBezTo>
                      <a:pt x="1482982" y="618059"/>
                      <a:pt x="1494765" y="613932"/>
                      <a:pt x="1500042" y="604206"/>
                    </a:cubicBezTo>
                    <a:cubicBezTo>
                      <a:pt x="1512168" y="584994"/>
                      <a:pt x="1522011" y="564295"/>
                      <a:pt x="1534594" y="540313"/>
                    </a:cubicBezTo>
                    <a:cubicBezTo>
                      <a:pt x="1535266" y="539053"/>
                      <a:pt x="1535951" y="537793"/>
                      <a:pt x="1536623" y="536487"/>
                    </a:cubicBezTo>
                    <a:cubicBezTo>
                      <a:pt x="1522772" y="534733"/>
                      <a:pt x="1513068" y="532798"/>
                      <a:pt x="1503314" y="532393"/>
                    </a:cubicBezTo>
                    <a:cubicBezTo>
                      <a:pt x="1492825" y="532731"/>
                      <a:pt x="1482436" y="530128"/>
                      <a:pt x="1473342" y="524878"/>
                    </a:cubicBezTo>
                    <a:cubicBezTo>
                      <a:pt x="1469042" y="521953"/>
                      <a:pt x="1465465" y="518093"/>
                      <a:pt x="1462877" y="513585"/>
                    </a:cubicBezTo>
                    <a:cubicBezTo>
                      <a:pt x="1462370" y="512853"/>
                      <a:pt x="1461926" y="512085"/>
                      <a:pt x="1461520" y="511290"/>
                    </a:cubicBezTo>
                    <a:cubicBezTo>
                      <a:pt x="1458108" y="505525"/>
                      <a:pt x="1454062" y="500165"/>
                      <a:pt x="1449432" y="495316"/>
                    </a:cubicBezTo>
                    <a:cubicBezTo>
                      <a:pt x="1447504" y="493157"/>
                      <a:pt x="1445525" y="490907"/>
                      <a:pt x="1443597" y="488522"/>
                    </a:cubicBezTo>
                    <a:cubicBezTo>
                      <a:pt x="1449483" y="489062"/>
                      <a:pt x="1457804" y="487352"/>
                      <a:pt x="1462915" y="490681"/>
                    </a:cubicBezTo>
                    <a:cubicBezTo>
                      <a:pt x="1471579" y="496506"/>
                      <a:pt x="1479811" y="502958"/>
                      <a:pt x="1487548" y="509985"/>
                    </a:cubicBezTo>
                    <a:cubicBezTo>
                      <a:pt x="1488043" y="510390"/>
                      <a:pt x="1488487" y="510795"/>
                      <a:pt x="1488981" y="511245"/>
                    </a:cubicBezTo>
                    <a:cubicBezTo>
                      <a:pt x="1491632" y="513585"/>
                      <a:pt x="1494283" y="516015"/>
                      <a:pt x="1496896" y="518399"/>
                    </a:cubicBezTo>
                    <a:cubicBezTo>
                      <a:pt x="1507272" y="527939"/>
                      <a:pt x="1518916" y="531089"/>
                      <a:pt x="1526590" y="523169"/>
                    </a:cubicBezTo>
                    <a:cubicBezTo>
                      <a:pt x="1541253" y="508006"/>
                      <a:pt x="1553011" y="490286"/>
                      <a:pt x="1561294" y="470884"/>
                    </a:cubicBezTo>
                    <a:cubicBezTo>
                      <a:pt x="1558909" y="469219"/>
                      <a:pt x="1556842" y="467735"/>
                      <a:pt x="1555002" y="466294"/>
                    </a:cubicBezTo>
                    <a:cubicBezTo>
                      <a:pt x="1549916" y="462510"/>
                      <a:pt x="1545642" y="457754"/>
                      <a:pt x="1542420" y="452300"/>
                    </a:cubicBezTo>
                    <a:cubicBezTo>
                      <a:pt x="1541202" y="450365"/>
                      <a:pt x="1539984" y="448109"/>
                      <a:pt x="1538640" y="445551"/>
                    </a:cubicBezTo>
                    <a:cubicBezTo>
                      <a:pt x="1552123" y="444561"/>
                      <a:pt x="1564262" y="443660"/>
                      <a:pt x="1577694" y="442630"/>
                    </a:cubicBezTo>
                    <a:cubicBezTo>
                      <a:pt x="1578100" y="443754"/>
                      <a:pt x="1578544" y="445014"/>
                      <a:pt x="1579039" y="446313"/>
                    </a:cubicBezTo>
                    <a:cubicBezTo>
                      <a:pt x="1580257" y="449675"/>
                      <a:pt x="1581728" y="452939"/>
                      <a:pt x="1583440" y="456077"/>
                    </a:cubicBezTo>
                    <a:cubicBezTo>
                      <a:pt x="1586726" y="461746"/>
                      <a:pt x="1590861" y="465526"/>
                      <a:pt x="1595845" y="461971"/>
                    </a:cubicBezTo>
                    <a:cubicBezTo>
                      <a:pt x="1606272" y="454593"/>
                      <a:pt x="1613464" y="464356"/>
                      <a:pt x="1623129" y="460713"/>
                    </a:cubicBezTo>
                    <a:cubicBezTo>
                      <a:pt x="1618855" y="453198"/>
                      <a:pt x="1616026" y="444919"/>
                      <a:pt x="1612297" y="437764"/>
                    </a:cubicBezTo>
                    <a:cubicBezTo>
                      <a:pt x="1611625" y="436550"/>
                      <a:pt x="1610990" y="435334"/>
                      <a:pt x="1610280" y="434208"/>
                    </a:cubicBezTo>
                    <a:cubicBezTo>
                      <a:pt x="1609126" y="432312"/>
                      <a:pt x="1607832" y="430507"/>
                      <a:pt x="1606411" y="428809"/>
                    </a:cubicBezTo>
                    <a:lnTo>
                      <a:pt x="1606361" y="428763"/>
                    </a:lnTo>
                    <a:cubicBezTo>
                      <a:pt x="1606094" y="428494"/>
                      <a:pt x="1605828" y="428179"/>
                      <a:pt x="1605562" y="427909"/>
                    </a:cubicBezTo>
                    <a:cubicBezTo>
                      <a:pt x="1602809" y="424919"/>
                      <a:pt x="1599410" y="422595"/>
                      <a:pt x="1595630" y="421114"/>
                    </a:cubicBezTo>
                    <a:cubicBezTo>
                      <a:pt x="1593727" y="420352"/>
                      <a:pt x="1591748" y="419779"/>
                      <a:pt x="1589732" y="419405"/>
                    </a:cubicBezTo>
                    <a:cubicBezTo>
                      <a:pt x="1588653" y="419180"/>
                      <a:pt x="1587537" y="419044"/>
                      <a:pt x="1586370" y="418909"/>
                    </a:cubicBezTo>
                    <a:cubicBezTo>
                      <a:pt x="1597241" y="406761"/>
                      <a:pt x="1597735" y="407750"/>
                      <a:pt x="1607172" y="415445"/>
                    </a:cubicBezTo>
                    <a:cubicBezTo>
                      <a:pt x="1612335" y="420107"/>
                      <a:pt x="1616521" y="425751"/>
                      <a:pt x="1619476" y="432049"/>
                    </a:cubicBezTo>
                    <a:cubicBezTo>
                      <a:pt x="1620288" y="433533"/>
                      <a:pt x="1621151" y="435108"/>
                      <a:pt x="1622000" y="436637"/>
                    </a:cubicBezTo>
                    <a:cubicBezTo>
                      <a:pt x="1625514" y="443815"/>
                      <a:pt x="1630727" y="450024"/>
                      <a:pt x="1637183" y="454726"/>
                    </a:cubicBezTo>
                    <a:cubicBezTo>
                      <a:pt x="1654358" y="438617"/>
                      <a:pt x="1671253" y="423409"/>
                      <a:pt x="1687387" y="407300"/>
                    </a:cubicBezTo>
                    <a:cubicBezTo>
                      <a:pt x="1694807" y="396099"/>
                      <a:pt x="1696330" y="381985"/>
                      <a:pt x="1691472" y="369454"/>
                    </a:cubicBezTo>
                    <a:cubicBezTo>
                      <a:pt x="1691370" y="369233"/>
                      <a:pt x="1691256" y="369021"/>
                      <a:pt x="1691116" y="368819"/>
                    </a:cubicBezTo>
                    <a:cubicBezTo>
                      <a:pt x="1690850" y="368269"/>
                      <a:pt x="1690533" y="367742"/>
                      <a:pt x="1690178" y="367244"/>
                    </a:cubicBezTo>
                    <a:cubicBezTo>
                      <a:pt x="1689823" y="366735"/>
                      <a:pt x="1689429" y="366254"/>
                      <a:pt x="1688998" y="365804"/>
                    </a:cubicBezTo>
                    <a:cubicBezTo>
                      <a:pt x="1677417" y="352533"/>
                      <a:pt x="1669211" y="336646"/>
                      <a:pt x="1665101" y="319504"/>
                    </a:cubicBezTo>
                    <a:cubicBezTo>
                      <a:pt x="1664962" y="319188"/>
                      <a:pt x="1664873" y="318869"/>
                      <a:pt x="1664733" y="318558"/>
                    </a:cubicBezTo>
                    <a:lnTo>
                      <a:pt x="1664733" y="318513"/>
                    </a:lnTo>
                    <a:cubicBezTo>
                      <a:pt x="1663795" y="315544"/>
                      <a:pt x="1662843" y="312619"/>
                      <a:pt x="1661816" y="309649"/>
                    </a:cubicBezTo>
                    <a:cubicBezTo>
                      <a:pt x="1661588" y="308885"/>
                      <a:pt x="1661321" y="308135"/>
                      <a:pt x="1661017" y="307400"/>
                    </a:cubicBezTo>
                    <a:cubicBezTo>
                      <a:pt x="1660205" y="304970"/>
                      <a:pt x="1659304" y="302585"/>
                      <a:pt x="1658353" y="300161"/>
                    </a:cubicBezTo>
                    <a:cubicBezTo>
                      <a:pt x="1671938" y="295750"/>
                      <a:pt x="1691028" y="301558"/>
                      <a:pt x="1694313" y="282026"/>
                    </a:cubicBezTo>
                    <a:cubicBezTo>
                      <a:pt x="1694465" y="279927"/>
                      <a:pt x="1693907" y="277838"/>
                      <a:pt x="1692740" y="276088"/>
                    </a:cubicBezTo>
                    <a:cubicBezTo>
                      <a:pt x="1690812" y="272848"/>
                      <a:pt x="1687704" y="269293"/>
                      <a:pt x="1685092" y="265603"/>
                    </a:cubicBezTo>
                    <a:cubicBezTo>
                      <a:pt x="1684521" y="264794"/>
                      <a:pt x="1683975" y="263938"/>
                      <a:pt x="1683480" y="263129"/>
                    </a:cubicBezTo>
                    <a:cubicBezTo>
                      <a:pt x="1685586" y="258898"/>
                      <a:pt x="1688465" y="253139"/>
                      <a:pt x="1692017" y="245895"/>
                    </a:cubicBezTo>
                    <a:cubicBezTo>
                      <a:pt x="1692334" y="245220"/>
                      <a:pt x="1692689" y="244498"/>
                      <a:pt x="1693057" y="243780"/>
                    </a:cubicBezTo>
                    <a:cubicBezTo>
                      <a:pt x="1685447" y="242738"/>
                      <a:pt x="1678153" y="240068"/>
                      <a:pt x="1671659" y="235951"/>
                    </a:cubicBezTo>
                    <a:cubicBezTo>
                      <a:pt x="1668259" y="233789"/>
                      <a:pt x="1665253" y="231066"/>
                      <a:pt x="1662767" y="227896"/>
                    </a:cubicBezTo>
                    <a:cubicBezTo>
                      <a:pt x="1660319" y="224931"/>
                      <a:pt x="1658404" y="221568"/>
                      <a:pt x="1657097" y="217952"/>
                    </a:cubicBezTo>
                    <a:cubicBezTo>
                      <a:pt x="1656958" y="217699"/>
                      <a:pt x="1656856" y="217426"/>
                      <a:pt x="1656793" y="217143"/>
                    </a:cubicBezTo>
                    <a:cubicBezTo>
                      <a:pt x="1655816" y="214611"/>
                      <a:pt x="1655119" y="211988"/>
                      <a:pt x="1654675" y="209314"/>
                    </a:cubicBezTo>
                    <a:cubicBezTo>
                      <a:pt x="1654497" y="208497"/>
                      <a:pt x="1654358" y="207670"/>
                      <a:pt x="1654269" y="206838"/>
                    </a:cubicBezTo>
                    <a:cubicBezTo>
                      <a:pt x="1643145" y="205613"/>
                      <a:pt x="1632262" y="202826"/>
                      <a:pt x="1621912" y="198559"/>
                    </a:cubicBezTo>
                    <a:cubicBezTo>
                      <a:pt x="1610952" y="190506"/>
                      <a:pt x="1596251" y="189745"/>
                      <a:pt x="1584519" y="196625"/>
                    </a:cubicBezTo>
                    <a:cubicBezTo>
                      <a:pt x="1583757" y="196993"/>
                      <a:pt x="1583022" y="197414"/>
                      <a:pt x="1582324" y="197884"/>
                    </a:cubicBezTo>
                    <a:cubicBezTo>
                      <a:pt x="1581335" y="198469"/>
                      <a:pt x="1580345" y="199145"/>
                      <a:pt x="1579356" y="199819"/>
                    </a:cubicBezTo>
                    <a:cubicBezTo>
                      <a:pt x="1579356" y="199999"/>
                      <a:pt x="1579305" y="200179"/>
                      <a:pt x="1579305" y="200359"/>
                    </a:cubicBezTo>
                    <a:cubicBezTo>
                      <a:pt x="1579178" y="201484"/>
                      <a:pt x="1579039" y="202564"/>
                      <a:pt x="1578950" y="203599"/>
                    </a:cubicBezTo>
                    <a:cubicBezTo>
                      <a:pt x="1578722" y="205444"/>
                      <a:pt x="1578544" y="207198"/>
                      <a:pt x="1578405" y="208863"/>
                    </a:cubicBezTo>
                    <a:lnTo>
                      <a:pt x="1578405" y="208909"/>
                    </a:lnTo>
                    <a:cubicBezTo>
                      <a:pt x="1578278" y="210433"/>
                      <a:pt x="1578138" y="211923"/>
                      <a:pt x="1578050" y="213318"/>
                    </a:cubicBezTo>
                    <a:cubicBezTo>
                      <a:pt x="1577821" y="216153"/>
                      <a:pt x="1577733" y="218628"/>
                      <a:pt x="1577733" y="220923"/>
                    </a:cubicBezTo>
                    <a:cubicBezTo>
                      <a:pt x="1577733" y="222636"/>
                      <a:pt x="1577821" y="224349"/>
                      <a:pt x="1578012" y="226052"/>
                    </a:cubicBezTo>
                    <a:cubicBezTo>
                      <a:pt x="1578265" y="228936"/>
                      <a:pt x="1578975" y="231761"/>
                      <a:pt x="1580117" y="234420"/>
                    </a:cubicBezTo>
                    <a:cubicBezTo>
                      <a:pt x="1582908" y="240093"/>
                      <a:pt x="1586713" y="245204"/>
                      <a:pt x="1591355" y="249495"/>
                    </a:cubicBezTo>
                    <a:cubicBezTo>
                      <a:pt x="1591533" y="249674"/>
                      <a:pt x="1591711" y="249899"/>
                      <a:pt x="1591888" y="250079"/>
                    </a:cubicBezTo>
                    <a:cubicBezTo>
                      <a:pt x="1593283" y="251520"/>
                      <a:pt x="1594767" y="253000"/>
                      <a:pt x="1596391" y="254623"/>
                    </a:cubicBezTo>
                    <a:cubicBezTo>
                      <a:pt x="1596251" y="255258"/>
                      <a:pt x="1596112" y="255885"/>
                      <a:pt x="1596023" y="256469"/>
                    </a:cubicBezTo>
                    <a:cubicBezTo>
                      <a:pt x="1595528" y="258854"/>
                      <a:pt x="1595084" y="261193"/>
                      <a:pt x="1594628" y="263534"/>
                    </a:cubicBezTo>
                    <a:cubicBezTo>
                      <a:pt x="1594539" y="263888"/>
                      <a:pt x="1594463" y="264249"/>
                      <a:pt x="1594412" y="264613"/>
                    </a:cubicBezTo>
                    <a:cubicBezTo>
                      <a:pt x="1594184" y="265648"/>
                      <a:pt x="1593955" y="266683"/>
                      <a:pt x="1593778" y="267718"/>
                    </a:cubicBezTo>
                    <a:cubicBezTo>
                      <a:pt x="1593093" y="271003"/>
                      <a:pt x="1592472" y="274287"/>
                      <a:pt x="1591799" y="277617"/>
                    </a:cubicBezTo>
                    <a:lnTo>
                      <a:pt x="1591520" y="278967"/>
                    </a:lnTo>
                    <a:cubicBezTo>
                      <a:pt x="1585863" y="279912"/>
                      <a:pt x="1579217" y="281081"/>
                      <a:pt x="1572202" y="282297"/>
                    </a:cubicBezTo>
                    <a:cubicBezTo>
                      <a:pt x="1566938" y="304030"/>
                      <a:pt x="1572963" y="328823"/>
                      <a:pt x="1551210" y="346596"/>
                    </a:cubicBezTo>
                    <a:cubicBezTo>
                      <a:pt x="1549421" y="335572"/>
                      <a:pt x="1548026" y="326843"/>
                      <a:pt x="1546263" y="316043"/>
                    </a:cubicBezTo>
                    <a:cubicBezTo>
                      <a:pt x="1535076" y="330848"/>
                      <a:pt x="1533592" y="341781"/>
                      <a:pt x="1543117" y="353121"/>
                    </a:cubicBezTo>
                    <a:cubicBezTo>
                      <a:pt x="1550601" y="360759"/>
                      <a:pt x="1551464" y="372702"/>
                      <a:pt x="1545147" y="381333"/>
                    </a:cubicBezTo>
                    <a:cubicBezTo>
                      <a:pt x="1544196" y="382678"/>
                      <a:pt x="1543168" y="383955"/>
                      <a:pt x="1542039" y="385158"/>
                    </a:cubicBezTo>
                    <a:cubicBezTo>
                      <a:pt x="1540390" y="386804"/>
                      <a:pt x="1538640" y="388338"/>
                      <a:pt x="1536788" y="389748"/>
                    </a:cubicBezTo>
                    <a:lnTo>
                      <a:pt x="1536788" y="389792"/>
                    </a:lnTo>
                    <a:cubicBezTo>
                      <a:pt x="1536471" y="390017"/>
                      <a:pt x="1536154" y="390287"/>
                      <a:pt x="1535799" y="390554"/>
                    </a:cubicBezTo>
                    <a:cubicBezTo>
                      <a:pt x="1535253" y="390915"/>
                      <a:pt x="1534758" y="391316"/>
                      <a:pt x="1534226" y="391679"/>
                    </a:cubicBezTo>
                    <a:cubicBezTo>
                      <a:pt x="1530408" y="394473"/>
                      <a:pt x="1526362" y="397034"/>
                      <a:pt x="1522772" y="399914"/>
                    </a:cubicBezTo>
                    <a:cubicBezTo>
                      <a:pt x="1522582" y="399509"/>
                      <a:pt x="1522404" y="399152"/>
                      <a:pt x="1522277" y="398744"/>
                    </a:cubicBezTo>
                    <a:cubicBezTo>
                      <a:pt x="1519994" y="390963"/>
                      <a:pt x="1516493" y="383597"/>
                      <a:pt x="1511889" y="376921"/>
                    </a:cubicBezTo>
                    <a:cubicBezTo>
                      <a:pt x="1496287" y="359967"/>
                      <a:pt x="1490326" y="336262"/>
                      <a:pt x="1496021" y="313929"/>
                    </a:cubicBezTo>
                    <a:cubicBezTo>
                      <a:pt x="1497645" y="314063"/>
                      <a:pt x="1499256" y="314153"/>
                      <a:pt x="1500930" y="314289"/>
                    </a:cubicBezTo>
                    <a:lnTo>
                      <a:pt x="1502947" y="314424"/>
                    </a:lnTo>
                    <a:cubicBezTo>
                      <a:pt x="1504431" y="314559"/>
                      <a:pt x="1505915" y="314649"/>
                      <a:pt x="1507437" y="314783"/>
                    </a:cubicBezTo>
                    <a:cubicBezTo>
                      <a:pt x="1512878" y="282882"/>
                      <a:pt x="1495932" y="262499"/>
                      <a:pt x="1474864" y="242250"/>
                    </a:cubicBezTo>
                    <a:cubicBezTo>
                      <a:pt x="1473418" y="240853"/>
                      <a:pt x="1471946" y="239456"/>
                      <a:pt x="1470450" y="238059"/>
                    </a:cubicBezTo>
                    <a:cubicBezTo>
                      <a:pt x="1463943" y="250163"/>
                      <a:pt x="1455850" y="258398"/>
                      <a:pt x="1456345" y="273831"/>
                    </a:cubicBezTo>
                    <a:cubicBezTo>
                      <a:pt x="1456446" y="277378"/>
                      <a:pt x="1456281" y="280928"/>
                      <a:pt x="1455850" y="284451"/>
                    </a:cubicBezTo>
                    <a:cubicBezTo>
                      <a:pt x="1455533" y="287252"/>
                      <a:pt x="1454975" y="290022"/>
                      <a:pt x="1454188" y="292730"/>
                    </a:cubicBezTo>
                    <a:cubicBezTo>
                      <a:pt x="1454188" y="292820"/>
                      <a:pt x="1454138" y="292909"/>
                      <a:pt x="1454138" y="292999"/>
                    </a:cubicBezTo>
                    <a:cubicBezTo>
                      <a:pt x="1451817" y="301497"/>
                      <a:pt x="1447555" y="309338"/>
                      <a:pt x="1441695" y="315902"/>
                    </a:cubicBezTo>
                    <a:cubicBezTo>
                      <a:pt x="1441251" y="316442"/>
                      <a:pt x="1440756" y="316982"/>
                      <a:pt x="1440261" y="317523"/>
                    </a:cubicBezTo>
                    <a:cubicBezTo>
                      <a:pt x="1439767" y="316622"/>
                      <a:pt x="1439272" y="315677"/>
                      <a:pt x="1438866" y="314729"/>
                    </a:cubicBezTo>
                    <a:cubicBezTo>
                      <a:pt x="1438777" y="314660"/>
                      <a:pt x="1438739" y="314562"/>
                      <a:pt x="1438727" y="314458"/>
                    </a:cubicBezTo>
                    <a:cubicBezTo>
                      <a:pt x="1429873" y="295605"/>
                      <a:pt x="1434591" y="273827"/>
                      <a:pt x="1428389" y="256278"/>
                    </a:cubicBezTo>
                    <a:cubicBezTo>
                      <a:pt x="1426131" y="249583"/>
                      <a:pt x="1421958" y="243700"/>
                      <a:pt x="1416390" y="239361"/>
                    </a:cubicBezTo>
                    <a:cubicBezTo>
                      <a:pt x="1415667" y="238775"/>
                      <a:pt x="1414956" y="238235"/>
                      <a:pt x="1414183" y="237696"/>
                    </a:cubicBezTo>
                    <a:cubicBezTo>
                      <a:pt x="1419903" y="232520"/>
                      <a:pt x="1423937" y="228787"/>
                      <a:pt x="1430913" y="222487"/>
                    </a:cubicBezTo>
                    <a:cubicBezTo>
                      <a:pt x="1431357" y="222082"/>
                      <a:pt x="1431801" y="221677"/>
                      <a:pt x="1432308" y="221228"/>
                    </a:cubicBezTo>
                    <a:cubicBezTo>
                      <a:pt x="1426309" y="221081"/>
                      <a:pt x="1420499" y="219051"/>
                      <a:pt x="1415717" y="215422"/>
                    </a:cubicBezTo>
                    <a:cubicBezTo>
                      <a:pt x="1413104" y="213630"/>
                      <a:pt x="1410073" y="212545"/>
                      <a:pt x="1406915" y="212273"/>
                    </a:cubicBezTo>
                    <a:cubicBezTo>
                      <a:pt x="1403224" y="212432"/>
                      <a:pt x="1399761" y="214070"/>
                      <a:pt x="1397300" y="216817"/>
                    </a:cubicBezTo>
                    <a:cubicBezTo>
                      <a:pt x="1396032" y="217988"/>
                      <a:pt x="1389829" y="214343"/>
                      <a:pt x="1386239" y="212407"/>
                    </a:cubicBezTo>
                    <a:cubicBezTo>
                      <a:pt x="1386100" y="212316"/>
                      <a:pt x="1385948" y="212240"/>
                      <a:pt x="1385783" y="212183"/>
                    </a:cubicBezTo>
                    <a:cubicBezTo>
                      <a:pt x="1383728" y="211057"/>
                      <a:pt x="1381660" y="209933"/>
                      <a:pt x="1379631" y="208762"/>
                    </a:cubicBezTo>
                    <a:cubicBezTo>
                      <a:pt x="1378870" y="208359"/>
                      <a:pt x="1378147" y="207908"/>
                      <a:pt x="1377386" y="207503"/>
                    </a:cubicBezTo>
                    <a:cubicBezTo>
                      <a:pt x="1376713" y="207099"/>
                      <a:pt x="1376079" y="206741"/>
                      <a:pt x="1375407" y="206333"/>
                    </a:cubicBezTo>
                    <a:cubicBezTo>
                      <a:pt x="1374557" y="205839"/>
                      <a:pt x="1373657" y="205344"/>
                      <a:pt x="1372807" y="204848"/>
                    </a:cubicBezTo>
                    <a:cubicBezTo>
                      <a:pt x="1371323" y="203949"/>
                      <a:pt x="1369889" y="203093"/>
                      <a:pt x="1368443" y="202283"/>
                    </a:cubicBezTo>
                    <a:cubicBezTo>
                      <a:pt x="1375813" y="193149"/>
                      <a:pt x="1382688" y="184645"/>
                      <a:pt x="1389423" y="176322"/>
                    </a:cubicBezTo>
                    <a:cubicBezTo>
                      <a:pt x="1389296" y="176186"/>
                      <a:pt x="1389157" y="176096"/>
                      <a:pt x="1389030" y="175961"/>
                    </a:cubicBezTo>
                    <a:cubicBezTo>
                      <a:pt x="1386239" y="173666"/>
                      <a:pt x="1383994" y="171866"/>
                      <a:pt x="1382066" y="170246"/>
                    </a:cubicBezTo>
                    <a:cubicBezTo>
                      <a:pt x="1380354" y="168849"/>
                      <a:pt x="1378870" y="167637"/>
                      <a:pt x="1377386" y="166377"/>
                    </a:cubicBezTo>
                    <a:cubicBezTo>
                      <a:pt x="1378020" y="164980"/>
                      <a:pt x="1378692" y="163583"/>
                      <a:pt x="1379314" y="162193"/>
                    </a:cubicBezTo>
                    <a:cubicBezTo>
                      <a:pt x="1380887" y="162372"/>
                      <a:pt x="1382459" y="162598"/>
                      <a:pt x="1384083" y="162777"/>
                    </a:cubicBezTo>
                    <a:cubicBezTo>
                      <a:pt x="1384933" y="162912"/>
                      <a:pt x="1385783" y="163002"/>
                      <a:pt x="1386645" y="163138"/>
                    </a:cubicBezTo>
                    <a:cubicBezTo>
                      <a:pt x="1391135" y="163722"/>
                      <a:pt x="1396120" y="164352"/>
                      <a:pt x="1402462" y="165162"/>
                    </a:cubicBezTo>
                    <a:cubicBezTo>
                      <a:pt x="1400661" y="162368"/>
                      <a:pt x="1398911" y="159672"/>
                      <a:pt x="1397249" y="157062"/>
                    </a:cubicBezTo>
                    <a:cubicBezTo>
                      <a:pt x="1396311" y="155665"/>
                      <a:pt x="1395410" y="154318"/>
                      <a:pt x="1394548" y="152968"/>
                    </a:cubicBezTo>
                    <a:cubicBezTo>
                      <a:pt x="1388041" y="143023"/>
                      <a:pt x="1381965" y="133890"/>
                      <a:pt x="1376396" y="124756"/>
                    </a:cubicBezTo>
                    <a:cubicBezTo>
                      <a:pt x="1376041" y="124216"/>
                      <a:pt x="1375673" y="123631"/>
                      <a:pt x="1375369" y="123091"/>
                    </a:cubicBezTo>
                    <a:cubicBezTo>
                      <a:pt x="1375052" y="122596"/>
                      <a:pt x="1374773" y="122101"/>
                      <a:pt x="1374468" y="121606"/>
                    </a:cubicBezTo>
                    <a:cubicBezTo>
                      <a:pt x="1374329" y="121426"/>
                      <a:pt x="1374240" y="121201"/>
                      <a:pt x="1374101" y="121021"/>
                    </a:cubicBezTo>
                    <a:cubicBezTo>
                      <a:pt x="1373568" y="120122"/>
                      <a:pt x="1373073" y="119267"/>
                      <a:pt x="1372579" y="118366"/>
                    </a:cubicBezTo>
                    <a:cubicBezTo>
                      <a:pt x="1371906" y="117287"/>
                      <a:pt x="1371285" y="116162"/>
                      <a:pt x="1370650" y="115082"/>
                    </a:cubicBezTo>
                    <a:cubicBezTo>
                      <a:pt x="1369560" y="113157"/>
                      <a:pt x="1368621" y="111157"/>
                      <a:pt x="1367822" y="109097"/>
                    </a:cubicBezTo>
                    <a:cubicBezTo>
                      <a:pt x="1365653" y="104261"/>
                      <a:pt x="1364892" y="98913"/>
                      <a:pt x="1365615" y="93664"/>
                    </a:cubicBezTo>
                    <a:cubicBezTo>
                      <a:pt x="1368177" y="79746"/>
                      <a:pt x="1364473" y="65406"/>
                      <a:pt x="1355506" y="54471"/>
                    </a:cubicBezTo>
                    <a:lnTo>
                      <a:pt x="1355468" y="54381"/>
                    </a:lnTo>
                    <a:cubicBezTo>
                      <a:pt x="1352182" y="49747"/>
                      <a:pt x="1348580" y="45247"/>
                      <a:pt x="1345219" y="40703"/>
                    </a:cubicBezTo>
                    <a:cubicBezTo>
                      <a:pt x="1342923" y="37644"/>
                      <a:pt x="1340716" y="34539"/>
                      <a:pt x="1338788" y="31343"/>
                    </a:cubicBezTo>
                    <a:cubicBezTo>
                      <a:pt x="1338699" y="31175"/>
                      <a:pt x="1338572" y="31023"/>
                      <a:pt x="1338433" y="30894"/>
                    </a:cubicBezTo>
                    <a:cubicBezTo>
                      <a:pt x="1334424" y="27437"/>
                      <a:pt x="1329478" y="25259"/>
                      <a:pt x="1324226" y="24639"/>
                    </a:cubicBezTo>
                    <a:cubicBezTo>
                      <a:pt x="1323909" y="24570"/>
                      <a:pt x="1323592" y="24480"/>
                      <a:pt x="1323288" y="24370"/>
                    </a:cubicBezTo>
                    <a:cubicBezTo>
                      <a:pt x="1322679" y="24247"/>
                      <a:pt x="1322070" y="24081"/>
                      <a:pt x="1321487" y="23875"/>
                    </a:cubicBezTo>
                    <a:cubicBezTo>
                      <a:pt x="1320053" y="23515"/>
                      <a:pt x="1318569" y="23064"/>
                      <a:pt x="1317174" y="22570"/>
                    </a:cubicBezTo>
                    <a:lnTo>
                      <a:pt x="1315956" y="22165"/>
                    </a:lnTo>
                    <a:cubicBezTo>
                      <a:pt x="1316045" y="21933"/>
                      <a:pt x="1316108" y="21691"/>
                      <a:pt x="1316147" y="21445"/>
                    </a:cubicBezTo>
                    <a:cubicBezTo>
                      <a:pt x="1317225" y="17666"/>
                      <a:pt x="1317757" y="13076"/>
                      <a:pt x="1318696" y="9206"/>
                    </a:cubicBezTo>
                    <a:cubicBezTo>
                      <a:pt x="1318823" y="8674"/>
                      <a:pt x="1318975" y="8148"/>
                      <a:pt x="1319153" y="7631"/>
                    </a:cubicBezTo>
                    <a:lnTo>
                      <a:pt x="1319153" y="7606"/>
                    </a:lnTo>
                    <a:cubicBezTo>
                      <a:pt x="1319597" y="5305"/>
                      <a:pt x="1320878" y="3252"/>
                      <a:pt x="1322742" y="1845"/>
                    </a:cubicBezTo>
                    <a:cubicBezTo>
                      <a:pt x="1323656" y="1293"/>
                      <a:pt x="1324531" y="677"/>
                      <a:pt x="1325355" y="1"/>
                    </a:cubicBezTo>
                    <a:lnTo>
                      <a:pt x="1305175" y="1"/>
                    </a:lnTo>
                    <a:cubicBezTo>
                      <a:pt x="1305035" y="2403"/>
                      <a:pt x="1304731" y="4793"/>
                      <a:pt x="1304274" y="7155"/>
                    </a:cubicBezTo>
                    <a:cubicBezTo>
                      <a:pt x="1301585" y="20705"/>
                      <a:pt x="1293569" y="32604"/>
                      <a:pt x="1282039" y="40186"/>
                    </a:cubicBezTo>
                    <a:cubicBezTo>
                      <a:pt x="1283104" y="41626"/>
                      <a:pt x="1284094" y="42975"/>
                      <a:pt x="1284994" y="44235"/>
                    </a:cubicBezTo>
                    <a:cubicBezTo>
                      <a:pt x="1287176" y="47100"/>
                      <a:pt x="1289078" y="50158"/>
                      <a:pt x="1290702" y="53370"/>
                    </a:cubicBezTo>
                    <a:lnTo>
                      <a:pt x="1290702" y="53415"/>
                    </a:lnTo>
                    <a:cubicBezTo>
                      <a:pt x="1293214" y="57302"/>
                      <a:pt x="1292224" y="62474"/>
                      <a:pt x="1288457" y="65158"/>
                    </a:cubicBezTo>
                    <a:cubicBezTo>
                      <a:pt x="1284056" y="63403"/>
                      <a:pt x="1279477" y="61559"/>
                      <a:pt x="1275024" y="59804"/>
                    </a:cubicBezTo>
                    <a:cubicBezTo>
                      <a:pt x="1264738" y="73494"/>
                      <a:pt x="1261072" y="91054"/>
                      <a:pt x="1265004" y="107725"/>
                    </a:cubicBezTo>
                    <a:cubicBezTo>
                      <a:pt x="1267147" y="114913"/>
                      <a:pt x="1270940" y="121505"/>
                      <a:pt x="1276052" y="126983"/>
                    </a:cubicBezTo>
                    <a:cubicBezTo>
                      <a:pt x="1275925" y="127208"/>
                      <a:pt x="1275747" y="127388"/>
                      <a:pt x="1275608" y="127618"/>
                    </a:cubicBezTo>
                    <a:cubicBezTo>
                      <a:pt x="1261452" y="147866"/>
                      <a:pt x="1259740" y="162490"/>
                      <a:pt x="1268010" y="176035"/>
                    </a:cubicBezTo>
                    <a:lnTo>
                      <a:pt x="1268061" y="176214"/>
                    </a:lnTo>
                    <a:cubicBezTo>
                      <a:pt x="1275164" y="186252"/>
                      <a:pt x="1284132" y="194823"/>
                      <a:pt x="1294482" y="201457"/>
                    </a:cubicBezTo>
                    <a:cubicBezTo>
                      <a:pt x="1300951" y="206092"/>
                      <a:pt x="1314612" y="204921"/>
                      <a:pt x="1317808" y="209601"/>
                    </a:cubicBezTo>
                    <a:lnTo>
                      <a:pt x="1317846" y="209646"/>
                    </a:lnTo>
                    <a:cubicBezTo>
                      <a:pt x="1317998" y="209804"/>
                      <a:pt x="1318125" y="209987"/>
                      <a:pt x="1318214" y="210186"/>
                    </a:cubicBezTo>
                    <a:cubicBezTo>
                      <a:pt x="1319457" y="213181"/>
                      <a:pt x="1321360" y="215857"/>
                      <a:pt x="1323783" y="218016"/>
                    </a:cubicBezTo>
                    <a:lnTo>
                      <a:pt x="1323833" y="218060"/>
                    </a:lnTo>
                    <a:cubicBezTo>
                      <a:pt x="1330797" y="223910"/>
                      <a:pt x="1340005" y="220040"/>
                      <a:pt x="1351561" y="216441"/>
                    </a:cubicBezTo>
                    <a:cubicBezTo>
                      <a:pt x="1350965" y="218510"/>
                      <a:pt x="1350381" y="220399"/>
                      <a:pt x="1349848" y="222200"/>
                    </a:cubicBezTo>
                    <a:cubicBezTo>
                      <a:pt x="1349176" y="224584"/>
                      <a:pt x="1348504" y="226744"/>
                      <a:pt x="1347921" y="228769"/>
                    </a:cubicBezTo>
                    <a:cubicBezTo>
                      <a:pt x="1347159" y="231288"/>
                      <a:pt x="1346475" y="233583"/>
                      <a:pt x="1345853" y="235699"/>
                    </a:cubicBezTo>
                    <a:cubicBezTo>
                      <a:pt x="1345358" y="237453"/>
                      <a:pt x="1344863" y="239074"/>
                      <a:pt x="1344407" y="240652"/>
                    </a:cubicBezTo>
                    <a:cubicBezTo>
                      <a:pt x="1343874" y="240382"/>
                      <a:pt x="1343329" y="240112"/>
                      <a:pt x="1342796" y="239890"/>
                    </a:cubicBezTo>
                    <a:cubicBezTo>
                      <a:pt x="1338661" y="237865"/>
                      <a:pt x="1335782" y="236515"/>
                      <a:pt x="1333765" y="235525"/>
                    </a:cubicBezTo>
                    <a:cubicBezTo>
                      <a:pt x="1332953" y="235164"/>
                      <a:pt x="1332319" y="234850"/>
                      <a:pt x="1331735" y="234580"/>
                    </a:cubicBezTo>
                    <a:lnTo>
                      <a:pt x="1330657" y="238089"/>
                    </a:lnTo>
                    <a:cubicBezTo>
                      <a:pt x="1329846" y="240745"/>
                      <a:pt x="1329084" y="243355"/>
                      <a:pt x="1328273" y="245874"/>
                    </a:cubicBezTo>
                    <a:cubicBezTo>
                      <a:pt x="1326116" y="252986"/>
                      <a:pt x="1324087" y="259688"/>
                      <a:pt x="1322108" y="266122"/>
                    </a:cubicBezTo>
                    <a:cubicBezTo>
                      <a:pt x="1321347" y="268687"/>
                      <a:pt x="1320586" y="271202"/>
                      <a:pt x="1319774" y="273727"/>
                    </a:cubicBezTo>
                    <a:cubicBezTo>
                      <a:pt x="1319647" y="274267"/>
                      <a:pt x="1319457" y="274852"/>
                      <a:pt x="1319279" y="275392"/>
                    </a:cubicBezTo>
                    <a:cubicBezTo>
                      <a:pt x="1319470" y="275478"/>
                      <a:pt x="1319673" y="275553"/>
                      <a:pt x="1319863" y="275617"/>
                    </a:cubicBezTo>
                    <a:cubicBezTo>
                      <a:pt x="1336492" y="282365"/>
                      <a:pt x="1329211" y="260587"/>
                      <a:pt x="1340982" y="260048"/>
                    </a:cubicBezTo>
                    <a:lnTo>
                      <a:pt x="1341794" y="260048"/>
                    </a:lnTo>
                    <a:cubicBezTo>
                      <a:pt x="1342251" y="260093"/>
                      <a:pt x="1342745" y="260138"/>
                      <a:pt x="1343278" y="260228"/>
                    </a:cubicBezTo>
                    <a:cubicBezTo>
                      <a:pt x="1343417" y="261442"/>
                      <a:pt x="1343506" y="262703"/>
                      <a:pt x="1343633" y="263917"/>
                    </a:cubicBezTo>
                    <a:cubicBezTo>
                      <a:pt x="1344394" y="271207"/>
                      <a:pt x="1345168" y="278766"/>
                      <a:pt x="1345980" y="286904"/>
                    </a:cubicBezTo>
                    <a:lnTo>
                      <a:pt x="1345980" y="286949"/>
                    </a:lnTo>
                    <a:cubicBezTo>
                      <a:pt x="1346157" y="288524"/>
                      <a:pt x="1346284" y="290144"/>
                      <a:pt x="1346475" y="291809"/>
                    </a:cubicBezTo>
                    <a:cubicBezTo>
                      <a:pt x="1346512" y="292393"/>
                      <a:pt x="1346601" y="292979"/>
                      <a:pt x="1346652" y="293563"/>
                    </a:cubicBezTo>
                    <a:cubicBezTo>
                      <a:pt x="1328805" y="302337"/>
                      <a:pt x="1325710" y="329110"/>
                      <a:pt x="1306697" y="334599"/>
                    </a:cubicBezTo>
                    <a:cubicBezTo>
                      <a:pt x="1304591" y="335223"/>
                      <a:pt x="1302422" y="335555"/>
                      <a:pt x="1300228" y="335590"/>
                    </a:cubicBezTo>
                    <a:cubicBezTo>
                      <a:pt x="1299048" y="335663"/>
                      <a:pt x="1297856" y="335649"/>
                      <a:pt x="1296676" y="335545"/>
                    </a:cubicBezTo>
                    <a:cubicBezTo>
                      <a:pt x="1291565" y="341747"/>
                      <a:pt x="1289560" y="349951"/>
                      <a:pt x="1291235" y="357817"/>
                    </a:cubicBezTo>
                    <a:cubicBezTo>
                      <a:pt x="1291894" y="361286"/>
                      <a:pt x="1292820" y="364699"/>
                      <a:pt x="1293975" y="368032"/>
                    </a:cubicBezTo>
                    <a:lnTo>
                      <a:pt x="1293975" y="368076"/>
                    </a:lnTo>
                    <a:cubicBezTo>
                      <a:pt x="1295636" y="372582"/>
                      <a:pt x="1296994" y="377197"/>
                      <a:pt x="1298021" y="381890"/>
                    </a:cubicBezTo>
                    <a:cubicBezTo>
                      <a:pt x="1298110" y="382135"/>
                      <a:pt x="1298160" y="382392"/>
                      <a:pt x="1298160" y="382652"/>
                    </a:cubicBezTo>
                    <a:cubicBezTo>
                      <a:pt x="1299467" y="388615"/>
                      <a:pt x="1298680" y="394848"/>
                      <a:pt x="1295915" y="400290"/>
                    </a:cubicBezTo>
                    <a:cubicBezTo>
                      <a:pt x="1295433" y="400270"/>
                      <a:pt x="1294964" y="400179"/>
                      <a:pt x="1294520" y="400019"/>
                    </a:cubicBezTo>
                    <a:cubicBezTo>
                      <a:pt x="1294127" y="399925"/>
                      <a:pt x="1293746" y="399790"/>
                      <a:pt x="1293391" y="399616"/>
                    </a:cubicBezTo>
                    <a:lnTo>
                      <a:pt x="1293353" y="399616"/>
                    </a:lnTo>
                    <a:cubicBezTo>
                      <a:pt x="1292034" y="398945"/>
                      <a:pt x="1290842" y="398080"/>
                      <a:pt x="1289802" y="397050"/>
                    </a:cubicBezTo>
                    <a:cubicBezTo>
                      <a:pt x="1288191" y="395412"/>
                      <a:pt x="1286478" y="393879"/>
                      <a:pt x="1284677" y="392460"/>
                    </a:cubicBezTo>
                    <a:cubicBezTo>
                      <a:pt x="1281849" y="390171"/>
                      <a:pt x="1277790" y="390285"/>
                      <a:pt x="1275100" y="392731"/>
                    </a:cubicBezTo>
                    <a:lnTo>
                      <a:pt x="1275050" y="392551"/>
                    </a:lnTo>
                    <a:cubicBezTo>
                      <a:pt x="1271054" y="383841"/>
                      <a:pt x="1268492" y="374542"/>
                      <a:pt x="1267465" y="365013"/>
                    </a:cubicBezTo>
                    <a:cubicBezTo>
                      <a:pt x="1269190" y="351301"/>
                      <a:pt x="1272107" y="337765"/>
                      <a:pt x="1276179" y="324562"/>
                    </a:cubicBezTo>
                    <a:cubicBezTo>
                      <a:pt x="1276585" y="323076"/>
                      <a:pt x="1276940" y="321502"/>
                      <a:pt x="1277308" y="319927"/>
                    </a:cubicBezTo>
                    <a:cubicBezTo>
                      <a:pt x="1269532" y="325147"/>
                      <a:pt x="1265258" y="328071"/>
                      <a:pt x="1262289" y="330051"/>
                    </a:cubicBezTo>
                    <a:cubicBezTo>
                      <a:pt x="1261795" y="330412"/>
                      <a:pt x="1261351" y="330727"/>
                      <a:pt x="1260894" y="330996"/>
                    </a:cubicBezTo>
                    <a:cubicBezTo>
                      <a:pt x="1258700" y="327891"/>
                      <a:pt x="1256632" y="324787"/>
                      <a:pt x="1254552" y="321725"/>
                    </a:cubicBezTo>
                    <a:cubicBezTo>
                      <a:pt x="1253702" y="320464"/>
                      <a:pt x="1252852" y="319160"/>
                      <a:pt x="1251990" y="317900"/>
                    </a:cubicBezTo>
                    <a:cubicBezTo>
                      <a:pt x="1249073" y="313625"/>
                      <a:pt x="1246104" y="309486"/>
                      <a:pt x="1242819" y="305571"/>
                    </a:cubicBezTo>
                    <a:cubicBezTo>
                      <a:pt x="1242375" y="304990"/>
                      <a:pt x="1241881" y="304449"/>
                      <a:pt x="1241348" y="303952"/>
                    </a:cubicBezTo>
                    <a:cubicBezTo>
                      <a:pt x="1237302" y="299901"/>
                      <a:pt x="1234105" y="299721"/>
                      <a:pt x="1231226" y="301207"/>
                    </a:cubicBezTo>
                    <a:cubicBezTo>
                      <a:pt x="1229171" y="302438"/>
                      <a:pt x="1227307" y="303969"/>
                      <a:pt x="1225708" y="305751"/>
                    </a:cubicBezTo>
                    <a:cubicBezTo>
                      <a:pt x="1222690" y="308720"/>
                      <a:pt x="1219683" y="311826"/>
                      <a:pt x="1215992" y="311735"/>
                    </a:cubicBezTo>
                    <a:cubicBezTo>
                      <a:pt x="1214369" y="311733"/>
                      <a:pt x="1212745" y="311883"/>
                      <a:pt x="1211147" y="312185"/>
                    </a:cubicBezTo>
                    <a:lnTo>
                      <a:pt x="1211147" y="312231"/>
                    </a:lnTo>
                    <a:cubicBezTo>
                      <a:pt x="1210652" y="312275"/>
                      <a:pt x="1210196" y="312365"/>
                      <a:pt x="1209840" y="312411"/>
                    </a:cubicBezTo>
                    <a:lnTo>
                      <a:pt x="1209701" y="312455"/>
                    </a:lnTo>
                    <a:cubicBezTo>
                      <a:pt x="1209663" y="312951"/>
                      <a:pt x="1209612" y="313445"/>
                      <a:pt x="1209574" y="313896"/>
                    </a:cubicBezTo>
                    <a:cubicBezTo>
                      <a:pt x="1209257" y="316690"/>
                      <a:pt x="1208940" y="319430"/>
                      <a:pt x="1208673" y="322129"/>
                    </a:cubicBezTo>
                    <a:cubicBezTo>
                      <a:pt x="1208217" y="326225"/>
                      <a:pt x="1207824" y="330274"/>
                      <a:pt x="1207418" y="334233"/>
                    </a:cubicBezTo>
                    <a:cubicBezTo>
                      <a:pt x="1206923" y="338463"/>
                      <a:pt x="1206466" y="342603"/>
                      <a:pt x="1206022" y="346697"/>
                    </a:cubicBezTo>
                    <a:cubicBezTo>
                      <a:pt x="1205832" y="348587"/>
                      <a:pt x="1205617" y="350432"/>
                      <a:pt x="1205439" y="352276"/>
                    </a:cubicBezTo>
                    <a:cubicBezTo>
                      <a:pt x="1197778" y="358219"/>
                      <a:pt x="1187351" y="359083"/>
                      <a:pt x="1178828" y="354481"/>
                    </a:cubicBezTo>
                    <a:cubicBezTo>
                      <a:pt x="1165306" y="347909"/>
                      <a:pt x="1149527" y="347909"/>
                      <a:pt x="1136006" y="354481"/>
                    </a:cubicBezTo>
                    <a:cubicBezTo>
                      <a:pt x="1128674" y="357901"/>
                      <a:pt x="1120658" y="359566"/>
                      <a:pt x="1112591" y="359341"/>
                    </a:cubicBezTo>
                    <a:cubicBezTo>
                      <a:pt x="1111259" y="359311"/>
                      <a:pt x="1109940" y="359190"/>
                      <a:pt x="1108633" y="358981"/>
                    </a:cubicBezTo>
                    <a:cubicBezTo>
                      <a:pt x="1098194" y="357460"/>
                      <a:pt x="1088453" y="352836"/>
                      <a:pt x="1080677" y="345708"/>
                    </a:cubicBezTo>
                    <a:cubicBezTo>
                      <a:pt x="1079244" y="344448"/>
                      <a:pt x="1077760" y="343188"/>
                      <a:pt x="1076276" y="342017"/>
                    </a:cubicBezTo>
                    <a:lnTo>
                      <a:pt x="1076187" y="341973"/>
                    </a:lnTo>
                    <a:cubicBezTo>
                      <a:pt x="1072572" y="338954"/>
                      <a:pt x="1068501" y="336524"/>
                      <a:pt x="1064137" y="334773"/>
                    </a:cubicBezTo>
                    <a:cubicBezTo>
                      <a:pt x="1059127" y="332878"/>
                      <a:pt x="1053673" y="332487"/>
                      <a:pt x="1048447" y="333648"/>
                    </a:cubicBezTo>
                    <a:cubicBezTo>
                      <a:pt x="1045339" y="334040"/>
                      <a:pt x="1042181" y="333511"/>
                      <a:pt x="1039378" y="332124"/>
                    </a:cubicBezTo>
                    <a:cubicBezTo>
                      <a:pt x="1037627" y="331347"/>
                      <a:pt x="1035978" y="330348"/>
                      <a:pt x="1034482" y="329153"/>
                    </a:cubicBezTo>
                    <a:cubicBezTo>
                      <a:pt x="1032325" y="327400"/>
                      <a:pt x="1030169" y="325644"/>
                      <a:pt x="1028051" y="323799"/>
                    </a:cubicBezTo>
                    <a:cubicBezTo>
                      <a:pt x="1027784" y="323601"/>
                      <a:pt x="1027531" y="323389"/>
                      <a:pt x="1027290" y="323164"/>
                    </a:cubicBezTo>
                    <a:cubicBezTo>
                      <a:pt x="1026072" y="322085"/>
                      <a:pt x="1024816" y="321005"/>
                      <a:pt x="1023599" y="319924"/>
                    </a:cubicBezTo>
                    <a:cubicBezTo>
                      <a:pt x="1021493" y="318035"/>
                      <a:pt x="1019375" y="316145"/>
                      <a:pt x="1017256" y="314209"/>
                    </a:cubicBezTo>
                    <a:cubicBezTo>
                      <a:pt x="1015646" y="312725"/>
                      <a:pt x="1013984" y="311194"/>
                      <a:pt x="1012310" y="309664"/>
                    </a:cubicBezTo>
                    <a:cubicBezTo>
                      <a:pt x="1011409" y="308855"/>
                      <a:pt x="1010521" y="307999"/>
                      <a:pt x="1009621" y="307144"/>
                    </a:cubicBezTo>
                    <a:cubicBezTo>
                      <a:pt x="1008048" y="305747"/>
                      <a:pt x="1006424" y="304265"/>
                      <a:pt x="1004813" y="302826"/>
                    </a:cubicBezTo>
                    <a:cubicBezTo>
                      <a:pt x="1004357" y="302421"/>
                      <a:pt x="1003951" y="302016"/>
                      <a:pt x="1003507" y="301611"/>
                    </a:cubicBezTo>
                    <a:cubicBezTo>
                      <a:pt x="984544" y="314165"/>
                      <a:pt x="966608" y="326044"/>
                      <a:pt x="945578" y="339993"/>
                    </a:cubicBezTo>
                    <a:lnTo>
                      <a:pt x="945312" y="340533"/>
                    </a:lnTo>
                    <a:cubicBezTo>
                      <a:pt x="945210" y="340766"/>
                      <a:pt x="945083" y="340992"/>
                      <a:pt x="944944" y="341208"/>
                    </a:cubicBezTo>
                    <a:lnTo>
                      <a:pt x="944944" y="341253"/>
                    </a:lnTo>
                    <a:cubicBezTo>
                      <a:pt x="943333" y="344538"/>
                      <a:pt x="940504" y="350162"/>
                      <a:pt x="939020" y="353132"/>
                    </a:cubicBezTo>
                    <a:cubicBezTo>
                      <a:pt x="939376" y="354302"/>
                      <a:pt x="939731" y="355472"/>
                      <a:pt x="940048" y="356641"/>
                    </a:cubicBezTo>
                    <a:cubicBezTo>
                      <a:pt x="941215" y="360467"/>
                      <a:pt x="942255" y="364110"/>
                      <a:pt x="943282" y="367576"/>
                    </a:cubicBezTo>
                    <a:cubicBezTo>
                      <a:pt x="945033" y="373560"/>
                      <a:pt x="946656" y="379049"/>
                      <a:pt x="948356" y="384403"/>
                    </a:cubicBezTo>
                    <a:lnTo>
                      <a:pt x="948762" y="385753"/>
                    </a:lnTo>
                    <a:cubicBezTo>
                      <a:pt x="949307" y="387374"/>
                      <a:pt x="949802" y="388949"/>
                      <a:pt x="950335" y="390524"/>
                    </a:cubicBezTo>
                    <a:cubicBezTo>
                      <a:pt x="955015" y="404472"/>
                      <a:pt x="956943" y="410187"/>
                      <a:pt x="953937" y="416352"/>
                    </a:cubicBezTo>
                    <a:cubicBezTo>
                      <a:pt x="953290" y="417642"/>
                      <a:pt x="952529" y="418862"/>
                      <a:pt x="951641" y="419995"/>
                    </a:cubicBezTo>
                    <a:cubicBezTo>
                      <a:pt x="951235" y="420612"/>
                      <a:pt x="950779" y="421198"/>
                      <a:pt x="950297" y="421750"/>
                    </a:cubicBezTo>
                    <a:cubicBezTo>
                      <a:pt x="949624" y="422561"/>
                      <a:pt x="948851" y="423415"/>
                      <a:pt x="948039" y="424360"/>
                    </a:cubicBezTo>
                    <a:cubicBezTo>
                      <a:pt x="946161" y="426430"/>
                      <a:pt x="943828" y="428815"/>
                      <a:pt x="941037" y="431599"/>
                    </a:cubicBezTo>
                    <a:cubicBezTo>
                      <a:pt x="940771" y="431914"/>
                      <a:pt x="940403" y="432275"/>
                      <a:pt x="940048" y="432634"/>
                    </a:cubicBezTo>
                    <a:cubicBezTo>
                      <a:pt x="938792" y="430295"/>
                      <a:pt x="937486" y="428000"/>
                      <a:pt x="936230" y="425705"/>
                    </a:cubicBezTo>
                    <a:cubicBezTo>
                      <a:pt x="936052" y="425344"/>
                      <a:pt x="935824" y="424943"/>
                      <a:pt x="935596" y="424580"/>
                    </a:cubicBezTo>
                    <a:cubicBezTo>
                      <a:pt x="933566" y="420800"/>
                      <a:pt x="931499" y="417111"/>
                      <a:pt x="929482" y="413466"/>
                    </a:cubicBezTo>
                    <a:cubicBezTo>
                      <a:pt x="928848" y="412296"/>
                      <a:pt x="928226" y="411171"/>
                      <a:pt x="927592" y="410002"/>
                    </a:cubicBezTo>
                    <a:cubicBezTo>
                      <a:pt x="927769" y="409833"/>
                      <a:pt x="927934" y="409652"/>
                      <a:pt x="928087" y="409462"/>
                    </a:cubicBezTo>
                    <a:cubicBezTo>
                      <a:pt x="939819" y="396547"/>
                      <a:pt x="940175" y="392317"/>
                      <a:pt x="927998" y="383993"/>
                    </a:cubicBezTo>
                    <a:cubicBezTo>
                      <a:pt x="927871" y="383902"/>
                      <a:pt x="927732" y="383827"/>
                      <a:pt x="927592" y="383768"/>
                    </a:cubicBezTo>
                    <a:cubicBezTo>
                      <a:pt x="927072" y="383403"/>
                      <a:pt x="926539" y="383073"/>
                      <a:pt x="925981" y="382779"/>
                    </a:cubicBezTo>
                    <a:cubicBezTo>
                      <a:pt x="923698" y="381602"/>
                      <a:pt x="921351" y="380550"/>
                      <a:pt x="918967" y="379630"/>
                    </a:cubicBezTo>
                    <a:cubicBezTo>
                      <a:pt x="916582" y="378738"/>
                      <a:pt x="914299" y="377576"/>
                      <a:pt x="912181" y="376165"/>
                    </a:cubicBezTo>
                    <a:cubicBezTo>
                      <a:pt x="907868" y="373197"/>
                      <a:pt x="905648" y="368017"/>
                      <a:pt x="906473" y="362847"/>
                    </a:cubicBezTo>
                    <a:cubicBezTo>
                      <a:pt x="906333" y="362208"/>
                      <a:pt x="905991" y="361635"/>
                      <a:pt x="905483" y="361226"/>
                    </a:cubicBezTo>
                    <a:cubicBezTo>
                      <a:pt x="904633" y="360326"/>
                      <a:pt x="903454" y="359561"/>
                      <a:pt x="902832" y="359651"/>
                    </a:cubicBezTo>
                    <a:cubicBezTo>
                      <a:pt x="902160" y="359753"/>
                      <a:pt x="901475" y="359812"/>
                      <a:pt x="900803" y="359832"/>
                    </a:cubicBezTo>
                    <a:cubicBezTo>
                      <a:pt x="900511" y="359867"/>
                      <a:pt x="900232" y="359882"/>
                      <a:pt x="899940" y="359876"/>
                    </a:cubicBezTo>
                    <a:cubicBezTo>
                      <a:pt x="897188" y="359886"/>
                      <a:pt x="894486" y="359089"/>
                      <a:pt x="892178" y="357581"/>
                    </a:cubicBezTo>
                    <a:cubicBezTo>
                      <a:pt x="889539" y="355775"/>
                      <a:pt x="887218" y="353556"/>
                      <a:pt x="885290" y="351011"/>
                    </a:cubicBezTo>
                    <a:cubicBezTo>
                      <a:pt x="884757" y="350337"/>
                      <a:pt x="884212" y="349707"/>
                      <a:pt x="883679" y="349033"/>
                    </a:cubicBezTo>
                    <a:cubicBezTo>
                      <a:pt x="881980" y="346744"/>
                      <a:pt x="880014" y="344660"/>
                      <a:pt x="877832" y="342822"/>
                    </a:cubicBezTo>
                    <a:cubicBezTo>
                      <a:pt x="876678" y="341927"/>
                      <a:pt x="875371" y="341255"/>
                      <a:pt x="873976" y="340842"/>
                    </a:cubicBezTo>
                    <a:cubicBezTo>
                      <a:pt x="824761" y="367346"/>
                      <a:pt x="777310" y="365226"/>
                      <a:pt x="726395" y="347097"/>
                    </a:cubicBezTo>
                    <a:cubicBezTo>
                      <a:pt x="725305" y="346738"/>
                      <a:pt x="724239" y="346335"/>
                      <a:pt x="723148" y="345928"/>
                    </a:cubicBezTo>
                    <a:cubicBezTo>
                      <a:pt x="726865" y="337460"/>
                      <a:pt x="731900" y="329639"/>
                      <a:pt x="738077" y="322754"/>
                    </a:cubicBezTo>
                    <a:cubicBezTo>
                      <a:pt x="739562" y="321635"/>
                      <a:pt x="741160" y="320657"/>
                      <a:pt x="742834" y="319833"/>
                    </a:cubicBezTo>
                    <a:cubicBezTo>
                      <a:pt x="742885" y="319787"/>
                      <a:pt x="742923" y="319787"/>
                      <a:pt x="743012" y="319787"/>
                    </a:cubicBezTo>
                    <a:cubicBezTo>
                      <a:pt x="749620" y="317096"/>
                      <a:pt x="756355" y="314739"/>
                      <a:pt x="763192" y="312723"/>
                    </a:cubicBezTo>
                    <a:cubicBezTo>
                      <a:pt x="761175" y="300463"/>
                      <a:pt x="755607" y="289070"/>
                      <a:pt x="747159" y="279962"/>
                    </a:cubicBezTo>
                    <a:cubicBezTo>
                      <a:pt x="740741" y="272226"/>
                      <a:pt x="732014" y="266753"/>
                      <a:pt x="722260" y="264348"/>
                    </a:cubicBezTo>
                    <a:cubicBezTo>
                      <a:pt x="720561" y="264021"/>
                      <a:pt x="718836" y="263855"/>
                      <a:pt x="717098" y="263854"/>
                    </a:cubicBezTo>
                    <a:cubicBezTo>
                      <a:pt x="716540" y="263853"/>
                      <a:pt x="715982" y="263897"/>
                      <a:pt x="715436" y="263988"/>
                    </a:cubicBezTo>
                    <a:cubicBezTo>
                      <a:pt x="714282" y="264122"/>
                      <a:pt x="713166" y="264489"/>
                      <a:pt x="712151" y="265068"/>
                    </a:cubicBezTo>
                    <a:cubicBezTo>
                      <a:pt x="711606" y="265383"/>
                      <a:pt x="711124" y="265703"/>
                      <a:pt x="710578" y="265968"/>
                    </a:cubicBezTo>
                    <a:cubicBezTo>
                      <a:pt x="708866" y="266964"/>
                      <a:pt x="707065" y="267778"/>
                      <a:pt x="705187" y="268398"/>
                    </a:cubicBezTo>
                    <a:cubicBezTo>
                      <a:pt x="692427" y="271098"/>
                      <a:pt x="679121" y="269251"/>
                      <a:pt x="667566" y="263178"/>
                    </a:cubicBezTo>
                    <a:cubicBezTo>
                      <a:pt x="647842" y="256114"/>
                      <a:pt x="631213" y="242255"/>
                      <a:pt x="611667" y="234425"/>
                    </a:cubicBezTo>
                    <a:cubicBezTo>
                      <a:pt x="605541" y="231898"/>
                      <a:pt x="599122" y="230175"/>
                      <a:pt x="592564" y="229296"/>
                    </a:cubicBezTo>
                    <a:cubicBezTo>
                      <a:pt x="587542" y="227622"/>
                      <a:pt x="583280" y="224227"/>
                      <a:pt x="580515" y="219712"/>
                    </a:cubicBezTo>
                    <a:cubicBezTo>
                      <a:pt x="579208" y="217910"/>
                      <a:pt x="577800" y="216183"/>
                      <a:pt x="576291" y="214538"/>
                    </a:cubicBezTo>
                    <a:cubicBezTo>
                      <a:pt x="559916" y="196506"/>
                      <a:pt x="534649" y="189518"/>
                      <a:pt x="511348" y="196584"/>
                    </a:cubicBezTo>
                    <a:cubicBezTo>
                      <a:pt x="503166" y="227496"/>
                      <a:pt x="498232" y="232672"/>
                      <a:pt x="473739" y="228172"/>
                    </a:cubicBezTo>
                    <a:cubicBezTo>
                      <a:pt x="472255" y="227901"/>
                      <a:pt x="470682" y="227586"/>
                      <a:pt x="469021" y="227227"/>
                    </a:cubicBezTo>
                    <a:cubicBezTo>
                      <a:pt x="473346" y="220888"/>
                      <a:pt x="474969" y="213079"/>
                      <a:pt x="473511" y="205539"/>
                    </a:cubicBezTo>
                    <a:cubicBezTo>
                      <a:pt x="473333" y="204593"/>
                      <a:pt x="473105" y="203604"/>
                      <a:pt x="472877" y="202659"/>
                    </a:cubicBezTo>
                    <a:cubicBezTo>
                      <a:pt x="471164" y="196586"/>
                      <a:pt x="469021" y="190646"/>
                      <a:pt x="466446" y="184885"/>
                    </a:cubicBezTo>
                    <a:cubicBezTo>
                      <a:pt x="466268" y="184436"/>
                      <a:pt x="466040" y="183986"/>
                      <a:pt x="465862" y="183488"/>
                    </a:cubicBezTo>
                    <a:cubicBezTo>
                      <a:pt x="465190" y="181778"/>
                      <a:pt x="464467" y="180024"/>
                      <a:pt x="463795" y="178224"/>
                    </a:cubicBezTo>
                    <a:cubicBezTo>
                      <a:pt x="463122" y="179348"/>
                      <a:pt x="462399" y="180429"/>
                      <a:pt x="461727" y="181508"/>
                    </a:cubicBezTo>
                    <a:cubicBezTo>
                      <a:pt x="458493" y="186638"/>
                      <a:pt x="455309" y="191408"/>
                      <a:pt x="452747" y="196132"/>
                    </a:cubicBezTo>
                    <a:cubicBezTo>
                      <a:pt x="452024" y="197437"/>
                      <a:pt x="451352" y="198742"/>
                      <a:pt x="450768" y="200046"/>
                    </a:cubicBezTo>
                    <a:cubicBezTo>
                      <a:pt x="449056" y="203512"/>
                      <a:pt x="447876" y="207212"/>
                      <a:pt x="447255" y="211026"/>
                    </a:cubicBezTo>
                    <a:cubicBezTo>
                      <a:pt x="447064" y="212307"/>
                      <a:pt x="446963" y="213600"/>
                      <a:pt x="446950" y="214895"/>
                    </a:cubicBezTo>
                    <a:cubicBezTo>
                      <a:pt x="446912" y="217745"/>
                      <a:pt x="447331" y="220584"/>
                      <a:pt x="448155" y="223309"/>
                    </a:cubicBezTo>
                    <a:cubicBezTo>
                      <a:pt x="448421" y="224289"/>
                      <a:pt x="448751" y="225251"/>
                      <a:pt x="449144" y="226189"/>
                    </a:cubicBezTo>
                    <a:cubicBezTo>
                      <a:pt x="449068" y="226277"/>
                      <a:pt x="448980" y="226353"/>
                      <a:pt x="448878" y="226414"/>
                    </a:cubicBezTo>
                    <a:cubicBezTo>
                      <a:pt x="444832" y="231172"/>
                      <a:pt x="438109" y="232612"/>
                      <a:pt x="432477" y="229923"/>
                    </a:cubicBezTo>
                    <a:cubicBezTo>
                      <a:pt x="429636" y="228402"/>
                      <a:pt x="427137" y="226302"/>
                      <a:pt x="425146" y="223760"/>
                    </a:cubicBezTo>
                    <a:cubicBezTo>
                      <a:pt x="416546" y="213011"/>
                      <a:pt x="409177" y="201328"/>
                      <a:pt x="403177" y="188933"/>
                    </a:cubicBezTo>
                    <a:cubicBezTo>
                      <a:pt x="398141" y="178900"/>
                      <a:pt x="396480" y="167289"/>
                      <a:pt x="391761" y="157120"/>
                    </a:cubicBezTo>
                    <a:cubicBezTo>
                      <a:pt x="388831" y="148797"/>
                      <a:pt x="382692" y="141991"/>
                      <a:pt x="374726" y="138222"/>
                    </a:cubicBezTo>
                    <a:cubicBezTo>
                      <a:pt x="371352" y="136913"/>
                      <a:pt x="367775" y="136214"/>
                      <a:pt x="364160" y="136153"/>
                    </a:cubicBezTo>
                    <a:cubicBezTo>
                      <a:pt x="365061" y="137907"/>
                      <a:pt x="365962" y="139709"/>
                      <a:pt x="366811" y="141417"/>
                    </a:cubicBezTo>
                    <a:lnTo>
                      <a:pt x="369196" y="146051"/>
                    </a:lnTo>
                    <a:cubicBezTo>
                      <a:pt x="370274" y="148166"/>
                      <a:pt x="371264" y="150146"/>
                      <a:pt x="372202" y="151946"/>
                    </a:cubicBezTo>
                    <a:cubicBezTo>
                      <a:pt x="372976" y="153470"/>
                      <a:pt x="373648" y="154826"/>
                      <a:pt x="374270" y="156041"/>
                    </a:cubicBezTo>
                    <a:cubicBezTo>
                      <a:pt x="373775" y="156760"/>
                      <a:pt x="373331" y="157480"/>
                      <a:pt x="372836" y="158156"/>
                    </a:cubicBezTo>
                    <a:cubicBezTo>
                      <a:pt x="362638" y="173269"/>
                      <a:pt x="352884" y="187628"/>
                      <a:pt x="342775" y="202612"/>
                    </a:cubicBezTo>
                    <a:cubicBezTo>
                      <a:pt x="341697" y="201892"/>
                      <a:pt x="340707" y="201306"/>
                      <a:pt x="339858" y="200767"/>
                    </a:cubicBezTo>
                    <a:cubicBezTo>
                      <a:pt x="338323" y="199861"/>
                      <a:pt x="336839" y="198870"/>
                      <a:pt x="335405" y="197797"/>
                    </a:cubicBezTo>
                    <a:cubicBezTo>
                      <a:pt x="334974" y="197447"/>
                      <a:pt x="334556" y="197071"/>
                      <a:pt x="334150" y="196672"/>
                    </a:cubicBezTo>
                    <a:cubicBezTo>
                      <a:pt x="332348" y="195052"/>
                      <a:pt x="330877" y="193522"/>
                      <a:pt x="330471" y="193116"/>
                    </a:cubicBezTo>
                    <a:cubicBezTo>
                      <a:pt x="304215" y="197030"/>
                      <a:pt x="296490" y="216469"/>
                      <a:pt x="288182" y="232397"/>
                    </a:cubicBezTo>
                    <a:cubicBezTo>
                      <a:pt x="287459" y="233747"/>
                      <a:pt x="286736" y="235097"/>
                      <a:pt x="286026" y="236401"/>
                    </a:cubicBezTo>
                    <a:cubicBezTo>
                      <a:pt x="284136" y="235592"/>
                      <a:pt x="282335" y="234782"/>
                      <a:pt x="280622" y="234062"/>
                    </a:cubicBezTo>
                    <a:cubicBezTo>
                      <a:pt x="280521" y="234025"/>
                      <a:pt x="280419" y="233981"/>
                      <a:pt x="280318" y="233928"/>
                    </a:cubicBezTo>
                    <a:cubicBezTo>
                      <a:pt x="278923" y="233342"/>
                      <a:pt x="277667" y="232802"/>
                      <a:pt x="276500" y="232307"/>
                    </a:cubicBezTo>
                    <a:cubicBezTo>
                      <a:pt x="276043" y="232128"/>
                      <a:pt x="275599" y="231902"/>
                      <a:pt x="275143" y="231723"/>
                    </a:cubicBezTo>
                    <a:cubicBezTo>
                      <a:pt x="272809" y="230732"/>
                      <a:pt x="271059" y="229968"/>
                      <a:pt x="270297" y="229653"/>
                    </a:cubicBezTo>
                    <a:cubicBezTo>
                      <a:pt x="268636" y="230642"/>
                      <a:pt x="266974" y="231633"/>
                      <a:pt x="265401" y="232622"/>
                    </a:cubicBezTo>
                    <a:cubicBezTo>
                      <a:pt x="259376" y="236267"/>
                      <a:pt x="253846" y="239552"/>
                      <a:pt x="248633" y="242702"/>
                    </a:cubicBezTo>
                    <a:cubicBezTo>
                      <a:pt x="247149" y="243601"/>
                      <a:pt x="245716" y="244456"/>
                      <a:pt x="244269" y="245356"/>
                    </a:cubicBezTo>
                    <a:cubicBezTo>
                      <a:pt x="241707" y="246880"/>
                      <a:pt x="239196" y="248416"/>
                      <a:pt x="236722" y="249900"/>
                    </a:cubicBezTo>
                    <a:cubicBezTo>
                      <a:pt x="234566" y="251206"/>
                      <a:pt x="232499" y="252466"/>
                      <a:pt x="230380" y="253726"/>
                    </a:cubicBezTo>
                    <a:cubicBezTo>
                      <a:pt x="234414" y="234145"/>
                      <a:pt x="249013" y="218442"/>
                      <a:pt x="268230" y="213004"/>
                    </a:cubicBezTo>
                    <a:cubicBezTo>
                      <a:pt x="290782" y="205265"/>
                      <a:pt x="304989" y="188256"/>
                      <a:pt x="322911" y="175433"/>
                    </a:cubicBezTo>
                    <a:cubicBezTo>
                      <a:pt x="324763" y="174083"/>
                      <a:pt x="324091" y="169268"/>
                      <a:pt x="324624" y="165758"/>
                    </a:cubicBezTo>
                    <a:cubicBezTo>
                      <a:pt x="323546" y="165938"/>
                      <a:pt x="322518" y="166118"/>
                      <a:pt x="321478" y="166299"/>
                    </a:cubicBezTo>
                    <a:cubicBezTo>
                      <a:pt x="315732" y="167244"/>
                      <a:pt x="310468" y="168008"/>
                      <a:pt x="305344" y="168999"/>
                    </a:cubicBezTo>
                    <a:cubicBezTo>
                      <a:pt x="303999" y="169268"/>
                      <a:pt x="302655" y="169539"/>
                      <a:pt x="301348" y="169853"/>
                    </a:cubicBezTo>
                    <a:cubicBezTo>
                      <a:pt x="301120" y="169893"/>
                      <a:pt x="300892" y="169953"/>
                      <a:pt x="300676" y="170033"/>
                    </a:cubicBezTo>
                    <a:lnTo>
                      <a:pt x="300587" y="170033"/>
                    </a:lnTo>
                    <a:cubicBezTo>
                      <a:pt x="295767" y="171113"/>
                      <a:pt x="288943" y="172065"/>
                      <a:pt x="287142" y="175387"/>
                    </a:cubicBezTo>
                    <a:cubicBezTo>
                      <a:pt x="283134" y="181695"/>
                      <a:pt x="276969" y="186330"/>
                      <a:pt x="269803" y="188436"/>
                    </a:cubicBezTo>
                    <a:cubicBezTo>
                      <a:pt x="256586" y="194331"/>
                      <a:pt x="239640" y="199550"/>
                      <a:pt x="232943" y="210440"/>
                    </a:cubicBezTo>
                    <a:cubicBezTo>
                      <a:pt x="225028" y="221007"/>
                      <a:pt x="214348" y="229168"/>
                      <a:pt x="202069" y="234018"/>
                    </a:cubicBezTo>
                    <a:cubicBezTo>
                      <a:pt x="199063" y="235727"/>
                      <a:pt x="195968" y="237574"/>
                      <a:pt x="192721" y="239777"/>
                    </a:cubicBezTo>
                    <a:cubicBezTo>
                      <a:pt x="196361" y="231362"/>
                      <a:pt x="199951" y="227043"/>
                      <a:pt x="199012" y="224479"/>
                    </a:cubicBezTo>
                    <a:cubicBezTo>
                      <a:pt x="196475" y="220168"/>
                      <a:pt x="193228" y="216319"/>
                      <a:pt x="189398" y="213094"/>
                    </a:cubicBezTo>
                    <a:cubicBezTo>
                      <a:pt x="189220" y="213938"/>
                      <a:pt x="188966" y="214766"/>
                      <a:pt x="188637" y="215568"/>
                    </a:cubicBezTo>
                    <a:cubicBezTo>
                      <a:pt x="185047" y="224792"/>
                      <a:pt x="175026" y="220068"/>
                      <a:pt x="168417" y="222858"/>
                    </a:cubicBezTo>
                    <a:cubicBezTo>
                      <a:pt x="161642" y="226160"/>
                      <a:pt x="156076" y="231512"/>
                      <a:pt x="152508" y="238157"/>
                    </a:cubicBezTo>
                    <a:cubicBezTo>
                      <a:pt x="151768" y="239349"/>
                      <a:pt x="151122" y="240599"/>
                      <a:pt x="150575" y="241892"/>
                    </a:cubicBezTo>
                    <a:cubicBezTo>
                      <a:pt x="149837" y="243446"/>
                      <a:pt x="149222" y="245057"/>
                      <a:pt x="148733" y="246706"/>
                    </a:cubicBezTo>
                    <a:cubicBezTo>
                      <a:pt x="148028" y="248864"/>
                      <a:pt x="147589" y="251100"/>
                      <a:pt x="147430" y="253366"/>
                    </a:cubicBezTo>
                    <a:cubicBezTo>
                      <a:pt x="147159" y="256004"/>
                      <a:pt x="147435" y="258668"/>
                      <a:pt x="148239" y="261194"/>
                    </a:cubicBezTo>
                    <a:cubicBezTo>
                      <a:pt x="148425" y="261749"/>
                      <a:pt x="148650" y="262292"/>
                      <a:pt x="148912" y="262815"/>
                    </a:cubicBezTo>
                    <a:cubicBezTo>
                      <a:pt x="150517" y="265877"/>
                      <a:pt x="152527" y="268706"/>
                      <a:pt x="154890" y="271229"/>
                    </a:cubicBezTo>
                    <a:cubicBezTo>
                      <a:pt x="156868" y="273569"/>
                      <a:pt x="159076" y="275863"/>
                      <a:pt x="161002" y="278248"/>
                    </a:cubicBezTo>
                    <a:cubicBezTo>
                      <a:pt x="161137" y="278428"/>
                      <a:pt x="161316" y="278609"/>
                      <a:pt x="161451" y="278788"/>
                    </a:cubicBezTo>
                    <a:cubicBezTo>
                      <a:pt x="161362" y="278788"/>
                      <a:pt x="161272" y="278743"/>
                      <a:pt x="161182" y="278743"/>
                    </a:cubicBezTo>
                    <a:cubicBezTo>
                      <a:pt x="149857" y="276584"/>
                      <a:pt x="141723" y="270107"/>
                      <a:pt x="133140" y="269294"/>
                    </a:cubicBezTo>
                    <a:cubicBezTo>
                      <a:pt x="118291" y="267918"/>
                      <a:pt x="103991" y="262997"/>
                      <a:pt x="91435" y="254943"/>
                    </a:cubicBezTo>
                    <a:cubicBezTo>
                      <a:pt x="90915" y="254369"/>
                      <a:pt x="90360" y="253828"/>
                      <a:pt x="89772" y="253323"/>
                    </a:cubicBezTo>
                    <a:cubicBezTo>
                      <a:pt x="87795" y="251433"/>
                      <a:pt x="85862" y="249588"/>
                      <a:pt x="83974" y="247878"/>
                    </a:cubicBezTo>
                    <a:cubicBezTo>
                      <a:pt x="82087" y="246169"/>
                      <a:pt x="80245" y="244549"/>
                      <a:pt x="78492" y="243019"/>
                    </a:cubicBezTo>
                    <a:cubicBezTo>
                      <a:pt x="77459" y="242119"/>
                      <a:pt x="76470" y="241264"/>
                      <a:pt x="75481" y="240454"/>
                    </a:cubicBezTo>
                    <a:cubicBezTo>
                      <a:pt x="74898" y="239960"/>
                      <a:pt x="74357" y="239465"/>
                      <a:pt x="73774" y="239014"/>
                    </a:cubicBezTo>
                    <a:cubicBezTo>
                      <a:pt x="72740" y="238205"/>
                      <a:pt x="71706" y="237395"/>
                      <a:pt x="70718" y="236630"/>
                    </a:cubicBezTo>
                    <a:cubicBezTo>
                      <a:pt x="66988" y="233660"/>
                      <a:pt x="63488" y="231140"/>
                      <a:pt x="60156" y="228981"/>
                    </a:cubicBezTo>
                    <a:cubicBezTo>
                      <a:pt x="60022" y="228891"/>
                      <a:pt x="59977" y="228801"/>
                      <a:pt x="59841" y="228710"/>
                    </a:cubicBezTo>
                    <a:cubicBezTo>
                      <a:pt x="50081" y="217492"/>
                      <a:pt x="35917" y="211101"/>
                      <a:pt x="21058" y="211207"/>
                    </a:cubicBezTo>
                    <a:lnTo>
                      <a:pt x="22991" y="214267"/>
                    </a:lnTo>
                    <a:cubicBezTo>
                      <a:pt x="20565" y="213817"/>
                      <a:pt x="18138" y="213412"/>
                      <a:pt x="15666" y="212917"/>
                    </a:cubicBezTo>
                    <a:cubicBezTo>
                      <a:pt x="14857" y="212782"/>
                      <a:pt x="14093" y="212647"/>
                      <a:pt x="13284" y="212467"/>
                    </a:cubicBezTo>
                    <a:cubicBezTo>
                      <a:pt x="12701" y="212377"/>
                      <a:pt x="12116" y="212242"/>
                      <a:pt x="11487" y="212106"/>
                    </a:cubicBezTo>
                    <a:cubicBezTo>
                      <a:pt x="10409" y="211882"/>
                      <a:pt x="9285" y="211657"/>
                      <a:pt x="8161" y="211386"/>
                    </a:cubicBezTo>
                    <a:cubicBezTo>
                      <a:pt x="8071" y="211386"/>
                      <a:pt x="7981" y="211342"/>
                      <a:pt x="7891" y="211342"/>
                    </a:cubicBezTo>
                    <a:cubicBezTo>
                      <a:pt x="6678" y="211071"/>
                      <a:pt x="5420" y="210756"/>
                      <a:pt x="4162" y="210397"/>
                    </a:cubicBezTo>
                    <a:lnTo>
                      <a:pt x="4162" y="211476"/>
                    </a:lnTo>
                    <a:cubicBezTo>
                      <a:pt x="16925" y="418098"/>
                      <a:pt x="-20420" y="661121"/>
                      <a:pt x="17554" y="850374"/>
                    </a:cubicBezTo>
                    <a:cubicBezTo>
                      <a:pt x="18812" y="849565"/>
                      <a:pt x="18678" y="846818"/>
                      <a:pt x="19980" y="846010"/>
                    </a:cubicBezTo>
                    <a:cubicBezTo>
                      <a:pt x="24156" y="847842"/>
                      <a:pt x="28235" y="849884"/>
                      <a:pt x="32204" y="852129"/>
                    </a:cubicBezTo>
                    <a:cubicBezTo>
                      <a:pt x="38691" y="844805"/>
                      <a:pt x="48502" y="841366"/>
                      <a:pt x="58134" y="843040"/>
                    </a:cubicBezTo>
                    <a:cubicBezTo>
                      <a:pt x="50719" y="875843"/>
                      <a:pt x="104378" y="889251"/>
                      <a:pt x="104917" y="924213"/>
                    </a:cubicBezTo>
                    <a:cubicBezTo>
                      <a:pt x="110472" y="918545"/>
                      <a:pt x="116851" y="913750"/>
                      <a:pt x="123837" y="909989"/>
                    </a:cubicBezTo>
                    <a:lnTo>
                      <a:pt x="127073" y="910304"/>
                    </a:lnTo>
                    <a:cubicBezTo>
                      <a:pt x="134083" y="909044"/>
                      <a:pt x="132781" y="898470"/>
                      <a:pt x="132869" y="893070"/>
                    </a:cubicBezTo>
                    <a:cubicBezTo>
                      <a:pt x="133770" y="893449"/>
                      <a:pt x="134726" y="893676"/>
                      <a:pt x="135701" y="893746"/>
                    </a:cubicBezTo>
                    <a:cubicBezTo>
                      <a:pt x="139116" y="882271"/>
                      <a:pt x="147251" y="882227"/>
                      <a:pt x="160777" y="874532"/>
                    </a:cubicBezTo>
                    <a:cubicBezTo>
                      <a:pt x="203033" y="927793"/>
                      <a:pt x="239107" y="985701"/>
                      <a:pt x="268268" y="1047136"/>
                    </a:cubicBezTo>
                    <a:lnTo>
                      <a:pt x="271325" y="1046597"/>
                    </a:lnTo>
                    <a:cubicBezTo>
                      <a:pt x="285214" y="1055056"/>
                      <a:pt x="298063" y="1063380"/>
                      <a:pt x="310291" y="1072425"/>
                    </a:cubicBezTo>
                    <a:lnTo>
                      <a:pt x="312992" y="1071614"/>
                    </a:lnTo>
                    <a:cubicBezTo>
                      <a:pt x="315999" y="1073460"/>
                      <a:pt x="316049" y="1078453"/>
                      <a:pt x="315732" y="1081647"/>
                    </a:cubicBezTo>
                    <a:cubicBezTo>
                      <a:pt x="314844" y="1087098"/>
                      <a:pt x="314312" y="1092597"/>
                      <a:pt x="314109" y="1098116"/>
                    </a:cubicBezTo>
                    <a:cubicBezTo>
                      <a:pt x="314071" y="1098489"/>
                      <a:pt x="314058" y="1098865"/>
                      <a:pt x="314071" y="1099241"/>
                    </a:cubicBezTo>
                    <a:cubicBezTo>
                      <a:pt x="313614" y="1113504"/>
                      <a:pt x="313525" y="1130873"/>
                      <a:pt x="318066" y="1120974"/>
                    </a:cubicBezTo>
                    <a:cubicBezTo>
                      <a:pt x="323952" y="1131368"/>
                      <a:pt x="301399" y="1133123"/>
                      <a:pt x="316582" y="1144281"/>
                    </a:cubicBezTo>
                    <a:cubicBezTo>
                      <a:pt x="293890" y="1138883"/>
                      <a:pt x="317483" y="1155261"/>
                      <a:pt x="314476" y="1154181"/>
                    </a:cubicBezTo>
                    <a:cubicBezTo>
                      <a:pt x="319690" y="1172900"/>
                      <a:pt x="308857" y="1145362"/>
                      <a:pt x="303822" y="1145497"/>
                    </a:cubicBezTo>
                    <a:cubicBezTo>
                      <a:pt x="303644" y="1149276"/>
                      <a:pt x="301615" y="1168039"/>
                      <a:pt x="309213" y="1156115"/>
                    </a:cubicBezTo>
                    <a:cubicBezTo>
                      <a:pt x="307500" y="1175824"/>
                      <a:pt x="315859" y="1160885"/>
                      <a:pt x="327769" y="1166148"/>
                    </a:cubicBezTo>
                    <a:cubicBezTo>
                      <a:pt x="331549" y="1162188"/>
                      <a:pt x="330471" y="1164888"/>
                      <a:pt x="327769" y="1166148"/>
                    </a:cubicBezTo>
                    <a:cubicBezTo>
                      <a:pt x="326247" y="1167035"/>
                      <a:pt x="324357" y="1166965"/>
                      <a:pt x="322911" y="1165969"/>
                    </a:cubicBezTo>
                    <a:cubicBezTo>
                      <a:pt x="314870" y="1162684"/>
                      <a:pt x="320121" y="1171503"/>
                      <a:pt x="322734" y="1175328"/>
                    </a:cubicBezTo>
                    <a:cubicBezTo>
                      <a:pt x="300714" y="1152695"/>
                      <a:pt x="324129" y="1199896"/>
                      <a:pt x="336446" y="1205205"/>
                    </a:cubicBezTo>
                    <a:cubicBezTo>
                      <a:pt x="342103" y="1181358"/>
                      <a:pt x="343764" y="1188822"/>
                      <a:pt x="356043" y="1174383"/>
                    </a:cubicBezTo>
                    <a:cubicBezTo>
                      <a:pt x="355408" y="1175733"/>
                      <a:pt x="352402" y="1180953"/>
                      <a:pt x="354191" y="1181087"/>
                    </a:cubicBezTo>
                    <a:cubicBezTo>
                      <a:pt x="366773" y="1185902"/>
                      <a:pt x="347189" y="1179378"/>
                      <a:pt x="351045" y="1189996"/>
                    </a:cubicBezTo>
                    <a:cubicBezTo>
                      <a:pt x="349561" y="1200975"/>
                      <a:pt x="357070" y="1200390"/>
                      <a:pt x="364351" y="1201426"/>
                    </a:cubicBezTo>
                    <a:cubicBezTo>
                      <a:pt x="355002" y="1207725"/>
                      <a:pt x="358871" y="1199717"/>
                      <a:pt x="345388" y="1197063"/>
                    </a:cubicBezTo>
                    <a:cubicBezTo>
                      <a:pt x="345401" y="1198857"/>
                      <a:pt x="345768" y="1200631"/>
                      <a:pt x="346466" y="1202282"/>
                    </a:cubicBezTo>
                    <a:cubicBezTo>
                      <a:pt x="346694" y="1203001"/>
                      <a:pt x="346961" y="1203767"/>
                      <a:pt x="347278" y="1204531"/>
                    </a:cubicBezTo>
                    <a:cubicBezTo>
                      <a:pt x="347493" y="1205166"/>
                      <a:pt x="347772" y="1205791"/>
                      <a:pt x="347988" y="1206421"/>
                    </a:cubicBezTo>
                    <a:cubicBezTo>
                      <a:pt x="348178" y="1206826"/>
                      <a:pt x="348356" y="1207231"/>
                      <a:pt x="348533" y="1207591"/>
                    </a:cubicBezTo>
                    <a:lnTo>
                      <a:pt x="348495" y="1207591"/>
                    </a:lnTo>
                    <a:cubicBezTo>
                      <a:pt x="346466" y="1207501"/>
                      <a:pt x="345388" y="1207637"/>
                      <a:pt x="345350" y="1207951"/>
                    </a:cubicBezTo>
                    <a:cubicBezTo>
                      <a:pt x="336141" y="1214700"/>
                      <a:pt x="339693" y="1223065"/>
                      <a:pt x="345756" y="1232564"/>
                    </a:cubicBezTo>
                    <a:cubicBezTo>
                      <a:pt x="347468" y="1226354"/>
                      <a:pt x="349168" y="1220100"/>
                      <a:pt x="350880" y="1213895"/>
                    </a:cubicBezTo>
                    <a:cubicBezTo>
                      <a:pt x="353354" y="1217586"/>
                      <a:pt x="355865" y="1221320"/>
                      <a:pt x="358427" y="1225055"/>
                    </a:cubicBezTo>
                    <a:cubicBezTo>
                      <a:pt x="359226" y="1227918"/>
                      <a:pt x="360774" y="1230514"/>
                      <a:pt x="362917" y="1232569"/>
                    </a:cubicBezTo>
                    <a:cubicBezTo>
                      <a:pt x="363070" y="1232685"/>
                      <a:pt x="363234" y="1232776"/>
                      <a:pt x="363412" y="1232838"/>
                    </a:cubicBezTo>
                    <a:cubicBezTo>
                      <a:pt x="363526" y="1232916"/>
                      <a:pt x="363640" y="1232977"/>
                      <a:pt x="363780" y="1233019"/>
                    </a:cubicBezTo>
                    <a:cubicBezTo>
                      <a:pt x="365175" y="1235043"/>
                      <a:pt x="366570" y="1237069"/>
                      <a:pt x="367966" y="1239139"/>
                    </a:cubicBezTo>
                    <a:cubicBezTo>
                      <a:pt x="366304" y="1244267"/>
                      <a:pt x="365175" y="1247912"/>
                      <a:pt x="364592" y="1250432"/>
                    </a:cubicBezTo>
                    <a:cubicBezTo>
                      <a:pt x="364503" y="1250658"/>
                      <a:pt x="364452" y="1250927"/>
                      <a:pt x="364363" y="1251152"/>
                    </a:cubicBezTo>
                    <a:cubicBezTo>
                      <a:pt x="363780" y="1253762"/>
                      <a:pt x="363729" y="1254980"/>
                      <a:pt x="364097" y="1255297"/>
                    </a:cubicBezTo>
                    <a:cubicBezTo>
                      <a:pt x="364275" y="1255424"/>
                      <a:pt x="364592" y="1255335"/>
                      <a:pt x="364909" y="1255018"/>
                    </a:cubicBezTo>
                    <a:cubicBezTo>
                      <a:pt x="365175" y="1254853"/>
                      <a:pt x="365416" y="1254637"/>
                      <a:pt x="365619" y="1254387"/>
                    </a:cubicBezTo>
                    <a:cubicBezTo>
                      <a:pt x="365873" y="1254135"/>
                      <a:pt x="366101" y="1253865"/>
                      <a:pt x="366304" y="1253576"/>
                    </a:cubicBezTo>
                    <a:cubicBezTo>
                      <a:pt x="366647" y="1253174"/>
                      <a:pt x="366976" y="1252755"/>
                      <a:pt x="367281" y="1252318"/>
                    </a:cubicBezTo>
                    <a:cubicBezTo>
                      <a:pt x="368321" y="1251012"/>
                      <a:pt x="369399" y="1249437"/>
                      <a:pt x="370477" y="1248087"/>
                    </a:cubicBezTo>
                    <a:cubicBezTo>
                      <a:pt x="370693" y="1247769"/>
                      <a:pt x="370934" y="1247468"/>
                      <a:pt x="371200" y="1247188"/>
                    </a:cubicBezTo>
                    <a:cubicBezTo>
                      <a:pt x="371555" y="1246673"/>
                      <a:pt x="371961" y="1246191"/>
                      <a:pt x="372405" y="1245748"/>
                    </a:cubicBezTo>
                    <a:cubicBezTo>
                      <a:pt x="372684" y="1246107"/>
                      <a:pt x="372951" y="1246510"/>
                      <a:pt x="373166" y="1246872"/>
                    </a:cubicBezTo>
                    <a:cubicBezTo>
                      <a:pt x="372659" y="1246976"/>
                      <a:pt x="372202" y="1247244"/>
                      <a:pt x="371860" y="1247634"/>
                    </a:cubicBezTo>
                    <a:cubicBezTo>
                      <a:pt x="371733" y="1247724"/>
                      <a:pt x="371682" y="1247859"/>
                      <a:pt x="371593" y="1247949"/>
                    </a:cubicBezTo>
                    <a:lnTo>
                      <a:pt x="371555" y="1248039"/>
                    </a:lnTo>
                    <a:cubicBezTo>
                      <a:pt x="371428" y="1248255"/>
                      <a:pt x="371327" y="1248481"/>
                      <a:pt x="371238" y="1248713"/>
                    </a:cubicBezTo>
                    <a:cubicBezTo>
                      <a:pt x="371200" y="1248783"/>
                      <a:pt x="371187" y="1248861"/>
                      <a:pt x="371187" y="1248938"/>
                    </a:cubicBezTo>
                    <a:cubicBezTo>
                      <a:pt x="370896" y="1250489"/>
                      <a:pt x="371276" y="1252092"/>
                      <a:pt x="372228" y="1253348"/>
                    </a:cubicBezTo>
                    <a:cubicBezTo>
                      <a:pt x="373217" y="1254611"/>
                      <a:pt x="374701" y="1254700"/>
                      <a:pt x="375728" y="1251504"/>
                    </a:cubicBezTo>
                    <a:cubicBezTo>
                      <a:pt x="375576" y="1252805"/>
                      <a:pt x="375602" y="1254125"/>
                      <a:pt x="375817" y="1255411"/>
                    </a:cubicBezTo>
                    <a:cubicBezTo>
                      <a:pt x="375919" y="1255805"/>
                      <a:pt x="376058" y="1256186"/>
                      <a:pt x="376223" y="1256542"/>
                    </a:cubicBezTo>
                    <a:cubicBezTo>
                      <a:pt x="376388" y="1256821"/>
                      <a:pt x="376578" y="1257075"/>
                      <a:pt x="376807" y="1257304"/>
                    </a:cubicBezTo>
                    <a:cubicBezTo>
                      <a:pt x="377377" y="1257799"/>
                      <a:pt x="378138" y="1258002"/>
                      <a:pt x="378874" y="1257850"/>
                    </a:cubicBezTo>
                    <a:cubicBezTo>
                      <a:pt x="370515" y="1266664"/>
                      <a:pt x="373306" y="1275795"/>
                      <a:pt x="377390" y="1286196"/>
                    </a:cubicBezTo>
                    <a:lnTo>
                      <a:pt x="377441" y="1286374"/>
                    </a:lnTo>
                    <a:cubicBezTo>
                      <a:pt x="377618" y="1287047"/>
                      <a:pt x="377847" y="1287631"/>
                      <a:pt x="378024" y="1288177"/>
                    </a:cubicBezTo>
                    <a:cubicBezTo>
                      <a:pt x="378215" y="1288660"/>
                      <a:pt x="378455" y="1289130"/>
                      <a:pt x="378747" y="1289574"/>
                    </a:cubicBezTo>
                    <a:lnTo>
                      <a:pt x="378836" y="1289701"/>
                    </a:lnTo>
                    <a:cubicBezTo>
                      <a:pt x="379242" y="1290743"/>
                      <a:pt x="379635" y="1291822"/>
                      <a:pt x="380092" y="1292902"/>
                    </a:cubicBezTo>
                    <a:cubicBezTo>
                      <a:pt x="380992" y="1295201"/>
                      <a:pt x="381753" y="1297258"/>
                      <a:pt x="382426" y="1299112"/>
                    </a:cubicBezTo>
                    <a:cubicBezTo>
                      <a:pt x="382311" y="1299493"/>
                      <a:pt x="382185" y="1299887"/>
                      <a:pt x="382071" y="1300281"/>
                    </a:cubicBezTo>
                    <a:cubicBezTo>
                      <a:pt x="382362" y="1300382"/>
                      <a:pt x="382667" y="1300458"/>
                      <a:pt x="382971" y="1300509"/>
                    </a:cubicBezTo>
                    <a:cubicBezTo>
                      <a:pt x="383326" y="1301449"/>
                      <a:pt x="383681" y="1302300"/>
                      <a:pt x="383999" y="1303163"/>
                    </a:cubicBezTo>
                    <a:cubicBezTo>
                      <a:pt x="372405" y="1305678"/>
                      <a:pt x="389072" y="1323407"/>
                      <a:pt x="416495" y="1319902"/>
                    </a:cubicBezTo>
                    <a:cubicBezTo>
                      <a:pt x="415633" y="1320613"/>
                      <a:pt x="416039" y="1321515"/>
                      <a:pt x="417256" y="1322467"/>
                    </a:cubicBezTo>
                    <a:cubicBezTo>
                      <a:pt x="417700" y="1322772"/>
                      <a:pt x="418246" y="1323141"/>
                      <a:pt x="418867" y="1323496"/>
                    </a:cubicBezTo>
                    <a:cubicBezTo>
                      <a:pt x="423370" y="1325795"/>
                      <a:pt x="428114" y="1327547"/>
                      <a:pt x="433023" y="1328716"/>
                    </a:cubicBezTo>
                    <a:cubicBezTo>
                      <a:pt x="433213" y="1328817"/>
                      <a:pt x="433403" y="1328944"/>
                      <a:pt x="433568" y="1329071"/>
                    </a:cubicBezTo>
                    <a:cubicBezTo>
                      <a:pt x="431590" y="1329973"/>
                      <a:pt x="429662" y="1330697"/>
                      <a:pt x="428127" y="1331281"/>
                    </a:cubicBezTo>
                    <a:cubicBezTo>
                      <a:pt x="427581" y="1331446"/>
                      <a:pt x="427036" y="1331637"/>
                      <a:pt x="426516" y="1331865"/>
                    </a:cubicBezTo>
                    <a:cubicBezTo>
                      <a:pt x="425476" y="1332221"/>
                      <a:pt x="424842" y="1332450"/>
                      <a:pt x="424842" y="1332589"/>
                    </a:cubicBezTo>
                    <a:cubicBezTo>
                      <a:pt x="427074" y="1332640"/>
                      <a:pt x="429306" y="1332462"/>
                      <a:pt x="431501" y="1332043"/>
                    </a:cubicBezTo>
                    <a:cubicBezTo>
                      <a:pt x="413654" y="1339968"/>
                      <a:pt x="430461" y="1337898"/>
                      <a:pt x="436752" y="1337492"/>
                    </a:cubicBezTo>
                    <a:cubicBezTo>
                      <a:pt x="437513" y="1339828"/>
                      <a:pt x="438109" y="1340730"/>
                      <a:pt x="438642" y="1340730"/>
                    </a:cubicBezTo>
                    <a:cubicBezTo>
                      <a:pt x="438756" y="1340730"/>
                      <a:pt x="438870" y="1340679"/>
                      <a:pt x="438959" y="1340590"/>
                    </a:cubicBezTo>
                    <a:cubicBezTo>
                      <a:pt x="439593" y="1340235"/>
                      <a:pt x="440088" y="1338711"/>
                      <a:pt x="440671" y="1336818"/>
                    </a:cubicBezTo>
                    <a:cubicBezTo>
                      <a:pt x="440798" y="1336463"/>
                      <a:pt x="440887" y="1336095"/>
                      <a:pt x="441027" y="1335739"/>
                    </a:cubicBezTo>
                    <a:cubicBezTo>
                      <a:pt x="441293" y="1334837"/>
                      <a:pt x="441610" y="1333936"/>
                      <a:pt x="441965" y="1333034"/>
                    </a:cubicBezTo>
                    <a:cubicBezTo>
                      <a:pt x="442549" y="1333212"/>
                      <a:pt x="443183" y="1333389"/>
                      <a:pt x="443817" y="1333580"/>
                    </a:cubicBezTo>
                    <a:cubicBezTo>
                      <a:pt x="442866" y="1337047"/>
                      <a:pt x="443728" y="1338889"/>
                      <a:pt x="445479" y="1339473"/>
                    </a:cubicBezTo>
                    <a:cubicBezTo>
                      <a:pt x="445694" y="1339549"/>
                      <a:pt x="445923" y="1339612"/>
                      <a:pt x="446151" y="1339651"/>
                    </a:cubicBezTo>
                    <a:cubicBezTo>
                      <a:pt x="446646" y="1339739"/>
                      <a:pt x="447140" y="1339739"/>
                      <a:pt x="447635" y="1339651"/>
                    </a:cubicBezTo>
                    <a:cubicBezTo>
                      <a:pt x="447863" y="1339600"/>
                      <a:pt x="448041" y="1339600"/>
                      <a:pt x="448218" y="1339562"/>
                    </a:cubicBezTo>
                    <a:cubicBezTo>
                      <a:pt x="450349" y="1339054"/>
                      <a:pt x="452354" y="1338063"/>
                      <a:pt x="454066" y="1336679"/>
                    </a:cubicBezTo>
                    <a:cubicBezTo>
                      <a:pt x="455854" y="1337365"/>
                      <a:pt x="457529" y="1338304"/>
                      <a:pt x="459051" y="1339473"/>
                    </a:cubicBezTo>
                    <a:lnTo>
                      <a:pt x="459089" y="1339473"/>
                    </a:lnTo>
                    <a:cubicBezTo>
                      <a:pt x="459051" y="1339739"/>
                      <a:pt x="459000" y="1340019"/>
                      <a:pt x="458962" y="1340235"/>
                    </a:cubicBezTo>
                    <a:cubicBezTo>
                      <a:pt x="458886" y="1340540"/>
                      <a:pt x="458822" y="1340832"/>
                      <a:pt x="458784" y="1341136"/>
                    </a:cubicBezTo>
                    <a:cubicBezTo>
                      <a:pt x="458645" y="1341835"/>
                      <a:pt x="458607" y="1342546"/>
                      <a:pt x="458683" y="1343257"/>
                    </a:cubicBezTo>
                    <a:cubicBezTo>
                      <a:pt x="458721" y="1343511"/>
                      <a:pt x="458772" y="1343765"/>
                      <a:pt x="458873" y="1344019"/>
                    </a:cubicBezTo>
                    <a:cubicBezTo>
                      <a:pt x="459064" y="1344451"/>
                      <a:pt x="459444" y="1344781"/>
                      <a:pt x="459901" y="1344908"/>
                    </a:cubicBezTo>
                    <a:cubicBezTo>
                      <a:pt x="460357" y="1345086"/>
                      <a:pt x="460865" y="1345112"/>
                      <a:pt x="461334" y="1345010"/>
                    </a:cubicBezTo>
                    <a:cubicBezTo>
                      <a:pt x="461537" y="1345035"/>
                      <a:pt x="461740" y="1345023"/>
                      <a:pt x="461917" y="1344959"/>
                    </a:cubicBezTo>
                    <a:cubicBezTo>
                      <a:pt x="462387" y="1344870"/>
                      <a:pt x="462831" y="1344743"/>
                      <a:pt x="463275" y="1344604"/>
                    </a:cubicBezTo>
                    <a:cubicBezTo>
                      <a:pt x="464378" y="1347105"/>
                      <a:pt x="464911" y="1349823"/>
                      <a:pt x="464848" y="1352566"/>
                    </a:cubicBezTo>
                    <a:cubicBezTo>
                      <a:pt x="464619" y="1356059"/>
                      <a:pt x="465659" y="1359526"/>
                      <a:pt x="467765" y="1362333"/>
                    </a:cubicBezTo>
                    <a:lnTo>
                      <a:pt x="467854" y="1362422"/>
                    </a:lnTo>
                    <a:cubicBezTo>
                      <a:pt x="468082" y="1362866"/>
                      <a:pt x="468298" y="1363323"/>
                      <a:pt x="468488" y="1363768"/>
                    </a:cubicBezTo>
                    <a:lnTo>
                      <a:pt x="468627" y="1363996"/>
                    </a:lnTo>
                    <a:cubicBezTo>
                      <a:pt x="469173" y="1364949"/>
                      <a:pt x="469820" y="1365838"/>
                      <a:pt x="470555" y="1366651"/>
                    </a:cubicBezTo>
                    <a:cubicBezTo>
                      <a:pt x="470961" y="1367057"/>
                      <a:pt x="471405" y="1367502"/>
                      <a:pt x="471811" y="1367857"/>
                    </a:cubicBezTo>
                    <a:cubicBezTo>
                      <a:pt x="472255" y="1368213"/>
                      <a:pt x="472724" y="1368518"/>
                      <a:pt x="473206" y="1368810"/>
                    </a:cubicBezTo>
                    <a:cubicBezTo>
                      <a:pt x="473523" y="1368987"/>
                      <a:pt x="473853" y="1369127"/>
                      <a:pt x="474196" y="1369254"/>
                    </a:cubicBezTo>
                    <a:cubicBezTo>
                      <a:pt x="474627" y="1369432"/>
                      <a:pt x="475084" y="1369572"/>
                      <a:pt x="475540" y="1369661"/>
                    </a:cubicBezTo>
                    <a:cubicBezTo>
                      <a:pt x="477050" y="1369978"/>
                      <a:pt x="478623" y="1369826"/>
                      <a:pt x="480043" y="1369216"/>
                    </a:cubicBezTo>
                    <a:cubicBezTo>
                      <a:pt x="480411" y="1369089"/>
                      <a:pt x="480779" y="1368924"/>
                      <a:pt x="481121" y="1368721"/>
                    </a:cubicBezTo>
                    <a:cubicBezTo>
                      <a:pt x="481679" y="1368403"/>
                      <a:pt x="482212" y="1368060"/>
                      <a:pt x="482732" y="1367679"/>
                    </a:cubicBezTo>
                    <a:cubicBezTo>
                      <a:pt x="483278" y="1367273"/>
                      <a:pt x="483810" y="1366778"/>
                      <a:pt x="484356" y="1366282"/>
                    </a:cubicBezTo>
                    <a:cubicBezTo>
                      <a:pt x="484749" y="1365914"/>
                      <a:pt x="485130" y="1365533"/>
                      <a:pt x="485472" y="1365114"/>
                    </a:cubicBezTo>
                    <a:cubicBezTo>
                      <a:pt x="485700" y="1365381"/>
                      <a:pt x="485878" y="1365609"/>
                      <a:pt x="486055" y="1365838"/>
                    </a:cubicBezTo>
                    <a:cubicBezTo>
                      <a:pt x="486233" y="1366067"/>
                      <a:pt x="486449" y="1366270"/>
                      <a:pt x="486690" y="1366422"/>
                    </a:cubicBezTo>
                    <a:cubicBezTo>
                      <a:pt x="486854" y="1366524"/>
                      <a:pt x="487045" y="1366600"/>
                      <a:pt x="487235" y="1366651"/>
                    </a:cubicBezTo>
                    <a:lnTo>
                      <a:pt x="487235" y="1366689"/>
                    </a:lnTo>
                    <a:cubicBezTo>
                      <a:pt x="489480" y="1370334"/>
                      <a:pt x="489620" y="1376049"/>
                      <a:pt x="494338" y="1377763"/>
                    </a:cubicBezTo>
                    <a:cubicBezTo>
                      <a:pt x="494059" y="1378055"/>
                      <a:pt x="493767" y="1378322"/>
                      <a:pt x="493438" y="1378563"/>
                    </a:cubicBezTo>
                    <a:cubicBezTo>
                      <a:pt x="493298" y="1378716"/>
                      <a:pt x="493133" y="1378817"/>
                      <a:pt x="492943" y="1378881"/>
                    </a:cubicBezTo>
                    <a:cubicBezTo>
                      <a:pt x="492803" y="1378970"/>
                      <a:pt x="492651" y="1379008"/>
                      <a:pt x="492499" y="1379021"/>
                    </a:cubicBezTo>
                    <a:cubicBezTo>
                      <a:pt x="492372" y="1379021"/>
                      <a:pt x="492245" y="1378982"/>
                      <a:pt x="492131" y="1378932"/>
                    </a:cubicBezTo>
                    <a:cubicBezTo>
                      <a:pt x="491979" y="1378830"/>
                      <a:pt x="491839" y="1378716"/>
                      <a:pt x="491725" y="1378563"/>
                    </a:cubicBezTo>
                    <a:cubicBezTo>
                      <a:pt x="490393" y="1376214"/>
                      <a:pt x="489214" y="1373788"/>
                      <a:pt x="488174" y="1371286"/>
                    </a:cubicBezTo>
                    <a:cubicBezTo>
                      <a:pt x="485688" y="1371909"/>
                      <a:pt x="484178" y="1374423"/>
                      <a:pt x="484800" y="1376912"/>
                    </a:cubicBezTo>
                    <a:cubicBezTo>
                      <a:pt x="484888" y="1377293"/>
                      <a:pt x="485028" y="1377649"/>
                      <a:pt x="485218" y="1377979"/>
                    </a:cubicBezTo>
                    <a:cubicBezTo>
                      <a:pt x="485434" y="1378386"/>
                      <a:pt x="485662" y="1378792"/>
                      <a:pt x="485929" y="1379198"/>
                    </a:cubicBezTo>
                    <a:cubicBezTo>
                      <a:pt x="486182" y="1379579"/>
                      <a:pt x="486461" y="1379922"/>
                      <a:pt x="486778" y="1380240"/>
                    </a:cubicBezTo>
                    <a:cubicBezTo>
                      <a:pt x="487045" y="1380557"/>
                      <a:pt x="487349" y="1380837"/>
                      <a:pt x="487679" y="1381091"/>
                    </a:cubicBezTo>
                    <a:cubicBezTo>
                      <a:pt x="488554" y="1381853"/>
                      <a:pt x="489518" y="1382500"/>
                      <a:pt x="490558" y="1383021"/>
                    </a:cubicBezTo>
                    <a:cubicBezTo>
                      <a:pt x="491281" y="1383351"/>
                      <a:pt x="492017" y="1383643"/>
                      <a:pt x="492765" y="1383885"/>
                    </a:cubicBezTo>
                    <a:cubicBezTo>
                      <a:pt x="496723" y="1385078"/>
                      <a:pt x="501023" y="1384215"/>
                      <a:pt x="504219" y="1381586"/>
                    </a:cubicBezTo>
                    <a:lnTo>
                      <a:pt x="504270" y="1381624"/>
                    </a:lnTo>
                    <a:cubicBezTo>
                      <a:pt x="505069" y="1383072"/>
                      <a:pt x="506020" y="1384774"/>
                      <a:pt x="507010" y="1386577"/>
                    </a:cubicBezTo>
                    <a:cubicBezTo>
                      <a:pt x="506896" y="1386933"/>
                      <a:pt x="506718" y="1387263"/>
                      <a:pt x="506515" y="1387568"/>
                    </a:cubicBezTo>
                    <a:cubicBezTo>
                      <a:pt x="506693" y="1387796"/>
                      <a:pt x="506870" y="1388025"/>
                      <a:pt x="507010" y="1388203"/>
                    </a:cubicBezTo>
                    <a:cubicBezTo>
                      <a:pt x="507441" y="1388634"/>
                      <a:pt x="507923" y="1389015"/>
                      <a:pt x="508443" y="1389333"/>
                    </a:cubicBezTo>
                    <a:lnTo>
                      <a:pt x="508494" y="1389422"/>
                    </a:lnTo>
                    <a:cubicBezTo>
                      <a:pt x="508900" y="1390095"/>
                      <a:pt x="509255" y="1390768"/>
                      <a:pt x="509610" y="1391441"/>
                    </a:cubicBezTo>
                    <a:lnTo>
                      <a:pt x="509661" y="1391492"/>
                    </a:lnTo>
                    <a:cubicBezTo>
                      <a:pt x="509077" y="1392038"/>
                      <a:pt x="508988" y="1393016"/>
                      <a:pt x="509026" y="1394464"/>
                    </a:cubicBezTo>
                    <a:cubicBezTo>
                      <a:pt x="509026" y="1395226"/>
                      <a:pt x="509115" y="1396127"/>
                      <a:pt x="509166" y="1397207"/>
                    </a:cubicBezTo>
                    <a:cubicBezTo>
                      <a:pt x="509610" y="1401576"/>
                      <a:pt x="517385" y="1393829"/>
                      <a:pt x="510777" y="1400992"/>
                    </a:cubicBezTo>
                    <a:cubicBezTo>
                      <a:pt x="516485" y="1403595"/>
                      <a:pt x="517614" y="1397931"/>
                      <a:pt x="520480" y="1403557"/>
                    </a:cubicBezTo>
                    <a:cubicBezTo>
                      <a:pt x="568934" y="1400674"/>
                      <a:pt x="626140" y="1400090"/>
                      <a:pt x="673908" y="1400534"/>
                    </a:cubicBezTo>
                    <a:cubicBezTo>
                      <a:pt x="725951" y="1400992"/>
                      <a:pt x="777995" y="1402655"/>
                      <a:pt x="829987" y="1404408"/>
                    </a:cubicBezTo>
                    <a:cubicBezTo>
                      <a:pt x="882246" y="1406160"/>
                      <a:pt x="934467" y="1408053"/>
                      <a:pt x="986738" y="1408904"/>
                    </a:cubicBezTo>
                    <a:cubicBezTo>
                      <a:pt x="1037158" y="1409716"/>
                      <a:pt x="1087578" y="1409628"/>
                      <a:pt x="1137921" y="1407291"/>
                    </a:cubicBezTo>
                    <a:cubicBezTo>
                      <a:pt x="1184599" y="1405106"/>
                      <a:pt x="1231124" y="1400293"/>
                      <a:pt x="1277270" y="1392889"/>
                    </a:cubicBezTo>
                    <a:cubicBezTo>
                      <a:pt x="1280669" y="1392610"/>
                      <a:pt x="1284030" y="1392063"/>
                      <a:pt x="1287341" y="1391263"/>
                    </a:cubicBezTo>
                    <a:cubicBezTo>
                      <a:pt x="1291653" y="1389320"/>
                      <a:pt x="1296245" y="1388050"/>
                      <a:pt x="1300951" y="1387530"/>
                    </a:cubicBezTo>
                    <a:cubicBezTo>
                      <a:pt x="1307128" y="1387098"/>
                      <a:pt x="1312937" y="1390514"/>
                      <a:pt x="1315563" y="1396127"/>
                    </a:cubicBezTo>
                    <a:cubicBezTo>
                      <a:pt x="1317453" y="1401487"/>
                      <a:pt x="1315157" y="1408091"/>
                      <a:pt x="1318392" y="1412777"/>
                    </a:cubicBezTo>
                    <a:cubicBezTo>
                      <a:pt x="1321360" y="1417006"/>
                      <a:pt x="1327334" y="1417451"/>
                      <a:pt x="1332458" y="1417946"/>
                    </a:cubicBezTo>
                    <a:cubicBezTo>
                      <a:pt x="1337634" y="1418492"/>
                      <a:pt x="1343697" y="1420384"/>
                      <a:pt x="1344914" y="1425414"/>
                    </a:cubicBezTo>
                    <a:cubicBezTo>
                      <a:pt x="1354224" y="1417819"/>
                      <a:pt x="1367733" y="1418352"/>
                      <a:pt x="1376409" y="1426684"/>
                    </a:cubicBezTo>
                    <a:cubicBezTo>
                      <a:pt x="1380113" y="1429008"/>
                      <a:pt x="1382751" y="1432691"/>
                      <a:pt x="1383779" y="1436933"/>
                    </a:cubicBezTo>
                    <a:cubicBezTo>
                      <a:pt x="1383601" y="1433110"/>
                      <a:pt x="1388992" y="1431408"/>
                      <a:pt x="1392455" y="1433021"/>
                    </a:cubicBezTo>
                    <a:cubicBezTo>
                      <a:pt x="1395626" y="1435155"/>
                      <a:pt x="1398543" y="1437631"/>
                      <a:pt x="1401169" y="1440400"/>
                    </a:cubicBezTo>
                    <a:cubicBezTo>
                      <a:pt x="1408754" y="1445708"/>
                      <a:pt x="1419193" y="1443854"/>
                      <a:pt x="1424482" y="1436272"/>
                    </a:cubicBezTo>
                    <a:cubicBezTo>
                      <a:pt x="1424546" y="1436183"/>
                      <a:pt x="1424609" y="1436082"/>
                      <a:pt x="1424672" y="1435993"/>
                    </a:cubicBezTo>
                    <a:cubicBezTo>
                      <a:pt x="1428402" y="1440628"/>
                      <a:pt x="1434059" y="1443295"/>
                      <a:pt x="1440008" y="1443232"/>
                    </a:cubicBezTo>
                    <a:cubicBezTo>
                      <a:pt x="1445982" y="1444045"/>
                      <a:pt x="1451956" y="1444895"/>
                      <a:pt x="1457930" y="1445708"/>
                    </a:cubicBezTo>
                    <a:cubicBezTo>
                      <a:pt x="1459097" y="1445848"/>
                      <a:pt x="1460226" y="1446026"/>
                      <a:pt x="1461393" y="1446115"/>
                    </a:cubicBezTo>
                    <a:cubicBezTo>
                      <a:pt x="1466518" y="1442012"/>
                      <a:pt x="1470348" y="1436513"/>
                      <a:pt x="1472403" y="1430278"/>
                    </a:cubicBezTo>
                    <a:cubicBezTo>
                      <a:pt x="1474965" y="1422899"/>
                      <a:pt x="1491226" y="1416498"/>
                      <a:pt x="1482652" y="1430189"/>
                    </a:cubicBezTo>
                    <a:cubicBezTo>
                      <a:pt x="1478022" y="1433516"/>
                      <a:pt x="1484263" y="1432386"/>
                      <a:pt x="1486787" y="1430049"/>
                    </a:cubicBezTo>
                    <a:cubicBezTo>
                      <a:pt x="1492812" y="1407100"/>
                      <a:pt x="1502020" y="1407189"/>
                      <a:pt x="1491683" y="1428017"/>
                    </a:cubicBezTo>
                    <a:cubicBezTo>
                      <a:pt x="1494106" y="1424918"/>
                      <a:pt x="1499230" y="1417717"/>
                      <a:pt x="1499230" y="1420232"/>
                    </a:cubicBezTo>
                    <a:cubicBezTo>
                      <a:pt x="1512079" y="1416409"/>
                      <a:pt x="1488893" y="1394997"/>
                      <a:pt x="1513348" y="1406465"/>
                    </a:cubicBezTo>
                    <a:cubicBezTo>
                      <a:pt x="1549028" y="1419381"/>
                      <a:pt x="1550639" y="1404306"/>
                      <a:pt x="1567763" y="1446521"/>
                    </a:cubicBezTo>
                    <a:cubicBezTo>
                      <a:pt x="1577923" y="1455195"/>
                      <a:pt x="1599854" y="1438863"/>
                      <a:pt x="1595668" y="1454751"/>
                    </a:cubicBezTo>
                    <a:cubicBezTo>
                      <a:pt x="1585825" y="1468924"/>
                      <a:pt x="1613464" y="1471172"/>
                      <a:pt x="1598585" y="1487999"/>
                    </a:cubicBezTo>
                    <a:cubicBezTo>
                      <a:pt x="1606449" y="1494616"/>
                      <a:pt x="1614948" y="1487186"/>
                      <a:pt x="1604877" y="1498985"/>
                    </a:cubicBezTo>
                    <a:cubicBezTo>
                      <a:pt x="1604877" y="1501728"/>
                      <a:pt x="1606817" y="1500737"/>
                      <a:pt x="1606906" y="1498578"/>
                    </a:cubicBezTo>
                    <a:cubicBezTo>
                      <a:pt x="1612969" y="1500191"/>
                      <a:pt x="1599308" y="1506313"/>
                      <a:pt x="1606944" y="1510008"/>
                    </a:cubicBezTo>
                    <a:cubicBezTo>
                      <a:pt x="1606652" y="1510148"/>
                      <a:pt x="1606361" y="1510275"/>
                      <a:pt x="1606044" y="1510364"/>
                    </a:cubicBezTo>
                    <a:cubicBezTo>
                      <a:pt x="1606183" y="1510542"/>
                      <a:pt x="1606272" y="1510720"/>
                      <a:pt x="1606411" y="1510910"/>
                    </a:cubicBezTo>
                    <a:cubicBezTo>
                      <a:pt x="1608111" y="1510186"/>
                      <a:pt x="1608695" y="1507621"/>
                      <a:pt x="1610952" y="1507989"/>
                    </a:cubicBezTo>
                    <a:lnTo>
                      <a:pt x="1612297" y="1508840"/>
                    </a:lnTo>
                    <a:cubicBezTo>
                      <a:pt x="1613007" y="1508434"/>
                      <a:pt x="1614631" y="1507494"/>
                      <a:pt x="1615354" y="1506998"/>
                    </a:cubicBezTo>
                    <a:cubicBezTo>
                      <a:pt x="1617916" y="1508611"/>
                      <a:pt x="1617421" y="1513920"/>
                      <a:pt x="1618182" y="1518835"/>
                    </a:cubicBezTo>
                    <a:cubicBezTo>
                      <a:pt x="1638363" y="1513336"/>
                      <a:pt x="1681540" y="1527560"/>
                      <a:pt x="1690355" y="1526163"/>
                    </a:cubicBezTo>
                    <a:cubicBezTo>
                      <a:pt x="1682846" y="1531065"/>
                      <a:pt x="1694846" y="1524677"/>
                      <a:pt x="1686804" y="1531382"/>
                    </a:cubicBezTo>
                    <a:cubicBezTo>
                      <a:pt x="1696317" y="1527953"/>
                      <a:pt x="1706921" y="1529452"/>
                      <a:pt x="1715115" y="1535383"/>
                    </a:cubicBezTo>
                    <a:cubicBezTo>
                      <a:pt x="1713580" y="1536196"/>
                      <a:pt x="1721584" y="1551728"/>
                      <a:pt x="1722535" y="1544527"/>
                    </a:cubicBezTo>
                    <a:cubicBezTo>
                      <a:pt x="1724374" y="1557570"/>
                      <a:pt x="1725630" y="1554738"/>
                      <a:pt x="1732556" y="1554065"/>
                    </a:cubicBezTo>
                    <a:cubicBezTo>
                      <a:pt x="1732771" y="1563691"/>
                      <a:pt x="1730983" y="1564809"/>
                      <a:pt x="1739164" y="1573140"/>
                    </a:cubicBezTo>
                    <a:cubicBezTo>
                      <a:pt x="1743743" y="1582944"/>
                      <a:pt x="1741270" y="1569140"/>
                      <a:pt x="1743692" y="1579033"/>
                    </a:cubicBezTo>
                    <a:cubicBezTo>
                      <a:pt x="1717500" y="1568149"/>
                      <a:pt x="1751519" y="1600991"/>
                      <a:pt x="1717994" y="1585243"/>
                    </a:cubicBezTo>
                    <a:cubicBezTo>
                      <a:pt x="1714392" y="1571159"/>
                      <a:pt x="1704726" y="1595860"/>
                      <a:pt x="1708912" y="1578131"/>
                    </a:cubicBezTo>
                    <a:cubicBezTo>
                      <a:pt x="1706794" y="1575883"/>
                      <a:pt x="1704105" y="1578080"/>
                      <a:pt x="1702393" y="1579617"/>
                    </a:cubicBezTo>
                    <a:cubicBezTo>
                      <a:pt x="1713086" y="1566028"/>
                      <a:pt x="1695480" y="1577814"/>
                      <a:pt x="1697446" y="1559640"/>
                    </a:cubicBezTo>
                    <a:cubicBezTo>
                      <a:pt x="1694528" y="1559729"/>
                      <a:pt x="1680994" y="1558560"/>
                      <a:pt x="1687387" y="1561304"/>
                    </a:cubicBezTo>
                    <a:cubicBezTo>
                      <a:pt x="1705767" y="1575617"/>
                      <a:pt x="1686804" y="1626950"/>
                      <a:pt x="1674399" y="1644323"/>
                    </a:cubicBezTo>
                    <a:cubicBezTo>
                      <a:pt x="1669680" y="1647194"/>
                      <a:pt x="1666712" y="1646216"/>
                      <a:pt x="1664683" y="1643155"/>
                    </a:cubicBezTo>
                    <a:cubicBezTo>
                      <a:pt x="1657859" y="1660834"/>
                      <a:pt x="1649043" y="1675057"/>
                      <a:pt x="1649182" y="1685624"/>
                    </a:cubicBezTo>
                    <a:cubicBezTo>
                      <a:pt x="1653863" y="1686488"/>
                      <a:pt x="1661499" y="1684367"/>
                      <a:pt x="1663300" y="1690082"/>
                    </a:cubicBezTo>
                    <a:cubicBezTo>
                      <a:pt x="1660510" y="1683465"/>
                      <a:pt x="1678711" y="1674511"/>
                      <a:pt x="1680690" y="1675959"/>
                    </a:cubicBezTo>
                    <a:cubicBezTo>
                      <a:pt x="1683024" y="1653366"/>
                      <a:pt x="1742119" y="1668352"/>
                      <a:pt x="1724730" y="1663754"/>
                    </a:cubicBezTo>
                    <a:cubicBezTo>
                      <a:pt x="1719110" y="1654090"/>
                      <a:pt x="1740052" y="1655665"/>
                      <a:pt x="1753307" y="1654128"/>
                    </a:cubicBezTo>
                    <a:cubicBezTo>
                      <a:pt x="1758102" y="1649239"/>
                      <a:pt x="1762160" y="1643676"/>
                      <a:pt x="1765357" y="1637618"/>
                    </a:cubicBezTo>
                    <a:cubicBezTo>
                      <a:pt x="1742310" y="1639193"/>
                      <a:pt x="1728864" y="1637758"/>
                      <a:pt x="1764101" y="1614720"/>
                    </a:cubicBezTo>
                    <a:cubicBezTo>
                      <a:pt x="1785132" y="1611837"/>
                      <a:pt x="1798564" y="1606351"/>
                      <a:pt x="1811197" y="1611164"/>
                    </a:cubicBezTo>
                    <a:cubicBezTo>
                      <a:pt x="1811553" y="1610846"/>
                      <a:pt x="1813443" y="1617108"/>
                      <a:pt x="1823742" y="1611519"/>
                    </a:cubicBezTo>
                    <a:cubicBezTo>
                      <a:pt x="1815295" y="1610669"/>
                      <a:pt x="1819734" y="1610884"/>
                      <a:pt x="1823691" y="1604865"/>
                    </a:cubicBezTo>
                    <a:cubicBezTo>
                      <a:pt x="1812453" y="1613323"/>
                      <a:pt x="1820723" y="1600089"/>
                      <a:pt x="1814204" y="1603607"/>
                    </a:cubicBezTo>
                    <a:cubicBezTo>
                      <a:pt x="1810386" y="1603417"/>
                      <a:pt x="1796725" y="1607341"/>
                      <a:pt x="1809942" y="1602299"/>
                    </a:cubicBezTo>
                    <a:cubicBezTo>
                      <a:pt x="1818440" y="1601944"/>
                      <a:pt x="1817540" y="1602248"/>
                      <a:pt x="1822651" y="1602248"/>
                    </a:cubicBezTo>
                    <a:cubicBezTo>
                      <a:pt x="1819151" y="1603061"/>
                      <a:pt x="1815383" y="1607557"/>
                      <a:pt x="1820495" y="1606211"/>
                    </a:cubicBezTo>
                    <a:cubicBezTo>
                      <a:pt x="1829437" y="1600839"/>
                      <a:pt x="1838900" y="1596381"/>
                      <a:pt x="1848730" y="1592889"/>
                    </a:cubicBezTo>
                    <a:cubicBezTo>
                      <a:pt x="1857914" y="1583567"/>
                      <a:pt x="1868416" y="1575629"/>
                      <a:pt x="1879908" y="1569355"/>
                    </a:cubicBezTo>
                    <a:lnTo>
                      <a:pt x="1883510" y="1569813"/>
                    </a:lnTo>
                    <a:lnTo>
                      <a:pt x="1884322" y="1569762"/>
                    </a:lnTo>
                    <a:lnTo>
                      <a:pt x="1884817" y="1569851"/>
                    </a:lnTo>
                    <a:cubicBezTo>
                      <a:pt x="1900925" y="1568784"/>
                      <a:pt x="1917111" y="1568898"/>
                      <a:pt x="1933207" y="1570219"/>
                    </a:cubicBezTo>
                    <a:cubicBezTo>
                      <a:pt x="1944901" y="1570397"/>
                      <a:pt x="1977475" y="1573597"/>
                      <a:pt x="1981381" y="1558027"/>
                    </a:cubicBezTo>
                    <a:cubicBezTo>
                      <a:pt x="1981470" y="1559246"/>
                      <a:pt x="1983056" y="1559869"/>
                      <a:pt x="1984223" y="1559551"/>
                    </a:cubicBezTo>
                    <a:cubicBezTo>
                      <a:pt x="1985351" y="1559043"/>
                      <a:pt x="1986392" y="1558332"/>
                      <a:pt x="1987279" y="1557443"/>
                    </a:cubicBezTo>
                    <a:cubicBezTo>
                      <a:pt x="1988180" y="1556567"/>
                      <a:pt x="1989474" y="1556236"/>
                      <a:pt x="1990691" y="1556579"/>
                    </a:cubicBezTo>
                    <a:cubicBezTo>
                      <a:pt x="1992036" y="1557176"/>
                      <a:pt x="1992353" y="1558840"/>
                      <a:pt x="1992531" y="1560275"/>
                    </a:cubicBezTo>
                    <a:cubicBezTo>
                      <a:pt x="1993533" y="1559449"/>
                      <a:pt x="1994065" y="1558192"/>
                      <a:pt x="1993964" y="1556897"/>
                    </a:cubicBezTo>
                    <a:cubicBezTo>
                      <a:pt x="1993875" y="1555601"/>
                      <a:pt x="1994243" y="1554306"/>
                      <a:pt x="1995004" y="1553252"/>
                    </a:cubicBezTo>
                    <a:cubicBezTo>
                      <a:pt x="1995905" y="1552350"/>
                      <a:pt x="1997972" y="1552757"/>
                      <a:pt x="1997883" y="1554014"/>
                    </a:cubicBezTo>
                    <a:cubicBezTo>
                      <a:pt x="2001283" y="1548210"/>
                      <a:pt x="2003921" y="1541974"/>
                      <a:pt x="2005697" y="1535472"/>
                    </a:cubicBezTo>
                    <a:cubicBezTo>
                      <a:pt x="2008487" y="1527915"/>
                      <a:pt x="2011265" y="1520359"/>
                      <a:pt x="2014322" y="1512891"/>
                    </a:cubicBezTo>
                    <a:cubicBezTo>
                      <a:pt x="2020233" y="1496876"/>
                      <a:pt x="2028947" y="1482043"/>
                      <a:pt x="2040071" y="1469102"/>
                    </a:cubicBezTo>
                    <a:cubicBezTo>
                      <a:pt x="2041999" y="1466993"/>
                      <a:pt x="2044295" y="1471946"/>
                      <a:pt x="2044612" y="1472924"/>
                    </a:cubicBezTo>
                    <a:cubicBezTo>
                      <a:pt x="2045424" y="1475591"/>
                      <a:pt x="2044384" y="1479008"/>
                      <a:pt x="2048164" y="1479770"/>
                    </a:cubicBezTo>
                    <a:cubicBezTo>
                      <a:pt x="2050282" y="1479960"/>
                      <a:pt x="2052413" y="1479503"/>
                      <a:pt x="2054277" y="1478462"/>
                    </a:cubicBezTo>
                    <a:lnTo>
                      <a:pt x="2063308" y="1474550"/>
                    </a:lnTo>
                    <a:cubicBezTo>
                      <a:pt x="2064412" y="1473978"/>
                      <a:pt x="2065617" y="1473648"/>
                      <a:pt x="2066860" y="1473610"/>
                    </a:cubicBezTo>
                    <a:cubicBezTo>
                      <a:pt x="2072340" y="1473699"/>
                      <a:pt x="2077236" y="1481751"/>
                      <a:pt x="2078910" y="1486209"/>
                    </a:cubicBezTo>
                    <a:cubicBezTo>
                      <a:pt x="2080876" y="1492279"/>
                      <a:pt x="2081663" y="1498680"/>
                      <a:pt x="2081244" y="1505055"/>
                    </a:cubicBezTo>
                    <a:cubicBezTo>
                      <a:pt x="2079278" y="1517463"/>
                      <a:pt x="2079493" y="1530112"/>
                      <a:pt x="2081878" y="1542444"/>
                    </a:cubicBezTo>
                    <a:cubicBezTo>
                      <a:pt x="2082106" y="1542317"/>
                      <a:pt x="2082144" y="1541860"/>
                      <a:pt x="2082461" y="1541860"/>
                    </a:cubicBezTo>
                    <a:cubicBezTo>
                      <a:pt x="2083717" y="1544095"/>
                      <a:pt x="2086153" y="1545403"/>
                      <a:pt x="2088715" y="1545200"/>
                    </a:cubicBezTo>
                    <a:lnTo>
                      <a:pt x="2089615" y="1545098"/>
                    </a:lnTo>
                    <a:cubicBezTo>
                      <a:pt x="2093205" y="1549429"/>
                      <a:pt x="2085696" y="1559005"/>
                      <a:pt x="2094017" y="1563602"/>
                    </a:cubicBezTo>
                    <a:cubicBezTo>
                      <a:pt x="2095273" y="1563323"/>
                      <a:pt x="2094867" y="1561799"/>
                      <a:pt x="2095856" y="1561532"/>
                    </a:cubicBezTo>
                    <a:cubicBezTo>
                      <a:pt x="2095945" y="1561570"/>
                      <a:pt x="2096706" y="1562066"/>
                      <a:pt x="2097924" y="1562929"/>
                    </a:cubicBezTo>
                    <a:cubicBezTo>
                      <a:pt x="2097289" y="1561304"/>
                      <a:pt x="2097378" y="1560224"/>
                      <a:pt x="2098862" y="1561532"/>
                    </a:cubicBezTo>
                    <a:cubicBezTo>
                      <a:pt x="2099268" y="1562701"/>
                      <a:pt x="2099585" y="1563602"/>
                      <a:pt x="2099814" y="1564225"/>
                    </a:cubicBezTo>
                    <a:cubicBezTo>
                      <a:pt x="2100169" y="1564453"/>
                      <a:pt x="2100524" y="1564720"/>
                      <a:pt x="2100930" y="1564987"/>
                    </a:cubicBezTo>
                    <a:cubicBezTo>
                      <a:pt x="2101323" y="1563933"/>
                      <a:pt x="2102376" y="1563259"/>
                      <a:pt x="2103492" y="1563374"/>
                    </a:cubicBezTo>
                    <a:cubicBezTo>
                      <a:pt x="2107767" y="1559589"/>
                      <a:pt x="2104037" y="1570930"/>
                      <a:pt x="2108756" y="1565444"/>
                    </a:cubicBezTo>
                    <a:cubicBezTo>
                      <a:pt x="2109390" y="1569851"/>
                      <a:pt x="2113563" y="1564682"/>
                      <a:pt x="2117521" y="1563501"/>
                    </a:cubicBezTo>
                    <a:cubicBezTo>
                      <a:pt x="2117292" y="1569673"/>
                      <a:pt x="2126057" y="1562421"/>
                      <a:pt x="2122645" y="1561520"/>
                    </a:cubicBezTo>
                    <a:cubicBezTo>
                      <a:pt x="2135456" y="1563412"/>
                      <a:pt x="2121605" y="1555360"/>
                      <a:pt x="2128746" y="1555538"/>
                    </a:cubicBezTo>
                    <a:cubicBezTo>
                      <a:pt x="2132260" y="1548121"/>
                      <a:pt x="2132348" y="1553925"/>
                      <a:pt x="2127579" y="1557201"/>
                    </a:cubicBezTo>
                    <a:cubicBezTo>
                      <a:pt x="2139984" y="1566739"/>
                      <a:pt x="2156169" y="1545378"/>
                      <a:pt x="2167496" y="1542622"/>
                    </a:cubicBezTo>
                    <a:cubicBezTo>
                      <a:pt x="2170135" y="1540412"/>
                      <a:pt x="2171289" y="1536882"/>
                      <a:pt x="2170452" y="1533541"/>
                    </a:cubicBezTo>
                    <a:cubicBezTo>
                      <a:pt x="2175361" y="1541326"/>
                      <a:pt x="2178227" y="1532373"/>
                      <a:pt x="2180523" y="1538533"/>
                    </a:cubicBezTo>
                    <a:cubicBezTo>
                      <a:pt x="2177644" y="1538888"/>
                      <a:pt x="2152796" y="1556033"/>
                      <a:pt x="2166418" y="1556706"/>
                    </a:cubicBezTo>
                    <a:cubicBezTo>
                      <a:pt x="2167623" y="1559322"/>
                      <a:pt x="2171530" y="1547931"/>
                      <a:pt x="2177149" y="1555004"/>
                    </a:cubicBezTo>
                    <a:cubicBezTo>
                      <a:pt x="2181284" y="1551360"/>
                      <a:pt x="2209785" y="1554014"/>
                      <a:pt x="2203215" y="1558014"/>
                    </a:cubicBezTo>
                    <a:cubicBezTo>
                      <a:pt x="2198497" y="1553557"/>
                      <a:pt x="2177517" y="1561342"/>
                      <a:pt x="2184924" y="1567920"/>
                    </a:cubicBezTo>
                    <a:cubicBezTo>
                      <a:pt x="2184430" y="1573673"/>
                      <a:pt x="2183618" y="1564771"/>
                      <a:pt x="2179495" y="1563780"/>
                    </a:cubicBezTo>
                    <a:cubicBezTo>
                      <a:pt x="2177200" y="1568225"/>
                      <a:pt x="2177517" y="1562510"/>
                      <a:pt x="2177733" y="1561888"/>
                    </a:cubicBezTo>
                    <a:cubicBezTo>
                      <a:pt x="2186637" y="1544692"/>
                      <a:pt x="2124484" y="1590412"/>
                      <a:pt x="2144703" y="1579833"/>
                    </a:cubicBezTo>
                    <a:cubicBezTo>
                      <a:pt x="2128746" y="1589193"/>
                      <a:pt x="2118320" y="1606249"/>
                      <a:pt x="2132031" y="1620968"/>
                    </a:cubicBezTo>
                    <a:cubicBezTo>
                      <a:pt x="2130192" y="1610173"/>
                      <a:pt x="2136928" y="1620206"/>
                      <a:pt x="2139401" y="1628664"/>
                    </a:cubicBezTo>
                    <a:cubicBezTo>
                      <a:pt x="2143498" y="1629655"/>
                      <a:pt x="2142724" y="1623165"/>
                      <a:pt x="2146326" y="1630138"/>
                    </a:cubicBezTo>
                    <a:cubicBezTo>
                      <a:pt x="2147176" y="1628207"/>
                      <a:pt x="2146098" y="1624473"/>
                      <a:pt x="2148432" y="1628842"/>
                    </a:cubicBezTo>
                    <a:cubicBezTo>
                      <a:pt x="2147037" y="1625870"/>
                      <a:pt x="2146682" y="1623800"/>
                      <a:pt x="2150144" y="1627267"/>
                    </a:cubicBezTo>
                    <a:cubicBezTo>
                      <a:pt x="2149903" y="1624702"/>
                      <a:pt x="2149865" y="1622137"/>
                      <a:pt x="2150005" y="1619571"/>
                    </a:cubicBezTo>
                    <a:cubicBezTo>
                      <a:pt x="2150867" y="1617501"/>
                      <a:pt x="2150905" y="1620206"/>
                      <a:pt x="2150550" y="1621324"/>
                    </a:cubicBezTo>
                    <a:cubicBezTo>
                      <a:pt x="2154102" y="1623940"/>
                      <a:pt x="2152796" y="1619304"/>
                      <a:pt x="2153062" y="1617057"/>
                    </a:cubicBezTo>
                    <a:cubicBezTo>
                      <a:pt x="2155446" y="1620155"/>
                      <a:pt x="2155586" y="1624029"/>
                      <a:pt x="2157336" y="1618936"/>
                    </a:cubicBezTo>
                    <a:cubicBezTo>
                      <a:pt x="2158541" y="1623750"/>
                      <a:pt x="2159759" y="1618263"/>
                      <a:pt x="2158681" y="1616015"/>
                    </a:cubicBezTo>
                    <a:cubicBezTo>
                      <a:pt x="2160571" y="1621197"/>
                      <a:pt x="2162232" y="1617057"/>
                      <a:pt x="2160748" y="1614402"/>
                    </a:cubicBezTo>
                    <a:cubicBezTo>
                      <a:pt x="2163488" y="1617095"/>
                      <a:pt x="2165924" y="1615660"/>
                      <a:pt x="2164160" y="1612243"/>
                    </a:cubicBezTo>
                    <a:cubicBezTo>
                      <a:pt x="2167928" y="1610567"/>
                      <a:pt x="2170858" y="1607455"/>
                      <a:pt x="2172304" y="1603607"/>
                    </a:cubicBezTo>
                    <a:cubicBezTo>
                      <a:pt x="2179800" y="1603468"/>
                      <a:pt x="2174143" y="1591771"/>
                      <a:pt x="2180028" y="1599239"/>
                    </a:cubicBezTo>
                    <a:cubicBezTo>
                      <a:pt x="2183897" y="1597041"/>
                      <a:pt x="2173382" y="1594603"/>
                      <a:pt x="2181690" y="1595238"/>
                    </a:cubicBezTo>
                    <a:cubicBezTo>
                      <a:pt x="2180434" y="1594832"/>
                      <a:pt x="2176071" y="1587491"/>
                      <a:pt x="2181741" y="1588215"/>
                    </a:cubicBezTo>
                    <a:cubicBezTo>
                      <a:pt x="2182274" y="1586412"/>
                      <a:pt x="2183935" y="1585523"/>
                      <a:pt x="2184797" y="1588215"/>
                    </a:cubicBezTo>
                    <a:cubicBezTo>
                      <a:pt x="2189110" y="1595505"/>
                      <a:pt x="2184075" y="1581065"/>
                      <a:pt x="2191355" y="1581865"/>
                    </a:cubicBezTo>
                    <a:cubicBezTo>
                      <a:pt x="2185102" y="1593701"/>
                      <a:pt x="2209151" y="1594819"/>
                      <a:pt x="2198268" y="1581052"/>
                    </a:cubicBezTo>
                    <a:cubicBezTo>
                      <a:pt x="2205777" y="1589968"/>
                      <a:pt x="2209418" y="1579122"/>
                      <a:pt x="2212563" y="1582182"/>
                    </a:cubicBezTo>
                    <a:cubicBezTo>
                      <a:pt x="2212069" y="1572467"/>
                      <a:pt x="2216026" y="1587402"/>
                      <a:pt x="2215214" y="1579071"/>
                    </a:cubicBezTo>
                    <a:cubicBezTo>
                      <a:pt x="2217015" y="1579033"/>
                      <a:pt x="2217332" y="1582043"/>
                      <a:pt x="2220389" y="1580201"/>
                    </a:cubicBezTo>
                    <a:cubicBezTo>
                      <a:pt x="2223129" y="1583618"/>
                      <a:pt x="2220339" y="1575477"/>
                      <a:pt x="2225425" y="1577687"/>
                    </a:cubicBezTo>
                    <a:cubicBezTo>
                      <a:pt x="2228875" y="1575883"/>
                      <a:pt x="2228748" y="1577458"/>
                      <a:pt x="2231399" y="1573724"/>
                    </a:cubicBezTo>
                    <a:cubicBezTo>
                      <a:pt x="2231894" y="1577496"/>
                      <a:pt x="2231171" y="1575210"/>
                      <a:pt x="2233556" y="1574486"/>
                    </a:cubicBezTo>
                    <a:cubicBezTo>
                      <a:pt x="2237919" y="1571692"/>
                      <a:pt x="2242739" y="1569660"/>
                      <a:pt x="2247800" y="1568505"/>
                    </a:cubicBezTo>
                    <a:cubicBezTo>
                      <a:pt x="2253914" y="1562739"/>
                      <a:pt x="2257554" y="1565711"/>
                      <a:pt x="2267118" y="1559818"/>
                    </a:cubicBezTo>
                    <a:cubicBezTo>
                      <a:pt x="2269503" y="1564085"/>
                      <a:pt x="2267613" y="1554636"/>
                      <a:pt x="2269858" y="1561215"/>
                    </a:cubicBezTo>
                    <a:cubicBezTo>
                      <a:pt x="2271659" y="1559411"/>
                      <a:pt x="2273904" y="1558776"/>
                      <a:pt x="2274094" y="1557163"/>
                    </a:cubicBezTo>
                    <a:cubicBezTo>
                      <a:pt x="2244109" y="1552617"/>
                      <a:pt x="2277722" y="1556757"/>
                      <a:pt x="2259926" y="1542266"/>
                    </a:cubicBezTo>
                    <a:cubicBezTo>
                      <a:pt x="2238363" y="1551309"/>
                      <a:pt x="2259026" y="1522061"/>
                      <a:pt x="2230905" y="1545289"/>
                    </a:cubicBezTo>
                    <a:cubicBezTo>
                      <a:pt x="2229510" y="1537771"/>
                      <a:pt x="2223573" y="1547537"/>
                      <a:pt x="2223675" y="1543028"/>
                    </a:cubicBezTo>
                    <a:cubicBezTo>
                      <a:pt x="2236524" y="1532906"/>
                      <a:pt x="2195009" y="1544197"/>
                      <a:pt x="2210014" y="1537275"/>
                    </a:cubicBezTo>
                    <a:cubicBezTo>
                      <a:pt x="2201211" y="1536653"/>
                      <a:pt x="2192814" y="1533376"/>
                      <a:pt x="2185914" y="1527865"/>
                    </a:cubicBezTo>
                    <a:cubicBezTo>
                      <a:pt x="2204750" y="1524131"/>
                      <a:pt x="2184125" y="1520626"/>
                      <a:pt x="2177377" y="1520219"/>
                    </a:cubicBezTo>
                    <a:cubicBezTo>
                      <a:pt x="2166824" y="1520041"/>
                      <a:pt x="2178544" y="1513285"/>
                      <a:pt x="2168220" y="1515990"/>
                    </a:cubicBezTo>
                    <a:cubicBezTo>
                      <a:pt x="2175893" y="1505906"/>
                      <a:pt x="2157210" y="1501055"/>
                      <a:pt x="2165518" y="1484850"/>
                    </a:cubicBezTo>
                    <a:cubicBezTo>
                      <a:pt x="2152352" y="1485434"/>
                      <a:pt x="2144754" y="1486615"/>
                      <a:pt x="2160571" y="1476303"/>
                    </a:cubicBezTo>
                    <a:cubicBezTo>
                      <a:pt x="2170680" y="1447550"/>
                      <a:pt x="2167890" y="1451157"/>
                      <a:pt x="2140847" y="1460821"/>
                    </a:cubicBezTo>
                    <a:cubicBezTo>
                      <a:pt x="2141113" y="1445162"/>
                      <a:pt x="2118599" y="1444400"/>
                      <a:pt x="2107411" y="1446381"/>
                    </a:cubicBezTo>
                    <a:cubicBezTo>
                      <a:pt x="2130421" y="1430544"/>
                      <a:pt x="2153785" y="1458357"/>
                      <a:pt x="2168803" y="1431891"/>
                    </a:cubicBezTo>
                    <a:cubicBezTo>
                      <a:pt x="2184303" y="1428068"/>
                      <a:pt x="2183846" y="1418175"/>
                      <a:pt x="2177555" y="1412587"/>
                    </a:cubicBezTo>
                    <a:cubicBezTo>
                      <a:pt x="2177923" y="1409932"/>
                      <a:pt x="2169602" y="1411825"/>
                      <a:pt x="2174650" y="1410694"/>
                    </a:cubicBezTo>
                    <a:cubicBezTo>
                      <a:pt x="2168537" y="1405348"/>
                      <a:pt x="2182286" y="1412218"/>
                      <a:pt x="2183402" y="1413844"/>
                    </a:cubicBezTo>
                    <a:cubicBezTo>
                      <a:pt x="2167813" y="1376328"/>
                      <a:pt x="2115948" y="1397105"/>
                      <a:pt x="2087599" y="1409526"/>
                    </a:cubicBezTo>
                    <a:cubicBezTo>
                      <a:pt x="2061977" y="1431713"/>
                      <a:pt x="2033754" y="1451550"/>
                      <a:pt x="2006572" y="1471629"/>
                    </a:cubicBezTo>
                    <a:cubicBezTo>
                      <a:pt x="2021489" y="1456097"/>
                      <a:pt x="2027729" y="1440933"/>
                      <a:pt x="2009718" y="1432703"/>
                    </a:cubicBezTo>
                    <a:cubicBezTo>
                      <a:pt x="2042925" y="1442470"/>
                      <a:pt x="2015958" y="1444984"/>
                      <a:pt x="2063283" y="1395632"/>
                    </a:cubicBezTo>
                    <a:cubicBezTo>
                      <a:pt x="2067558" y="1406338"/>
                      <a:pt x="2072860" y="1384558"/>
                      <a:pt x="2091734" y="1389333"/>
                    </a:cubicBezTo>
                    <a:cubicBezTo>
                      <a:pt x="2096541" y="1373064"/>
                      <a:pt x="2106143" y="1358637"/>
                      <a:pt x="2119284" y="1347931"/>
                    </a:cubicBezTo>
                    <a:cubicBezTo>
                      <a:pt x="2138285" y="1347702"/>
                      <a:pt x="2155497" y="1346483"/>
                      <a:pt x="2171276" y="1344908"/>
                    </a:cubicBezTo>
                    <a:cubicBezTo>
                      <a:pt x="2197875" y="1345988"/>
                      <a:pt x="2224436" y="1347118"/>
                      <a:pt x="2251047" y="1347474"/>
                    </a:cubicBezTo>
                    <a:cubicBezTo>
                      <a:pt x="2279980" y="1347931"/>
                      <a:pt x="2309242" y="1345899"/>
                      <a:pt x="2325871" y="1317057"/>
                    </a:cubicBezTo>
                    <a:cubicBezTo>
                      <a:pt x="2335980" y="1300573"/>
                      <a:pt x="2354056" y="1290679"/>
                      <a:pt x="2373373" y="1291048"/>
                    </a:cubicBezTo>
                    <a:cubicBezTo>
                      <a:pt x="2391385" y="1289790"/>
                      <a:pt x="2400695" y="1277459"/>
                      <a:pt x="2412555" y="1268378"/>
                    </a:cubicBezTo>
                    <a:cubicBezTo>
                      <a:pt x="2415967" y="1264327"/>
                      <a:pt x="2417603" y="1259082"/>
                      <a:pt x="2417083" y="1253814"/>
                    </a:cubicBezTo>
                    <a:close/>
                    <a:moveTo>
                      <a:pt x="1410289" y="484967"/>
                    </a:moveTo>
                    <a:cubicBezTo>
                      <a:pt x="1414690" y="485602"/>
                      <a:pt x="1419142" y="486273"/>
                      <a:pt x="1423543" y="486947"/>
                    </a:cubicBezTo>
                    <a:cubicBezTo>
                      <a:pt x="1423543" y="487533"/>
                      <a:pt x="1423543" y="488162"/>
                      <a:pt x="1423594" y="488792"/>
                    </a:cubicBezTo>
                    <a:cubicBezTo>
                      <a:pt x="1421793" y="489062"/>
                      <a:pt x="1419992" y="489286"/>
                      <a:pt x="1418242" y="489554"/>
                    </a:cubicBezTo>
                    <a:cubicBezTo>
                      <a:pt x="1415591" y="489915"/>
                      <a:pt x="1412940" y="490316"/>
                      <a:pt x="1410289" y="490680"/>
                    </a:cubicBezTo>
                    <a:close/>
                    <a:moveTo>
                      <a:pt x="1346157" y="613791"/>
                    </a:moveTo>
                    <a:cubicBezTo>
                      <a:pt x="1346475" y="613341"/>
                      <a:pt x="1346741" y="612890"/>
                      <a:pt x="1347007" y="612441"/>
                    </a:cubicBezTo>
                    <a:cubicBezTo>
                      <a:pt x="1347641" y="612730"/>
                      <a:pt x="1348263" y="613061"/>
                      <a:pt x="1348859" y="613431"/>
                    </a:cubicBezTo>
                    <a:lnTo>
                      <a:pt x="1348986" y="613520"/>
                    </a:lnTo>
                    <a:cubicBezTo>
                      <a:pt x="1354567" y="616581"/>
                      <a:pt x="1360224" y="619641"/>
                      <a:pt x="1365792" y="622700"/>
                    </a:cubicBezTo>
                    <a:cubicBezTo>
                      <a:pt x="1364676" y="622761"/>
                      <a:pt x="1363560" y="622926"/>
                      <a:pt x="1362469" y="623195"/>
                    </a:cubicBezTo>
                    <a:cubicBezTo>
                      <a:pt x="1360085" y="623689"/>
                      <a:pt x="1357522" y="624545"/>
                      <a:pt x="1355100" y="625175"/>
                    </a:cubicBezTo>
                    <a:cubicBezTo>
                      <a:pt x="1354783" y="625264"/>
                      <a:pt x="1354516" y="625310"/>
                      <a:pt x="1354199" y="625400"/>
                    </a:cubicBezTo>
                    <a:cubicBezTo>
                      <a:pt x="1351003" y="626722"/>
                      <a:pt x="1347324" y="626034"/>
                      <a:pt x="1344813" y="623645"/>
                    </a:cubicBezTo>
                    <a:cubicBezTo>
                      <a:pt x="1343823" y="622335"/>
                      <a:pt x="1343139" y="620810"/>
                      <a:pt x="1342834" y="619191"/>
                    </a:cubicBezTo>
                    <a:cubicBezTo>
                      <a:pt x="1343963" y="617390"/>
                      <a:pt x="1345079" y="615590"/>
                      <a:pt x="1346157" y="613791"/>
                    </a:cubicBezTo>
                    <a:close/>
                    <a:moveTo>
                      <a:pt x="237763" y="273082"/>
                    </a:moveTo>
                    <a:cubicBezTo>
                      <a:pt x="233856" y="274207"/>
                      <a:pt x="230127" y="275331"/>
                      <a:pt x="226220" y="276502"/>
                    </a:cubicBezTo>
                    <a:cubicBezTo>
                      <a:pt x="224508" y="276951"/>
                      <a:pt x="222757" y="277491"/>
                      <a:pt x="220969" y="278026"/>
                    </a:cubicBezTo>
                    <a:cubicBezTo>
                      <a:pt x="220423" y="278160"/>
                      <a:pt x="219840" y="278341"/>
                      <a:pt x="219256" y="278521"/>
                    </a:cubicBezTo>
                    <a:cubicBezTo>
                      <a:pt x="218216" y="278836"/>
                      <a:pt x="217138" y="279151"/>
                      <a:pt x="216022" y="279466"/>
                    </a:cubicBezTo>
                    <a:cubicBezTo>
                      <a:pt x="216605" y="267632"/>
                      <a:pt x="213954" y="256248"/>
                      <a:pt x="229949" y="254763"/>
                    </a:cubicBezTo>
                    <a:lnTo>
                      <a:pt x="232511" y="258272"/>
                    </a:lnTo>
                    <a:cubicBezTo>
                      <a:pt x="232714" y="258515"/>
                      <a:pt x="232917" y="258770"/>
                      <a:pt x="233095" y="259034"/>
                    </a:cubicBezTo>
                    <a:cubicBezTo>
                      <a:pt x="233412" y="259484"/>
                      <a:pt x="233729" y="259889"/>
                      <a:pt x="234084" y="260338"/>
                    </a:cubicBezTo>
                    <a:lnTo>
                      <a:pt x="234084" y="260384"/>
                    </a:lnTo>
                    <a:cubicBezTo>
                      <a:pt x="234718" y="261283"/>
                      <a:pt x="235391" y="262138"/>
                      <a:pt x="236012" y="263083"/>
                    </a:cubicBezTo>
                    <a:cubicBezTo>
                      <a:pt x="238042" y="265738"/>
                      <a:pt x="240109" y="268573"/>
                      <a:pt x="242392" y="271678"/>
                    </a:cubicBezTo>
                    <a:cubicBezTo>
                      <a:pt x="240819" y="272137"/>
                      <a:pt x="239247" y="272631"/>
                      <a:pt x="237763" y="273082"/>
                    </a:cubicBezTo>
                    <a:close/>
                    <a:moveTo>
                      <a:pt x="831243" y="752828"/>
                    </a:moveTo>
                    <a:cubicBezTo>
                      <a:pt x="820055" y="773121"/>
                      <a:pt x="804949" y="782526"/>
                      <a:pt x="788865" y="778431"/>
                    </a:cubicBezTo>
                    <a:cubicBezTo>
                      <a:pt x="771424" y="785631"/>
                      <a:pt x="789169" y="811233"/>
                      <a:pt x="764816" y="805249"/>
                    </a:cubicBezTo>
                    <a:cubicBezTo>
                      <a:pt x="731203" y="820764"/>
                      <a:pt x="691476" y="813531"/>
                      <a:pt x="665461" y="787160"/>
                    </a:cubicBezTo>
                    <a:cubicBezTo>
                      <a:pt x="709589" y="810468"/>
                      <a:pt x="674530" y="773077"/>
                      <a:pt x="708333" y="790805"/>
                    </a:cubicBezTo>
                    <a:cubicBezTo>
                      <a:pt x="711517" y="793415"/>
                      <a:pt x="718214" y="796115"/>
                      <a:pt x="712684" y="791615"/>
                    </a:cubicBezTo>
                    <a:cubicBezTo>
                      <a:pt x="713495" y="790355"/>
                      <a:pt x="720738" y="787926"/>
                      <a:pt x="716109" y="786125"/>
                    </a:cubicBezTo>
                    <a:cubicBezTo>
                      <a:pt x="715880" y="783920"/>
                      <a:pt x="710261" y="783966"/>
                      <a:pt x="712430" y="782076"/>
                    </a:cubicBezTo>
                    <a:cubicBezTo>
                      <a:pt x="725051" y="782481"/>
                      <a:pt x="716781" y="771097"/>
                      <a:pt x="727118" y="763534"/>
                    </a:cubicBezTo>
                    <a:cubicBezTo>
                      <a:pt x="726624" y="753454"/>
                      <a:pt x="764511" y="768798"/>
                      <a:pt x="747121" y="744410"/>
                    </a:cubicBezTo>
                    <a:cubicBezTo>
                      <a:pt x="727841" y="733836"/>
                      <a:pt x="741946" y="713993"/>
                      <a:pt x="721550" y="715252"/>
                    </a:cubicBezTo>
                    <a:cubicBezTo>
                      <a:pt x="719597" y="710199"/>
                      <a:pt x="716223" y="705823"/>
                      <a:pt x="711834" y="702654"/>
                    </a:cubicBezTo>
                    <a:cubicBezTo>
                      <a:pt x="718354" y="692305"/>
                      <a:pt x="738801" y="717457"/>
                      <a:pt x="750977" y="722902"/>
                    </a:cubicBezTo>
                    <a:cubicBezTo>
                      <a:pt x="756469" y="727537"/>
                      <a:pt x="763700" y="714758"/>
                      <a:pt x="763611" y="724567"/>
                    </a:cubicBezTo>
                    <a:cubicBezTo>
                      <a:pt x="779568" y="751070"/>
                      <a:pt x="810073" y="750221"/>
                      <a:pt x="836190" y="722227"/>
                    </a:cubicBezTo>
                    <a:cubicBezTo>
                      <a:pt x="858387" y="700269"/>
                      <a:pt x="873621" y="695049"/>
                      <a:pt x="890161" y="701439"/>
                    </a:cubicBezTo>
                    <a:cubicBezTo>
                      <a:pt x="884681" y="701034"/>
                      <a:pt x="871464" y="696895"/>
                      <a:pt x="871376" y="703734"/>
                    </a:cubicBezTo>
                    <a:cubicBezTo>
                      <a:pt x="912992" y="702608"/>
                      <a:pt x="879100" y="714758"/>
                      <a:pt x="862116" y="712283"/>
                    </a:cubicBezTo>
                    <a:cubicBezTo>
                      <a:pt x="861939" y="717547"/>
                      <a:pt x="870386" y="713499"/>
                      <a:pt x="874432" y="712823"/>
                    </a:cubicBezTo>
                    <a:cubicBezTo>
                      <a:pt x="853630" y="721597"/>
                      <a:pt x="877350" y="716153"/>
                      <a:pt x="887015" y="711114"/>
                    </a:cubicBezTo>
                    <a:cubicBezTo>
                      <a:pt x="884808" y="717053"/>
                      <a:pt x="873266" y="718448"/>
                      <a:pt x="869942" y="722047"/>
                    </a:cubicBezTo>
                    <a:cubicBezTo>
                      <a:pt x="887244" y="720523"/>
                      <a:pt x="864146" y="727806"/>
                      <a:pt x="864450" y="721102"/>
                    </a:cubicBezTo>
                    <a:cubicBezTo>
                      <a:pt x="857664" y="719978"/>
                      <a:pt x="841619" y="730821"/>
                      <a:pt x="848278" y="729066"/>
                    </a:cubicBezTo>
                    <a:cubicBezTo>
                      <a:pt x="828452" y="744504"/>
                      <a:pt x="849267" y="739285"/>
                      <a:pt x="831243" y="752828"/>
                    </a:cubicBezTo>
                    <a:close/>
                    <a:moveTo>
                      <a:pt x="906790" y="913692"/>
                    </a:moveTo>
                    <a:cubicBezTo>
                      <a:pt x="881840" y="911263"/>
                      <a:pt x="867735" y="937856"/>
                      <a:pt x="861939" y="943792"/>
                    </a:cubicBezTo>
                    <a:cubicBezTo>
                      <a:pt x="856675" y="952791"/>
                      <a:pt x="862573" y="937222"/>
                      <a:pt x="857119" y="937942"/>
                    </a:cubicBezTo>
                    <a:cubicBezTo>
                      <a:pt x="851867" y="947481"/>
                      <a:pt x="853389" y="944241"/>
                      <a:pt x="851462" y="939607"/>
                    </a:cubicBezTo>
                    <a:cubicBezTo>
                      <a:pt x="840008" y="929574"/>
                      <a:pt x="853618" y="924938"/>
                      <a:pt x="850028" y="934747"/>
                    </a:cubicBezTo>
                    <a:cubicBezTo>
                      <a:pt x="866200" y="920124"/>
                      <a:pt x="882563" y="900639"/>
                      <a:pt x="896579" y="885746"/>
                    </a:cubicBezTo>
                    <a:cubicBezTo>
                      <a:pt x="911990" y="879269"/>
                      <a:pt x="904938" y="896005"/>
                      <a:pt x="916582" y="889121"/>
                    </a:cubicBezTo>
                    <a:cubicBezTo>
                      <a:pt x="923457" y="892406"/>
                      <a:pt x="907145" y="897805"/>
                      <a:pt x="917115" y="898300"/>
                    </a:cubicBezTo>
                    <a:cubicBezTo>
                      <a:pt x="937435" y="887456"/>
                      <a:pt x="956842" y="898750"/>
                      <a:pt x="978151" y="902485"/>
                    </a:cubicBezTo>
                    <a:cubicBezTo>
                      <a:pt x="950246" y="902530"/>
                      <a:pt x="936712" y="908874"/>
                      <a:pt x="906790" y="913692"/>
                    </a:cubicBezTo>
                    <a:close/>
                    <a:moveTo>
                      <a:pt x="1216335" y="351603"/>
                    </a:moveTo>
                    <a:cubicBezTo>
                      <a:pt x="1216462" y="350022"/>
                      <a:pt x="1216728" y="348456"/>
                      <a:pt x="1217134" y="346923"/>
                    </a:cubicBezTo>
                    <a:cubicBezTo>
                      <a:pt x="1217895" y="340909"/>
                      <a:pt x="1223387" y="336649"/>
                      <a:pt x="1229387" y="337407"/>
                    </a:cubicBezTo>
                    <a:cubicBezTo>
                      <a:pt x="1230275" y="337519"/>
                      <a:pt x="1231137" y="337739"/>
                      <a:pt x="1231974" y="338060"/>
                    </a:cubicBezTo>
                    <a:cubicBezTo>
                      <a:pt x="1239090" y="339560"/>
                      <a:pt x="1244329" y="345637"/>
                      <a:pt x="1244785" y="352907"/>
                    </a:cubicBezTo>
                    <a:cubicBezTo>
                      <a:pt x="1244633" y="357919"/>
                      <a:pt x="1243263" y="362816"/>
                      <a:pt x="1240777" y="367172"/>
                    </a:cubicBezTo>
                    <a:cubicBezTo>
                      <a:pt x="1232646" y="362582"/>
                      <a:pt x="1225277" y="358398"/>
                      <a:pt x="1218757" y="354753"/>
                    </a:cubicBezTo>
                    <a:cubicBezTo>
                      <a:pt x="1217857" y="354257"/>
                      <a:pt x="1217058" y="353763"/>
                      <a:pt x="1216195" y="353313"/>
                    </a:cubicBezTo>
                    <a:cubicBezTo>
                      <a:pt x="1216246" y="352725"/>
                      <a:pt x="1216246" y="352139"/>
                      <a:pt x="1216335" y="351599"/>
                    </a:cubicBezTo>
                    <a:close/>
                    <a:moveTo>
                      <a:pt x="1272234" y="1332335"/>
                    </a:moveTo>
                    <a:cubicBezTo>
                      <a:pt x="1265676" y="1334444"/>
                      <a:pt x="1266754" y="1323522"/>
                      <a:pt x="1263837" y="1330532"/>
                    </a:cubicBezTo>
                    <a:cubicBezTo>
                      <a:pt x="1256949" y="1367832"/>
                      <a:pt x="1245191" y="1307634"/>
                      <a:pt x="1263241" y="1299887"/>
                    </a:cubicBezTo>
                    <a:cubicBezTo>
                      <a:pt x="1261845" y="1298909"/>
                      <a:pt x="1260412" y="1301830"/>
                      <a:pt x="1260780" y="1299137"/>
                    </a:cubicBezTo>
                    <a:cubicBezTo>
                      <a:pt x="1242489" y="1318162"/>
                      <a:pt x="1264103" y="1289092"/>
                      <a:pt x="1257863" y="1287835"/>
                    </a:cubicBezTo>
                    <a:cubicBezTo>
                      <a:pt x="1255833" y="1273166"/>
                      <a:pt x="1248337" y="1293816"/>
                      <a:pt x="1244608" y="1295582"/>
                    </a:cubicBezTo>
                    <a:cubicBezTo>
                      <a:pt x="1243974" y="1288381"/>
                      <a:pt x="1247398" y="1256021"/>
                      <a:pt x="1236287" y="1273750"/>
                    </a:cubicBezTo>
                    <a:cubicBezTo>
                      <a:pt x="1232203" y="1270194"/>
                      <a:pt x="1244608" y="1260530"/>
                      <a:pt x="1233319" y="1265025"/>
                    </a:cubicBezTo>
                    <a:cubicBezTo>
                      <a:pt x="1223298" y="1293600"/>
                      <a:pt x="1219620" y="1249140"/>
                      <a:pt x="1202674" y="1238296"/>
                    </a:cubicBezTo>
                    <a:cubicBezTo>
                      <a:pt x="1192920" y="1227182"/>
                      <a:pt x="1203257" y="1225922"/>
                      <a:pt x="1211439" y="1220838"/>
                    </a:cubicBezTo>
                    <a:cubicBezTo>
                      <a:pt x="1170088" y="1231322"/>
                      <a:pt x="1196205" y="1155908"/>
                      <a:pt x="1224148" y="1190645"/>
                    </a:cubicBezTo>
                    <a:cubicBezTo>
                      <a:pt x="1232609" y="1188846"/>
                      <a:pt x="1214711" y="1182186"/>
                      <a:pt x="1215028" y="1176697"/>
                    </a:cubicBezTo>
                    <a:cubicBezTo>
                      <a:pt x="1216297" y="1172242"/>
                      <a:pt x="1223032" y="1149609"/>
                      <a:pt x="1226089" y="1159148"/>
                    </a:cubicBezTo>
                    <a:cubicBezTo>
                      <a:pt x="1221548" y="1161443"/>
                      <a:pt x="1226939" y="1160813"/>
                      <a:pt x="1228829" y="1160139"/>
                    </a:cubicBezTo>
                    <a:cubicBezTo>
                      <a:pt x="1222677" y="1166932"/>
                      <a:pt x="1207342" y="1182816"/>
                      <a:pt x="1228512" y="1174627"/>
                    </a:cubicBezTo>
                    <a:cubicBezTo>
                      <a:pt x="1227928" y="1196944"/>
                      <a:pt x="1250709" y="1264441"/>
                      <a:pt x="1272640" y="1304624"/>
                    </a:cubicBezTo>
                    <a:cubicBezTo>
                      <a:pt x="1268530" y="1313362"/>
                      <a:pt x="1268378" y="1323471"/>
                      <a:pt x="1272234" y="1332335"/>
                    </a:cubicBezTo>
                    <a:close/>
                    <a:moveTo>
                      <a:pt x="1281087" y="417027"/>
                    </a:moveTo>
                    <a:lnTo>
                      <a:pt x="1281037" y="417027"/>
                    </a:lnTo>
                    <a:cubicBezTo>
                      <a:pt x="1280352" y="417261"/>
                      <a:pt x="1279654" y="417427"/>
                      <a:pt x="1278931" y="417523"/>
                    </a:cubicBezTo>
                    <a:cubicBezTo>
                      <a:pt x="1278310" y="417613"/>
                      <a:pt x="1277675" y="417657"/>
                      <a:pt x="1277041" y="417657"/>
                    </a:cubicBezTo>
                    <a:cubicBezTo>
                      <a:pt x="1274187" y="417610"/>
                      <a:pt x="1271511" y="416228"/>
                      <a:pt x="1269811" y="413922"/>
                    </a:cubicBezTo>
                    <a:cubicBezTo>
                      <a:pt x="1268429" y="412206"/>
                      <a:pt x="1267312" y="410296"/>
                      <a:pt x="1266488" y="408253"/>
                    </a:cubicBezTo>
                    <a:cubicBezTo>
                      <a:pt x="1267211" y="408389"/>
                      <a:pt x="1267921" y="408523"/>
                      <a:pt x="1268593" y="408658"/>
                    </a:cubicBezTo>
                    <a:cubicBezTo>
                      <a:pt x="1269405" y="408838"/>
                      <a:pt x="1270179" y="408973"/>
                      <a:pt x="1270889" y="409108"/>
                    </a:cubicBezTo>
                    <a:cubicBezTo>
                      <a:pt x="1274301" y="409783"/>
                      <a:pt x="1277498" y="410413"/>
                      <a:pt x="1280593" y="411043"/>
                    </a:cubicBezTo>
                    <a:cubicBezTo>
                      <a:pt x="1281138" y="411133"/>
                      <a:pt x="1281633" y="411223"/>
                      <a:pt x="1282178" y="411312"/>
                    </a:cubicBezTo>
                    <a:cubicBezTo>
                      <a:pt x="1285768" y="412032"/>
                      <a:pt x="1289231" y="412752"/>
                      <a:pt x="1292694" y="413428"/>
                    </a:cubicBezTo>
                    <a:cubicBezTo>
                      <a:pt x="1288723" y="414299"/>
                      <a:pt x="1284842" y="415502"/>
                      <a:pt x="1281087" y="417023"/>
                    </a:cubicBezTo>
                    <a:close/>
                    <a:moveTo>
                      <a:pt x="2019814" y="933176"/>
                    </a:moveTo>
                    <a:cubicBezTo>
                      <a:pt x="2018800" y="933136"/>
                      <a:pt x="2017836" y="932718"/>
                      <a:pt x="2017125" y="932006"/>
                    </a:cubicBezTo>
                    <a:cubicBezTo>
                      <a:pt x="2016339" y="931282"/>
                      <a:pt x="2015743" y="930389"/>
                      <a:pt x="2015362" y="929396"/>
                    </a:cubicBezTo>
                    <a:cubicBezTo>
                      <a:pt x="2015172" y="928987"/>
                      <a:pt x="2015007" y="928567"/>
                      <a:pt x="2014868" y="928136"/>
                    </a:cubicBezTo>
                    <a:cubicBezTo>
                      <a:pt x="2014018" y="925572"/>
                      <a:pt x="2018508" y="921297"/>
                      <a:pt x="2021971" y="915267"/>
                    </a:cubicBezTo>
                    <a:cubicBezTo>
                      <a:pt x="2022465" y="916078"/>
                      <a:pt x="2022922" y="916842"/>
                      <a:pt x="2023366" y="917608"/>
                    </a:cubicBezTo>
                    <a:cubicBezTo>
                      <a:pt x="2024317" y="919093"/>
                      <a:pt x="2025167" y="920529"/>
                      <a:pt x="2026030" y="921881"/>
                    </a:cubicBezTo>
                    <a:cubicBezTo>
                      <a:pt x="2027425" y="924267"/>
                      <a:pt x="2028719" y="926427"/>
                      <a:pt x="2030025" y="928541"/>
                    </a:cubicBezTo>
                    <a:cubicBezTo>
                      <a:pt x="2030431" y="929261"/>
                      <a:pt x="2030875" y="929938"/>
                      <a:pt x="2031281" y="930656"/>
                    </a:cubicBezTo>
                    <a:cubicBezTo>
                      <a:pt x="2027678" y="930383"/>
                      <a:pt x="2023366" y="933532"/>
                      <a:pt x="2019814" y="933172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76" name="Vrije vorm 475">
                <a:extLst>
                  <a:ext uri="{FF2B5EF4-FFF2-40B4-BE49-F238E27FC236}">
                    <a16:creationId xmlns:a16="http://schemas.microsoft.com/office/drawing/2014/main" id="{A338174F-A4D8-FD40-9A13-3939C555D407}"/>
                  </a:ext>
                </a:extLst>
              </p:cNvPr>
              <p:cNvSpPr/>
              <p:nvPr/>
            </p:nvSpPr>
            <p:spPr>
              <a:xfrm>
                <a:off x="2935056" y="1399987"/>
                <a:ext cx="812904" cy="747387"/>
              </a:xfrm>
              <a:custGeom>
                <a:avLst/>
                <a:gdLst>
                  <a:gd name="connsiteX0" fmla="*/ 807285 w 812904"/>
                  <a:gd name="connsiteY0" fmla="*/ 427456 h 747387"/>
                  <a:gd name="connsiteX1" fmla="*/ 803150 w 812904"/>
                  <a:gd name="connsiteY1" fmla="*/ 422821 h 747387"/>
                  <a:gd name="connsiteX2" fmla="*/ 799370 w 812904"/>
                  <a:gd name="connsiteY2" fmla="*/ 419402 h 747387"/>
                  <a:gd name="connsiteX3" fmla="*/ 794969 w 812904"/>
                  <a:gd name="connsiteY3" fmla="*/ 417422 h 747387"/>
                  <a:gd name="connsiteX4" fmla="*/ 787599 w 812904"/>
                  <a:gd name="connsiteY4" fmla="*/ 417693 h 747387"/>
                  <a:gd name="connsiteX5" fmla="*/ 785087 w 812904"/>
                  <a:gd name="connsiteY5" fmla="*/ 418097 h 747387"/>
                  <a:gd name="connsiteX6" fmla="*/ 779646 w 812904"/>
                  <a:gd name="connsiteY6" fmla="*/ 418817 h 747387"/>
                  <a:gd name="connsiteX7" fmla="*/ 778340 w 812904"/>
                  <a:gd name="connsiteY7" fmla="*/ 418951 h 747387"/>
                  <a:gd name="connsiteX8" fmla="*/ 770704 w 812904"/>
                  <a:gd name="connsiteY8" fmla="*/ 419627 h 747387"/>
                  <a:gd name="connsiteX9" fmla="*/ 769537 w 812904"/>
                  <a:gd name="connsiteY9" fmla="*/ 419717 h 747387"/>
                  <a:gd name="connsiteX10" fmla="*/ 769486 w 812904"/>
                  <a:gd name="connsiteY10" fmla="*/ 419762 h 747387"/>
                  <a:gd name="connsiteX11" fmla="*/ 758616 w 812904"/>
                  <a:gd name="connsiteY11" fmla="*/ 420397 h 747387"/>
                  <a:gd name="connsiteX12" fmla="*/ 752769 w 812904"/>
                  <a:gd name="connsiteY12" fmla="*/ 420802 h 747387"/>
                  <a:gd name="connsiteX13" fmla="*/ 764057 w 812904"/>
                  <a:gd name="connsiteY13" fmla="*/ 393535 h 747387"/>
                  <a:gd name="connsiteX14" fmla="*/ 763651 w 812904"/>
                  <a:gd name="connsiteY14" fmla="*/ 393579 h 747387"/>
                  <a:gd name="connsiteX15" fmla="*/ 761901 w 812904"/>
                  <a:gd name="connsiteY15" fmla="*/ 393804 h 747387"/>
                  <a:gd name="connsiteX16" fmla="*/ 759922 w 812904"/>
                  <a:gd name="connsiteY16" fmla="*/ 394029 h 747387"/>
                  <a:gd name="connsiteX17" fmla="*/ 725320 w 812904"/>
                  <a:gd name="connsiteY17" fmla="*/ 398394 h 747387"/>
                  <a:gd name="connsiteX18" fmla="*/ 724914 w 812904"/>
                  <a:gd name="connsiteY18" fmla="*/ 397539 h 747387"/>
                  <a:gd name="connsiteX19" fmla="*/ 722973 w 812904"/>
                  <a:gd name="connsiteY19" fmla="*/ 393624 h 747387"/>
                  <a:gd name="connsiteX20" fmla="*/ 725041 w 812904"/>
                  <a:gd name="connsiteY20" fmla="*/ 391870 h 747387"/>
                  <a:gd name="connsiteX21" fmla="*/ 725992 w 812904"/>
                  <a:gd name="connsiteY21" fmla="*/ 391060 h 747387"/>
                  <a:gd name="connsiteX22" fmla="*/ 735746 w 812904"/>
                  <a:gd name="connsiteY22" fmla="*/ 382871 h 747387"/>
                  <a:gd name="connsiteX23" fmla="*/ 735746 w 812904"/>
                  <a:gd name="connsiteY23" fmla="*/ 382150 h 747387"/>
                  <a:gd name="connsiteX24" fmla="*/ 735657 w 812904"/>
                  <a:gd name="connsiteY24" fmla="*/ 379091 h 747387"/>
                  <a:gd name="connsiteX25" fmla="*/ 721400 w 812904"/>
                  <a:gd name="connsiteY25" fmla="*/ 355693 h 747387"/>
                  <a:gd name="connsiteX26" fmla="*/ 710847 w 812904"/>
                  <a:gd name="connsiteY26" fmla="*/ 353937 h 747387"/>
                  <a:gd name="connsiteX27" fmla="*/ 707841 w 812904"/>
                  <a:gd name="connsiteY27" fmla="*/ 353937 h 747387"/>
                  <a:gd name="connsiteX28" fmla="*/ 709274 w 812904"/>
                  <a:gd name="connsiteY28" fmla="*/ 339854 h 747387"/>
                  <a:gd name="connsiteX29" fmla="*/ 709490 w 812904"/>
                  <a:gd name="connsiteY29" fmla="*/ 337830 h 747387"/>
                  <a:gd name="connsiteX30" fmla="*/ 685149 w 812904"/>
                  <a:gd name="connsiteY30" fmla="*/ 344180 h 747387"/>
                  <a:gd name="connsiteX31" fmla="*/ 684109 w 812904"/>
                  <a:gd name="connsiteY31" fmla="*/ 344451 h 747387"/>
                  <a:gd name="connsiteX32" fmla="*/ 679568 w 812904"/>
                  <a:gd name="connsiteY32" fmla="*/ 341255 h 747387"/>
                  <a:gd name="connsiteX33" fmla="*/ 676968 w 812904"/>
                  <a:gd name="connsiteY33" fmla="*/ 339590 h 747387"/>
                  <a:gd name="connsiteX34" fmla="*/ 667214 w 812904"/>
                  <a:gd name="connsiteY34" fmla="*/ 333471 h 747387"/>
                  <a:gd name="connsiteX35" fmla="*/ 660744 w 812904"/>
                  <a:gd name="connsiteY35" fmla="*/ 327847 h 747387"/>
                  <a:gd name="connsiteX36" fmla="*/ 658094 w 812904"/>
                  <a:gd name="connsiteY36" fmla="*/ 323122 h 747387"/>
                  <a:gd name="connsiteX37" fmla="*/ 655531 w 812904"/>
                  <a:gd name="connsiteY37" fmla="*/ 318892 h 747387"/>
                  <a:gd name="connsiteX38" fmla="*/ 650496 w 812904"/>
                  <a:gd name="connsiteY38" fmla="*/ 316418 h 747387"/>
                  <a:gd name="connsiteX39" fmla="*/ 642226 w 812904"/>
                  <a:gd name="connsiteY39" fmla="*/ 315112 h 747387"/>
                  <a:gd name="connsiteX40" fmla="*/ 637063 w 812904"/>
                  <a:gd name="connsiteY40" fmla="*/ 313223 h 747387"/>
                  <a:gd name="connsiteX41" fmla="*/ 635401 w 812904"/>
                  <a:gd name="connsiteY41" fmla="*/ 302919 h 747387"/>
                  <a:gd name="connsiteX42" fmla="*/ 632560 w 812904"/>
                  <a:gd name="connsiteY42" fmla="*/ 301434 h 747387"/>
                  <a:gd name="connsiteX43" fmla="*/ 611175 w 812904"/>
                  <a:gd name="connsiteY43" fmla="*/ 290365 h 747387"/>
                  <a:gd name="connsiteX44" fmla="*/ 606545 w 812904"/>
                  <a:gd name="connsiteY44" fmla="*/ 287936 h 747387"/>
                  <a:gd name="connsiteX45" fmla="*/ 611492 w 812904"/>
                  <a:gd name="connsiteY45" fmla="*/ 284425 h 747387"/>
                  <a:gd name="connsiteX46" fmla="*/ 613559 w 812904"/>
                  <a:gd name="connsiteY46" fmla="*/ 282985 h 747387"/>
                  <a:gd name="connsiteX47" fmla="*/ 599937 w 812904"/>
                  <a:gd name="connsiteY47" fmla="*/ 277450 h 747387"/>
                  <a:gd name="connsiteX48" fmla="*/ 599226 w 812904"/>
                  <a:gd name="connsiteY48" fmla="*/ 277181 h 747387"/>
                  <a:gd name="connsiteX49" fmla="*/ 590550 w 812904"/>
                  <a:gd name="connsiteY49" fmla="*/ 273625 h 747387"/>
                  <a:gd name="connsiteX50" fmla="*/ 615538 w 812904"/>
                  <a:gd name="connsiteY50" fmla="*/ 265346 h 747387"/>
                  <a:gd name="connsiteX51" fmla="*/ 615576 w 812904"/>
                  <a:gd name="connsiteY51" fmla="*/ 265346 h 747387"/>
                  <a:gd name="connsiteX52" fmla="*/ 624480 w 812904"/>
                  <a:gd name="connsiteY52" fmla="*/ 253422 h 747387"/>
                  <a:gd name="connsiteX53" fmla="*/ 624163 w 812904"/>
                  <a:gd name="connsiteY53" fmla="*/ 251532 h 747387"/>
                  <a:gd name="connsiteX54" fmla="*/ 610908 w 812904"/>
                  <a:gd name="connsiteY54" fmla="*/ 245773 h 747387"/>
                  <a:gd name="connsiteX55" fmla="*/ 604795 w 812904"/>
                  <a:gd name="connsiteY55" fmla="*/ 243117 h 747387"/>
                  <a:gd name="connsiteX56" fmla="*/ 627449 w 812904"/>
                  <a:gd name="connsiteY56" fmla="*/ 239068 h 747387"/>
                  <a:gd name="connsiteX57" fmla="*/ 660123 w 812904"/>
                  <a:gd name="connsiteY57" fmla="*/ 239923 h 747387"/>
                  <a:gd name="connsiteX58" fmla="*/ 661556 w 812904"/>
                  <a:gd name="connsiteY58" fmla="*/ 239338 h 747387"/>
                  <a:gd name="connsiteX59" fmla="*/ 651358 w 812904"/>
                  <a:gd name="connsiteY59" fmla="*/ 229169 h 747387"/>
                  <a:gd name="connsiteX60" fmla="*/ 647540 w 812904"/>
                  <a:gd name="connsiteY60" fmla="*/ 226424 h 747387"/>
                  <a:gd name="connsiteX61" fmla="*/ 640260 w 812904"/>
                  <a:gd name="connsiteY61" fmla="*/ 222645 h 747387"/>
                  <a:gd name="connsiteX62" fmla="*/ 605962 w 812904"/>
                  <a:gd name="connsiteY62" fmla="*/ 213421 h 747387"/>
                  <a:gd name="connsiteX63" fmla="*/ 603133 w 812904"/>
                  <a:gd name="connsiteY63" fmla="*/ 212701 h 747387"/>
                  <a:gd name="connsiteX64" fmla="*/ 603628 w 812904"/>
                  <a:gd name="connsiteY64" fmla="*/ 207211 h 747387"/>
                  <a:gd name="connsiteX65" fmla="*/ 646767 w 812904"/>
                  <a:gd name="connsiteY65" fmla="*/ 193982 h 747387"/>
                  <a:gd name="connsiteX66" fmla="*/ 640615 w 812904"/>
                  <a:gd name="connsiteY66" fmla="*/ 171079 h 747387"/>
                  <a:gd name="connsiteX67" fmla="*/ 625698 w 812904"/>
                  <a:gd name="connsiteY67" fmla="*/ 156456 h 747387"/>
                  <a:gd name="connsiteX68" fmla="*/ 625292 w 812904"/>
                  <a:gd name="connsiteY68" fmla="*/ 156230 h 747387"/>
                  <a:gd name="connsiteX69" fmla="*/ 622185 w 812904"/>
                  <a:gd name="connsiteY69" fmla="*/ 154706 h 747387"/>
                  <a:gd name="connsiteX70" fmla="*/ 618950 w 812904"/>
                  <a:gd name="connsiteY70" fmla="*/ 160285 h 747387"/>
                  <a:gd name="connsiteX71" fmla="*/ 598148 w 812904"/>
                  <a:gd name="connsiteY71" fmla="*/ 184542 h 747387"/>
                  <a:gd name="connsiteX72" fmla="*/ 592313 w 812904"/>
                  <a:gd name="connsiteY72" fmla="*/ 183373 h 747387"/>
                  <a:gd name="connsiteX73" fmla="*/ 604579 w 812904"/>
                  <a:gd name="connsiteY73" fmla="*/ 165689 h 747387"/>
                  <a:gd name="connsiteX74" fmla="*/ 606241 w 812904"/>
                  <a:gd name="connsiteY74" fmla="*/ 163349 h 747387"/>
                  <a:gd name="connsiteX75" fmla="*/ 579135 w 812904"/>
                  <a:gd name="connsiteY75" fmla="*/ 163349 h 747387"/>
                  <a:gd name="connsiteX76" fmla="*/ 599594 w 812904"/>
                  <a:gd name="connsiteY76" fmla="*/ 150522 h 747387"/>
                  <a:gd name="connsiteX77" fmla="*/ 618113 w 812904"/>
                  <a:gd name="connsiteY77" fmla="*/ 138102 h 747387"/>
                  <a:gd name="connsiteX78" fmla="*/ 621880 w 812904"/>
                  <a:gd name="connsiteY78" fmla="*/ 135492 h 747387"/>
                  <a:gd name="connsiteX79" fmla="*/ 586745 w 812904"/>
                  <a:gd name="connsiteY79" fmla="*/ 112364 h 747387"/>
                  <a:gd name="connsiteX80" fmla="*/ 567643 w 812904"/>
                  <a:gd name="connsiteY80" fmla="*/ 124154 h 747387"/>
                  <a:gd name="connsiteX81" fmla="*/ 554565 w 812904"/>
                  <a:gd name="connsiteY81" fmla="*/ 132208 h 747387"/>
                  <a:gd name="connsiteX82" fmla="*/ 571778 w 812904"/>
                  <a:gd name="connsiteY82" fmla="*/ 108675 h 747387"/>
                  <a:gd name="connsiteX83" fmla="*/ 573122 w 812904"/>
                  <a:gd name="connsiteY83" fmla="*/ 106830 h 747387"/>
                  <a:gd name="connsiteX84" fmla="*/ 549796 w 812904"/>
                  <a:gd name="connsiteY84" fmla="*/ 116190 h 747387"/>
                  <a:gd name="connsiteX85" fmla="*/ 545839 w 812904"/>
                  <a:gd name="connsiteY85" fmla="*/ 117764 h 747387"/>
                  <a:gd name="connsiteX86" fmla="*/ 548096 w 812904"/>
                  <a:gd name="connsiteY86" fmla="*/ 88787 h 747387"/>
                  <a:gd name="connsiteX87" fmla="*/ 544989 w 812904"/>
                  <a:gd name="connsiteY87" fmla="*/ 86133 h 747387"/>
                  <a:gd name="connsiteX88" fmla="*/ 522386 w 812904"/>
                  <a:gd name="connsiteY88" fmla="*/ 105210 h 747387"/>
                  <a:gd name="connsiteX89" fmla="*/ 523147 w 812904"/>
                  <a:gd name="connsiteY89" fmla="*/ 90586 h 747387"/>
                  <a:gd name="connsiteX90" fmla="*/ 517350 w 812904"/>
                  <a:gd name="connsiteY90" fmla="*/ 83972 h 747387"/>
                  <a:gd name="connsiteX91" fmla="*/ 534118 w 812904"/>
                  <a:gd name="connsiteY91" fmla="*/ 68449 h 747387"/>
                  <a:gd name="connsiteX92" fmla="*/ 534702 w 812904"/>
                  <a:gd name="connsiteY92" fmla="*/ 67458 h 747387"/>
                  <a:gd name="connsiteX93" fmla="*/ 493897 w 812904"/>
                  <a:gd name="connsiteY93" fmla="*/ 38121 h 747387"/>
                  <a:gd name="connsiteX94" fmla="*/ 480857 w 812904"/>
                  <a:gd name="connsiteY94" fmla="*/ 67864 h 747387"/>
                  <a:gd name="connsiteX95" fmla="*/ 477661 w 812904"/>
                  <a:gd name="connsiteY95" fmla="*/ 75198 h 747387"/>
                  <a:gd name="connsiteX96" fmla="*/ 475099 w 812904"/>
                  <a:gd name="connsiteY96" fmla="*/ 70969 h 747387"/>
                  <a:gd name="connsiteX97" fmla="*/ 471687 w 812904"/>
                  <a:gd name="connsiteY97" fmla="*/ 65974 h 747387"/>
                  <a:gd name="connsiteX98" fmla="*/ 462656 w 812904"/>
                  <a:gd name="connsiteY98" fmla="*/ 51350 h 747387"/>
                  <a:gd name="connsiteX99" fmla="*/ 461349 w 812904"/>
                  <a:gd name="connsiteY99" fmla="*/ 47841 h 747387"/>
                  <a:gd name="connsiteX100" fmla="*/ 461806 w 812904"/>
                  <a:gd name="connsiteY100" fmla="*/ 28087 h 747387"/>
                  <a:gd name="connsiteX101" fmla="*/ 463556 w 812904"/>
                  <a:gd name="connsiteY101" fmla="*/ 23588 h 747387"/>
                  <a:gd name="connsiteX102" fmla="*/ 448272 w 812904"/>
                  <a:gd name="connsiteY102" fmla="*/ 32224 h 747387"/>
                  <a:gd name="connsiteX103" fmla="*/ 448183 w 812904"/>
                  <a:gd name="connsiteY103" fmla="*/ 32268 h 747387"/>
                  <a:gd name="connsiteX104" fmla="*/ 447384 w 812904"/>
                  <a:gd name="connsiteY104" fmla="*/ 32673 h 747387"/>
                  <a:gd name="connsiteX105" fmla="*/ 447333 w 812904"/>
                  <a:gd name="connsiteY105" fmla="*/ 32718 h 747387"/>
                  <a:gd name="connsiteX106" fmla="*/ 435283 w 812904"/>
                  <a:gd name="connsiteY106" fmla="*/ 39558 h 747387"/>
                  <a:gd name="connsiteX107" fmla="*/ 435283 w 812904"/>
                  <a:gd name="connsiteY107" fmla="*/ 54671 h 747387"/>
                  <a:gd name="connsiteX108" fmla="*/ 434154 w 812904"/>
                  <a:gd name="connsiteY108" fmla="*/ 55120 h 747387"/>
                  <a:gd name="connsiteX109" fmla="*/ 432759 w 812904"/>
                  <a:gd name="connsiteY109" fmla="*/ 55616 h 747387"/>
                  <a:gd name="connsiteX110" fmla="*/ 431186 w 812904"/>
                  <a:gd name="connsiteY110" fmla="*/ 51792 h 747387"/>
                  <a:gd name="connsiteX111" fmla="*/ 430514 w 812904"/>
                  <a:gd name="connsiteY111" fmla="*/ 50081 h 747387"/>
                  <a:gd name="connsiteX112" fmla="*/ 428041 w 812904"/>
                  <a:gd name="connsiteY112" fmla="*/ 44097 h 747387"/>
                  <a:gd name="connsiteX113" fmla="*/ 427863 w 812904"/>
                  <a:gd name="connsiteY113" fmla="*/ 43872 h 747387"/>
                  <a:gd name="connsiteX114" fmla="*/ 426556 w 812904"/>
                  <a:gd name="connsiteY114" fmla="*/ 41892 h 747387"/>
                  <a:gd name="connsiteX115" fmla="*/ 424540 w 812904"/>
                  <a:gd name="connsiteY115" fmla="*/ 36177 h 747387"/>
                  <a:gd name="connsiteX116" fmla="*/ 424540 w 812904"/>
                  <a:gd name="connsiteY116" fmla="*/ 36088 h 747387"/>
                  <a:gd name="connsiteX117" fmla="*/ 437300 w 812904"/>
                  <a:gd name="connsiteY117" fmla="*/ 22184 h 747387"/>
                  <a:gd name="connsiteX118" fmla="*/ 449388 w 812904"/>
                  <a:gd name="connsiteY118" fmla="*/ 6166 h 747387"/>
                  <a:gd name="connsiteX119" fmla="*/ 448043 w 812904"/>
                  <a:gd name="connsiteY119" fmla="*/ 2116 h 747387"/>
                  <a:gd name="connsiteX120" fmla="*/ 446737 w 812904"/>
                  <a:gd name="connsiteY120" fmla="*/ 1 h 747387"/>
                  <a:gd name="connsiteX121" fmla="*/ 316902 w 812904"/>
                  <a:gd name="connsiteY121" fmla="*/ 1 h 747387"/>
                  <a:gd name="connsiteX122" fmla="*/ 315595 w 812904"/>
                  <a:gd name="connsiteY122" fmla="*/ 5490 h 747387"/>
                  <a:gd name="connsiteX123" fmla="*/ 315063 w 812904"/>
                  <a:gd name="connsiteY123" fmla="*/ 7741 h 747387"/>
                  <a:gd name="connsiteX124" fmla="*/ 309443 w 812904"/>
                  <a:gd name="connsiteY124" fmla="*/ 7380 h 747387"/>
                  <a:gd name="connsiteX125" fmla="*/ 309443 w 812904"/>
                  <a:gd name="connsiteY125" fmla="*/ 1 h 747387"/>
                  <a:gd name="connsiteX126" fmla="*/ 268233 w 812904"/>
                  <a:gd name="connsiteY126" fmla="*/ 1 h 747387"/>
                  <a:gd name="connsiteX127" fmla="*/ 267776 w 812904"/>
                  <a:gd name="connsiteY127" fmla="*/ 541 h 747387"/>
                  <a:gd name="connsiteX128" fmla="*/ 262829 w 812904"/>
                  <a:gd name="connsiteY128" fmla="*/ 6166 h 747387"/>
                  <a:gd name="connsiteX129" fmla="*/ 260495 w 812904"/>
                  <a:gd name="connsiteY129" fmla="*/ 8776 h 747387"/>
                  <a:gd name="connsiteX130" fmla="*/ 259556 w 812904"/>
                  <a:gd name="connsiteY130" fmla="*/ 4365 h 747387"/>
                  <a:gd name="connsiteX131" fmla="*/ 259201 w 812904"/>
                  <a:gd name="connsiteY131" fmla="*/ 1 h 747387"/>
                  <a:gd name="connsiteX132" fmla="*/ 123303 w 812904"/>
                  <a:gd name="connsiteY132" fmla="*/ 1 h 747387"/>
                  <a:gd name="connsiteX133" fmla="*/ 118128 w 812904"/>
                  <a:gd name="connsiteY133" fmla="*/ 4954 h 747387"/>
                  <a:gd name="connsiteX134" fmla="*/ 120513 w 812904"/>
                  <a:gd name="connsiteY134" fmla="*/ 6351 h 747387"/>
                  <a:gd name="connsiteX135" fmla="*/ 120550 w 812904"/>
                  <a:gd name="connsiteY135" fmla="*/ 6397 h 747387"/>
                  <a:gd name="connsiteX136" fmla="*/ 128871 w 812904"/>
                  <a:gd name="connsiteY136" fmla="*/ 18726 h 747387"/>
                  <a:gd name="connsiteX137" fmla="*/ 132334 w 812904"/>
                  <a:gd name="connsiteY137" fmla="*/ 26105 h 747387"/>
                  <a:gd name="connsiteX138" fmla="*/ 155204 w 812904"/>
                  <a:gd name="connsiteY138" fmla="*/ 32989 h 747387"/>
                  <a:gd name="connsiteX139" fmla="*/ 154392 w 812904"/>
                  <a:gd name="connsiteY139" fmla="*/ 38614 h 747387"/>
                  <a:gd name="connsiteX140" fmla="*/ 147339 w 812904"/>
                  <a:gd name="connsiteY140" fmla="*/ 88965 h 747387"/>
                  <a:gd name="connsiteX141" fmla="*/ 146401 w 812904"/>
                  <a:gd name="connsiteY141" fmla="*/ 95669 h 747387"/>
                  <a:gd name="connsiteX142" fmla="*/ 136241 w 812904"/>
                  <a:gd name="connsiteY142" fmla="*/ 82395 h 747387"/>
                  <a:gd name="connsiteX143" fmla="*/ 123785 w 812904"/>
                  <a:gd name="connsiteY143" fmla="*/ 81270 h 747387"/>
                  <a:gd name="connsiteX144" fmla="*/ 123747 w 812904"/>
                  <a:gd name="connsiteY144" fmla="*/ 81315 h 747387"/>
                  <a:gd name="connsiteX145" fmla="*/ 113764 w 812904"/>
                  <a:gd name="connsiteY145" fmla="*/ 86534 h 747387"/>
                  <a:gd name="connsiteX146" fmla="*/ 99216 w 812904"/>
                  <a:gd name="connsiteY146" fmla="*/ 93554 h 747387"/>
                  <a:gd name="connsiteX147" fmla="*/ 97770 w 812904"/>
                  <a:gd name="connsiteY147" fmla="*/ 90315 h 747387"/>
                  <a:gd name="connsiteX148" fmla="*/ 139792 w 812904"/>
                  <a:gd name="connsiteY148" fmla="*/ 64037 h 747387"/>
                  <a:gd name="connsiteX149" fmla="*/ 145589 w 812904"/>
                  <a:gd name="connsiteY149" fmla="*/ 60392 h 747387"/>
                  <a:gd name="connsiteX150" fmla="*/ 134846 w 812904"/>
                  <a:gd name="connsiteY150" fmla="*/ 52338 h 747387"/>
                  <a:gd name="connsiteX151" fmla="*/ 119028 w 812904"/>
                  <a:gd name="connsiteY151" fmla="*/ 34924 h 747387"/>
                  <a:gd name="connsiteX152" fmla="*/ 101727 w 812904"/>
                  <a:gd name="connsiteY152" fmla="*/ 7 h 747387"/>
                  <a:gd name="connsiteX153" fmla="*/ 2410 w 812904"/>
                  <a:gd name="connsiteY153" fmla="*/ 7 h 747387"/>
                  <a:gd name="connsiteX154" fmla="*/ -25 w 812904"/>
                  <a:gd name="connsiteY154" fmla="*/ 9952 h 747387"/>
                  <a:gd name="connsiteX155" fmla="*/ 1382 w 812904"/>
                  <a:gd name="connsiteY155" fmla="*/ 14905 h 747387"/>
                  <a:gd name="connsiteX156" fmla="*/ 1915 w 812904"/>
                  <a:gd name="connsiteY156" fmla="*/ 37043 h 747387"/>
                  <a:gd name="connsiteX157" fmla="*/ 5201 w 812904"/>
                  <a:gd name="connsiteY157" fmla="*/ 58821 h 747387"/>
                  <a:gd name="connsiteX158" fmla="*/ 21829 w 812904"/>
                  <a:gd name="connsiteY158" fmla="*/ 66561 h 747387"/>
                  <a:gd name="connsiteX159" fmla="*/ 42226 w 812904"/>
                  <a:gd name="connsiteY159" fmla="*/ 70475 h 747387"/>
                  <a:gd name="connsiteX160" fmla="*/ 72744 w 812904"/>
                  <a:gd name="connsiteY160" fmla="*/ 86313 h 747387"/>
                  <a:gd name="connsiteX161" fmla="*/ 77729 w 812904"/>
                  <a:gd name="connsiteY161" fmla="*/ 93827 h 747387"/>
                  <a:gd name="connsiteX162" fmla="*/ 41782 w 812904"/>
                  <a:gd name="connsiteY162" fmla="*/ 91938 h 747387"/>
                  <a:gd name="connsiteX163" fmla="*/ 29605 w 812904"/>
                  <a:gd name="connsiteY163" fmla="*/ 92613 h 747387"/>
                  <a:gd name="connsiteX164" fmla="*/ 23301 w 812904"/>
                  <a:gd name="connsiteY164" fmla="*/ 95627 h 747387"/>
                  <a:gd name="connsiteX165" fmla="*/ 22096 w 812904"/>
                  <a:gd name="connsiteY165" fmla="*/ 96662 h 747387"/>
                  <a:gd name="connsiteX166" fmla="*/ 20295 w 812904"/>
                  <a:gd name="connsiteY166" fmla="*/ 108632 h 747387"/>
                  <a:gd name="connsiteX167" fmla="*/ 23352 w 812904"/>
                  <a:gd name="connsiteY167" fmla="*/ 114211 h 747387"/>
                  <a:gd name="connsiteX168" fmla="*/ 32294 w 812904"/>
                  <a:gd name="connsiteY168" fmla="*/ 130095 h 747387"/>
                  <a:gd name="connsiteX169" fmla="*/ 79352 w 812904"/>
                  <a:gd name="connsiteY169" fmla="*/ 149083 h 747387"/>
                  <a:gd name="connsiteX170" fmla="*/ 83893 w 812904"/>
                  <a:gd name="connsiteY170" fmla="*/ 147013 h 747387"/>
                  <a:gd name="connsiteX171" fmla="*/ 89868 w 812904"/>
                  <a:gd name="connsiteY171" fmla="*/ 144808 h 747387"/>
                  <a:gd name="connsiteX172" fmla="*/ 98404 w 812904"/>
                  <a:gd name="connsiteY172" fmla="*/ 151873 h 747387"/>
                  <a:gd name="connsiteX173" fmla="*/ 99533 w 812904"/>
                  <a:gd name="connsiteY173" fmla="*/ 154347 h 747387"/>
                  <a:gd name="connsiteX174" fmla="*/ 100789 w 812904"/>
                  <a:gd name="connsiteY174" fmla="*/ 157268 h 747387"/>
                  <a:gd name="connsiteX175" fmla="*/ 119663 w 812904"/>
                  <a:gd name="connsiteY175" fmla="*/ 170676 h 747387"/>
                  <a:gd name="connsiteX176" fmla="*/ 195742 w 812904"/>
                  <a:gd name="connsiteY176" fmla="*/ 177336 h 747387"/>
                  <a:gd name="connsiteX177" fmla="*/ 204558 w 812904"/>
                  <a:gd name="connsiteY177" fmla="*/ 182241 h 747387"/>
                  <a:gd name="connsiteX178" fmla="*/ 231791 w 812904"/>
                  <a:gd name="connsiteY178" fmla="*/ 182286 h 747387"/>
                  <a:gd name="connsiteX179" fmla="*/ 232920 w 812904"/>
                  <a:gd name="connsiteY179" fmla="*/ 180935 h 747387"/>
                  <a:gd name="connsiteX180" fmla="*/ 236687 w 812904"/>
                  <a:gd name="connsiteY180" fmla="*/ 176167 h 747387"/>
                  <a:gd name="connsiteX181" fmla="*/ 237537 w 812904"/>
                  <a:gd name="connsiteY181" fmla="*/ 176167 h 747387"/>
                  <a:gd name="connsiteX182" fmla="*/ 237232 w 812904"/>
                  <a:gd name="connsiteY182" fmla="*/ 175806 h 747387"/>
                  <a:gd name="connsiteX183" fmla="*/ 239427 w 812904"/>
                  <a:gd name="connsiteY183" fmla="*/ 174321 h 747387"/>
                  <a:gd name="connsiteX184" fmla="*/ 242166 w 812904"/>
                  <a:gd name="connsiteY184" fmla="*/ 172341 h 747387"/>
                  <a:gd name="connsiteX185" fmla="*/ 248458 w 812904"/>
                  <a:gd name="connsiteY185" fmla="*/ 169822 h 747387"/>
                  <a:gd name="connsiteX186" fmla="*/ 285623 w 812904"/>
                  <a:gd name="connsiteY186" fmla="*/ 180576 h 747387"/>
                  <a:gd name="connsiteX187" fmla="*/ 319058 w 812904"/>
                  <a:gd name="connsiteY187" fmla="*/ 183230 h 747387"/>
                  <a:gd name="connsiteX188" fmla="*/ 316179 w 812904"/>
                  <a:gd name="connsiteY188" fmla="*/ 159158 h 747387"/>
                  <a:gd name="connsiteX189" fmla="*/ 299461 w 812904"/>
                  <a:gd name="connsiteY189" fmla="*/ 145929 h 747387"/>
                  <a:gd name="connsiteX190" fmla="*/ 295732 w 812904"/>
                  <a:gd name="connsiteY190" fmla="*/ 144130 h 747387"/>
                  <a:gd name="connsiteX191" fmla="*/ 314251 w 812904"/>
                  <a:gd name="connsiteY191" fmla="*/ 122621 h 747387"/>
                  <a:gd name="connsiteX192" fmla="*/ 315113 w 812904"/>
                  <a:gd name="connsiteY192" fmla="*/ 126761 h 747387"/>
                  <a:gd name="connsiteX193" fmla="*/ 317003 w 812904"/>
                  <a:gd name="connsiteY193" fmla="*/ 133600 h 747387"/>
                  <a:gd name="connsiteX194" fmla="*/ 350033 w 812904"/>
                  <a:gd name="connsiteY194" fmla="*/ 159203 h 747387"/>
                  <a:gd name="connsiteX195" fmla="*/ 350705 w 812904"/>
                  <a:gd name="connsiteY195" fmla="*/ 165862 h 747387"/>
                  <a:gd name="connsiteX196" fmla="*/ 352633 w 812904"/>
                  <a:gd name="connsiteY196" fmla="*/ 184671 h 747387"/>
                  <a:gd name="connsiteX197" fmla="*/ 352861 w 812904"/>
                  <a:gd name="connsiteY197" fmla="*/ 187010 h 747387"/>
                  <a:gd name="connsiteX198" fmla="*/ 366839 w 812904"/>
                  <a:gd name="connsiteY198" fmla="*/ 189575 h 747387"/>
                  <a:gd name="connsiteX199" fmla="*/ 368184 w 812904"/>
                  <a:gd name="connsiteY199" fmla="*/ 190295 h 747387"/>
                  <a:gd name="connsiteX200" fmla="*/ 375909 w 812904"/>
                  <a:gd name="connsiteY200" fmla="*/ 196910 h 747387"/>
                  <a:gd name="connsiteX201" fmla="*/ 377215 w 812904"/>
                  <a:gd name="connsiteY201" fmla="*/ 198665 h 747387"/>
                  <a:gd name="connsiteX202" fmla="*/ 381807 w 812904"/>
                  <a:gd name="connsiteY202" fmla="*/ 208968 h 747387"/>
                  <a:gd name="connsiteX203" fmla="*/ 382923 w 812904"/>
                  <a:gd name="connsiteY203" fmla="*/ 212433 h 747387"/>
                  <a:gd name="connsiteX204" fmla="*/ 383823 w 812904"/>
                  <a:gd name="connsiteY204" fmla="*/ 214549 h 747387"/>
                  <a:gd name="connsiteX205" fmla="*/ 396952 w 812904"/>
                  <a:gd name="connsiteY205" fmla="*/ 228002 h 747387"/>
                  <a:gd name="connsiteX206" fmla="*/ 409623 w 812904"/>
                  <a:gd name="connsiteY206" fmla="*/ 247260 h 747387"/>
                  <a:gd name="connsiteX207" fmla="*/ 409623 w 812904"/>
                  <a:gd name="connsiteY207" fmla="*/ 247304 h 747387"/>
                  <a:gd name="connsiteX208" fmla="*/ 409217 w 812904"/>
                  <a:gd name="connsiteY208" fmla="*/ 248520 h 747387"/>
                  <a:gd name="connsiteX209" fmla="*/ 387109 w 812904"/>
                  <a:gd name="connsiteY209" fmla="*/ 256215 h 747387"/>
                  <a:gd name="connsiteX210" fmla="*/ 382796 w 812904"/>
                  <a:gd name="connsiteY210" fmla="*/ 259049 h 747387"/>
                  <a:gd name="connsiteX211" fmla="*/ 382796 w 812904"/>
                  <a:gd name="connsiteY211" fmla="*/ 282807 h 747387"/>
                  <a:gd name="connsiteX212" fmla="*/ 382885 w 812904"/>
                  <a:gd name="connsiteY212" fmla="*/ 282762 h 747387"/>
                  <a:gd name="connsiteX213" fmla="*/ 414697 w 812904"/>
                  <a:gd name="connsiteY213" fmla="*/ 263818 h 747387"/>
                  <a:gd name="connsiteX214" fmla="*/ 416041 w 812904"/>
                  <a:gd name="connsiteY214" fmla="*/ 263009 h 747387"/>
                  <a:gd name="connsiteX215" fmla="*/ 429487 w 812904"/>
                  <a:gd name="connsiteY215" fmla="*/ 254999 h 747387"/>
                  <a:gd name="connsiteX216" fmla="*/ 432277 w 812904"/>
                  <a:gd name="connsiteY216" fmla="*/ 258869 h 747387"/>
                  <a:gd name="connsiteX217" fmla="*/ 434307 w 812904"/>
                  <a:gd name="connsiteY217" fmla="*/ 263459 h 747387"/>
                  <a:gd name="connsiteX218" fmla="*/ 435917 w 812904"/>
                  <a:gd name="connsiteY218" fmla="*/ 270523 h 747387"/>
                  <a:gd name="connsiteX219" fmla="*/ 436463 w 812904"/>
                  <a:gd name="connsiteY219" fmla="*/ 273718 h 747387"/>
                  <a:gd name="connsiteX220" fmla="*/ 437769 w 812904"/>
                  <a:gd name="connsiteY220" fmla="*/ 280737 h 747387"/>
                  <a:gd name="connsiteX221" fmla="*/ 437947 w 812904"/>
                  <a:gd name="connsiteY221" fmla="*/ 281372 h 747387"/>
                  <a:gd name="connsiteX222" fmla="*/ 451062 w 812904"/>
                  <a:gd name="connsiteY222" fmla="*/ 294691 h 747387"/>
                  <a:gd name="connsiteX223" fmla="*/ 453409 w 812904"/>
                  <a:gd name="connsiteY223" fmla="*/ 287356 h 747387"/>
                  <a:gd name="connsiteX224" fmla="*/ 454081 w 812904"/>
                  <a:gd name="connsiteY224" fmla="*/ 285197 h 747387"/>
                  <a:gd name="connsiteX225" fmla="*/ 455286 w 812904"/>
                  <a:gd name="connsiteY225" fmla="*/ 281328 h 747387"/>
                  <a:gd name="connsiteX226" fmla="*/ 458926 w 812904"/>
                  <a:gd name="connsiteY226" fmla="*/ 285872 h 747387"/>
                  <a:gd name="connsiteX227" fmla="*/ 461717 w 812904"/>
                  <a:gd name="connsiteY227" fmla="*/ 295051 h 747387"/>
                  <a:gd name="connsiteX228" fmla="*/ 460867 w 812904"/>
                  <a:gd name="connsiteY228" fmla="*/ 303600 h 747387"/>
                  <a:gd name="connsiteX229" fmla="*/ 460778 w 812904"/>
                  <a:gd name="connsiteY229" fmla="*/ 304051 h 747387"/>
                  <a:gd name="connsiteX230" fmla="*/ 460639 w 812904"/>
                  <a:gd name="connsiteY230" fmla="*/ 304679 h 747387"/>
                  <a:gd name="connsiteX231" fmla="*/ 460601 w 812904"/>
                  <a:gd name="connsiteY231" fmla="*/ 304995 h 747387"/>
                  <a:gd name="connsiteX232" fmla="*/ 474528 w 812904"/>
                  <a:gd name="connsiteY232" fmla="*/ 314625 h 747387"/>
                  <a:gd name="connsiteX233" fmla="*/ 475340 w 812904"/>
                  <a:gd name="connsiteY233" fmla="*/ 315260 h 747387"/>
                  <a:gd name="connsiteX234" fmla="*/ 483242 w 812904"/>
                  <a:gd name="connsiteY234" fmla="*/ 323718 h 747387"/>
                  <a:gd name="connsiteX235" fmla="*/ 483838 w 812904"/>
                  <a:gd name="connsiteY235" fmla="*/ 325242 h 747387"/>
                  <a:gd name="connsiteX236" fmla="*/ 488011 w 812904"/>
                  <a:gd name="connsiteY236" fmla="*/ 336626 h 747387"/>
                  <a:gd name="connsiteX237" fmla="*/ 495432 w 812904"/>
                  <a:gd name="connsiteY237" fmla="*/ 360069 h 747387"/>
                  <a:gd name="connsiteX238" fmla="*/ 503106 w 812904"/>
                  <a:gd name="connsiteY238" fmla="*/ 388009 h 747387"/>
                  <a:gd name="connsiteX239" fmla="*/ 500315 w 812904"/>
                  <a:gd name="connsiteY239" fmla="*/ 402407 h 747387"/>
                  <a:gd name="connsiteX240" fmla="*/ 463062 w 812904"/>
                  <a:gd name="connsiteY240" fmla="*/ 449744 h 747387"/>
                  <a:gd name="connsiteX241" fmla="*/ 453130 w 812904"/>
                  <a:gd name="connsiteY241" fmla="*/ 462162 h 747387"/>
                  <a:gd name="connsiteX242" fmla="*/ 443959 w 812904"/>
                  <a:gd name="connsiteY242" fmla="*/ 473681 h 747387"/>
                  <a:gd name="connsiteX243" fmla="*/ 453536 w 812904"/>
                  <a:gd name="connsiteY243" fmla="*/ 488889 h 747387"/>
                  <a:gd name="connsiteX244" fmla="*/ 466930 w 812904"/>
                  <a:gd name="connsiteY244" fmla="*/ 510713 h 747387"/>
                  <a:gd name="connsiteX245" fmla="*/ 466486 w 812904"/>
                  <a:gd name="connsiteY245" fmla="*/ 515617 h 747387"/>
                  <a:gd name="connsiteX246" fmla="*/ 447473 w 812904"/>
                  <a:gd name="connsiteY246" fmla="*/ 520476 h 747387"/>
                  <a:gd name="connsiteX247" fmla="*/ 436780 w 812904"/>
                  <a:gd name="connsiteY247" fmla="*/ 525556 h 747387"/>
                  <a:gd name="connsiteX248" fmla="*/ 436146 w 812904"/>
                  <a:gd name="connsiteY248" fmla="*/ 525781 h 747387"/>
                  <a:gd name="connsiteX249" fmla="*/ 379790 w 812904"/>
                  <a:gd name="connsiteY249" fmla="*/ 525019 h 747387"/>
                  <a:gd name="connsiteX250" fmla="*/ 364150 w 812904"/>
                  <a:gd name="connsiteY250" fmla="*/ 522544 h 747387"/>
                  <a:gd name="connsiteX251" fmla="*/ 363161 w 812904"/>
                  <a:gd name="connsiteY251" fmla="*/ 524029 h 747387"/>
                  <a:gd name="connsiteX252" fmla="*/ 361994 w 812904"/>
                  <a:gd name="connsiteY252" fmla="*/ 525828 h 747387"/>
                  <a:gd name="connsiteX253" fmla="*/ 359749 w 812904"/>
                  <a:gd name="connsiteY253" fmla="*/ 529429 h 747387"/>
                  <a:gd name="connsiteX254" fmla="*/ 358074 w 812904"/>
                  <a:gd name="connsiteY254" fmla="*/ 532223 h 747387"/>
                  <a:gd name="connsiteX255" fmla="*/ 349538 w 812904"/>
                  <a:gd name="connsiteY255" fmla="*/ 543697 h 747387"/>
                  <a:gd name="connsiteX256" fmla="*/ 338351 w 812904"/>
                  <a:gd name="connsiteY256" fmla="*/ 576859 h 747387"/>
                  <a:gd name="connsiteX257" fmla="*/ 339657 w 812904"/>
                  <a:gd name="connsiteY257" fmla="*/ 580458 h 747387"/>
                  <a:gd name="connsiteX258" fmla="*/ 376822 w 812904"/>
                  <a:gd name="connsiteY258" fmla="*/ 597873 h 747387"/>
                  <a:gd name="connsiteX259" fmla="*/ 405539 w 812904"/>
                  <a:gd name="connsiteY259" fmla="*/ 583204 h 747387"/>
                  <a:gd name="connsiteX260" fmla="*/ 405577 w 812904"/>
                  <a:gd name="connsiteY260" fmla="*/ 583158 h 747387"/>
                  <a:gd name="connsiteX261" fmla="*/ 407429 w 812904"/>
                  <a:gd name="connsiteY261" fmla="*/ 582169 h 747387"/>
                  <a:gd name="connsiteX262" fmla="*/ 411158 w 812904"/>
                  <a:gd name="connsiteY262" fmla="*/ 580144 h 747387"/>
                  <a:gd name="connsiteX263" fmla="*/ 421217 w 812904"/>
                  <a:gd name="connsiteY263" fmla="*/ 585004 h 747387"/>
                  <a:gd name="connsiteX264" fmla="*/ 432861 w 812904"/>
                  <a:gd name="connsiteY264" fmla="*/ 589233 h 747387"/>
                  <a:gd name="connsiteX265" fmla="*/ 439558 w 812904"/>
                  <a:gd name="connsiteY265" fmla="*/ 578614 h 747387"/>
                  <a:gd name="connsiteX266" fmla="*/ 440725 w 812904"/>
                  <a:gd name="connsiteY266" fmla="*/ 577579 h 747387"/>
                  <a:gd name="connsiteX267" fmla="*/ 453307 w 812904"/>
                  <a:gd name="connsiteY267" fmla="*/ 575060 h 747387"/>
                  <a:gd name="connsiteX268" fmla="*/ 454791 w 812904"/>
                  <a:gd name="connsiteY268" fmla="*/ 575194 h 747387"/>
                  <a:gd name="connsiteX269" fmla="*/ 474211 w 812904"/>
                  <a:gd name="connsiteY269" fmla="*/ 577714 h 747387"/>
                  <a:gd name="connsiteX270" fmla="*/ 475289 w 812904"/>
                  <a:gd name="connsiteY270" fmla="*/ 585094 h 747387"/>
                  <a:gd name="connsiteX271" fmla="*/ 475289 w 812904"/>
                  <a:gd name="connsiteY271" fmla="*/ 585138 h 747387"/>
                  <a:gd name="connsiteX272" fmla="*/ 475923 w 812904"/>
                  <a:gd name="connsiteY272" fmla="*/ 587704 h 747387"/>
                  <a:gd name="connsiteX273" fmla="*/ 494163 w 812904"/>
                  <a:gd name="connsiteY273" fmla="*/ 617356 h 747387"/>
                  <a:gd name="connsiteX274" fmla="*/ 494709 w 812904"/>
                  <a:gd name="connsiteY274" fmla="*/ 617896 h 747387"/>
                  <a:gd name="connsiteX275" fmla="*/ 505757 w 812904"/>
                  <a:gd name="connsiteY275" fmla="*/ 626626 h 747387"/>
                  <a:gd name="connsiteX276" fmla="*/ 508458 w 812904"/>
                  <a:gd name="connsiteY276" fmla="*/ 628425 h 747387"/>
                  <a:gd name="connsiteX277" fmla="*/ 515422 w 812904"/>
                  <a:gd name="connsiteY277" fmla="*/ 632925 h 747387"/>
                  <a:gd name="connsiteX278" fmla="*/ 517984 w 812904"/>
                  <a:gd name="connsiteY278" fmla="*/ 634449 h 747387"/>
                  <a:gd name="connsiteX279" fmla="*/ 522157 w 812904"/>
                  <a:gd name="connsiteY279" fmla="*/ 637014 h 747387"/>
                  <a:gd name="connsiteX280" fmla="*/ 522347 w 812904"/>
                  <a:gd name="connsiteY280" fmla="*/ 637104 h 747387"/>
                  <a:gd name="connsiteX281" fmla="*/ 522386 w 812904"/>
                  <a:gd name="connsiteY281" fmla="*/ 637104 h 747387"/>
                  <a:gd name="connsiteX282" fmla="*/ 524808 w 812904"/>
                  <a:gd name="connsiteY282" fmla="*/ 638543 h 747387"/>
                  <a:gd name="connsiteX283" fmla="*/ 524986 w 812904"/>
                  <a:gd name="connsiteY283" fmla="*/ 638633 h 747387"/>
                  <a:gd name="connsiteX284" fmla="*/ 525037 w 812904"/>
                  <a:gd name="connsiteY284" fmla="*/ 638679 h 747387"/>
                  <a:gd name="connsiteX285" fmla="*/ 526381 w 812904"/>
                  <a:gd name="connsiteY285" fmla="*/ 639398 h 747387"/>
                  <a:gd name="connsiteX286" fmla="*/ 526876 w 812904"/>
                  <a:gd name="connsiteY286" fmla="*/ 639714 h 747387"/>
                  <a:gd name="connsiteX287" fmla="*/ 532495 w 812904"/>
                  <a:gd name="connsiteY287" fmla="*/ 642998 h 747387"/>
                  <a:gd name="connsiteX288" fmla="*/ 530973 w 812904"/>
                  <a:gd name="connsiteY288" fmla="*/ 644934 h 747387"/>
                  <a:gd name="connsiteX289" fmla="*/ 528943 w 812904"/>
                  <a:gd name="connsiteY289" fmla="*/ 647318 h 747387"/>
                  <a:gd name="connsiteX290" fmla="*/ 528766 w 812904"/>
                  <a:gd name="connsiteY290" fmla="*/ 647542 h 747387"/>
                  <a:gd name="connsiteX291" fmla="*/ 521434 w 812904"/>
                  <a:gd name="connsiteY291" fmla="*/ 656317 h 747387"/>
                  <a:gd name="connsiteX292" fmla="*/ 519506 w 812904"/>
                  <a:gd name="connsiteY292" fmla="*/ 660232 h 747387"/>
                  <a:gd name="connsiteX293" fmla="*/ 520052 w 812904"/>
                  <a:gd name="connsiteY293" fmla="*/ 664732 h 747387"/>
                  <a:gd name="connsiteX294" fmla="*/ 522335 w 812904"/>
                  <a:gd name="connsiteY294" fmla="*/ 667071 h 747387"/>
                  <a:gd name="connsiteX295" fmla="*/ 522969 w 812904"/>
                  <a:gd name="connsiteY295" fmla="*/ 667476 h 747387"/>
                  <a:gd name="connsiteX296" fmla="*/ 523832 w 812904"/>
                  <a:gd name="connsiteY296" fmla="*/ 668016 h 747387"/>
                  <a:gd name="connsiteX297" fmla="*/ 540004 w 812904"/>
                  <a:gd name="connsiteY297" fmla="*/ 679760 h 747387"/>
                  <a:gd name="connsiteX298" fmla="*/ 541044 w 812904"/>
                  <a:gd name="connsiteY298" fmla="*/ 680615 h 747387"/>
                  <a:gd name="connsiteX299" fmla="*/ 576052 w 812904"/>
                  <a:gd name="connsiteY299" fmla="*/ 694159 h 747387"/>
                  <a:gd name="connsiteX300" fmla="*/ 580771 w 812904"/>
                  <a:gd name="connsiteY300" fmla="*/ 698928 h 747387"/>
                  <a:gd name="connsiteX301" fmla="*/ 583155 w 812904"/>
                  <a:gd name="connsiteY301" fmla="*/ 701493 h 747387"/>
                  <a:gd name="connsiteX302" fmla="*/ 584043 w 812904"/>
                  <a:gd name="connsiteY302" fmla="*/ 702483 h 747387"/>
                  <a:gd name="connsiteX303" fmla="*/ 585261 w 812904"/>
                  <a:gd name="connsiteY303" fmla="*/ 703788 h 747387"/>
                  <a:gd name="connsiteX304" fmla="*/ 606025 w 812904"/>
                  <a:gd name="connsiteY304" fmla="*/ 721877 h 747387"/>
                  <a:gd name="connsiteX305" fmla="*/ 679809 w 812904"/>
                  <a:gd name="connsiteY305" fmla="*/ 747389 h 747387"/>
                  <a:gd name="connsiteX306" fmla="*/ 673974 w 812904"/>
                  <a:gd name="connsiteY306" fmla="*/ 727231 h 747387"/>
                  <a:gd name="connsiteX307" fmla="*/ 672490 w 812904"/>
                  <a:gd name="connsiteY307" fmla="*/ 723271 h 747387"/>
                  <a:gd name="connsiteX308" fmla="*/ 672135 w 812904"/>
                  <a:gd name="connsiteY308" fmla="*/ 722461 h 747387"/>
                  <a:gd name="connsiteX309" fmla="*/ 662292 w 812904"/>
                  <a:gd name="connsiteY309" fmla="*/ 706533 h 747387"/>
                  <a:gd name="connsiteX310" fmla="*/ 650115 w 812904"/>
                  <a:gd name="connsiteY310" fmla="*/ 693889 h 747387"/>
                  <a:gd name="connsiteX311" fmla="*/ 637888 w 812904"/>
                  <a:gd name="connsiteY311" fmla="*/ 683180 h 747387"/>
                  <a:gd name="connsiteX312" fmla="*/ 635338 w 812904"/>
                  <a:gd name="connsiteY312" fmla="*/ 681021 h 747387"/>
                  <a:gd name="connsiteX313" fmla="*/ 631596 w 812904"/>
                  <a:gd name="connsiteY313" fmla="*/ 677691 h 747387"/>
                  <a:gd name="connsiteX314" fmla="*/ 628096 w 812904"/>
                  <a:gd name="connsiteY314" fmla="*/ 674587 h 747387"/>
                  <a:gd name="connsiteX315" fmla="*/ 604883 w 812904"/>
                  <a:gd name="connsiteY315" fmla="*/ 646181 h 747387"/>
                  <a:gd name="connsiteX316" fmla="*/ 597742 w 812904"/>
                  <a:gd name="connsiteY316" fmla="*/ 630704 h 747387"/>
                  <a:gd name="connsiteX317" fmla="*/ 615399 w 812904"/>
                  <a:gd name="connsiteY317" fmla="*/ 636102 h 747387"/>
                  <a:gd name="connsiteX318" fmla="*/ 632877 w 812904"/>
                  <a:gd name="connsiteY318" fmla="*/ 646181 h 747387"/>
                  <a:gd name="connsiteX319" fmla="*/ 632877 w 812904"/>
                  <a:gd name="connsiteY319" fmla="*/ 646224 h 747387"/>
                  <a:gd name="connsiteX320" fmla="*/ 638496 w 812904"/>
                  <a:gd name="connsiteY320" fmla="*/ 649284 h 747387"/>
                  <a:gd name="connsiteX321" fmla="*/ 651041 w 812904"/>
                  <a:gd name="connsiteY321" fmla="*/ 658417 h 747387"/>
                  <a:gd name="connsiteX322" fmla="*/ 654986 w 812904"/>
                  <a:gd name="connsiteY322" fmla="*/ 661973 h 747387"/>
                  <a:gd name="connsiteX323" fmla="*/ 655531 w 812904"/>
                  <a:gd name="connsiteY323" fmla="*/ 662469 h 747387"/>
                  <a:gd name="connsiteX324" fmla="*/ 665285 w 812904"/>
                  <a:gd name="connsiteY324" fmla="*/ 669708 h 747387"/>
                  <a:gd name="connsiteX325" fmla="*/ 665691 w 812904"/>
                  <a:gd name="connsiteY325" fmla="*/ 669978 h 747387"/>
                  <a:gd name="connsiteX326" fmla="*/ 675712 w 812904"/>
                  <a:gd name="connsiteY326" fmla="*/ 676233 h 747387"/>
                  <a:gd name="connsiteX327" fmla="*/ 678274 w 812904"/>
                  <a:gd name="connsiteY327" fmla="*/ 677757 h 747387"/>
                  <a:gd name="connsiteX328" fmla="*/ 687039 w 812904"/>
                  <a:gd name="connsiteY328" fmla="*/ 682977 h 747387"/>
                  <a:gd name="connsiteX329" fmla="*/ 687673 w 812904"/>
                  <a:gd name="connsiteY329" fmla="*/ 683382 h 747387"/>
                  <a:gd name="connsiteX330" fmla="*/ 690184 w 812904"/>
                  <a:gd name="connsiteY330" fmla="*/ 684866 h 747387"/>
                  <a:gd name="connsiteX331" fmla="*/ 691795 w 812904"/>
                  <a:gd name="connsiteY331" fmla="*/ 685901 h 747387"/>
                  <a:gd name="connsiteX332" fmla="*/ 696387 w 812904"/>
                  <a:gd name="connsiteY332" fmla="*/ 688736 h 747387"/>
                  <a:gd name="connsiteX333" fmla="*/ 713194 w 812904"/>
                  <a:gd name="connsiteY333" fmla="*/ 680592 h 747387"/>
                  <a:gd name="connsiteX334" fmla="*/ 711671 w 812904"/>
                  <a:gd name="connsiteY334" fmla="*/ 671368 h 747387"/>
                  <a:gd name="connsiteX335" fmla="*/ 711088 w 812904"/>
                  <a:gd name="connsiteY335" fmla="*/ 667949 h 747387"/>
                  <a:gd name="connsiteX336" fmla="*/ 709426 w 812904"/>
                  <a:gd name="connsiteY336" fmla="*/ 657869 h 747387"/>
                  <a:gd name="connsiteX337" fmla="*/ 709160 w 812904"/>
                  <a:gd name="connsiteY337" fmla="*/ 656345 h 747387"/>
                  <a:gd name="connsiteX338" fmla="*/ 706636 w 812904"/>
                  <a:gd name="connsiteY338" fmla="*/ 641135 h 747387"/>
                  <a:gd name="connsiteX339" fmla="*/ 708932 w 812904"/>
                  <a:gd name="connsiteY339" fmla="*/ 642890 h 747387"/>
                  <a:gd name="connsiteX340" fmla="*/ 711227 w 812904"/>
                  <a:gd name="connsiteY340" fmla="*/ 644600 h 747387"/>
                  <a:gd name="connsiteX341" fmla="*/ 722504 w 812904"/>
                  <a:gd name="connsiteY341" fmla="*/ 653194 h 747387"/>
                  <a:gd name="connsiteX342" fmla="*/ 722821 w 812904"/>
                  <a:gd name="connsiteY342" fmla="*/ 643796 h 747387"/>
                  <a:gd name="connsiteX343" fmla="*/ 715895 w 812904"/>
                  <a:gd name="connsiteY343" fmla="*/ 627732 h 747387"/>
                  <a:gd name="connsiteX344" fmla="*/ 710327 w 812904"/>
                  <a:gd name="connsiteY344" fmla="*/ 619767 h 747387"/>
                  <a:gd name="connsiteX345" fmla="*/ 708615 w 812904"/>
                  <a:gd name="connsiteY345" fmla="*/ 617158 h 747387"/>
                  <a:gd name="connsiteX346" fmla="*/ 707448 w 812904"/>
                  <a:gd name="connsiteY346" fmla="*/ 615088 h 747387"/>
                  <a:gd name="connsiteX347" fmla="*/ 701283 w 812904"/>
                  <a:gd name="connsiteY347" fmla="*/ 605279 h 747387"/>
                  <a:gd name="connsiteX348" fmla="*/ 698277 w 812904"/>
                  <a:gd name="connsiteY348" fmla="*/ 600150 h 747387"/>
                  <a:gd name="connsiteX349" fmla="*/ 697871 w 812904"/>
                  <a:gd name="connsiteY349" fmla="*/ 598170 h 747387"/>
                  <a:gd name="connsiteX350" fmla="*/ 701334 w 812904"/>
                  <a:gd name="connsiteY350" fmla="*/ 588451 h 747387"/>
                  <a:gd name="connsiteX351" fmla="*/ 693470 w 812904"/>
                  <a:gd name="connsiteY351" fmla="*/ 581431 h 747387"/>
                  <a:gd name="connsiteX352" fmla="*/ 693153 w 812904"/>
                  <a:gd name="connsiteY352" fmla="*/ 581026 h 747387"/>
                  <a:gd name="connsiteX353" fmla="*/ 688117 w 812904"/>
                  <a:gd name="connsiteY353" fmla="*/ 573512 h 747387"/>
                  <a:gd name="connsiteX354" fmla="*/ 683043 w 812904"/>
                  <a:gd name="connsiteY354" fmla="*/ 569417 h 747387"/>
                  <a:gd name="connsiteX355" fmla="*/ 682866 w 812904"/>
                  <a:gd name="connsiteY355" fmla="*/ 569327 h 747387"/>
                  <a:gd name="connsiteX356" fmla="*/ 681433 w 812904"/>
                  <a:gd name="connsiteY356" fmla="*/ 568472 h 747387"/>
                  <a:gd name="connsiteX357" fmla="*/ 676080 w 812904"/>
                  <a:gd name="connsiteY357" fmla="*/ 565142 h 747387"/>
                  <a:gd name="connsiteX358" fmla="*/ 664804 w 812904"/>
                  <a:gd name="connsiteY358" fmla="*/ 555964 h 747387"/>
                  <a:gd name="connsiteX359" fmla="*/ 661480 w 812904"/>
                  <a:gd name="connsiteY359" fmla="*/ 552498 h 747387"/>
                  <a:gd name="connsiteX360" fmla="*/ 658246 w 812904"/>
                  <a:gd name="connsiteY360" fmla="*/ 548674 h 747387"/>
                  <a:gd name="connsiteX361" fmla="*/ 655861 w 812904"/>
                  <a:gd name="connsiteY361" fmla="*/ 545525 h 747387"/>
                  <a:gd name="connsiteX362" fmla="*/ 651993 w 812904"/>
                  <a:gd name="connsiteY362" fmla="*/ 539495 h 747387"/>
                  <a:gd name="connsiteX363" fmla="*/ 647629 w 812904"/>
                  <a:gd name="connsiteY363" fmla="*/ 530901 h 747387"/>
                  <a:gd name="connsiteX364" fmla="*/ 644445 w 812904"/>
                  <a:gd name="connsiteY364" fmla="*/ 522351 h 747387"/>
                  <a:gd name="connsiteX365" fmla="*/ 643951 w 812904"/>
                  <a:gd name="connsiteY365" fmla="*/ 520732 h 747387"/>
                  <a:gd name="connsiteX366" fmla="*/ 642606 w 812904"/>
                  <a:gd name="connsiteY366" fmla="*/ 515558 h 747387"/>
                  <a:gd name="connsiteX367" fmla="*/ 641744 w 812904"/>
                  <a:gd name="connsiteY367" fmla="*/ 509708 h 747387"/>
                  <a:gd name="connsiteX368" fmla="*/ 641388 w 812904"/>
                  <a:gd name="connsiteY368" fmla="*/ 506378 h 747387"/>
                  <a:gd name="connsiteX369" fmla="*/ 631228 w 812904"/>
                  <a:gd name="connsiteY369" fmla="*/ 509299 h 747387"/>
                  <a:gd name="connsiteX370" fmla="*/ 627144 w 812904"/>
                  <a:gd name="connsiteY370" fmla="*/ 510469 h 747387"/>
                  <a:gd name="connsiteX371" fmla="*/ 623999 w 812904"/>
                  <a:gd name="connsiteY371" fmla="*/ 500974 h 747387"/>
                  <a:gd name="connsiteX372" fmla="*/ 622870 w 812904"/>
                  <a:gd name="connsiteY372" fmla="*/ 497825 h 747387"/>
                  <a:gd name="connsiteX373" fmla="*/ 622235 w 812904"/>
                  <a:gd name="connsiteY373" fmla="*/ 496115 h 747387"/>
                  <a:gd name="connsiteX374" fmla="*/ 620624 w 812904"/>
                  <a:gd name="connsiteY374" fmla="*/ 492155 h 747387"/>
                  <a:gd name="connsiteX375" fmla="*/ 619267 w 812904"/>
                  <a:gd name="connsiteY375" fmla="*/ 489096 h 747387"/>
                  <a:gd name="connsiteX376" fmla="*/ 614739 w 812904"/>
                  <a:gd name="connsiteY376" fmla="*/ 478881 h 747387"/>
                  <a:gd name="connsiteX377" fmla="*/ 644851 w 812904"/>
                  <a:gd name="connsiteY377" fmla="*/ 481222 h 747387"/>
                  <a:gd name="connsiteX378" fmla="*/ 631545 w 812904"/>
                  <a:gd name="connsiteY378" fmla="*/ 458903 h 747387"/>
                  <a:gd name="connsiteX379" fmla="*/ 630873 w 812904"/>
                  <a:gd name="connsiteY379" fmla="*/ 457868 h 747387"/>
                  <a:gd name="connsiteX380" fmla="*/ 629250 w 812904"/>
                  <a:gd name="connsiteY380" fmla="*/ 455123 h 747387"/>
                  <a:gd name="connsiteX381" fmla="*/ 629199 w 812904"/>
                  <a:gd name="connsiteY381" fmla="*/ 455033 h 747387"/>
                  <a:gd name="connsiteX382" fmla="*/ 627411 w 812904"/>
                  <a:gd name="connsiteY382" fmla="*/ 452018 h 747387"/>
                  <a:gd name="connsiteX383" fmla="*/ 628577 w 812904"/>
                  <a:gd name="connsiteY383" fmla="*/ 451974 h 747387"/>
                  <a:gd name="connsiteX384" fmla="*/ 631584 w 812904"/>
                  <a:gd name="connsiteY384" fmla="*/ 451839 h 747387"/>
                  <a:gd name="connsiteX385" fmla="*/ 643456 w 812904"/>
                  <a:gd name="connsiteY385" fmla="*/ 450399 h 747387"/>
                  <a:gd name="connsiteX386" fmla="*/ 645384 w 812904"/>
                  <a:gd name="connsiteY386" fmla="*/ 449049 h 747387"/>
                  <a:gd name="connsiteX387" fmla="*/ 647134 w 812904"/>
                  <a:gd name="connsiteY387" fmla="*/ 447564 h 747387"/>
                  <a:gd name="connsiteX388" fmla="*/ 654910 w 812904"/>
                  <a:gd name="connsiteY388" fmla="*/ 438970 h 747387"/>
                  <a:gd name="connsiteX389" fmla="*/ 657028 w 812904"/>
                  <a:gd name="connsiteY389" fmla="*/ 441625 h 747387"/>
                  <a:gd name="connsiteX390" fmla="*/ 661290 w 812904"/>
                  <a:gd name="connsiteY390" fmla="*/ 446979 h 747387"/>
                  <a:gd name="connsiteX391" fmla="*/ 669738 w 812904"/>
                  <a:gd name="connsiteY391" fmla="*/ 457599 h 747387"/>
                  <a:gd name="connsiteX392" fmla="*/ 670550 w 812904"/>
                  <a:gd name="connsiteY392" fmla="*/ 458588 h 747387"/>
                  <a:gd name="connsiteX393" fmla="*/ 684971 w 812904"/>
                  <a:gd name="connsiteY393" fmla="*/ 476677 h 747387"/>
                  <a:gd name="connsiteX394" fmla="*/ 689018 w 812904"/>
                  <a:gd name="connsiteY394" fmla="*/ 481757 h 747387"/>
                  <a:gd name="connsiteX395" fmla="*/ 691263 w 812904"/>
                  <a:gd name="connsiteY395" fmla="*/ 484551 h 747387"/>
                  <a:gd name="connsiteX396" fmla="*/ 716441 w 812904"/>
                  <a:gd name="connsiteY396" fmla="*/ 472133 h 747387"/>
                  <a:gd name="connsiteX397" fmla="*/ 717113 w 812904"/>
                  <a:gd name="connsiteY397" fmla="*/ 474697 h 747387"/>
                  <a:gd name="connsiteX398" fmla="*/ 699584 w 812904"/>
                  <a:gd name="connsiteY398" fmla="*/ 497014 h 747387"/>
                  <a:gd name="connsiteX399" fmla="*/ 699989 w 812904"/>
                  <a:gd name="connsiteY399" fmla="*/ 497825 h 747387"/>
                  <a:gd name="connsiteX400" fmla="*/ 706407 w 812904"/>
                  <a:gd name="connsiteY400" fmla="*/ 510424 h 747387"/>
                  <a:gd name="connsiteX401" fmla="*/ 707042 w 812904"/>
                  <a:gd name="connsiteY401" fmla="*/ 511414 h 747387"/>
                  <a:gd name="connsiteX402" fmla="*/ 711088 w 812904"/>
                  <a:gd name="connsiteY402" fmla="*/ 517764 h 747387"/>
                  <a:gd name="connsiteX403" fmla="*/ 711900 w 812904"/>
                  <a:gd name="connsiteY403" fmla="*/ 518888 h 747387"/>
                  <a:gd name="connsiteX404" fmla="*/ 717874 w 812904"/>
                  <a:gd name="connsiteY404" fmla="*/ 526312 h 747387"/>
                  <a:gd name="connsiteX405" fmla="*/ 719498 w 812904"/>
                  <a:gd name="connsiteY405" fmla="*/ 528112 h 747387"/>
                  <a:gd name="connsiteX406" fmla="*/ 728440 w 812904"/>
                  <a:gd name="connsiteY406" fmla="*/ 535897 h 747387"/>
                  <a:gd name="connsiteX407" fmla="*/ 729696 w 812904"/>
                  <a:gd name="connsiteY407" fmla="*/ 536796 h 747387"/>
                  <a:gd name="connsiteX408" fmla="*/ 737471 w 812904"/>
                  <a:gd name="connsiteY408" fmla="*/ 541386 h 747387"/>
                  <a:gd name="connsiteX409" fmla="*/ 737877 w 812904"/>
                  <a:gd name="connsiteY409" fmla="*/ 541566 h 747387"/>
                  <a:gd name="connsiteX410" fmla="*/ 744790 w 812904"/>
                  <a:gd name="connsiteY410" fmla="*/ 544581 h 747387"/>
                  <a:gd name="connsiteX411" fmla="*/ 745475 w 812904"/>
                  <a:gd name="connsiteY411" fmla="*/ 544761 h 747387"/>
                  <a:gd name="connsiteX412" fmla="*/ 752439 w 812904"/>
                  <a:gd name="connsiteY412" fmla="*/ 546830 h 747387"/>
                  <a:gd name="connsiteX413" fmla="*/ 752439 w 812904"/>
                  <a:gd name="connsiteY413" fmla="*/ 501609 h 747387"/>
                  <a:gd name="connsiteX414" fmla="*/ 757335 w 812904"/>
                  <a:gd name="connsiteY414" fmla="*/ 502600 h 747387"/>
                  <a:gd name="connsiteX415" fmla="*/ 758996 w 812904"/>
                  <a:gd name="connsiteY415" fmla="*/ 502779 h 747387"/>
                  <a:gd name="connsiteX416" fmla="*/ 775042 w 812904"/>
                  <a:gd name="connsiteY416" fmla="*/ 497380 h 747387"/>
                  <a:gd name="connsiteX417" fmla="*/ 775803 w 812904"/>
                  <a:gd name="connsiteY417" fmla="*/ 496660 h 747387"/>
                  <a:gd name="connsiteX418" fmla="*/ 782094 w 812904"/>
                  <a:gd name="connsiteY418" fmla="*/ 487841 h 747387"/>
                  <a:gd name="connsiteX419" fmla="*/ 784251 w 812904"/>
                  <a:gd name="connsiteY419" fmla="*/ 484331 h 747387"/>
                  <a:gd name="connsiteX420" fmla="*/ 789236 w 812904"/>
                  <a:gd name="connsiteY420" fmla="*/ 477042 h 747387"/>
                  <a:gd name="connsiteX421" fmla="*/ 790402 w 812904"/>
                  <a:gd name="connsiteY421" fmla="*/ 475781 h 747387"/>
                  <a:gd name="connsiteX422" fmla="*/ 782944 w 812904"/>
                  <a:gd name="connsiteY422" fmla="*/ 468717 h 747387"/>
                  <a:gd name="connsiteX423" fmla="*/ 781422 w 812904"/>
                  <a:gd name="connsiteY423" fmla="*/ 458773 h 747387"/>
                  <a:gd name="connsiteX424" fmla="*/ 784339 w 812904"/>
                  <a:gd name="connsiteY424" fmla="*/ 456029 h 747387"/>
                  <a:gd name="connsiteX425" fmla="*/ 785861 w 812904"/>
                  <a:gd name="connsiteY425" fmla="*/ 454994 h 747387"/>
                  <a:gd name="connsiteX426" fmla="*/ 798089 w 812904"/>
                  <a:gd name="connsiteY426" fmla="*/ 458414 h 747387"/>
                  <a:gd name="connsiteX427" fmla="*/ 799078 w 812904"/>
                  <a:gd name="connsiteY427" fmla="*/ 456749 h 747387"/>
                  <a:gd name="connsiteX428" fmla="*/ 799116 w 812904"/>
                  <a:gd name="connsiteY428" fmla="*/ 456749 h 747387"/>
                  <a:gd name="connsiteX429" fmla="*/ 799218 w 812904"/>
                  <a:gd name="connsiteY429" fmla="*/ 456569 h 747387"/>
                  <a:gd name="connsiteX430" fmla="*/ 805636 w 812904"/>
                  <a:gd name="connsiteY430" fmla="*/ 445949 h 747387"/>
                  <a:gd name="connsiteX431" fmla="*/ 806854 w 812904"/>
                  <a:gd name="connsiteY431" fmla="*/ 443970 h 747387"/>
                  <a:gd name="connsiteX432" fmla="*/ 812879 w 812904"/>
                  <a:gd name="connsiteY432" fmla="*/ 434071 h 747387"/>
                  <a:gd name="connsiteX433" fmla="*/ 807285 w 812904"/>
                  <a:gd name="connsiteY433" fmla="*/ 427456 h 747387"/>
                  <a:gd name="connsiteX434" fmla="*/ 507139 w 812904"/>
                  <a:gd name="connsiteY434" fmla="*/ 112170 h 747387"/>
                  <a:gd name="connsiteX435" fmla="*/ 504526 w 812904"/>
                  <a:gd name="connsiteY435" fmla="*/ 110459 h 747387"/>
                  <a:gd name="connsiteX436" fmla="*/ 502865 w 812904"/>
                  <a:gd name="connsiteY436" fmla="*/ 106950 h 747387"/>
                  <a:gd name="connsiteX437" fmla="*/ 502319 w 812904"/>
                  <a:gd name="connsiteY437" fmla="*/ 103890 h 747387"/>
                  <a:gd name="connsiteX438" fmla="*/ 511629 w 812904"/>
                  <a:gd name="connsiteY438" fmla="*/ 92192 h 747387"/>
                  <a:gd name="connsiteX439" fmla="*/ 512073 w 812904"/>
                  <a:gd name="connsiteY439" fmla="*/ 91696 h 747387"/>
                  <a:gd name="connsiteX440" fmla="*/ 514635 w 812904"/>
                  <a:gd name="connsiteY440" fmla="*/ 107039 h 747387"/>
                  <a:gd name="connsiteX441" fmla="*/ 507139 w 812904"/>
                  <a:gd name="connsiteY441" fmla="*/ 112170 h 747387"/>
                  <a:gd name="connsiteX442" fmla="*/ 542896 w 812904"/>
                  <a:gd name="connsiteY442" fmla="*/ 124498 h 747387"/>
                  <a:gd name="connsiteX443" fmla="*/ 538596 w 812904"/>
                  <a:gd name="connsiteY443" fmla="*/ 135613 h 747387"/>
                  <a:gd name="connsiteX444" fmla="*/ 530135 w 812904"/>
                  <a:gd name="connsiteY444" fmla="*/ 134307 h 747387"/>
                  <a:gd name="connsiteX445" fmla="*/ 529019 w 812904"/>
                  <a:gd name="connsiteY445" fmla="*/ 134127 h 747387"/>
                  <a:gd name="connsiteX446" fmla="*/ 528702 w 812904"/>
                  <a:gd name="connsiteY446" fmla="*/ 134083 h 747387"/>
                  <a:gd name="connsiteX447" fmla="*/ 525557 w 812904"/>
                  <a:gd name="connsiteY447" fmla="*/ 133543 h 747387"/>
                  <a:gd name="connsiteX448" fmla="*/ 518770 w 812904"/>
                  <a:gd name="connsiteY448" fmla="*/ 132508 h 747387"/>
                  <a:gd name="connsiteX449" fmla="*/ 545065 w 812904"/>
                  <a:gd name="connsiteY449" fmla="*/ 118919 h 747387"/>
                  <a:gd name="connsiteX450" fmla="*/ 542909 w 812904"/>
                  <a:gd name="connsiteY450" fmla="*/ 124498 h 747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</a:cxnLst>
                <a:rect l="l" t="t" r="r" b="b"/>
                <a:pathLst>
                  <a:path w="812904" h="747387">
                    <a:moveTo>
                      <a:pt x="807285" y="427456"/>
                    </a:moveTo>
                    <a:cubicBezTo>
                      <a:pt x="805712" y="425611"/>
                      <a:pt x="804368" y="424082"/>
                      <a:pt x="803150" y="422821"/>
                    </a:cubicBezTo>
                    <a:cubicBezTo>
                      <a:pt x="801996" y="421575"/>
                      <a:pt x="800727" y="420431"/>
                      <a:pt x="799370" y="419402"/>
                    </a:cubicBezTo>
                    <a:cubicBezTo>
                      <a:pt x="798101" y="418385"/>
                      <a:pt x="796579" y="417704"/>
                      <a:pt x="794969" y="417422"/>
                    </a:cubicBezTo>
                    <a:cubicBezTo>
                      <a:pt x="792520" y="417098"/>
                      <a:pt x="790022" y="417190"/>
                      <a:pt x="787599" y="417693"/>
                    </a:cubicBezTo>
                    <a:cubicBezTo>
                      <a:pt x="786838" y="417827"/>
                      <a:pt x="785988" y="417962"/>
                      <a:pt x="785087" y="418097"/>
                    </a:cubicBezTo>
                    <a:cubicBezTo>
                      <a:pt x="783286" y="418367"/>
                      <a:pt x="781485" y="418592"/>
                      <a:pt x="779646" y="418817"/>
                    </a:cubicBezTo>
                    <a:cubicBezTo>
                      <a:pt x="779240" y="418862"/>
                      <a:pt x="778796" y="418907"/>
                      <a:pt x="778340" y="418951"/>
                    </a:cubicBezTo>
                    <a:cubicBezTo>
                      <a:pt x="775778" y="419222"/>
                      <a:pt x="773228" y="419447"/>
                      <a:pt x="770704" y="419627"/>
                    </a:cubicBezTo>
                    <a:cubicBezTo>
                      <a:pt x="770323" y="419678"/>
                      <a:pt x="769930" y="419707"/>
                      <a:pt x="769537" y="419717"/>
                    </a:cubicBezTo>
                    <a:lnTo>
                      <a:pt x="769486" y="419762"/>
                    </a:lnTo>
                    <a:cubicBezTo>
                      <a:pt x="765808" y="419986"/>
                      <a:pt x="762167" y="420167"/>
                      <a:pt x="758616" y="420397"/>
                    </a:cubicBezTo>
                    <a:cubicBezTo>
                      <a:pt x="756637" y="420531"/>
                      <a:pt x="754709" y="420667"/>
                      <a:pt x="752769" y="420802"/>
                    </a:cubicBezTo>
                    <a:cubicBezTo>
                      <a:pt x="756015" y="412928"/>
                      <a:pt x="759745" y="403973"/>
                      <a:pt x="764057" y="393535"/>
                    </a:cubicBezTo>
                    <a:cubicBezTo>
                      <a:pt x="763918" y="393535"/>
                      <a:pt x="763791" y="393579"/>
                      <a:pt x="763651" y="393579"/>
                    </a:cubicBezTo>
                    <a:cubicBezTo>
                      <a:pt x="763068" y="393669"/>
                      <a:pt x="762484" y="393714"/>
                      <a:pt x="761901" y="393804"/>
                    </a:cubicBezTo>
                    <a:cubicBezTo>
                      <a:pt x="761216" y="393894"/>
                      <a:pt x="760544" y="393984"/>
                      <a:pt x="759922" y="394029"/>
                    </a:cubicBezTo>
                    <a:lnTo>
                      <a:pt x="725320" y="398394"/>
                    </a:lnTo>
                    <a:cubicBezTo>
                      <a:pt x="725180" y="398123"/>
                      <a:pt x="725041" y="397808"/>
                      <a:pt x="724914" y="397539"/>
                    </a:cubicBezTo>
                    <a:cubicBezTo>
                      <a:pt x="724241" y="396234"/>
                      <a:pt x="723607" y="394929"/>
                      <a:pt x="722973" y="393624"/>
                    </a:cubicBezTo>
                    <a:cubicBezTo>
                      <a:pt x="723658" y="393039"/>
                      <a:pt x="724368" y="392454"/>
                      <a:pt x="725041" y="391870"/>
                    </a:cubicBezTo>
                    <a:lnTo>
                      <a:pt x="725992" y="391060"/>
                    </a:lnTo>
                    <a:cubicBezTo>
                      <a:pt x="729759" y="387910"/>
                      <a:pt x="733273" y="384941"/>
                      <a:pt x="735746" y="382871"/>
                    </a:cubicBezTo>
                    <a:lnTo>
                      <a:pt x="735746" y="382150"/>
                    </a:lnTo>
                    <a:cubicBezTo>
                      <a:pt x="735746" y="381115"/>
                      <a:pt x="735746" y="380080"/>
                      <a:pt x="735657" y="379091"/>
                    </a:cubicBezTo>
                    <a:cubicBezTo>
                      <a:pt x="736457" y="369028"/>
                      <a:pt x="730711" y="359588"/>
                      <a:pt x="721400" y="355693"/>
                    </a:cubicBezTo>
                    <a:cubicBezTo>
                      <a:pt x="718014" y="354515"/>
                      <a:pt x="714437" y="353922"/>
                      <a:pt x="710847" y="353937"/>
                    </a:cubicBezTo>
                    <a:cubicBezTo>
                      <a:pt x="709896" y="353893"/>
                      <a:pt x="708868" y="353893"/>
                      <a:pt x="707841" y="353937"/>
                    </a:cubicBezTo>
                    <a:cubicBezTo>
                      <a:pt x="708374" y="348763"/>
                      <a:pt x="708868" y="343949"/>
                      <a:pt x="709274" y="339854"/>
                    </a:cubicBezTo>
                    <a:cubicBezTo>
                      <a:pt x="709363" y="339134"/>
                      <a:pt x="709452" y="338457"/>
                      <a:pt x="709490" y="337830"/>
                    </a:cubicBezTo>
                    <a:cubicBezTo>
                      <a:pt x="700915" y="340079"/>
                      <a:pt x="692468" y="342284"/>
                      <a:pt x="685149" y="344180"/>
                    </a:cubicBezTo>
                    <a:cubicBezTo>
                      <a:pt x="684781" y="344270"/>
                      <a:pt x="684464" y="344360"/>
                      <a:pt x="684109" y="344451"/>
                    </a:cubicBezTo>
                    <a:cubicBezTo>
                      <a:pt x="682676" y="343370"/>
                      <a:pt x="681141" y="342292"/>
                      <a:pt x="679568" y="341255"/>
                    </a:cubicBezTo>
                    <a:cubicBezTo>
                      <a:pt x="678718" y="340715"/>
                      <a:pt x="677818" y="340176"/>
                      <a:pt x="676968" y="339590"/>
                    </a:cubicBezTo>
                    <a:cubicBezTo>
                      <a:pt x="673644" y="337520"/>
                      <a:pt x="670220" y="335541"/>
                      <a:pt x="667214" y="333471"/>
                    </a:cubicBezTo>
                    <a:cubicBezTo>
                      <a:pt x="664829" y="331878"/>
                      <a:pt x="662647" y="329988"/>
                      <a:pt x="660744" y="327847"/>
                    </a:cubicBezTo>
                    <a:cubicBezTo>
                      <a:pt x="659527" y="326480"/>
                      <a:pt x="658626" y="324870"/>
                      <a:pt x="658094" y="323122"/>
                    </a:cubicBezTo>
                    <a:cubicBezTo>
                      <a:pt x="657662" y="321495"/>
                      <a:pt x="656774" y="320027"/>
                      <a:pt x="655531" y="318892"/>
                    </a:cubicBezTo>
                    <a:cubicBezTo>
                      <a:pt x="654073" y="317673"/>
                      <a:pt x="652348" y="316824"/>
                      <a:pt x="650496" y="316418"/>
                    </a:cubicBezTo>
                    <a:cubicBezTo>
                      <a:pt x="647794" y="315742"/>
                      <a:pt x="644877" y="315563"/>
                      <a:pt x="642226" y="315112"/>
                    </a:cubicBezTo>
                    <a:cubicBezTo>
                      <a:pt x="640374" y="314899"/>
                      <a:pt x="638611" y="314251"/>
                      <a:pt x="637063" y="313223"/>
                    </a:cubicBezTo>
                    <a:cubicBezTo>
                      <a:pt x="634856" y="311603"/>
                      <a:pt x="633918" y="308678"/>
                      <a:pt x="635401" y="302919"/>
                    </a:cubicBezTo>
                    <a:lnTo>
                      <a:pt x="632560" y="301434"/>
                    </a:lnTo>
                    <a:cubicBezTo>
                      <a:pt x="625457" y="297744"/>
                      <a:pt x="618354" y="294054"/>
                      <a:pt x="611175" y="290365"/>
                    </a:cubicBezTo>
                    <a:cubicBezTo>
                      <a:pt x="609653" y="289555"/>
                      <a:pt x="608118" y="288745"/>
                      <a:pt x="606545" y="287936"/>
                    </a:cubicBezTo>
                    <a:cubicBezTo>
                      <a:pt x="608384" y="286630"/>
                      <a:pt x="609957" y="285506"/>
                      <a:pt x="611492" y="284425"/>
                    </a:cubicBezTo>
                    <a:cubicBezTo>
                      <a:pt x="612164" y="283976"/>
                      <a:pt x="612836" y="283480"/>
                      <a:pt x="613559" y="282985"/>
                    </a:cubicBezTo>
                    <a:cubicBezTo>
                      <a:pt x="608930" y="281141"/>
                      <a:pt x="604528" y="279296"/>
                      <a:pt x="599937" y="277450"/>
                    </a:cubicBezTo>
                    <a:cubicBezTo>
                      <a:pt x="599721" y="277362"/>
                      <a:pt x="599493" y="277271"/>
                      <a:pt x="599226" y="277181"/>
                    </a:cubicBezTo>
                    <a:cubicBezTo>
                      <a:pt x="596436" y="276012"/>
                      <a:pt x="593556" y="274842"/>
                      <a:pt x="590550" y="273625"/>
                    </a:cubicBezTo>
                    <a:cubicBezTo>
                      <a:pt x="599404" y="272852"/>
                      <a:pt x="607966" y="270016"/>
                      <a:pt x="615538" y="265346"/>
                    </a:cubicBezTo>
                    <a:lnTo>
                      <a:pt x="615576" y="265346"/>
                    </a:lnTo>
                    <a:cubicBezTo>
                      <a:pt x="621106" y="261746"/>
                      <a:pt x="624620" y="257472"/>
                      <a:pt x="624480" y="253422"/>
                    </a:cubicBezTo>
                    <a:cubicBezTo>
                      <a:pt x="624468" y="252781"/>
                      <a:pt x="624366" y="252143"/>
                      <a:pt x="624163" y="251532"/>
                    </a:cubicBezTo>
                    <a:cubicBezTo>
                      <a:pt x="620257" y="249823"/>
                      <a:pt x="615804" y="247887"/>
                      <a:pt x="610908" y="245773"/>
                    </a:cubicBezTo>
                    <a:cubicBezTo>
                      <a:pt x="608930" y="244918"/>
                      <a:pt x="606913" y="244018"/>
                      <a:pt x="604795" y="243117"/>
                    </a:cubicBezTo>
                    <a:cubicBezTo>
                      <a:pt x="611898" y="231644"/>
                      <a:pt x="619762" y="234074"/>
                      <a:pt x="627449" y="239068"/>
                    </a:cubicBezTo>
                    <a:cubicBezTo>
                      <a:pt x="637406" y="245172"/>
                      <a:pt x="649861" y="245497"/>
                      <a:pt x="660123" y="239923"/>
                    </a:cubicBezTo>
                    <a:cubicBezTo>
                      <a:pt x="660618" y="239743"/>
                      <a:pt x="661062" y="239564"/>
                      <a:pt x="661556" y="239338"/>
                    </a:cubicBezTo>
                    <a:cubicBezTo>
                      <a:pt x="658487" y="235628"/>
                      <a:pt x="655075" y="232223"/>
                      <a:pt x="651358" y="229169"/>
                    </a:cubicBezTo>
                    <a:cubicBezTo>
                      <a:pt x="650141" y="228174"/>
                      <a:pt x="648859" y="227257"/>
                      <a:pt x="647540" y="226424"/>
                    </a:cubicBezTo>
                    <a:cubicBezTo>
                      <a:pt x="645270" y="224884"/>
                      <a:pt x="642822" y="223615"/>
                      <a:pt x="640260" y="222645"/>
                    </a:cubicBezTo>
                    <a:cubicBezTo>
                      <a:pt x="629009" y="218928"/>
                      <a:pt x="617555" y="215849"/>
                      <a:pt x="605962" y="213421"/>
                    </a:cubicBezTo>
                    <a:cubicBezTo>
                      <a:pt x="605023" y="213196"/>
                      <a:pt x="604072" y="212926"/>
                      <a:pt x="603133" y="212701"/>
                    </a:cubicBezTo>
                    <a:cubicBezTo>
                      <a:pt x="603311" y="210901"/>
                      <a:pt x="603450" y="209056"/>
                      <a:pt x="603628" y="207211"/>
                    </a:cubicBezTo>
                    <a:cubicBezTo>
                      <a:pt x="617555" y="202937"/>
                      <a:pt x="631495" y="198662"/>
                      <a:pt x="646767" y="193982"/>
                    </a:cubicBezTo>
                    <a:cubicBezTo>
                      <a:pt x="646335" y="186002"/>
                      <a:pt x="644242" y="178201"/>
                      <a:pt x="640615" y="171079"/>
                    </a:cubicBezTo>
                    <a:cubicBezTo>
                      <a:pt x="637177" y="164846"/>
                      <a:pt x="631989" y="159760"/>
                      <a:pt x="625698" y="156456"/>
                    </a:cubicBezTo>
                    <a:cubicBezTo>
                      <a:pt x="625571" y="156365"/>
                      <a:pt x="625432" y="156289"/>
                      <a:pt x="625292" y="156230"/>
                    </a:cubicBezTo>
                    <a:cubicBezTo>
                      <a:pt x="624303" y="155690"/>
                      <a:pt x="623263" y="155196"/>
                      <a:pt x="622185" y="154706"/>
                    </a:cubicBezTo>
                    <a:cubicBezTo>
                      <a:pt x="620967" y="156477"/>
                      <a:pt x="619876" y="158342"/>
                      <a:pt x="618950" y="160285"/>
                    </a:cubicBezTo>
                    <a:cubicBezTo>
                      <a:pt x="615272" y="170680"/>
                      <a:pt x="607851" y="179329"/>
                      <a:pt x="598148" y="184542"/>
                    </a:cubicBezTo>
                    <a:cubicBezTo>
                      <a:pt x="595586" y="185441"/>
                      <a:pt x="593518" y="185177"/>
                      <a:pt x="592313" y="183373"/>
                    </a:cubicBezTo>
                    <a:cubicBezTo>
                      <a:pt x="595992" y="178063"/>
                      <a:pt x="599632" y="172843"/>
                      <a:pt x="604579" y="165689"/>
                    </a:cubicBezTo>
                    <a:cubicBezTo>
                      <a:pt x="605112" y="164927"/>
                      <a:pt x="605708" y="164165"/>
                      <a:pt x="606241" y="163349"/>
                    </a:cubicBezTo>
                    <a:lnTo>
                      <a:pt x="579135" y="163349"/>
                    </a:lnTo>
                    <a:cubicBezTo>
                      <a:pt x="585388" y="158228"/>
                      <a:pt x="592263" y="153918"/>
                      <a:pt x="599594" y="150522"/>
                    </a:cubicBezTo>
                    <a:cubicBezTo>
                      <a:pt x="605251" y="147282"/>
                      <a:pt x="610515" y="143366"/>
                      <a:pt x="618113" y="138102"/>
                    </a:cubicBezTo>
                    <a:cubicBezTo>
                      <a:pt x="619318" y="137248"/>
                      <a:pt x="620586" y="136393"/>
                      <a:pt x="621880" y="135492"/>
                    </a:cubicBezTo>
                    <a:cubicBezTo>
                      <a:pt x="605746" y="124874"/>
                      <a:pt x="595954" y="118439"/>
                      <a:pt x="586745" y="112364"/>
                    </a:cubicBezTo>
                    <a:cubicBezTo>
                      <a:pt x="580365" y="116280"/>
                      <a:pt x="574606" y="119835"/>
                      <a:pt x="567643" y="124154"/>
                    </a:cubicBezTo>
                    <a:cubicBezTo>
                      <a:pt x="563736" y="126539"/>
                      <a:pt x="559461" y="129149"/>
                      <a:pt x="554565" y="132208"/>
                    </a:cubicBezTo>
                    <a:cubicBezTo>
                      <a:pt x="561884" y="122175"/>
                      <a:pt x="565892" y="116729"/>
                      <a:pt x="571778" y="108675"/>
                    </a:cubicBezTo>
                    <a:cubicBezTo>
                      <a:pt x="572222" y="108091"/>
                      <a:pt x="572678" y="107460"/>
                      <a:pt x="573122" y="106830"/>
                    </a:cubicBezTo>
                    <a:cubicBezTo>
                      <a:pt x="563152" y="110835"/>
                      <a:pt x="556227" y="113624"/>
                      <a:pt x="549796" y="116190"/>
                    </a:cubicBezTo>
                    <a:cubicBezTo>
                      <a:pt x="548451" y="116729"/>
                      <a:pt x="547145" y="117269"/>
                      <a:pt x="545839" y="117764"/>
                    </a:cubicBezTo>
                    <a:cubicBezTo>
                      <a:pt x="543416" y="108405"/>
                      <a:pt x="557356" y="98460"/>
                      <a:pt x="548096" y="88787"/>
                    </a:cubicBezTo>
                    <a:cubicBezTo>
                      <a:pt x="547170" y="87780"/>
                      <a:pt x="546130" y="86889"/>
                      <a:pt x="544989" y="86133"/>
                    </a:cubicBezTo>
                    <a:cubicBezTo>
                      <a:pt x="537175" y="92701"/>
                      <a:pt x="529806" y="98960"/>
                      <a:pt x="522386" y="105210"/>
                    </a:cubicBezTo>
                    <a:cubicBezTo>
                      <a:pt x="529311" y="98733"/>
                      <a:pt x="526838" y="94542"/>
                      <a:pt x="523147" y="90586"/>
                    </a:cubicBezTo>
                    <a:cubicBezTo>
                      <a:pt x="520990" y="88595"/>
                      <a:pt x="519037" y="86377"/>
                      <a:pt x="517350" y="83972"/>
                    </a:cubicBezTo>
                    <a:cubicBezTo>
                      <a:pt x="530567" y="85369"/>
                      <a:pt x="530516" y="74973"/>
                      <a:pt x="534118" y="68449"/>
                    </a:cubicBezTo>
                    <a:cubicBezTo>
                      <a:pt x="534283" y="68103"/>
                      <a:pt x="534473" y="67772"/>
                      <a:pt x="534702" y="67458"/>
                    </a:cubicBezTo>
                    <a:cubicBezTo>
                      <a:pt x="528322" y="50283"/>
                      <a:pt x="512187" y="38685"/>
                      <a:pt x="493897" y="38121"/>
                    </a:cubicBezTo>
                    <a:cubicBezTo>
                      <a:pt x="489584" y="48066"/>
                      <a:pt x="485234" y="57980"/>
                      <a:pt x="480857" y="67864"/>
                    </a:cubicBezTo>
                    <a:cubicBezTo>
                      <a:pt x="479830" y="70339"/>
                      <a:pt x="478739" y="72768"/>
                      <a:pt x="477661" y="75198"/>
                    </a:cubicBezTo>
                    <a:cubicBezTo>
                      <a:pt x="476887" y="73743"/>
                      <a:pt x="476037" y="72332"/>
                      <a:pt x="475099" y="70969"/>
                    </a:cubicBezTo>
                    <a:cubicBezTo>
                      <a:pt x="474033" y="69304"/>
                      <a:pt x="472854" y="67639"/>
                      <a:pt x="471687" y="65974"/>
                    </a:cubicBezTo>
                    <a:cubicBezTo>
                      <a:pt x="468199" y="61411"/>
                      <a:pt x="465180" y="56512"/>
                      <a:pt x="462656" y="51350"/>
                    </a:cubicBezTo>
                    <a:cubicBezTo>
                      <a:pt x="462148" y="50209"/>
                      <a:pt x="461717" y="49037"/>
                      <a:pt x="461349" y="47841"/>
                    </a:cubicBezTo>
                    <a:cubicBezTo>
                      <a:pt x="459282" y="41392"/>
                      <a:pt x="459447" y="34435"/>
                      <a:pt x="461806" y="28087"/>
                    </a:cubicBezTo>
                    <a:cubicBezTo>
                      <a:pt x="462288" y="26552"/>
                      <a:pt x="462884" y="25049"/>
                      <a:pt x="463556" y="23588"/>
                    </a:cubicBezTo>
                    <a:cubicBezTo>
                      <a:pt x="457531" y="26962"/>
                      <a:pt x="452635" y="29752"/>
                      <a:pt x="448272" y="32224"/>
                    </a:cubicBezTo>
                    <a:lnTo>
                      <a:pt x="448183" y="32268"/>
                    </a:lnTo>
                    <a:cubicBezTo>
                      <a:pt x="447917" y="32403"/>
                      <a:pt x="447599" y="32583"/>
                      <a:pt x="447384" y="32673"/>
                    </a:cubicBezTo>
                    <a:lnTo>
                      <a:pt x="447333" y="32718"/>
                    </a:lnTo>
                    <a:cubicBezTo>
                      <a:pt x="442970" y="35193"/>
                      <a:pt x="439114" y="37398"/>
                      <a:pt x="435283" y="39558"/>
                    </a:cubicBezTo>
                    <a:lnTo>
                      <a:pt x="435283" y="54671"/>
                    </a:lnTo>
                    <a:cubicBezTo>
                      <a:pt x="434903" y="54802"/>
                      <a:pt x="434522" y="54952"/>
                      <a:pt x="434154" y="55120"/>
                    </a:cubicBezTo>
                    <a:cubicBezTo>
                      <a:pt x="433710" y="55256"/>
                      <a:pt x="433266" y="55435"/>
                      <a:pt x="432759" y="55616"/>
                    </a:cubicBezTo>
                    <a:cubicBezTo>
                      <a:pt x="432226" y="54356"/>
                      <a:pt x="431732" y="53052"/>
                      <a:pt x="431186" y="51792"/>
                    </a:cubicBezTo>
                    <a:cubicBezTo>
                      <a:pt x="430971" y="51206"/>
                      <a:pt x="430742" y="50667"/>
                      <a:pt x="430514" y="50081"/>
                    </a:cubicBezTo>
                    <a:cubicBezTo>
                      <a:pt x="429664" y="48101"/>
                      <a:pt x="428852" y="46077"/>
                      <a:pt x="428041" y="44097"/>
                    </a:cubicBezTo>
                    <a:cubicBezTo>
                      <a:pt x="428002" y="44007"/>
                      <a:pt x="427914" y="43962"/>
                      <a:pt x="427863" y="43872"/>
                    </a:cubicBezTo>
                    <a:cubicBezTo>
                      <a:pt x="427394" y="43237"/>
                      <a:pt x="426962" y="42576"/>
                      <a:pt x="426556" y="41892"/>
                    </a:cubicBezTo>
                    <a:cubicBezTo>
                      <a:pt x="425427" y="40185"/>
                      <a:pt x="424730" y="38221"/>
                      <a:pt x="424540" y="36177"/>
                    </a:cubicBezTo>
                    <a:lnTo>
                      <a:pt x="424540" y="36088"/>
                    </a:lnTo>
                    <a:cubicBezTo>
                      <a:pt x="424096" y="29248"/>
                      <a:pt x="431998" y="25693"/>
                      <a:pt x="437300" y="22184"/>
                    </a:cubicBezTo>
                    <a:cubicBezTo>
                      <a:pt x="443959" y="17775"/>
                      <a:pt x="450466" y="13095"/>
                      <a:pt x="449388" y="6166"/>
                    </a:cubicBezTo>
                    <a:cubicBezTo>
                      <a:pt x="449160" y="4752"/>
                      <a:pt x="448703" y="3385"/>
                      <a:pt x="448043" y="2116"/>
                    </a:cubicBezTo>
                    <a:cubicBezTo>
                      <a:pt x="447676" y="1373"/>
                      <a:pt x="447232" y="666"/>
                      <a:pt x="446737" y="1"/>
                    </a:cubicBezTo>
                    <a:lnTo>
                      <a:pt x="316902" y="1"/>
                    </a:lnTo>
                    <a:cubicBezTo>
                      <a:pt x="316496" y="1845"/>
                      <a:pt x="316052" y="3646"/>
                      <a:pt x="315595" y="5490"/>
                    </a:cubicBezTo>
                    <a:cubicBezTo>
                      <a:pt x="315418" y="6252"/>
                      <a:pt x="315240" y="6975"/>
                      <a:pt x="315063" y="7741"/>
                    </a:cubicBezTo>
                    <a:cubicBezTo>
                      <a:pt x="313173" y="7606"/>
                      <a:pt x="311283" y="7516"/>
                      <a:pt x="309443" y="7380"/>
                    </a:cubicBezTo>
                    <a:lnTo>
                      <a:pt x="309443" y="1"/>
                    </a:lnTo>
                    <a:lnTo>
                      <a:pt x="268233" y="1"/>
                    </a:lnTo>
                    <a:cubicBezTo>
                      <a:pt x="268093" y="192"/>
                      <a:pt x="267941" y="372"/>
                      <a:pt x="267776" y="541"/>
                    </a:cubicBezTo>
                    <a:cubicBezTo>
                      <a:pt x="266165" y="2340"/>
                      <a:pt x="264541" y="4230"/>
                      <a:pt x="262829" y="6166"/>
                    </a:cubicBezTo>
                    <a:cubicBezTo>
                      <a:pt x="262068" y="7020"/>
                      <a:pt x="261269" y="7875"/>
                      <a:pt x="260495" y="8776"/>
                    </a:cubicBezTo>
                    <a:cubicBezTo>
                      <a:pt x="260076" y="7329"/>
                      <a:pt x="259772" y="5855"/>
                      <a:pt x="259556" y="4365"/>
                    </a:cubicBezTo>
                    <a:cubicBezTo>
                      <a:pt x="259341" y="2919"/>
                      <a:pt x="259227" y="1462"/>
                      <a:pt x="259201" y="1"/>
                    </a:cubicBezTo>
                    <a:lnTo>
                      <a:pt x="123303" y="1"/>
                    </a:lnTo>
                    <a:cubicBezTo>
                      <a:pt x="121870" y="1938"/>
                      <a:pt x="120119" y="3614"/>
                      <a:pt x="118128" y="4954"/>
                    </a:cubicBezTo>
                    <a:cubicBezTo>
                      <a:pt x="118965" y="5339"/>
                      <a:pt x="119764" y="5807"/>
                      <a:pt x="120513" y="6351"/>
                    </a:cubicBezTo>
                    <a:lnTo>
                      <a:pt x="120550" y="6397"/>
                    </a:lnTo>
                    <a:cubicBezTo>
                      <a:pt x="124406" y="9667"/>
                      <a:pt x="127273" y="13932"/>
                      <a:pt x="128871" y="18726"/>
                    </a:cubicBezTo>
                    <a:cubicBezTo>
                      <a:pt x="129988" y="21246"/>
                      <a:pt x="131028" y="23806"/>
                      <a:pt x="132334" y="26105"/>
                    </a:cubicBezTo>
                    <a:cubicBezTo>
                      <a:pt x="136013" y="32540"/>
                      <a:pt x="141543" y="36900"/>
                      <a:pt x="155204" y="32989"/>
                    </a:cubicBezTo>
                    <a:cubicBezTo>
                      <a:pt x="154937" y="34879"/>
                      <a:pt x="154658" y="36769"/>
                      <a:pt x="154392" y="38614"/>
                    </a:cubicBezTo>
                    <a:cubicBezTo>
                      <a:pt x="151919" y="56342"/>
                      <a:pt x="149673" y="72451"/>
                      <a:pt x="147339" y="88965"/>
                    </a:cubicBezTo>
                    <a:cubicBezTo>
                      <a:pt x="147022" y="91214"/>
                      <a:pt x="146705" y="93419"/>
                      <a:pt x="146401" y="95669"/>
                    </a:cubicBezTo>
                    <a:cubicBezTo>
                      <a:pt x="143610" y="90815"/>
                      <a:pt x="140198" y="86352"/>
                      <a:pt x="136241" y="82395"/>
                    </a:cubicBezTo>
                    <a:cubicBezTo>
                      <a:pt x="132791" y="79302"/>
                      <a:pt x="127730" y="78844"/>
                      <a:pt x="123785" y="81270"/>
                    </a:cubicBezTo>
                    <a:lnTo>
                      <a:pt x="123747" y="81315"/>
                    </a:lnTo>
                    <a:cubicBezTo>
                      <a:pt x="120309" y="82831"/>
                      <a:pt x="116974" y="84575"/>
                      <a:pt x="113764" y="86534"/>
                    </a:cubicBezTo>
                    <a:cubicBezTo>
                      <a:pt x="109147" y="89234"/>
                      <a:pt x="104061" y="91214"/>
                      <a:pt x="99216" y="93554"/>
                    </a:cubicBezTo>
                    <a:cubicBezTo>
                      <a:pt x="98759" y="92474"/>
                      <a:pt x="98264" y="91395"/>
                      <a:pt x="97770" y="90315"/>
                    </a:cubicBezTo>
                    <a:cubicBezTo>
                      <a:pt x="111392" y="81806"/>
                      <a:pt x="125053" y="73261"/>
                      <a:pt x="139792" y="64037"/>
                    </a:cubicBezTo>
                    <a:cubicBezTo>
                      <a:pt x="141682" y="62822"/>
                      <a:pt x="143610" y="61607"/>
                      <a:pt x="145589" y="60392"/>
                    </a:cubicBezTo>
                    <a:cubicBezTo>
                      <a:pt x="141835" y="57937"/>
                      <a:pt x="138258" y="55246"/>
                      <a:pt x="134846" y="52338"/>
                    </a:cubicBezTo>
                    <a:cubicBezTo>
                      <a:pt x="129277" y="46810"/>
                      <a:pt x="124001" y="40997"/>
                      <a:pt x="119028" y="34924"/>
                    </a:cubicBezTo>
                    <a:cubicBezTo>
                      <a:pt x="110454" y="24906"/>
                      <a:pt x="104505" y="12905"/>
                      <a:pt x="101727" y="7"/>
                    </a:cubicBezTo>
                    <a:lnTo>
                      <a:pt x="2410" y="7"/>
                    </a:lnTo>
                    <a:cubicBezTo>
                      <a:pt x="977" y="3138"/>
                      <a:pt x="152" y="6513"/>
                      <a:pt x="-25" y="9952"/>
                    </a:cubicBezTo>
                    <a:cubicBezTo>
                      <a:pt x="-63" y="11617"/>
                      <a:pt x="1281" y="13236"/>
                      <a:pt x="1382" y="14905"/>
                    </a:cubicBezTo>
                    <a:cubicBezTo>
                      <a:pt x="2118" y="22260"/>
                      <a:pt x="2296" y="29661"/>
                      <a:pt x="1915" y="37043"/>
                    </a:cubicBezTo>
                    <a:cubicBezTo>
                      <a:pt x="748" y="48021"/>
                      <a:pt x="1243" y="54456"/>
                      <a:pt x="5201" y="58821"/>
                    </a:cubicBezTo>
                    <a:cubicBezTo>
                      <a:pt x="9894" y="62936"/>
                      <a:pt x="15652" y="65621"/>
                      <a:pt x="21829" y="66561"/>
                    </a:cubicBezTo>
                    <a:cubicBezTo>
                      <a:pt x="28362" y="68994"/>
                      <a:pt x="35249" y="70317"/>
                      <a:pt x="42226" y="70475"/>
                    </a:cubicBezTo>
                    <a:cubicBezTo>
                      <a:pt x="54669" y="69031"/>
                      <a:pt x="66744" y="75298"/>
                      <a:pt x="72744" y="86313"/>
                    </a:cubicBezTo>
                    <a:cubicBezTo>
                      <a:pt x="74444" y="88698"/>
                      <a:pt x="76067" y="91218"/>
                      <a:pt x="77729" y="93827"/>
                    </a:cubicBezTo>
                    <a:cubicBezTo>
                      <a:pt x="61645" y="98642"/>
                      <a:pt x="61861" y="97877"/>
                      <a:pt x="41782" y="91938"/>
                    </a:cubicBezTo>
                    <a:cubicBezTo>
                      <a:pt x="37736" y="91006"/>
                      <a:pt x="33512" y="91240"/>
                      <a:pt x="29605" y="92613"/>
                    </a:cubicBezTo>
                    <a:cubicBezTo>
                      <a:pt x="27347" y="93259"/>
                      <a:pt x="25216" y="94278"/>
                      <a:pt x="23301" y="95627"/>
                    </a:cubicBezTo>
                    <a:cubicBezTo>
                      <a:pt x="22870" y="95936"/>
                      <a:pt x="22464" y="96283"/>
                      <a:pt x="22096" y="96662"/>
                    </a:cubicBezTo>
                    <a:cubicBezTo>
                      <a:pt x="18874" y="99790"/>
                      <a:pt x="18138" y="104692"/>
                      <a:pt x="20295" y="108632"/>
                    </a:cubicBezTo>
                    <a:cubicBezTo>
                      <a:pt x="21119" y="110592"/>
                      <a:pt x="22147" y="112461"/>
                      <a:pt x="23352" y="114211"/>
                    </a:cubicBezTo>
                    <a:cubicBezTo>
                      <a:pt x="26764" y="119206"/>
                      <a:pt x="28971" y="125054"/>
                      <a:pt x="32294" y="130095"/>
                    </a:cubicBezTo>
                    <a:cubicBezTo>
                      <a:pt x="40615" y="142738"/>
                      <a:pt x="68837" y="153942"/>
                      <a:pt x="79352" y="149083"/>
                    </a:cubicBezTo>
                    <a:cubicBezTo>
                      <a:pt x="81065" y="148321"/>
                      <a:pt x="82549" y="147598"/>
                      <a:pt x="83893" y="147013"/>
                    </a:cubicBezTo>
                    <a:cubicBezTo>
                      <a:pt x="85796" y="146065"/>
                      <a:pt x="87800" y="145326"/>
                      <a:pt x="89868" y="144808"/>
                    </a:cubicBezTo>
                    <a:cubicBezTo>
                      <a:pt x="94091" y="143773"/>
                      <a:pt x="95664" y="145753"/>
                      <a:pt x="98404" y="151873"/>
                    </a:cubicBezTo>
                    <a:cubicBezTo>
                      <a:pt x="98772" y="152635"/>
                      <a:pt x="99127" y="153448"/>
                      <a:pt x="99533" y="154347"/>
                    </a:cubicBezTo>
                    <a:cubicBezTo>
                      <a:pt x="99939" y="155337"/>
                      <a:pt x="100383" y="156282"/>
                      <a:pt x="100789" y="157268"/>
                    </a:cubicBezTo>
                    <a:cubicBezTo>
                      <a:pt x="104568" y="165547"/>
                      <a:pt x="109198" y="173016"/>
                      <a:pt x="119663" y="170676"/>
                    </a:cubicBezTo>
                    <a:cubicBezTo>
                      <a:pt x="145868" y="164873"/>
                      <a:pt x="169144" y="188630"/>
                      <a:pt x="195742" y="177336"/>
                    </a:cubicBezTo>
                    <a:cubicBezTo>
                      <a:pt x="197683" y="176526"/>
                      <a:pt x="201539" y="180576"/>
                      <a:pt x="204558" y="182241"/>
                    </a:cubicBezTo>
                    <a:cubicBezTo>
                      <a:pt x="220730" y="191195"/>
                      <a:pt x="223204" y="192500"/>
                      <a:pt x="231791" y="182286"/>
                    </a:cubicBezTo>
                    <a:cubicBezTo>
                      <a:pt x="232146" y="181836"/>
                      <a:pt x="232514" y="181431"/>
                      <a:pt x="232920" y="180935"/>
                    </a:cubicBezTo>
                    <a:cubicBezTo>
                      <a:pt x="234036" y="179539"/>
                      <a:pt x="235292" y="177966"/>
                      <a:pt x="236687" y="176167"/>
                    </a:cubicBezTo>
                    <a:lnTo>
                      <a:pt x="237537" y="176167"/>
                    </a:lnTo>
                    <a:cubicBezTo>
                      <a:pt x="237423" y="176059"/>
                      <a:pt x="237321" y="175937"/>
                      <a:pt x="237232" y="175806"/>
                    </a:cubicBezTo>
                    <a:cubicBezTo>
                      <a:pt x="237943" y="175356"/>
                      <a:pt x="238666" y="174861"/>
                      <a:pt x="239427" y="174321"/>
                    </a:cubicBezTo>
                    <a:cubicBezTo>
                      <a:pt x="240327" y="173647"/>
                      <a:pt x="241266" y="172971"/>
                      <a:pt x="242166" y="172341"/>
                    </a:cubicBezTo>
                    <a:cubicBezTo>
                      <a:pt x="243866" y="170731"/>
                      <a:pt x="246124" y="169829"/>
                      <a:pt x="248458" y="169822"/>
                    </a:cubicBezTo>
                    <a:cubicBezTo>
                      <a:pt x="261383" y="171192"/>
                      <a:pt x="273966" y="174832"/>
                      <a:pt x="285623" y="180576"/>
                    </a:cubicBezTo>
                    <a:cubicBezTo>
                      <a:pt x="295567" y="187186"/>
                      <a:pt x="308213" y="188190"/>
                      <a:pt x="319058" y="183230"/>
                    </a:cubicBezTo>
                    <a:cubicBezTo>
                      <a:pt x="321760" y="175180"/>
                      <a:pt x="320707" y="166343"/>
                      <a:pt x="316179" y="159158"/>
                    </a:cubicBezTo>
                    <a:cubicBezTo>
                      <a:pt x="311828" y="153394"/>
                      <a:pt x="306069" y="148841"/>
                      <a:pt x="299461" y="145929"/>
                    </a:cubicBezTo>
                    <a:cubicBezTo>
                      <a:pt x="298256" y="145294"/>
                      <a:pt x="297000" y="144714"/>
                      <a:pt x="295732" y="144130"/>
                    </a:cubicBezTo>
                    <a:cubicBezTo>
                      <a:pt x="302518" y="136256"/>
                      <a:pt x="307909" y="130001"/>
                      <a:pt x="314251" y="122621"/>
                    </a:cubicBezTo>
                    <a:cubicBezTo>
                      <a:pt x="314530" y="124018"/>
                      <a:pt x="314796" y="125415"/>
                      <a:pt x="315113" y="126761"/>
                    </a:cubicBezTo>
                    <a:cubicBezTo>
                      <a:pt x="315646" y="129146"/>
                      <a:pt x="316280" y="131440"/>
                      <a:pt x="317003" y="133600"/>
                    </a:cubicBezTo>
                    <a:cubicBezTo>
                      <a:pt x="320834" y="148711"/>
                      <a:pt x="334457" y="159267"/>
                      <a:pt x="350033" y="159203"/>
                    </a:cubicBezTo>
                    <a:cubicBezTo>
                      <a:pt x="350248" y="161498"/>
                      <a:pt x="350477" y="163703"/>
                      <a:pt x="350705" y="165862"/>
                    </a:cubicBezTo>
                    <a:cubicBezTo>
                      <a:pt x="351377" y="172339"/>
                      <a:pt x="351961" y="178371"/>
                      <a:pt x="352633" y="184671"/>
                    </a:cubicBezTo>
                    <a:cubicBezTo>
                      <a:pt x="352684" y="185433"/>
                      <a:pt x="352773" y="186245"/>
                      <a:pt x="352861" y="187010"/>
                    </a:cubicBezTo>
                    <a:cubicBezTo>
                      <a:pt x="357656" y="186667"/>
                      <a:pt x="362463" y="187550"/>
                      <a:pt x="366839" y="189575"/>
                    </a:cubicBezTo>
                    <a:cubicBezTo>
                      <a:pt x="367283" y="189800"/>
                      <a:pt x="367740" y="190025"/>
                      <a:pt x="368184" y="190295"/>
                    </a:cubicBezTo>
                    <a:cubicBezTo>
                      <a:pt x="371165" y="191973"/>
                      <a:pt x="373790" y="194220"/>
                      <a:pt x="375909" y="196910"/>
                    </a:cubicBezTo>
                    <a:cubicBezTo>
                      <a:pt x="376365" y="197495"/>
                      <a:pt x="376809" y="198079"/>
                      <a:pt x="377215" y="198665"/>
                    </a:cubicBezTo>
                    <a:cubicBezTo>
                      <a:pt x="379295" y="201827"/>
                      <a:pt x="380843" y="205307"/>
                      <a:pt x="381807" y="208968"/>
                    </a:cubicBezTo>
                    <a:cubicBezTo>
                      <a:pt x="382162" y="210228"/>
                      <a:pt x="382517" y="211353"/>
                      <a:pt x="382923" y="212433"/>
                    </a:cubicBezTo>
                    <a:cubicBezTo>
                      <a:pt x="383189" y="213153"/>
                      <a:pt x="383494" y="213859"/>
                      <a:pt x="383823" y="214549"/>
                    </a:cubicBezTo>
                    <a:cubicBezTo>
                      <a:pt x="386627" y="220340"/>
                      <a:pt x="391231" y="225060"/>
                      <a:pt x="396952" y="228002"/>
                    </a:cubicBezTo>
                    <a:cubicBezTo>
                      <a:pt x="403915" y="232320"/>
                      <a:pt x="412274" y="237406"/>
                      <a:pt x="409623" y="247260"/>
                    </a:cubicBezTo>
                    <a:lnTo>
                      <a:pt x="409623" y="247304"/>
                    </a:lnTo>
                    <a:lnTo>
                      <a:pt x="409217" y="248520"/>
                    </a:lnTo>
                    <a:cubicBezTo>
                      <a:pt x="405387" y="259315"/>
                      <a:pt x="395734" y="256889"/>
                      <a:pt x="387109" y="256215"/>
                    </a:cubicBezTo>
                    <a:cubicBezTo>
                      <a:pt x="385840" y="256079"/>
                      <a:pt x="384407" y="257924"/>
                      <a:pt x="382796" y="259049"/>
                    </a:cubicBezTo>
                    <a:lnTo>
                      <a:pt x="382796" y="282807"/>
                    </a:lnTo>
                    <a:lnTo>
                      <a:pt x="382885" y="282762"/>
                    </a:lnTo>
                    <a:cubicBezTo>
                      <a:pt x="394301" y="275967"/>
                      <a:pt x="404955" y="269623"/>
                      <a:pt x="414697" y="263818"/>
                    </a:cubicBezTo>
                    <a:cubicBezTo>
                      <a:pt x="415128" y="263516"/>
                      <a:pt x="415572" y="263245"/>
                      <a:pt x="416041" y="263009"/>
                    </a:cubicBezTo>
                    <a:cubicBezTo>
                      <a:pt x="420760" y="260173"/>
                      <a:pt x="425212" y="257519"/>
                      <a:pt x="429487" y="254999"/>
                    </a:cubicBezTo>
                    <a:cubicBezTo>
                      <a:pt x="430577" y="256164"/>
                      <a:pt x="431516" y="257464"/>
                      <a:pt x="432277" y="258869"/>
                    </a:cubicBezTo>
                    <a:cubicBezTo>
                      <a:pt x="433139" y="260307"/>
                      <a:pt x="433824" y="261848"/>
                      <a:pt x="434307" y="263459"/>
                    </a:cubicBezTo>
                    <a:cubicBezTo>
                      <a:pt x="435042" y="265763"/>
                      <a:pt x="435588" y="268126"/>
                      <a:pt x="435917" y="270523"/>
                    </a:cubicBezTo>
                    <a:cubicBezTo>
                      <a:pt x="436146" y="271603"/>
                      <a:pt x="436285" y="272682"/>
                      <a:pt x="436463" y="273718"/>
                    </a:cubicBezTo>
                    <a:cubicBezTo>
                      <a:pt x="436742" y="276083"/>
                      <a:pt x="437186" y="278427"/>
                      <a:pt x="437769" y="280737"/>
                    </a:cubicBezTo>
                    <a:cubicBezTo>
                      <a:pt x="437795" y="280956"/>
                      <a:pt x="437858" y="281169"/>
                      <a:pt x="437947" y="281372"/>
                    </a:cubicBezTo>
                    <a:cubicBezTo>
                      <a:pt x="439418" y="287956"/>
                      <a:pt x="444517" y="293124"/>
                      <a:pt x="451062" y="294691"/>
                    </a:cubicBezTo>
                    <a:cubicBezTo>
                      <a:pt x="451925" y="292036"/>
                      <a:pt x="452686" y="289611"/>
                      <a:pt x="453409" y="287356"/>
                    </a:cubicBezTo>
                    <a:cubicBezTo>
                      <a:pt x="453625" y="286594"/>
                      <a:pt x="453853" y="285916"/>
                      <a:pt x="454081" y="285197"/>
                    </a:cubicBezTo>
                    <a:cubicBezTo>
                      <a:pt x="454487" y="283892"/>
                      <a:pt x="454893" y="282588"/>
                      <a:pt x="455286" y="281328"/>
                    </a:cubicBezTo>
                    <a:cubicBezTo>
                      <a:pt x="456681" y="282692"/>
                      <a:pt x="457899" y="284217"/>
                      <a:pt x="458926" y="285872"/>
                    </a:cubicBezTo>
                    <a:cubicBezTo>
                      <a:pt x="460690" y="288615"/>
                      <a:pt x="461654" y="291793"/>
                      <a:pt x="461717" y="295051"/>
                    </a:cubicBezTo>
                    <a:cubicBezTo>
                      <a:pt x="461742" y="297923"/>
                      <a:pt x="461451" y="300789"/>
                      <a:pt x="460867" y="303600"/>
                    </a:cubicBezTo>
                    <a:cubicBezTo>
                      <a:pt x="460816" y="303745"/>
                      <a:pt x="460791" y="303897"/>
                      <a:pt x="460778" y="304051"/>
                    </a:cubicBezTo>
                    <a:cubicBezTo>
                      <a:pt x="460728" y="304275"/>
                      <a:pt x="460690" y="304500"/>
                      <a:pt x="460639" y="304679"/>
                    </a:cubicBezTo>
                    <a:cubicBezTo>
                      <a:pt x="460601" y="304781"/>
                      <a:pt x="460588" y="304888"/>
                      <a:pt x="460601" y="304995"/>
                    </a:cubicBezTo>
                    <a:cubicBezTo>
                      <a:pt x="465497" y="308865"/>
                      <a:pt x="470444" y="311834"/>
                      <a:pt x="474528" y="314625"/>
                    </a:cubicBezTo>
                    <a:cubicBezTo>
                      <a:pt x="474794" y="314849"/>
                      <a:pt x="475073" y="315030"/>
                      <a:pt x="475340" y="315260"/>
                    </a:cubicBezTo>
                    <a:cubicBezTo>
                      <a:pt x="478727" y="317264"/>
                      <a:pt x="481479" y="320199"/>
                      <a:pt x="483242" y="323718"/>
                    </a:cubicBezTo>
                    <a:cubicBezTo>
                      <a:pt x="483432" y="324213"/>
                      <a:pt x="483648" y="324753"/>
                      <a:pt x="483838" y="325242"/>
                    </a:cubicBezTo>
                    <a:cubicBezTo>
                      <a:pt x="485310" y="329021"/>
                      <a:pt x="486705" y="332801"/>
                      <a:pt x="488011" y="336626"/>
                    </a:cubicBezTo>
                    <a:cubicBezTo>
                      <a:pt x="490700" y="344365"/>
                      <a:pt x="493136" y="352195"/>
                      <a:pt x="495432" y="360069"/>
                    </a:cubicBezTo>
                    <a:cubicBezTo>
                      <a:pt x="498121" y="369340"/>
                      <a:pt x="500594" y="378697"/>
                      <a:pt x="503106" y="388009"/>
                    </a:cubicBezTo>
                    <a:cubicBezTo>
                      <a:pt x="504133" y="392989"/>
                      <a:pt x="503131" y="398170"/>
                      <a:pt x="500315" y="402407"/>
                    </a:cubicBezTo>
                    <a:cubicBezTo>
                      <a:pt x="488227" y="418201"/>
                      <a:pt x="475835" y="433776"/>
                      <a:pt x="463062" y="449744"/>
                    </a:cubicBezTo>
                    <a:cubicBezTo>
                      <a:pt x="459789" y="453838"/>
                      <a:pt x="456453" y="457977"/>
                      <a:pt x="453130" y="462162"/>
                    </a:cubicBezTo>
                    <a:cubicBezTo>
                      <a:pt x="450073" y="465987"/>
                      <a:pt x="447029" y="469811"/>
                      <a:pt x="443959" y="473681"/>
                    </a:cubicBezTo>
                    <a:cubicBezTo>
                      <a:pt x="445342" y="479692"/>
                      <a:pt x="448716" y="485056"/>
                      <a:pt x="453536" y="488889"/>
                    </a:cubicBezTo>
                    <a:cubicBezTo>
                      <a:pt x="460753" y="494064"/>
                      <a:pt x="465573" y="501931"/>
                      <a:pt x="466930" y="510713"/>
                    </a:cubicBezTo>
                    <a:cubicBezTo>
                      <a:pt x="466968" y="512360"/>
                      <a:pt x="466816" y="514006"/>
                      <a:pt x="466486" y="515617"/>
                    </a:cubicBezTo>
                    <a:cubicBezTo>
                      <a:pt x="459979" y="516523"/>
                      <a:pt x="453612" y="518152"/>
                      <a:pt x="447473" y="520476"/>
                    </a:cubicBezTo>
                    <a:cubicBezTo>
                      <a:pt x="443870" y="522277"/>
                      <a:pt x="440331" y="523987"/>
                      <a:pt x="436780" y="525556"/>
                    </a:cubicBezTo>
                    <a:cubicBezTo>
                      <a:pt x="436552" y="525603"/>
                      <a:pt x="436336" y="525678"/>
                      <a:pt x="436146" y="525781"/>
                    </a:cubicBezTo>
                    <a:cubicBezTo>
                      <a:pt x="418515" y="535393"/>
                      <a:pt x="397155" y="535103"/>
                      <a:pt x="379790" y="525019"/>
                    </a:cubicBezTo>
                    <a:cubicBezTo>
                      <a:pt x="374792" y="523157"/>
                      <a:pt x="369478" y="522315"/>
                      <a:pt x="364150" y="522544"/>
                    </a:cubicBezTo>
                    <a:cubicBezTo>
                      <a:pt x="363783" y="523039"/>
                      <a:pt x="363478" y="523535"/>
                      <a:pt x="363161" y="524029"/>
                    </a:cubicBezTo>
                    <a:cubicBezTo>
                      <a:pt x="362755" y="524664"/>
                      <a:pt x="362349" y="525244"/>
                      <a:pt x="361994" y="525828"/>
                    </a:cubicBezTo>
                    <a:cubicBezTo>
                      <a:pt x="361233" y="527044"/>
                      <a:pt x="360472" y="528259"/>
                      <a:pt x="359749" y="529429"/>
                    </a:cubicBezTo>
                    <a:cubicBezTo>
                      <a:pt x="359203" y="530373"/>
                      <a:pt x="358620" y="531318"/>
                      <a:pt x="358074" y="532223"/>
                    </a:cubicBezTo>
                    <a:cubicBezTo>
                      <a:pt x="355741" y="536397"/>
                      <a:pt x="352861" y="540254"/>
                      <a:pt x="349538" y="543697"/>
                    </a:cubicBezTo>
                    <a:cubicBezTo>
                      <a:pt x="340063" y="551887"/>
                      <a:pt x="335776" y="564590"/>
                      <a:pt x="338351" y="576859"/>
                    </a:cubicBezTo>
                    <a:cubicBezTo>
                      <a:pt x="338680" y="578095"/>
                      <a:pt x="339112" y="579300"/>
                      <a:pt x="339657" y="580458"/>
                    </a:cubicBezTo>
                    <a:cubicBezTo>
                      <a:pt x="346976" y="593697"/>
                      <a:pt x="361969" y="600723"/>
                      <a:pt x="376822" y="597873"/>
                    </a:cubicBezTo>
                    <a:cubicBezTo>
                      <a:pt x="386792" y="593804"/>
                      <a:pt x="396394" y="588896"/>
                      <a:pt x="405539" y="583204"/>
                    </a:cubicBezTo>
                    <a:lnTo>
                      <a:pt x="405577" y="583158"/>
                    </a:lnTo>
                    <a:cubicBezTo>
                      <a:pt x="406160" y="582844"/>
                      <a:pt x="406794" y="582523"/>
                      <a:pt x="407429" y="582169"/>
                    </a:cubicBezTo>
                    <a:cubicBezTo>
                      <a:pt x="408634" y="581494"/>
                      <a:pt x="409902" y="580819"/>
                      <a:pt x="411158" y="580144"/>
                    </a:cubicBezTo>
                    <a:cubicBezTo>
                      <a:pt x="413403" y="581269"/>
                      <a:pt x="417221" y="583294"/>
                      <a:pt x="421217" y="585004"/>
                    </a:cubicBezTo>
                    <a:cubicBezTo>
                      <a:pt x="425047" y="586623"/>
                      <a:pt x="429081" y="587883"/>
                      <a:pt x="432861" y="589233"/>
                    </a:cubicBezTo>
                    <a:cubicBezTo>
                      <a:pt x="434636" y="585424"/>
                      <a:pt x="436881" y="581857"/>
                      <a:pt x="439558" y="578614"/>
                    </a:cubicBezTo>
                    <a:cubicBezTo>
                      <a:pt x="439964" y="578254"/>
                      <a:pt x="440319" y="577894"/>
                      <a:pt x="440725" y="577579"/>
                    </a:cubicBezTo>
                    <a:cubicBezTo>
                      <a:pt x="444428" y="575117"/>
                      <a:pt x="448944" y="574213"/>
                      <a:pt x="453307" y="575060"/>
                    </a:cubicBezTo>
                    <a:cubicBezTo>
                      <a:pt x="453751" y="575104"/>
                      <a:pt x="454246" y="575149"/>
                      <a:pt x="454791" y="575194"/>
                    </a:cubicBezTo>
                    <a:cubicBezTo>
                      <a:pt x="459548" y="575599"/>
                      <a:pt x="465801" y="576500"/>
                      <a:pt x="474211" y="577714"/>
                    </a:cubicBezTo>
                    <a:cubicBezTo>
                      <a:pt x="474414" y="580193"/>
                      <a:pt x="474782" y="582658"/>
                      <a:pt x="475289" y="585094"/>
                    </a:cubicBezTo>
                    <a:lnTo>
                      <a:pt x="475289" y="585138"/>
                    </a:lnTo>
                    <a:cubicBezTo>
                      <a:pt x="475467" y="585993"/>
                      <a:pt x="475695" y="586848"/>
                      <a:pt x="475923" y="587704"/>
                    </a:cubicBezTo>
                    <a:cubicBezTo>
                      <a:pt x="478904" y="599194"/>
                      <a:pt x="485259" y="609524"/>
                      <a:pt x="494163" y="617356"/>
                    </a:cubicBezTo>
                    <a:cubicBezTo>
                      <a:pt x="494315" y="617558"/>
                      <a:pt x="494506" y="617739"/>
                      <a:pt x="494709" y="617896"/>
                    </a:cubicBezTo>
                    <a:cubicBezTo>
                      <a:pt x="498197" y="621034"/>
                      <a:pt x="501901" y="623950"/>
                      <a:pt x="505757" y="626626"/>
                    </a:cubicBezTo>
                    <a:cubicBezTo>
                      <a:pt x="506657" y="627260"/>
                      <a:pt x="507558" y="627884"/>
                      <a:pt x="508458" y="628425"/>
                    </a:cubicBezTo>
                    <a:cubicBezTo>
                      <a:pt x="510741" y="630000"/>
                      <a:pt x="513037" y="631485"/>
                      <a:pt x="515422" y="632925"/>
                    </a:cubicBezTo>
                    <a:cubicBezTo>
                      <a:pt x="516272" y="633464"/>
                      <a:pt x="517134" y="633960"/>
                      <a:pt x="517984" y="634449"/>
                    </a:cubicBezTo>
                    <a:lnTo>
                      <a:pt x="522157" y="637014"/>
                    </a:lnTo>
                    <a:cubicBezTo>
                      <a:pt x="522233" y="637015"/>
                      <a:pt x="522297" y="637048"/>
                      <a:pt x="522347" y="637104"/>
                    </a:cubicBezTo>
                    <a:lnTo>
                      <a:pt x="522386" y="637104"/>
                    </a:lnTo>
                    <a:cubicBezTo>
                      <a:pt x="523197" y="637598"/>
                      <a:pt x="524009" y="638049"/>
                      <a:pt x="524808" y="638543"/>
                    </a:cubicBezTo>
                    <a:cubicBezTo>
                      <a:pt x="524884" y="638544"/>
                      <a:pt x="524948" y="638577"/>
                      <a:pt x="524986" y="638633"/>
                    </a:cubicBezTo>
                    <a:lnTo>
                      <a:pt x="525037" y="638679"/>
                    </a:lnTo>
                    <a:cubicBezTo>
                      <a:pt x="525480" y="638904"/>
                      <a:pt x="525937" y="639173"/>
                      <a:pt x="526381" y="639398"/>
                    </a:cubicBezTo>
                    <a:cubicBezTo>
                      <a:pt x="526546" y="639520"/>
                      <a:pt x="526711" y="639625"/>
                      <a:pt x="526876" y="639714"/>
                    </a:cubicBezTo>
                    <a:cubicBezTo>
                      <a:pt x="528766" y="640794"/>
                      <a:pt x="530605" y="641919"/>
                      <a:pt x="532495" y="642998"/>
                    </a:cubicBezTo>
                    <a:cubicBezTo>
                      <a:pt x="532000" y="643633"/>
                      <a:pt x="531505" y="644303"/>
                      <a:pt x="530973" y="644934"/>
                    </a:cubicBezTo>
                    <a:cubicBezTo>
                      <a:pt x="530339" y="645743"/>
                      <a:pt x="529666" y="646507"/>
                      <a:pt x="528943" y="647318"/>
                    </a:cubicBezTo>
                    <a:cubicBezTo>
                      <a:pt x="528867" y="647371"/>
                      <a:pt x="528804" y="647450"/>
                      <a:pt x="528766" y="647542"/>
                    </a:cubicBezTo>
                    <a:cubicBezTo>
                      <a:pt x="526127" y="650300"/>
                      <a:pt x="523679" y="653231"/>
                      <a:pt x="521434" y="656317"/>
                    </a:cubicBezTo>
                    <a:cubicBezTo>
                      <a:pt x="520572" y="657494"/>
                      <a:pt x="519912" y="658821"/>
                      <a:pt x="519506" y="660232"/>
                    </a:cubicBezTo>
                    <a:cubicBezTo>
                      <a:pt x="518999" y="661737"/>
                      <a:pt x="519202" y="663389"/>
                      <a:pt x="520052" y="664732"/>
                    </a:cubicBezTo>
                    <a:cubicBezTo>
                      <a:pt x="520635" y="665670"/>
                      <a:pt x="521409" y="666469"/>
                      <a:pt x="522335" y="667071"/>
                    </a:cubicBezTo>
                    <a:cubicBezTo>
                      <a:pt x="522525" y="667248"/>
                      <a:pt x="522741" y="667385"/>
                      <a:pt x="522969" y="667476"/>
                    </a:cubicBezTo>
                    <a:cubicBezTo>
                      <a:pt x="523235" y="667682"/>
                      <a:pt x="523527" y="667862"/>
                      <a:pt x="523832" y="668016"/>
                    </a:cubicBezTo>
                    <a:cubicBezTo>
                      <a:pt x="529577" y="671415"/>
                      <a:pt x="534993" y="675347"/>
                      <a:pt x="540004" y="679760"/>
                    </a:cubicBezTo>
                    <a:cubicBezTo>
                      <a:pt x="540372" y="680030"/>
                      <a:pt x="540676" y="680345"/>
                      <a:pt x="541044" y="680615"/>
                    </a:cubicBezTo>
                    <a:cubicBezTo>
                      <a:pt x="551737" y="689389"/>
                      <a:pt x="562201" y="697533"/>
                      <a:pt x="576052" y="694159"/>
                    </a:cubicBezTo>
                    <a:cubicBezTo>
                      <a:pt x="577714" y="695734"/>
                      <a:pt x="579287" y="697309"/>
                      <a:pt x="580771" y="698928"/>
                    </a:cubicBezTo>
                    <a:cubicBezTo>
                      <a:pt x="581570" y="699784"/>
                      <a:pt x="582382" y="700639"/>
                      <a:pt x="583155" y="701493"/>
                    </a:cubicBezTo>
                    <a:cubicBezTo>
                      <a:pt x="583473" y="701801"/>
                      <a:pt x="583777" y="702131"/>
                      <a:pt x="584043" y="702483"/>
                    </a:cubicBezTo>
                    <a:cubicBezTo>
                      <a:pt x="584500" y="702932"/>
                      <a:pt x="584906" y="703383"/>
                      <a:pt x="585261" y="703788"/>
                    </a:cubicBezTo>
                    <a:cubicBezTo>
                      <a:pt x="590918" y="711133"/>
                      <a:pt x="597983" y="717281"/>
                      <a:pt x="606025" y="721877"/>
                    </a:cubicBezTo>
                    <a:cubicBezTo>
                      <a:pt x="628489" y="731956"/>
                      <a:pt x="652627" y="738300"/>
                      <a:pt x="679809" y="747389"/>
                    </a:cubicBezTo>
                    <a:cubicBezTo>
                      <a:pt x="677564" y="739874"/>
                      <a:pt x="676131" y="733306"/>
                      <a:pt x="673974" y="727231"/>
                    </a:cubicBezTo>
                    <a:cubicBezTo>
                      <a:pt x="673530" y="725881"/>
                      <a:pt x="673036" y="724576"/>
                      <a:pt x="672490" y="723271"/>
                    </a:cubicBezTo>
                    <a:cubicBezTo>
                      <a:pt x="672363" y="723001"/>
                      <a:pt x="672275" y="722732"/>
                      <a:pt x="672135" y="722461"/>
                    </a:cubicBezTo>
                    <a:cubicBezTo>
                      <a:pt x="669598" y="716723"/>
                      <a:pt x="666288" y="711362"/>
                      <a:pt x="662292" y="706533"/>
                    </a:cubicBezTo>
                    <a:cubicBezTo>
                      <a:pt x="658576" y="702005"/>
                      <a:pt x="654504" y="697777"/>
                      <a:pt x="650115" y="693889"/>
                    </a:cubicBezTo>
                    <a:cubicBezTo>
                      <a:pt x="646158" y="690199"/>
                      <a:pt x="641985" y="686689"/>
                      <a:pt x="637888" y="683180"/>
                    </a:cubicBezTo>
                    <a:lnTo>
                      <a:pt x="635338" y="681021"/>
                    </a:lnTo>
                    <a:cubicBezTo>
                      <a:pt x="634070" y="679941"/>
                      <a:pt x="632814" y="678816"/>
                      <a:pt x="631596" y="677691"/>
                    </a:cubicBezTo>
                    <a:cubicBezTo>
                      <a:pt x="630429" y="676702"/>
                      <a:pt x="629262" y="675668"/>
                      <a:pt x="628096" y="674587"/>
                    </a:cubicBezTo>
                    <a:cubicBezTo>
                      <a:pt x="618887" y="666432"/>
                      <a:pt x="611048" y="656840"/>
                      <a:pt x="604883" y="646181"/>
                    </a:cubicBezTo>
                    <a:cubicBezTo>
                      <a:pt x="602093" y="641219"/>
                      <a:pt x="599708" y="636044"/>
                      <a:pt x="597742" y="630704"/>
                    </a:cubicBezTo>
                    <a:cubicBezTo>
                      <a:pt x="603843" y="631699"/>
                      <a:pt x="609780" y="633515"/>
                      <a:pt x="615399" y="636102"/>
                    </a:cubicBezTo>
                    <a:cubicBezTo>
                      <a:pt x="620967" y="639902"/>
                      <a:pt x="626802" y="643271"/>
                      <a:pt x="632877" y="646181"/>
                    </a:cubicBezTo>
                    <a:lnTo>
                      <a:pt x="632877" y="646224"/>
                    </a:lnTo>
                    <a:cubicBezTo>
                      <a:pt x="634767" y="647213"/>
                      <a:pt x="636657" y="648204"/>
                      <a:pt x="638496" y="649284"/>
                    </a:cubicBezTo>
                    <a:cubicBezTo>
                      <a:pt x="643037" y="651791"/>
                      <a:pt x="647261" y="654859"/>
                      <a:pt x="651041" y="658417"/>
                    </a:cubicBezTo>
                    <a:cubicBezTo>
                      <a:pt x="652297" y="659633"/>
                      <a:pt x="653641" y="660848"/>
                      <a:pt x="654986" y="661973"/>
                    </a:cubicBezTo>
                    <a:cubicBezTo>
                      <a:pt x="655176" y="662126"/>
                      <a:pt x="655366" y="662291"/>
                      <a:pt x="655531" y="662469"/>
                    </a:cubicBezTo>
                    <a:cubicBezTo>
                      <a:pt x="658626" y="665034"/>
                      <a:pt x="661912" y="667422"/>
                      <a:pt x="665285" y="669708"/>
                    </a:cubicBezTo>
                    <a:cubicBezTo>
                      <a:pt x="665438" y="669766"/>
                      <a:pt x="665577" y="669859"/>
                      <a:pt x="665691" y="669978"/>
                    </a:cubicBezTo>
                    <a:cubicBezTo>
                      <a:pt x="668964" y="672137"/>
                      <a:pt x="672300" y="674207"/>
                      <a:pt x="675712" y="676233"/>
                    </a:cubicBezTo>
                    <a:cubicBezTo>
                      <a:pt x="676562" y="676773"/>
                      <a:pt x="677412" y="677268"/>
                      <a:pt x="678274" y="677757"/>
                    </a:cubicBezTo>
                    <a:cubicBezTo>
                      <a:pt x="681191" y="679512"/>
                      <a:pt x="684109" y="681222"/>
                      <a:pt x="687039" y="682977"/>
                    </a:cubicBezTo>
                    <a:cubicBezTo>
                      <a:pt x="687255" y="683111"/>
                      <a:pt x="687483" y="683247"/>
                      <a:pt x="687673" y="683382"/>
                    </a:cubicBezTo>
                    <a:cubicBezTo>
                      <a:pt x="688523" y="683831"/>
                      <a:pt x="689373" y="684371"/>
                      <a:pt x="690184" y="684866"/>
                    </a:cubicBezTo>
                    <a:cubicBezTo>
                      <a:pt x="690717" y="685181"/>
                      <a:pt x="691263" y="685542"/>
                      <a:pt x="691795" y="685901"/>
                    </a:cubicBezTo>
                    <a:cubicBezTo>
                      <a:pt x="693368" y="686802"/>
                      <a:pt x="694852" y="687747"/>
                      <a:pt x="696387" y="688736"/>
                    </a:cubicBezTo>
                    <a:cubicBezTo>
                      <a:pt x="702805" y="685632"/>
                      <a:pt x="708703" y="682796"/>
                      <a:pt x="713194" y="680592"/>
                    </a:cubicBezTo>
                    <a:cubicBezTo>
                      <a:pt x="712648" y="677442"/>
                      <a:pt x="712153" y="674383"/>
                      <a:pt x="711671" y="671368"/>
                    </a:cubicBezTo>
                    <a:cubicBezTo>
                      <a:pt x="711494" y="670198"/>
                      <a:pt x="711266" y="669073"/>
                      <a:pt x="711088" y="667949"/>
                    </a:cubicBezTo>
                    <a:cubicBezTo>
                      <a:pt x="710543" y="664619"/>
                      <a:pt x="710010" y="661289"/>
                      <a:pt x="709426" y="657869"/>
                    </a:cubicBezTo>
                    <a:cubicBezTo>
                      <a:pt x="709338" y="657373"/>
                      <a:pt x="709249" y="656834"/>
                      <a:pt x="709160" y="656345"/>
                    </a:cubicBezTo>
                    <a:cubicBezTo>
                      <a:pt x="708399" y="651575"/>
                      <a:pt x="707537" y="646580"/>
                      <a:pt x="706636" y="641135"/>
                    </a:cubicBezTo>
                    <a:cubicBezTo>
                      <a:pt x="707448" y="641765"/>
                      <a:pt x="708209" y="642351"/>
                      <a:pt x="708932" y="642890"/>
                    </a:cubicBezTo>
                    <a:cubicBezTo>
                      <a:pt x="709743" y="643525"/>
                      <a:pt x="710505" y="644106"/>
                      <a:pt x="711227" y="644600"/>
                    </a:cubicBezTo>
                    <a:cubicBezTo>
                      <a:pt x="715756" y="648110"/>
                      <a:pt x="718775" y="650359"/>
                      <a:pt x="722504" y="653194"/>
                    </a:cubicBezTo>
                    <a:cubicBezTo>
                      <a:pt x="723138" y="650101"/>
                      <a:pt x="723240" y="646924"/>
                      <a:pt x="722821" y="643796"/>
                    </a:cubicBezTo>
                    <a:cubicBezTo>
                      <a:pt x="721870" y="637949"/>
                      <a:pt x="719498" y="632428"/>
                      <a:pt x="715895" y="627732"/>
                    </a:cubicBezTo>
                    <a:cubicBezTo>
                      <a:pt x="714094" y="625032"/>
                      <a:pt x="712115" y="622423"/>
                      <a:pt x="710327" y="619767"/>
                    </a:cubicBezTo>
                    <a:cubicBezTo>
                      <a:pt x="709743" y="618913"/>
                      <a:pt x="709160" y="618012"/>
                      <a:pt x="708615" y="617158"/>
                    </a:cubicBezTo>
                    <a:cubicBezTo>
                      <a:pt x="708209" y="616483"/>
                      <a:pt x="707803" y="615808"/>
                      <a:pt x="707448" y="615088"/>
                    </a:cubicBezTo>
                    <a:cubicBezTo>
                      <a:pt x="705926" y="612253"/>
                      <a:pt x="703363" y="608519"/>
                      <a:pt x="701283" y="605279"/>
                    </a:cubicBezTo>
                    <a:cubicBezTo>
                      <a:pt x="700180" y="603637"/>
                      <a:pt x="699165" y="601924"/>
                      <a:pt x="698277" y="600150"/>
                    </a:cubicBezTo>
                    <a:cubicBezTo>
                      <a:pt x="697782" y="599115"/>
                      <a:pt x="697605" y="598439"/>
                      <a:pt x="697871" y="598170"/>
                    </a:cubicBezTo>
                    <a:cubicBezTo>
                      <a:pt x="702640" y="593580"/>
                      <a:pt x="702869" y="590700"/>
                      <a:pt x="701334" y="588451"/>
                    </a:cubicBezTo>
                    <a:cubicBezTo>
                      <a:pt x="699584" y="585885"/>
                      <a:pt x="695588" y="584133"/>
                      <a:pt x="693470" y="581431"/>
                    </a:cubicBezTo>
                    <a:cubicBezTo>
                      <a:pt x="693356" y="581307"/>
                      <a:pt x="693242" y="581172"/>
                      <a:pt x="693153" y="581026"/>
                    </a:cubicBezTo>
                    <a:cubicBezTo>
                      <a:pt x="691618" y="578429"/>
                      <a:pt x="689944" y="575921"/>
                      <a:pt x="688117" y="573512"/>
                    </a:cubicBezTo>
                    <a:cubicBezTo>
                      <a:pt x="686696" y="571852"/>
                      <a:pt x="684971" y="570465"/>
                      <a:pt x="683043" y="569417"/>
                    </a:cubicBezTo>
                    <a:lnTo>
                      <a:pt x="682866" y="569327"/>
                    </a:lnTo>
                    <a:cubicBezTo>
                      <a:pt x="682371" y="569058"/>
                      <a:pt x="681927" y="568787"/>
                      <a:pt x="681433" y="568472"/>
                    </a:cubicBezTo>
                    <a:cubicBezTo>
                      <a:pt x="679593" y="567437"/>
                      <a:pt x="677792" y="566313"/>
                      <a:pt x="676080" y="565142"/>
                    </a:cubicBezTo>
                    <a:cubicBezTo>
                      <a:pt x="672046" y="562445"/>
                      <a:pt x="668266" y="559371"/>
                      <a:pt x="664804" y="555964"/>
                    </a:cubicBezTo>
                    <a:cubicBezTo>
                      <a:pt x="663637" y="554839"/>
                      <a:pt x="662508" y="553714"/>
                      <a:pt x="661480" y="552498"/>
                    </a:cubicBezTo>
                    <a:cubicBezTo>
                      <a:pt x="660326" y="551288"/>
                      <a:pt x="659248" y="550011"/>
                      <a:pt x="658246" y="548674"/>
                    </a:cubicBezTo>
                    <a:cubicBezTo>
                      <a:pt x="657396" y="547666"/>
                      <a:pt x="656597" y="546614"/>
                      <a:pt x="655861" y="545525"/>
                    </a:cubicBezTo>
                    <a:cubicBezTo>
                      <a:pt x="654466" y="543587"/>
                      <a:pt x="653172" y="541574"/>
                      <a:pt x="651993" y="539495"/>
                    </a:cubicBezTo>
                    <a:cubicBezTo>
                      <a:pt x="650356" y="536729"/>
                      <a:pt x="648898" y="533857"/>
                      <a:pt x="647629" y="530901"/>
                    </a:cubicBezTo>
                    <a:cubicBezTo>
                      <a:pt x="646399" y="528118"/>
                      <a:pt x="645333" y="525263"/>
                      <a:pt x="644445" y="522351"/>
                    </a:cubicBezTo>
                    <a:cubicBezTo>
                      <a:pt x="644268" y="521811"/>
                      <a:pt x="644128" y="521271"/>
                      <a:pt x="643951" y="520732"/>
                    </a:cubicBezTo>
                    <a:cubicBezTo>
                      <a:pt x="643456" y="519022"/>
                      <a:pt x="643012" y="517312"/>
                      <a:pt x="642606" y="515558"/>
                    </a:cubicBezTo>
                    <a:cubicBezTo>
                      <a:pt x="642213" y="513625"/>
                      <a:pt x="641934" y="511671"/>
                      <a:pt x="641744" y="509708"/>
                    </a:cubicBezTo>
                    <a:cubicBezTo>
                      <a:pt x="641655" y="508627"/>
                      <a:pt x="641528" y="507549"/>
                      <a:pt x="641388" y="506378"/>
                    </a:cubicBezTo>
                    <a:cubicBezTo>
                      <a:pt x="637254" y="507548"/>
                      <a:pt x="634019" y="508493"/>
                      <a:pt x="631228" y="509299"/>
                    </a:cubicBezTo>
                    <a:cubicBezTo>
                      <a:pt x="629795" y="509704"/>
                      <a:pt x="628438" y="510108"/>
                      <a:pt x="627144" y="510469"/>
                    </a:cubicBezTo>
                    <a:cubicBezTo>
                      <a:pt x="626015" y="507229"/>
                      <a:pt x="625026" y="504035"/>
                      <a:pt x="623999" y="500974"/>
                    </a:cubicBezTo>
                    <a:cubicBezTo>
                      <a:pt x="623643" y="499895"/>
                      <a:pt x="623275" y="498860"/>
                      <a:pt x="622870" y="497825"/>
                    </a:cubicBezTo>
                    <a:cubicBezTo>
                      <a:pt x="622692" y="497240"/>
                      <a:pt x="622464" y="496699"/>
                      <a:pt x="622235" y="496115"/>
                    </a:cubicBezTo>
                    <a:cubicBezTo>
                      <a:pt x="621703" y="494810"/>
                      <a:pt x="621157" y="493505"/>
                      <a:pt x="620624" y="492155"/>
                    </a:cubicBezTo>
                    <a:cubicBezTo>
                      <a:pt x="620168" y="491165"/>
                      <a:pt x="619724" y="490131"/>
                      <a:pt x="619267" y="489096"/>
                    </a:cubicBezTo>
                    <a:cubicBezTo>
                      <a:pt x="617974" y="486081"/>
                      <a:pt x="616477" y="482797"/>
                      <a:pt x="614739" y="478881"/>
                    </a:cubicBezTo>
                    <a:cubicBezTo>
                      <a:pt x="631723" y="485316"/>
                      <a:pt x="631723" y="485316"/>
                      <a:pt x="644851" y="481222"/>
                    </a:cubicBezTo>
                    <a:cubicBezTo>
                      <a:pt x="640539" y="473983"/>
                      <a:pt x="636213" y="466777"/>
                      <a:pt x="631545" y="458903"/>
                    </a:cubicBezTo>
                    <a:cubicBezTo>
                      <a:pt x="631317" y="458544"/>
                      <a:pt x="631089" y="458183"/>
                      <a:pt x="630873" y="457868"/>
                    </a:cubicBezTo>
                    <a:cubicBezTo>
                      <a:pt x="630379" y="456969"/>
                      <a:pt x="629833" y="456068"/>
                      <a:pt x="629250" y="455123"/>
                    </a:cubicBezTo>
                    <a:lnTo>
                      <a:pt x="629199" y="455033"/>
                    </a:lnTo>
                    <a:cubicBezTo>
                      <a:pt x="628616" y="454044"/>
                      <a:pt x="628032" y="453053"/>
                      <a:pt x="627411" y="452018"/>
                    </a:cubicBezTo>
                    <a:cubicBezTo>
                      <a:pt x="627791" y="451981"/>
                      <a:pt x="628184" y="451966"/>
                      <a:pt x="628577" y="451974"/>
                    </a:cubicBezTo>
                    <a:cubicBezTo>
                      <a:pt x="629605" y="451884"/>
                      <a:pt x="630645" y="451839"/>
                      <a:pt x="631584" y="451839"/>
                    </a:cubicBezTo>
                    <a:cubicBezTo>
                      <a:pt x="635605" y="452256"/>
                      <a:pt x="639651" y="451763"/>
                      <a:pt x="643456" y="450399"/>
                    </a:cubicBezTo>
                    <a:cubicBezTo>
                      <a:pt x="644128" y="450002"/>
                      <a:pt x="644775" y="449549"/>
                      <a:pt x="645384" y="449049"/>
                    </a:cubicBezTo>
                    <a:cubicBezTo>
                      <a:pt x="646006" y="448603"/>
                      <a:pt x="646589" y="448107"/>
                      <a:pt x="647134" y="447564"/>
                    </a:cubicBezTo>
                    <a:cubicBezTo>
                      <a:pt x="650014" y="444910"/>
                      <a:pt x="652398" y="441580"/>
                      <a:pt x="654910" y="438970"/>
                    </a:cubicBezTo>
                    <a:cubicBezTo>
                      <a:pt x="655633" y="439869"/>
                      <a:pt x="656343" y="440770"/>
                      <a:pt x="657028" y="441625"/>
                    </a:cubicBezTo>
                    <a:cubicBezTo>
                      <a:pt x="658461" y="443424"/>
                      <a:pt x="659895" y="445225"/>
                      <a:pt x="661290" y="446979"/>
                    </a:cubicBezTo>
                    <a:cubicBezTo>
                      <a:pt x="664169" y="450579"/>
                      <a:pt x="666998" y="454091"/>
                      <a:pt x="669738" y="457599"/>
                    </a:cubicBezTo>
                    <a:cubicBezTo>
                      <a:pt x="670017" y="457914"/>
                      <a:pt x="670283" y="458273"/>
                      <a:pt x="670550" y="458588"/>
                    </a:cubicBezTo>
                    <a:cubicBezTo>
                      <a:pt x="675407" y="464662"/>
                      <a:pt x="680164" y="470653"/>
                      <a:pt x="684971" y="476677"/>
                    </a:cubicBezTo>
                    <a:cubicBezTo>
                      <a:pt x="686328" y="478342"/>
                      <a:pt x="687673" y="480051"/>
                      <a:pt x="689018" y="481757"/>
                    </a:cubicBezTo>
                    <a:cubicBezTo>
                      <a:pt x="689779" y="482701"/>
                      <a:pt x="690502" y="483601"/>
                      <a:pt x="691263" y="484551"/>
                    </a:cubicBezTo>
                    <a:cubicBezTo>
                      <a:pt x="700484" y="480007"/>
                      <a:pt x="708475" y="476042"/>
                      <a:pt x="716441" y="472133"/>
                    </a:cubicBezTo>
                    <a:cubicBezTo>
                      <a:pt x="716745" y="473077"/>
                      <a:pt x="716936" y="473932"/>
                      <a:pt x="717113" y="474697"/>
                    </a:cubicBezTo>
                    <a:cubicBezTo>
                      <a:pt x="719219" y="487566"/>
                      <a:pt x="699228" y="482751"/>
                      <a:pt x="699584" y="497014"/>
                    </a:cubicBezTo>
                    <a:cubicBezTo>
                      <a:pt x="699698" y="497292"/>
                      <a:pt x="699837" y="497563"/>
                      <a:pt x="699989" y="497825"/>
                    </a:cubicBezTo>
                    <a:cubicBezTo>
                      <a:pt x="701917" y="502131"/>
                      <a:pt x="704061" y="506336"/>
                      <a:pt x="706407" y="510424"/>
                    </a:cubicBezTo>
                    <a:cubicBezTo>
                      <a:pt x="706598" y="510774"/>
                      <a:pt x="706801" y="511105"/>
                      <a:pt x="707042" y="511414"/>
                    </a:cubicBezTo>
                    <a:cubicBezTo>
                      <a:pt x="708272" y="513603"/>
                      <a:pt x="709630" y="515723"/>
                      <a:pt x="711088" y="517764"/>
                    </a:cubicBezTo>
                    <a:cubicBezTo>
                      <a:pt x="711329" y="518159"/>
                      <a:pt x="711596" y="518535"/>
                      <a:pt x="711900" y="518888"/>
                    </a:cubicBezTo>
                    <a:cubicBezTo>
                      <a:pt x="713714" y="521502"/>
                      <a:pt x="715705" y="523984"/>
                      <a:pt x="717874" y="526312"/>
                    </a:cubicBezTo>
                    <a:cubicBezTo>
                      <a:pt x="718381" y="526944"/>
                      <a:pt x="718914" y="527545"/>
                      <a:pt x="719498" y="528112"/>
                    </a:cubicBezTo>
                    <a:cubicBezTo>
                      <a:pt x="722225" y="530987"/>
                      <a:pt x="725218" y="533594"/>
                      <a:pt x="728440" y="535897"/>
                    </a:cubicBezTo>
                    <a:cubicBezTo>
                      <a:pt x="728833" y="536222"/>
                      <a:pt x="729264" y="536523"/>
                      <a:pt x="729696" y="536796"/>
                    </a:cubicBezTo>
                    <a:cubicBezTo>
                      <a:pt x="732169" y="538519"/>
                      <a:pt x="734770" y="540053"/>
                      <a:pt x="737471" y="541386"/>
                    </a:cubicBezTo>
                    <a:cubicBezTo>
                      <a:pt x="737598" y="541464"/>
                      <a:pt x="737737" y="541525"/>
                      <a:pt x="737877" y="541566"/>
                    </a:cubicBezTo>
                    <a:cubicBezTo>
                      <a:pt x="740122" y="542705"/>
                      <a:pt x="742431" y="543712"/>
                      <a:pt x="744790" y="544581"/>
                    </a:cubicBezTo>
                    <a:cubicBezTo>
                      <a:pt x="745018" y="544625"/>
                      <a:pt x="745247" y="544716"/>
                      <a:pt x="745475" y="544761"/>
                    </a:cubicBezTo>
                    <a:cubicBezTo>
                      <a:pt x="747745" y="545584"/>
                      <a:pt x="750079" y="546275"/>
                      <a:pt x="752439" y="546830"/>
                    </a:cubicBezTo>
                    <a:lnTo>
                      <a:pt x="752439" y="501609"/>
                    </a:lnTo>
                    <a:cubicBezTo>
                      <a:pt x="754049" y="502047"/>
                      <a:pt x="755686" y="502379"/>
                      <a:pt x="757335" y="502600"/>
                    </a:cubicBezTo>
                    <a:cubicBezTo>
                      <a:pt x="757880" y="502704"/>
                      <a:pt x="758438" y="502764"/>
                      <a:pt x="758996" y="502779"/>
                    </a:cubicBezTo>
                    <a:cubicBezTo>
                      <a:pt x="764895" y="503608"/>
                      <a:pt x="770843" y="501608"/>
                      <a:pt x="775042" y="497380"/>
                    </a:cubicBezTo>
                    <a:cubicBezTo>
                      <a:pt x="775308" y="497155"/>
                      <a:pt x="775536" y="496885"/>
                      <a:pt x="775803" y="496660"/>
                    </a:cubicBezTo>
                    <a:cubicBezTo>
                      <a:pt x="778213" y="493955"/>
                      <a:pt x="780319" y="490998"/>
                      <a:pt x="782094" y="487841"/>
                    </a:cubicBezTo>
                    <a:lnTo>
                      <a:pt x="784251" y="484331"/>
                    </a:lnTo>
                    <a:cubicBezTo>
                      <a:pt x="785709" y="481768"/>
                      <a:pt x="787371" y="479330"/>
                      <a:pt x="789236" y="477042"/>
                    </a:cubicBezTo>
                    <a:cubicBezTo>
                      <a:pt x="789641" y="476592"/>
                      <a:pt x="789997" y="476186"/>
                      <a:pt x="790402" y="475781"/>
                    </a:cubicBezTo>
                    <a:cubicBezTo>
                      <a:pt x="788170" y="473171"/>
                      <a:pt x="785671" y="470804"/>
                      <a:pt x="782944" y="468717"/>
                    </a:cubicBezTo>
                    <a:cubicBezTo>
                      <a:pt x="779849" y="465883"/>
                      <a:pt x="777870" y="462823"/>
                      <a:pt x="781422" y="458773"/>
                    </a:cubicBezTo>
                    <a:cubicBezTo>
                      <a:pt x="782285" y="457751"/>
                      <a:pt x="783274" y="456830"/>
                      <a:pt x="784339" y="456029"/>
                    </a:cubicBezTo>
                    <a:cubicBezTo>
                      <a:pt x="784796" y="455714"/>
                      <a:pt x="785329" y="455353"/>
                      <a:pt x="785861" y="454994"/>
                    </a:cubicBezTo>
                    <a:cubicBezTo>
                      <a:pt x="790808" y="456391"/>
                      <a:pt x="795527" y="457694"/>
                      <a:pt x="798089" y="458414"/>
                    </a:cubicBezTo>
                    <a:cubicBezTo>
                      <a:pt x="798444" y="457873"/>
                      <a:pt x="798761" y="457289"/>
                      <a:pt x="799078" y="456749"/>
                    </a:cubicBezTo>
                    <a:lnTo>
                      <a:pt x="799116" y="456749"/>
                    </a:lnTo>
                    <a:lnTo>
                      <a:pt x="799218" y="456569"/>
                    </a:lnTo>
                    <a:cubicBezTo>
                      <a:pt x="801501" y="452789"/>
                      <a:pt x="803619" y="449279"/>
                      <a:pt x="805636" y="445949"/>
                    </a:cubicBezTo>
                    <a:cubicBezTo>
                      <a:pt x="806042" y="445275"/>
                      <a:pt x="806448" y="444600"/>
                      <a:pt x="806854" y="443970"/>
                    </a:cubicBezTo>
                    <a:cubicBezTo>
                      <a:pt x="808921" y="440550"/>
                      <a:pt x="810900" y="437310"/>
                      <a:pt x="812879" y="434071"/>
                    </a:cubicBezTo>
                    <a:cubicBezTo>
                      <a:pt x="810748" y="431505"/>
                      <a:pt x="808909" y="429301"/>
                      <a:pt x="807285" y="427456"/>
                    </a:cubicBezTo>
                    <a:close/>
                    <a:moveTo>
                      <a:pt x="507139" y="112170"/>
                    </a:moveTo>
                    <a:cubicBezTo>
                      <a:pt x="506086" y="111944"/>
                      <a:pt x="505148" y="111334"/>
                      <a:pt x="504526" y="110459"/>
                    </a:cubicBezTo>
                    <a:cubicBezTo>
                      <a:pt x="503765" y="109402"/>
                      <a:pt x="503194" y="108213"/>
                      <a:pt x="502865" y="106950"/>
                    </a:cubicBezTo>
                    <a:cubicBezTo>
                      <a:pt x="502585" y="105950"/>
                      <a:pt x="502408" y="104925"/>
                      <a:pt x="502319" y="103890"/>
                    </a:cubicBezTo>
                    <a:cubicBezTo>
                      <a:pt x="502053" y="100246"/>
                      <a:pt x="508116" y="96152"/>
                      <a:pt x="511629" y="92192"/>
                    </a:cubicBezTo>
                    <a:cubicBezTo>
                      <a:pt x="511794" y="92038"/>
                      <a:pt x="511934" y="91872"/>
                      <a:pt x="512073" y="91696"/>
                    </a:cubicBezTo>
                    <a:cubicBezTo>
                      <a:pt x="509511" y="97366"/>
                      <a:pt x="505198" y="103350"/>
                      <a:pt x="514635" y="107039"/>
                    </a:cubicBezTo>
                    <a:cubicBezTo>
                      <a:pt x="511718" y="111224"/>
                      <a:pt x="509156" y="112570"/>
                      <a:pt x="507139" y="112170"/>
                    </a:cubicBezTo>
                    <a:close/>
                    <a:moveTo>
                      <a:pt x="542896" y="124498"/>
                    </a:moveTo>
                    <a:cubicBezTo>
                      <a:pt x="541424" y="128277"/>
                      <a:pt x="539991" y="132013"/>
                      <a:pt x="538596" y="135613"/>
                    </a:cubicBezTo>
                    <a:cubicBezTo>
                      <a:pt x="535755" y="135162"/>
                      <a:pt x="533066" y="134757"/>
                      <a:pt x="530135" y="134307"/>
                    </a:cubicBezTo>
                    <a:cubicBezTo>
                      <a:pt x="529768" y="134222"/>
                      <a:pt x="529400" y="134161"/>
                      <a:pt x="529019" y="134127"/>
                    </a:cubicBezTo>
                    <a:cubicBezTo>
                      <a:pt x="528930" y="134127"/>
                      <a:pt x="528842" y="134083"/>
                      <a:pt x="528702" y="134083"/>
                    </a:cubicBezTo>
                    <a:cubicBezTo>
                      <a:pt x="527713" y="133902"/>
                      <a:pt x="526685" y="133768"/>
                      <a:pt x="525557" y="133543"/>
                    </a:cubicBezTo>
                    <a:cubicBezTo>
                      <a:pt x="523540" y="133272"/>
                      <a:pt x="521282" y="132908"/>
                      <a:pt x="518770" y="132508"/>
                    </a:cubicBezTo>
                    <a:cubicBezTo>
                      <a:pt x="529019" y="127242"/>
                      <a:pt x="537061" y="123059"/>
                      <a:pt x="545065" y="118919"/>
                    </a:cubicBezTo>
                    <a:cubicBezTo>
                      <a:pt x="544342" y="120809"/>
                      <a:pt x="543619" y="122654"/>
                      <a:pt x="542909" y="124498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77" name="Vrije vorm 476">
                <a:extLst>
                  <a:ext uri="{FF2B5EF4-FFF2-40B4-BE49-F238E27FC236}">
                    <a16:creationId xmlns:a16="http://schemas.microsoft.com/office/drawing/2014/main" id="{834F4185-1ACA-E54C-BBB9-BDA2D5C723F6}"/>
                  </a:ext>
                </a:extLst>
              </p:cNvPr>
              <p:cNvSpPr/>
              <p:nvPr/>
            </p:nvSpPr>
            <p:spPr>
              <a:xfrm>
                <a:off x="2109709" y="1399984"/>
                <a:ext cx="513431" cy="296908"/>
              </a:xfrm>
              <a:custGeom>
                <a:avLst/>
                <a:gdLst>
                  <a:gd name="connsiteX0" fmla="*/ 465231 w 513431"/>
                  <a:gd name="connsiteY0" fmla="*/ 213143 h 296908"/>
                  <a:gd name="connsiteX1" fmla="*/ 442222 w 513431"/>
                  <a:gd name="connsiteY1" fmla="*/ 203829 h 296908"/>
                  <a:gd name="connsiteX2" fmla="*/ 457684 w 513431"/>
                  <a:gd name="connsiteY2" fmla="*/ 232581 h 296908"/>
                  <a:gd name="connsiteX3" fmla="*/ 479881 w 513431"/>
                  <a:gd name="connsiteY3" fmla="*/ 220297 h 296908"/>
                  <a:gd name="connsiteX4" fmla="*/ 488329 w 513431"/>
                  <a:gd name="connsiteY4" fmla="*/ 244554 h 296908"/>
                  <a:gd name="connsiteX5" fmla="*/ 485044 w 513431"/>
                  <a:gd name="connsiteY5" fmla="*/ 257693 h 296908"/>
                  <a:gd name="connsiteX6" fmla="*/ 441905 w 513431"/>
                  <a:gd name="connsiteY6" fmla="*/ 272181 h 296908"/>
                  <a:gd name="connsiteX7" fmla="*/ 404651 w 513431"/>
                  <a:gd name="connsiteY7" fmla="*/ 267276 h 296908"/>
                  <a:gd name="connsiteX8" fmla="*/ 400110 w 513431"/>
                  <a:gd name="connsiteY8" fmla="*/ 265208 h 296908"/>
                  <a:gd name="connsiteX9" fmla="*/ 364696 w 513431"/>
                  <a:gd name="connsiteY9" fmla="*/ 242844 h 296908"/>
                  <a:gd name="connsiteX10" fmla="*/ 358988 w 513431"/>
                  <a:gd name="connsiteY10" fmla="*/ 220436 h 296908"/>
                  <a:gd name="connsiteX11" fmla="*/ 343437 w 513431"/>
                  <a:gd name="connsiteY11" fmla="*/ 236409 h 296908"/>
                  <a:gd name="connsiteX12" fmla="*/ 311981 w 513431"/>
                  <a:gd name="connsiteY12" fmla="*/ 263138 h 296908"/>
                  <a:gd name="connsiteX13" fmla="*/ 298003 w 513431"/>
                  <a:gd name="connsiteY13" fmla="*/ 267862 h 296908"/>
                  <a:gd name="connsiteX14" fmla="*/ 251312 w 513431"/>
                  <a:gd name="connsiteY14" fmla="*/ 287750 h 296908"/>
                  <a:gd name="connsiteX15" fmla="*/ 192039 w 513431"/>
                  <a:gd name="connsiteY15" fmla="*/ 296259 h 296908"/>
                  <a:gd name="connsiteX16" fmla="*/ 155990 w 513431"/>
                  <a:gd name="connsiteY16" fmla="*/ 266112 h 296908"/>
                  <a:gd name="connsiteX17" fmla="*/ 155952 w 513431"/>
                  <a:gd name="connsiteY17" fmla="*/ 240510 h 296908"/>
                  <a:gd name="connsiteX18" fmla="*/ 123823 w 513431"/>
                  <a:gd name="connsiteY18" fmla="*/ 237405 h 296908"/>
                  <a:gd name="connsiteX19" fmla="*/ 48099 w 513431"/>
                  <a:gd name="connsiteY19" fmla="*/ 175085 h 296908"/>
                  <a:gd name="connsiteX20" fmla="*/ 75953 w 513431"/>
                  <a:gd name="connsiteY20" fmla="*/ 164332 h 296908"/>
                  <a:gd name="connsiteX21" fmla="*/ 170958 w 513431"/>
                  <a:gd name="connsiteY21" fmla="*/ 157942 h 296908"/>
                  <a:gd name="connsiteX22" fmla="*/ 214325 w 513431"/>
                  <a:gd name="connsiteY22" fmla="*/ 154610 h 296908"/>
                  <a:gd name="connsiteX23" fmla="*/ 160671 w 513431"/>
                  <a:gd name="connsiteY23" fmla="*/ 122123 h 296908"/>
                  <a:gd name="connsiteX24" fmla="*/ 130609 w 513431"/>
                  <a:gd name="connsiteY24" fmla="*/ 121853 h 296908"/>
                  <a:gd name="connsiteX25" fmla="*/ 50889 w 513431"/>
                  <a:gd name="connsiteY25" fmla="*/ 124103 h 296908"/>
                  <a:gd name="connsiteX26" fmla="*/ 19521 w 513431"/>
                  <a:gd name="connsiteY26" fmla="*/ 94405 h 296908"/>
                  <a:gd name="connsiteX27" fmla="*/ 100091 w 513431"/>
                  <a:gd name="connsiteY27" fmla="*/ 44414 h 296908"/>
                  <a:gd name="connsiteX28" fmla="*/ 25990 w 513431"/>
                  <a:gd name="connsiteY28" fmla="*/ 58274 h 296908"/>
                  <a:gd name="connsiteX29" fmla="*/ 23745 w 513431"/>
                  <a:gd name="connsiteY29" fmla="*/ 53099 h 296908"/>
                  <a:gd name="connsiteX30" fmla="*/ 40907 w 513431"/>
                  <a:gd name="connsiteY30" fmla="*/ 37575 h 296908"/>
                  <a:gd name="connsiteX31" fmla="*/ 1357 w 513431"/>
                  <a:gd name="connsiteY31" fmla="*/ 32986 h 296908"/>
                  <a:gd name="connsiteX32" fmla="*/ 7383 w 513431"/>
                  <a:gd name="connsiteY32" fmla="*/ 4 h 296908"/>
                  <a:gd name="connsiteX33" fmla="*/ 303672 w 513431"/>
                  <a:gd name="connsiteY33" fmla="*/ 4 h 296908"/>
                  <a:gd name="connsiteX34" fmla="*/ 309824 w 513431"/>
                  <a:gd name="connsiteY34" fmla="*/ 27944 h 296908"/>
                  <a:gd name="connsiteX35" fmla="*/ 316927 w 513431"/>
                  <a:gd name="connsiteY35" fmla="*/ 36403 h 296908"/>
                  <a:gd name="connsiteX36" fmla="*/ 329383 w 513431"/>
                  <a:gd name="connsiteY36" fmla="*/ 24118 h 296908"/>
                  <a:gd name="connsiteX37" fmla="*/ 333518 w 513431"/>
                  <a:gd name="connsiteY37" fmla="*/ 10710 h 296908"/>
                  <a:gd name="connsiteX38" fmla="*/ 328128 w 513431"/>
                  <a:gd name="connsiteY38" fmla="*/ 1 h 296908"/>
                  <a:gd name="connsiteX39" fmla="*/ 403941 w 513431"/>
                  <a:gd name="connsiteY39" fmla="*/ 1 h 296908"/>
                  <a:gd name="connsiteX40" fmla="*/ 412249 w 513431"/>
                  <a:gd name="connsiteY40" fmla="*/ 30778 h 296908"/>
                  <a:gd name="connsiteX41" fmla="*/ 414545 w 513431"/>
                  <a:gd name="connsiteY41" fmla="*/ 91478 h 296908"/>
                  <a:gd name="connsiteX42" fmla="*/ 513405 w 513431"/>
                  <a:gd name="connsiteY42" fmla="*/ 173505 h 296908"/>
                  <a:gd name="connsiteX43" fmla="*/ 513405 w 513431"/>
                  <a:gd name="connsiteY43" fmla="*/ 203427 h 296908"/>
                  <a:gd name="connsiteX44" fmla="*/ 475480 w 513431"/>
                  <a:gd name="connsiteY44" fmla="*/ 189389 h 296908"/>
                  <a:gd name="connsiteX45" fmla="*/ 465231 w 513431"/>
                  <a:gd name="connsiteY45" fmla="*/ 213143 h 296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513431" h="296908">
                    <a:moveTo>
                      <a:pt x="465231" y="213143"/>
                    </a:moveTo>
                    <a:cubicBezTo>
                      <a:pt x="459079" y="210669"/>
                      <a:pt x="451786" y="207698"/>
                      <a:pt x="442222" y="203829"/>
                    </a:cubicBezTo>
                    <a:cubicBezTo>
                      <a:pt x="448145" y="214853"/>
                      <a:pt x="452876" y="223582"/>
                      <a:pt x="457684" y="232581"/>
                    </a:cubicBezTo>
                    <a:cubicBezTo>
                      <a:pt x="464685" y="228712"/>
                      <a:pt x="471789" y="224796"/>
                      <a:pt x="479881" y="220297"/>
                    </a:cubicBezTo>
                    <a:cubicBezTo>
                      <a:pt x="485627" y="228441"/>
                      <a:pt x="473717" y="241671"/>
                      <a:pt x="488329" y="244554"/>
                    </a:cubicBezTo>
                    <a:cubicBezTo>
                      <a:pt x="487339" y="249053"/>
                      <a:pt x="487783" y="256028"/>
                      <a:pt x="485044" y="257693"/>
                    </a:cubicBezTo>
                    <a:cubicBezTo>
                      <a:pt x="472879" y="267572"/>
                      <a:pt x="457557" y="272717"/>
                      <a:pt x="441905" y="272181"/>
                    </a:cubicBezTo>
                    <a:cubicBezTo>
                      <a:pt x="429500" y="270472"/>
                      <a:pt x="417056" y="268987"/>
                      <a:pt x="404651" y="267276"/>
                    </a:cubicBezTo>
                    <a:cubicBezTo>
                      <a:pt x="403028" y="267052"/>
                      <a:pt x="400148" y="265972"/>
                      <a:pt x="400110" y="265208"/>
                    </a:cubicBezTo>
                    <a:cubicBezTo>
                      <a:pt x="399438" y="240279"/>
                      <a:pt x="377723" y="248874"/>
                      <a:pt x="364696" y="242844"/>
                    </a:cubicBezTo>
                    <a:cubicBezTo>
                      <a:pt x="362946" y="236005"/>
                      <a:pt x="361106" y="228806"/>
                      <a:pt x="358988" y="220436"/>
                    </a:cubicBezTo>
                    <a:cubicBezTo>
                      <a:pt x="350820" y="221680"/>
                      <a:pt x="344465" y="228202"/>
                      <a:pt x="343437" y="236409"/>
                    </a:cubicBezTo>
                    <a:cubicBezTo>
                      <a:pt x="339987" y="251288"/>
                      <a:pt x="327202" y="262147"/>
                      <a:pt x="311981" y="263138"/>
                    </a:cubicBezTo>
                    <a:cubicBezTo>
                      <a:pt x="306945" y="263211"/>
                      <a:pt x="302049" y="264863"/>
                      <a:pt x="298003" y="267862"/>
                    </a:cubicBezTo>
                    <a:cubicBezTo>
                      <a:pt x="285623" y="280336"/>
                      <a:pt x="268867" y="287472"/>
                      <a:pt x="251312" y="287750"/>
                    </a:cubicBezTo>
                    <a:cubicBezTo>
                      <a:pt x="231499" y="290089"/>
                      <a:pt x="211814" y="293510"/>
                      <a:pt x="192039" y="296259"/>
                    </a:cubicBezTo>
                    <a:cubicBezTo>
                      <a:pt x="168218" y="299589"/>
                      <a:pt x="157069" y="290230"/>
                      <a:pt x="155990" y="266112"/>
                    </a:cubicBezTo>
                    <a:cubicBezTo>
                      <a:pt x="155673" y="258508"/>
                      <a:pt x="155952" y="250904"/>
                      <a:pt x="155952" y="240510"/>
                    </a:cubicBezTo>
                    <a:cubicBezTo>
                      <a:pt x="145387" y="238306"/>
                      <a:pt x="134605" y="237265"/>
                      <a:pt x="123823" y="237405"/>
                    </a:cubicBezTo>
                    <a:cubicBezTo>
                      <a:pt x="87953" y="242400"/>
                      <a:pt x="66161" y="225571"/>
                      <a:pt x="48099" y="175085"/>
                    </a:cubicBezTo>
                    <a:cubicBezTo>
                      <a:pt x="57308" y="171485"/>
                      <a:pt x="66466" y="167435"/>
                      <a:pt x="75953" y="164332"/>
                    </a:cubicBezTo>
                    <a:cubicBezTo>
                      <a:pt x="106484" y="153721"/>
                      <a:pt x="139285" y="151515"/>
                      <a:pt x="170958" y="157942"/>
                    </a:cubicBezTo>
                    <a:cubicBezTo>
                      <a:pt x="185494" y="158791"/>
                      <a:pt x="200081" y="157670"/>
                      <a:pt x="214325" y="154610"/>
                    </a:cubicBezTo>
                    <a:cubicBezTo>
                      <a:pt x="199764" y="134587"/>
                      <a:pt x="179405" y="129142"/>
                      <a:pt x="160671" y="122123"/>
                    </a:cubicBezTo>
                    <a:cubicBezTo>
                      <a:pt x="150917" y="118952"/>
                      <a:pt x="140427" y="118858"/>
                      <a:pt x="130609" y="121853"/>
                    </a:cubicBezTo>
                    <a:cubicBezTo>
                      <a:pt x="103998" y="129907"/>
                      <a:pt x="77349" y="125536"/>
                      <a:pt x="50889" y="124103"/>
                    </a:cubicBezTo>
                    <a:cubicBezTo>
                      <a:pt x="34616" y="123157"/>
                      <a:pt x="28553" y="107319"/>
                      <a:pt x="19521" y="94405"/>
                    </a:cubicBezTo>
                    <a:cubicBezTo>
                      <a:pt x="40780" y="68353"/>
                      <a:pt x="80596" y="73841"/>
                      <a:pt x="100091" y="44414"/>
                    </a:cubicBezTo>
                    <a:cubicBezTo>
                      <a:pt x="74609" y="49184"/>
                      <a:pt x="50306" y="53728"/>
                      <a:pt x="25990" y="58274"/>
                    </a:cubicBezTo>
                    <a:cubicBezTo>
                      <a:pt x="25229" y="56563"/>
                      <a:pt x="24506" y="54808"/>
                      <a:pt x="23745" y="53099"/>
                    </a:cubicBezTo>
                    <a:cubicBezTo>
                      <a:pt x="28413" y="48869"/>
                      <a:pt x="33093" y="44590"/>
                      <a:pt x="40907" y="37575"/>
                    </a:cubicBezTo>
                    <a:cubicBezTo>
                      <a:pt x="25724" y="35820"/>
                      <a:pt x="13851" y="34426"/>
                      <a:pt x="1357" y="32986"/>
                    </a:cubicBezTo>
                    <a:cubicBezTo>
                      <a:pt x="-1763" y="21648"/>
                      <a:pt x="457" y="9501"/>
                      <a:pt x="7383" y="4"/>
                    </a:cubicBezTo>
                    <a:lnTo>
                      <a:pt x="303672" y="4"/>
                    </a:lnTo>
                    <a:cubicBezTo>
                      <a:pt x="305651" y="9318"/>
                      <a:pt x="307668" y="18632"/>
                      <a:pt x="309824" y="27944"/>
                    </a:cubicBezTo>
                    <a:cubicBezTo>
                      <a:pt x="310509" y="30913"/>
                      <a:pt x="314099" y="33163"/>
                      <a:pt x="316927" y="36403"/>
                    </a:cubicBezTo>
                    <a:cubicBezTo>
                      <a:pt x="321481" y="32737"/>
                      <a:pt x="325654" y="28621"/>
                      <a:pt x="329383" y="24118"/>
                    </a:cubicBezTo>
                    <a:cubicBezTo>
                      <a:pt x="331945" y="20294"/>
                      <a:pt x="335180" y="13500"/>
                      <a:pt x="333518" y="10710"/>
                    </a:cubicBezTo>
                    <a:cubicBezTo>
                      <a:pt x="331476" y="7267"/>
                      <a:pt x="329675" y="3689"/>
                      <a:pt x="328128" y="1"/>
                    </a:cubicBezTo>
                    <a:lnTo>
                      <a:pt x="403941" y="1"/>
                    </a:lnTo>
                    <a:cubicBezTo>
                      <a:pt x="407251" y="10103"/>
                      <a:pt x="410029" y="20377"/>
                      <a:pt x="412249" y="30778"/>
                    </a:cubicBezTo>
                    <a:cubicBezTo>
                      <a:pt x="414507" y="50927"/>
                      <a:pt x="415281" y="71216"/>
                      <a:pt x="414545" y="91478"/>
                    </a:cubicBezTo>
                    <a:cubicBezTo>
                      <a:pt x="428244" y="130805"/>
                      <a:pt x="475974" y="141558"/>
                      <a:pt x="513405" y="173505"/>
                    </a:cubicBezTo>
                    <a:lnTo>
                      <a:pt x="513405" y="203427"/>
                    </a:lnTo>
                    <a:cubicBezTo>
                      <a:pt x="499973" y="198434"/>
                      <a:pt x="489052" y="194384"/>
                      <a:pt x="475480" y="189389"/>
                    </a:cubicBezTo>
                    <a:cubicBezTo>
                      <a:pt x="472829" y="195551"/>
                      <a:pt x="469404" y="203469"/>
                      <a:pt x="465231" y="213143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78" name="Vrije vorm 477">
                <a:extLst>
                  <a:ext uri="{FF2B5EF4-FFF2-40B4-BE49-F238E27FC236}">
                    <a16:creationId xmlns:a16="http://schemas.microsoft.com/office/drawing/2014/main" id="{D5894F80-936E-8849-ACC2-25A93BCAFD61}"/>
                  </a:ext>
                </a:extLst>
              </p:cNvPr>
              <p:cNvSpPr/>
              <p:nvPr/>
            </p:nvSpPr>
            <p:spPr>
              <a:xfrm>
                <a:off x="1925180" y="1399981"/>
                <a:ext cx="148303" cy="87293"/>
              </a:xfrm>
              <a:custGeom>
                <a:avLst/>
                <a:gdLst>
                  <a:gd name="connsiteX0" fmla="*/ 148277 w 148303"/>
                  <a:gd name="connsiteY0" fmla="*/ 1 h 87293"/>
                  <a:gd name="connsiteX1" fmla="*/ 145842 w 148303"/>
                  <a:gd name="connsiteY1" fmla="*/ 26234 h 87293"/>
                  <a:gd name="connsiteX2" fmla="*/ 111823 w 148303"/>
                  <a:gd name="connsiteY2" fmla="*/ 53412 h 87293"/>
                  <a:gd name="connsiteX3" fmla="*/ 71563 w 148303"/>
                  <a:gd name="connsiteY3" fmla="*/ 87295 h 87293"/>
                  <a:gd name="connsiteX4" fmla="*/ 43747 w 148303"/>
                  <a:gd name="connsiteY4" fmla="*/ 32354 h 87293"/>
                  <a:gd name="connsiteX5" fmla="*/ -26 w 148303"/>
                  <a:gd name="connsiteY5" fmla="*/ 2 h 87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8303" h="87293">
                    <a:moveTo>
                      <a:pt x="148277" y="1"/>
                    </a:moveTo>
                    <a:cubicBezTo>
                      <a:pt x="146527" y="8633"/>
                      <a:pt x="145715" y="17428"/>
                      <a:pt x="145842" y="26234"/>
                    </a:cubicBezTo>
                    <a:cubicBezTo>
                      <a:pt x="145170" y="49856"/>
                      <a:pt x="135327" y="56785"/>
                      <a:pt x="111823" y="53412"/>
                    </a:cubicBezTo>
                    <a:cubicBezTo>
                      <a:pt x="97312" y="65604"/>
                      <a:pt x="85630" y="75461"/>
                      <a:pt x="71563" y="87295"/>
                    </a:cubicBezTo>
                    <a:cubicBezTo>
                      <a:pt x="64359" y="68002"/>
                      <a:pt x="55023" y="49575"/>
                      <a:pt x="43747" y="32354"/>
                    </a:cubicBezTo>
                    <a:cubicBezTo>
                      <a:pt x="30644" y="19680"/>
                      <a:pt x="15931" y="8801"/>
                      <a:pt x="-26" y="2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79" name="Vrije vorm 478">
                <a:extLst>
                  <a:ext uri="{FF2B5EF4-FFF2-40B4-BE49-F238E27FC236}">
                    <a16:creationId xmlns:a16="http://schemas.microsoft.com/office/drawing/2014/main" id="{44BC20BA-5D04-FD47-B5A7-576D00700B80}"/>
                  </a:ext>
                </a:extLst>
              </p:cNvPr>
              <p:cNvSpPr/>
              <p:nvPr/>
            </p:nvSpPr>
            <p:spPr>
              <a:xfrm>
                <a:off x="2642598" y="1399977"/>
                <a:ext cx="103502" cy="65382"/>
              </a:xfrm>
              <a:custGeom>
                <a:avLst/>
                <a:gdLst>
                  <a:gd name="connsiteX0" fmla="*/ 103477 w 103502"/>
                  <a:gd name="connsiteY0" fmla="*/ 5 h 65382"/>
                  <a:gd name="connsiteX1" fmla="*/ 62266 w 103502"/>
                  <a:gd name="connsiteY1" fmla="*/ 35237 h 65382"/>
                  <a:gd name="connsiteX2" fmla="*/ 53539 w 103502"/>
                  <a:gd name="connsiteY2" fmla="*/ 65383 h 65382"/>
                  <a:gd name="connsiteX3" fmla="*/ 27258 w 103502"/>
                  <a:gd name="connsiteY3" fmla="*/ 47880 h 65382"/>
                  <a:gd name="connsiteX4" fmla="*/ -26 w 103502"/>
                  <a:gd name="connsiteY4" fmla="*/ 1 h 653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3502" h="65382">
                    <a:moveTo>
                      <a:pt x="103477" y="5"/>
                    </a:moveTo>
                    <a:cubicBezTo>
                      <a:pt x="96145" y="27318"/>
                      <a:pt x="89271" y="38431"/>
                      <a:pt x="62266" y="35237"/>
                    </a:cubicBezTo>
                    <a:cubicBezTo>
                      <a:pt x="59387" y="45091"/>
                      <a:pt x="56558" y="55035"/>
                      <a:pt x="53539" y="65383"/>
                    </a:cubicBezTo>
                    <a:cubicBezTo>
                      <a:pt x="42060" y="65359"/>
                      <a:pt x="31710" y="58468"/>
                      <a:pt x="27258" y="47880"/>
                    </a:cubicBezTo>
                    <a:cubicBezTo>
                      <a:pt x="19064" y="31420"/>
                      <a:pt x="9956" y="15435"/>
                      <a:pt x="-26" y="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80" name="Vrije vorm 479">
                <a:extLst>
                  <a:ext uri="{FF2B5EF4-FFF2-40B4-BE49-F238E27FC236}">
                    <a16:creationId xmlns:a16="http://schemas.microsoft.com/office/drawing/2014/main" id="{7F92ED90-CCB9-254C-9B9D-F823E26639D5}"/>
                  </a:ext>
                </a:extLst>
              </p:cNvPr>
              <p:cNvSpPr/>
              <p:nvPr/>
            </p:nvSpPr>
            <p:spPr>
              <a:xfrm>
                <a:off x="3017346" y="1890502"/>
                <a:ext cx="188631" cy="182584"/>
              </a:xfrm>
              <a:custGeom>
                <a:avLst/>
                <a:gdLst>
                  <a:gd name="connsiteX0" fmla="*/ 149437 w 188631"/>
                  <a:gd name="connsiteY0" fmla="*/ 124340 h 182584"/>
                  <a:gd name="connsiteX1" fmla="*/ 139493 w 188631"/>
                  <a:gd name="connsiteY1" fmla="*/ 80449 h 182584"/>
                  <a:gd name="connsiteX2" fmla="*/ 71848 w 188631"/>
                  <a:gd name="connsiteY2" fmla="*/ 33473 h 182584"/>
                  <a:gd name="connsiteX3" fmla="*/ 60876 w 188631"/>
                  <a:gd name="connsiteY3" fmla="*/ 47757 h 182584"/>
                  <a:gd name="connsiteX4" fmla="*/ 53037 w 188631"/>
                  <a:gd name="connsiteY4" fmla="*/ 319 h 182584"/>
                  <a:gd name="connsiteX5" fmla="*/ 53151 w 188631"/>
                  <a:gd name="connsiteY5" fmla="*/ 237 h 182584"/>
                  <a:gd name="connsiteX6" fmla="*/ 52999 w 188631"/>
                  <a:gd name="connsiteY6" fmla="*/ 60 h 182584"/>
                  <a:gd name="connsiteX7" fmla="*/ 52986 w 188631"/>
                  <a:gd name="connsiteY7" fmla="*/ 1 h 182584"/>
                  <a:gd name="connsiteX8" fmla="*/ 52961 w 188631"/>
                  <a:gd name="connsiteY8" fmla="*/ 382 h 182584"/>
                  <a:gd name="connsiteX9" fmla="*/ 29952 w 188631"/>
                  <a:gd name="connsiteY9" fmla="*/ 24938 h 182584"/>
                  <a:gd name="connsiteX10" fmla="*/ 21986 w 188631"/>
                  <a:gd name="connsiteY10" fmla="*/ 122278 h 182584"/>
                  <a:gd name="connsiteX11" fmla="*/ 93 w 188631"/>
                  <a:gd name="connsiteY11" fmla="*/ 151286 h 182584"/>
                  <a:gd name="connsiteX12" fmla="*/ 41660 w 188631"/>
                  <a:gd name="connsiteY12" fmla="*/ 143563 h 182584"/>
                  <a:gd name="connsiteX13" fmla="*/ 45960 w 188631"/>
                  <a:gd name="connsiteY13" fmla="*/ 182585 h 182584"/>
                  <a:gd name="connsiteX14" fmla="*/ 97305 w 188631"/>
                  <a:gd name="connsiteY14" fmla="*/ 129167 h 182584"/>
                  <a:gd name="connsiteX15" fmla="*/ 119223 w 188631"/>
                  <a:gd name="connsiteY15" fmla="*/ 122717 h 182584"/>
                  <a:gd name="connsiteX16" fmla="*/ 139632 w 188631"/>
                  <a:gd name="connsiteY16" fmla="*/ 145132 h 182584"/>
                  <a:gd name="connsiteX17" fmla="*/ 174577 w 188631"/>
                  <a:gd name="connsiteY17" fmla="*/ 158404 h 182584"/>
                  <a:gd name="connsiteX18" fmla="*/ 188606 w 188631"/>
                  <a:gd name="connsiteY18" fmla="*/ 142603 h 182584"/>
                  <a:gd name="connsiteX19" fmla="*/ 149437 w 188631"/>
                  <a:gd name="connsiteY19" fmla="*/ 124340 h 182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88631" h="182584">
                    <a:moveTo>
                      <a:pt x="149437" y="124340"/>
                    </a:moveTo>
                    <a:cubicBezTo>
                      <a:pt x="155247" y="109040"/>
                      <a:pt x="151327" y="91745"/>
                      <a:pt x="139493" y="80449"/>
                    </a:cubicBezTo>
                    <a:cubicBezTo>
                      <a:pt x="117067" y="64625"/>
                      <a:pt x="94413" y="49116"/>
                      <a:pt x="71848" y="33473"/>
                    </a:cubicBezTo>
                    <a:lnTo>
                      <a:pt x="60876" y="47757"/>
                    </a:lnTo>
                    <a:cubicBezTo>
                      <a:pt x="57781" y="29009"/>
                      <a:pt x="55409" y="14648"/>
                      <a:pt x="53037" y="319"/>
                    </a:cubicBezTo>
                    <a:lnTo>
                      <a:pt x="53151" y="237"/>
                    </a:lnTo>
                    <a:lnTo>
                      <a:pt x="52999" y="60"/>
                    </a:lnTo>
                    <a:lnTo>
                      <a:pt x="52986" y="1"/>
                    </a:lnTo>
                    <a:lnTo>
                      <a:pt x="52961" y="382"/>
                    </a:lnTo>
                    <a:cubicBezTo>
                      <a:pt x="35457" y="4160"/>
                      <a:pt x="31779" y="7032"/>
                      <a:pt x="29952" y="24938"/>
                    </a:cubicBezTo>
                    <a:cubicBezTo>
                      <a:pt x="26730" y="56517"/>
                      <a:pt x="24714" y="88218"/>
                      <a:pt x="21986" y="122278"/>
                    </a:cubicBezTo>
                    <a:cubicBezTo>
                      <a:pt x="14756" y="129048"/>
                      <a:pt x="-1581" y="132482"/>
                      <a:pt x="93" y="151286"/>
                    </a:cubicBezTo>
                    <a:lnTo>
                      <a:pt x="41660" y="143563"/>
                    </a:lnTo>
                    <a:cubicBezTo>
                      <a:pt x="43106" y="156607"/>
                      <a:pt x="44361" y="168009"/>
                      <a:pt x="45960" y="182585"/>
                    </a:cubicBezTo>
                    <a:cubicBezTo>
                      <a:pt x="68994" y="171629"/>
                      <a:pt x="87259" y="152636"/>
                      <a:pt x="97305" y="129167"/>
                    </a:cubicBezTo>
                    <a:cubicBezTo>
                      <a:pt x="104725" y="115506"/>
                      <a:pt x="104598" y="117482"/>
                      <a:pt x="119223" y="122717"/>
                    </a:cubicBezTo>
                    <a:cubicBezTo>
                      <a:pt x="132237" y="127377"/>
                      <a:pt x="130563" y="140674"/>
                      <a:pt x="139632" y="145132"/>
                    </a:cubicBezTo>
                    <a:cubicBezTo>
                      <a:pt x="150312" y="150381"/>
                      <a:pt x="161931" y="153712"/>
                      <a:pt x="174577" y="158404"/>
                    </a:cubicBezTo>
                    <a:lnTo>
                      <a:pt x="188606" y="142603"/>
                    </a:lnTo>
                    <a:cubicBezTo>
                      <a:pt x="184217" y="111925"/>
                      <a:pt x="163276" y="127964"/>
                      <a:pt x="149437" y="12434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81" name="Vrije vorm 480">
                <a:extLst>
                  <a:ext uri="{FF2B5EF4-FFF2-40B4-BE49-F238E27FC236}">
                    <a16:creationId xmlns:a16="http://schemas.microsoft.com/office/drawing/2014/main" id="{1D5DB0B0-3588-814E-9A56-5E1A1BF1A1AB}"/>
                  </a:ext>
                </a:extLst>
              </p:cNvPr>
              <p:cNvSpPr/>
              <p:nvPr/>
            </p:nvSpPr>
            <p:spPr>
              <a:xfrm>
                <a:off x="3808071" y="2689688"/>
                <a:ext cx="170729" cy="199193"/>
              </a:xfrm>
              <a:custGeom>
                <a:avLst/>
                <a:gdLst>
                  <a:gd name="connsiteX0" fmla="*/ 101650 w 170729"/>
                  <a:gd name="connsiteY0" fmla="*/ 1696 h 199193"/>
                  <a:gd name="connsiteX1" fmla="*/ 72413 w 170729"/>
                  <a:gd name="connsiteY1" fmla="*/ 12593 h 199193"/>
                  <a:gd name="connsiteX2" fmla="*/ 33054 w 170729"/>
                  <a:gd name="connsiteY2" fmla="*/ 93466 h 199193"/>
                  <a:gd name="connsiteX3" fmla="*/ 34005 w 170729"/>
                  <a:gd name="connsiteY3" fmla="*/ 106382 h 199193"/>
                  <a:gd name="connsiteX4" fmla="*/ 19698 w 170729"/>
                  <a:gd name="connsiteY4" fmla="*/ 132443 h 199193"/>
                  <a:gd name="connsiteX5" fmla="*/ -26 w 170729"/>
                  <a:gd name="connsiteY5" fmla="*/ 160840 h 199193"/>
                  <a:gd name="connsiteX6" fmla="*/ 42757 w 170729"/>
                  <a:gd name="connsiteY6" fmla="*/ 167533 h 199193"/>
                  <a:gd name="connsiteX7" fmla="*/ 86188 w 170729"/>
                  <a:gd name="connsiteY7" fmla="*/ 165793 h 199193"/>
                  <a:gd name="connsiteX8" fmla="*/ 129619 w 170729"/>
                  <a:gd name="connsiteY8" fmla="*/ 169971 h 199193"/>
                  <a:gd name="connsiteX9" fmla="*/ 99823 w 170729"/>
                  <a:gd name="connsiteY9" fmla="*/ 198025 h 199193"/>
                  <a:gd name="connsiteX10" fmla="*/ 126042 w 170729"/>
                  <a:gd name="connsiteY10" fmla="*/ 178975 h 199193"/>
                  <a:gd name="connsiteX11" fmla="*/ 151435 w 170729"/>
                  <a:gd name="connsiteY11" fmla="*/ 158490 h 199193"/>
                  <a:gd name="connsiteX12" fmla="*/ 170703 w 170729"/>
                  <a:gd name="connsiteY12" fmla="*/ 131566 h 199193"/>
                  <a:gd name="connsiteX13" fmla="*/ 154454 w 170729"/>
                  <a:gd name="connsiteY13" fmla="*/ 135948 h 199193"/>
                  <a:gd name="connsiteX14" fmla="*/ 164145 w 170729"/>
                  <a:gd name="connsiteY14" fmla="*/ 94863 h 199193"/>
                  <a:gd name="connsiteX15" fmla="*/ 139386 w 170729"/>
                  <a:gd name="connsiteY15" fmla="*/ 95257 h 199193"/>
                  <a:gd name="connsiteX16" fmla="*/ 93215 w 170729"/>
                  <a:gd name="connsiteY16" fmla="*/ 86494 h 199193"/>
                  <a:gd name="connsiteX17" fmla="*/ 98289 w 170729"/>
                  <a:gd name="connsiteY17" fmla="*/ 70581 h 199193"/>
                  <a:gd name="connsiteX18" fmla="*/ 70155 w 170729"/>
                  <a:gd name="connsiteY18" fmla="*/ 77223 h 199193"/>
                  <a:gd name="connsiteX19" fmla="*/ 72451 w 170729"/>
                  <a:gd name="connsiteY19" fmla="*/ 64485 h 199193"/>
                  <a:gd name="connsiteX20" fmla="*/ 94915 w 170729"/>
                  <a:gd name="connsiteY20" fmla="*/ 6738 h 199193"/>
                  <a:gd name="connsiteX21" fmla="*/ 101650 w 170729"/>
                  <a:gd name="connsiteY21" fmla="*/ 1696 h 199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70729" h="199193">
                    <a:moveTo>
                      <a:pt x="101650" y="1696"/>
                    </a:moveTo>
                    <a:cubicBezTo>
                      <a:pt x="90564" y="-2800"/>
                      <a:pt x="77867" y="1925"/>
                      <a:pt x="72413" y="12593"/>
                    </a:cubicBezTo>
                    <a:cubicBezTo>
                      <a:pt x="58486" y="39136"/>
                      <a:pt x="45649" y="66250"/>
                      <a:pt x="33054" y="93466"/>
                    </a:cubicBezTo>
                    <a:cubicBezTo>
                      <a:pt x="31418" y="97010"/>
                      <a:pt x="35134" y="105938"/>
                      <a:pt x="34005" y="106382"/>
                    </a:cubicBezTo>
                    <a:cubicBezTo>
                      <a:pt x="21435" y="111348"/>
                      <a:pt x="20053" y="119209"/>
                      <a:pt x="19698" y="132443"/>
                    </a:cubicBezTo>
                    <a:cubicBezTo>
                      <a:pt x="19444" y="142018"/>
                      <a:pt x="6658" y="151150"/>
                      <a:pt x="-26" y="160840"/>
                    </a:cubicBezTo>
                    <a:lnTo>
                      <a:pt x="42757" y="167533"/>
                    </a:lnTo>
                    <a:cubicBezTo>
                      <a:pt x="57243" y="167177"/>
                      <a:pt x="71728" y="165564"/>
                      <a:pt x="86188" y="165793"/>
                    </a:cubicBezTo>
                    <a:cubicBezTo>
                      <a:pt x="98441" y="165996"/>
                      <a:pt x="110669" y="168053"/>
                      <a:pt x="129619" y="169971"/>
                    </a:cubicBezTo>
                    <a:lnTo>
                      <a:pt x="99823" y="198025"/>
                    </a:lnTo>
                    <a:cubicBezTo>
                      <a:pt x="116897" y="204096"/>
                      <a:pt x="116795" y="184830"/>
                      <a:pt x="126042" y="178975"/>
                    </a:cubicBezTo>
                    <a:cubicBezTo>
                      <a:pt x="135327" y="173222"/>
                      <a:pt x="143850" y="166339"/>
                      <a:pt x="151435" y="158490"/>
                    </a:cubicBezTo>
                    <a:cubicBezTo>
                      <a:pt x="158475" y="149969"/>
                      <a:pt x="164906" y="140977"/>
                      <a:pt x="170703" y="131566"/>
                    </a:cubicBezTo>
                    <a:lnTo>
                      <a:pt x="154454" y="135948"/>
                    </a:lnTo>
                    <a:cubicBezTo>
                      <a:pt x="141682" y="120060"/>
                      <a:pt x="156180" y="110345"/>
                      <a:pt x="164145" y="94863"/>
                    </a:cubicBezTo>
                    <a:cubicBezTo>
                      <a:pt x="155926" y="93733"/>
                      <a:pt x="147580" y="93860"/>
                      <a:pt x="139386" y="95257"/>
                    </a:cubicBezTo>
                    <a:cubicBezTo>
                      <a:pt x="123619" y="101734"/>
                      <a:pt x="105519" y="98292"/>
                      <a:pt x="93215" y="86494"/>
                    </a:cubicBezTo>
                    <a:lnTo>
                      <a:pt x="98289" y="70581"/>
                    </a:lnTo>
                    <a:cubicBezTo>
                      <a:pt x="85681" y="55392"/>
                      <a:pt x="81381" y="78633"/>
                      <a:pt x="70155" y="77223"/>
                    </a:cubicBezTo>
                    <a:cubicBezTo>
                      <a:pt x="70434" y="72905"/>
                      <a:pt x="71195" y="68638"/>
                      <a:pt x="72451" y="64485"/>
                    </a:cubicBezTo>
                    <a:cubicBezTo>
                      <a:pt x="80696" y="45562"/>
                      <a:pt x="98822" y="30512"/>
                      <a:pt x="94915" y="6738"/>
                    </a:cubicBezTo>
                    <a:cubicBezTo>
                      <a:pt x="94788" y="5963"/>
                      <a:pt x="97540" y="4706"/>
                      <a:pt x="101650" y="1696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82" name="Vrije vorm 481">
                <a:extLst>
                  <a:ext uri="{FF2B5EF4-FFF2-40B4-BE49-F238E27FC236}">
                    <a16:creationId xmlns:a16="http://schemas.microsoft.com/office/drawing/2014/main" id="{73A5433C-6619-CD4C-A6F9-BEF99D319CC7}"/>
                  </a:ext>
                </a:extLst>
              </p:cNvPr>
              <p:cNvSpPr/>
              <p:nvPr/>
            </p:nvSpPr>
            <p:spPr>
              <a:xfrm>
                <a:off x="2664808" y="1588792"/>
                <a:ext cx="114982" cy="110666"/>
              </a:xfrm>
              <a:custGeom>
                <a:avLst/>
                <a:gdLst>
                  <a:gd name="connsiteX0" fmla="*/ 44686 w 114982"/>
                  <a:gd name="connsiteY0" fmla="*/ 1 h 110666"/>
                  <a:gd name="connsiteX1" fmla="*/ 35680 w 114982"/>
                  <a:gd name="connsiteY1" fmla="*/ 21881 h 110666"/>
                  <a:gd name="connsiteX2" fmla="*/ -26 w 114982"/>
                  <a:gd name="connsiteY2" fmla="*/ 62217 h 110666"/>
                  <a:gd name="connsiteX3" fmla="*/ 3005 w 114982"/>
                  <a:gd name="connsiteY3" fmla="*/ 73279 h 110666"/>
                  <a:gd name="connsiteX4" fmla="*/ 88040 w 114982"/>
                  <a:gd name="connsiteY4" fmla="*/ 110668 h 110666"/>
                  <a:gd name="connsiteX5" fmla="*/ 114956 w 114982"/>
                  <a:gd name="connsiteY5" fmla="*/ 86835 h 110666"/>
                  <a:gd name="connsiteX6" fmla="*/ 96589 w 114982"/>
                  <a:gd name="connsiteY6" fmla="*/ 61879 h 110666"/>
                  <a:gd name="connsiteX7" fmla="*/ 44686 w 114982"/>
                  <a:gd name="connsiteY7" fmla="*/ 1 h 1106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4982" h="110666">
                    <a:moveTo>
                      <a:pt x="44686" y="1"/>
                    </a:moveTo>
                    <a:cubicBezTo>
                      <a:pt x="40195" y="6590"/>
                      <a:pt x="37126" y="14041"/>
                      <a:pt x="35680" y="21881"/>
                    </a:cubicBezTo>
                    <a:cubicBezTo>
                      <a:pt x="32103" y="42342"/>
                      <a:pt x="26344" y="60670"/>
                      <a:pt x="-26" y="62217"/>
                    </a:cubicBezTo>
                    <a:cubicBezTo>
                      <a:pt x="1255" y="67227"/>
                      <a:pt x="1344" y="72758"/>
                      <a:pt x="3005" y="73279"/>
                    </a:cubicBezTo>
                    <a:cubicBezTo>
                      <a:pt x="33067" y="82763"/>
                      <a:pt x="56241" y="108496"/>
                      <a:pt x="88040" y="110668"/>
                    </a:cubicBezTo>
                    <a:lnTo>
                      <a:pt x="114956" y="86835"/>
                    </a:lnTo>
                    <a:cubicBezTo>
                      <a:pt x="108424" y="78311"/>
                      <a:pt x="98568" y="70960"/>
                      <a:pt x="96589" y="61879"/>
                    </a:cubicBezTo>
                    <a:cubicBezTo>
                      <a:pt x="89994" y="31630"/>
                      <a:pt x="60389" y="22851"/>
                      <a:pt x="44686" y="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83" name="Vrije vorm 482">
                <a:extLst>
                  <a:ext uri="{FF2B5EF4-FFF2-40B4-BE49-F238E27FC236}">
                    <a16:creationId xmlns:a16="http://schemas.microsoft.com/office/drawing/2014/main" id="{56BFA2CB-AC62-334A-89E8-EC0CDD9F66EB}"/>
                  </a:ext>
                </a:extLst>
              </p:cNvPr>
              <p:cNvSpPr/>
              <p:nvPr/>
            </p:nvSpPr>
            <p:spPr>
              <a:xfrm>
                <a:off x="3297559" y="1712501"/>
                <a:ext cx="61742" cy="79305"/>
              </a:xfrm>
              <a:custGeom>
                <a:avLst/>
                <a:gdLst>
                  <a:gd name="connsiteX0" fmla="*/ 13013 w 61742"/>
                  <a:gd name="connsiteY0" fmla="*/ 11003 h 79305"/>
                  <a:gd name="connsiteX1" fmla="*/ 8890 w 61742"/>
                  <a:gd name="connsiteY1" fmla="*/ 79307 h 79305"/>
                  <a:gd name="connsiteX2" fmla="*/ 28196 w 61742"/>
                  <a:gd name="connsiteY2" fmla="*/ 78323 h 79305"/>
                  <a:gd name="connsiteX3" fmla="*/ 61466 w 61742"/>
                  <a:gd name="connsiteY3" fmla="*/ 38572 h 79305"/>
                  <a:gd name="connsiteX4" fmla="*/ 61352 w 61742"/>
                  <a:gd name="connsiteY4" fmla="*/ 11315 h 79305"/>
                  <a:gd name="connsiteX5" fmla="*/ 13013 w 61742"/>
                  <a:gd name="connsiteY5" fmla="*/ 11003 h 793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1742" h="79305">
                    <a:moveTo>
                      <a:pt x="13013" y="11003"/>
                    </a:moveTo>
                    <a:cubicBezTo>
                      <a:pt x="164" y="31808"/>
                      <a:pt x="-6534" y="53738"/>
                      <a:pt x="8890" y="79307"/>
                    </a:cubicBezTo>
                    <a:cubicBezTo>
                      <a:pt x="16184" y="78958"/>
                      <a:pt x="22221" y="79006"/>
                      <a:pt x="28196" y="78323"/>
                    </a:cubicBezTo>
                    <a:cubicBezTo>
                      <a:pt x="53792" y="75393"/>
                      <a:pt x="63445" y="63454"/>
                      <a:pt x="61466" y="38572"/>
                    </a:cubicBezTo>
                    <a:cubicBezTo>
                      <a:pt x="60743" y="29344"/>
                      <a:pt x="61352" y="20010"/>
                      <a:pt x="61352" y="11315"/>
                    </a:cubicBezTo>
                    <a:cubicBezTo>
                      <a:pt x="38546" y="-3513"/>
                      <a:pt x="22221" y="-3919"/>
                      <a:pt x="13013" y="11003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84" name="Vrije vorm 483">
                <a:extLst>
                  <a:ext uri="{FF2B5EF4-FFF2-40B4-BE49-F238E27FC236}">
                    <a16:creationId xmlns:a16="http://schemas.microsoft.com/office/drawing/2014/main" id="{DAB61B1F-9082-8A47-800A-93B6FE3AC1C1}"/>
                  </a:ext>
                </a:extLst>
              </p:cNvPr>
              <p:cNvSpPr/>
              <p:nvPr/>
            </p:nvSpPr>
            <p:spPr>
              <a:xfrm>
                <a:off x="2404503" y="1667326"/>
                <a:ext cx="88548" cy="58556"/>
              </a:xfrm>
              <a:custGeom>
                <a:avLst/>
                <a:gdLst>
                  <a:gd name="connsiteX0" fmla="*/ 63319 w 88548"/>
                  <a:gd name="connsiteY0" fmla="*/ 2993 h 58556"/>
                  <a:gd name="connsiteX1" fmla="*/ 17871 w 88548"/>
                  <a:gd name="connsiteY1" fmla="*/ 21961 h 58556"/>
                  <a:gd name="connsiteX2" fmla="*/ -26 w 88548"/>
                  <a:gd name="connsiteY2" fmla="*/ 42309 h 58556"/>
                  <a:gd name="connsiteX3" fmla="*/ 21309 w 88548"/>
                  <a:gd name="connsiteY3" fmla="*/ 58557 h 58556"/>
                  <a:gd name="connsiteX4" fmla="*/ 53324 w 88548"/>
                  <a:gd name="connsiteY4" fmla="*/ 38872 h 58556"/>
                  <a:gd name="connsiteX5" fmla="*/ 88522 w 88548"/>
                  <a:gd name="connsiteY5" fmla="*/ 13142 h 58556"/>
                  <a:gd name="connsiteX6" fmla="*/ 69661 w 88548"/>
                  <a:gd name="connsiteY6" fmla="*/ 288 h 58556"/>
                  <a:gd name="connsiteX7" fmla="*/ 63319 w 88548"/>
                  <a:gd name="connsiteY7" fmla="*/ 2993 h 585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8548" h="58556">
                    <a:moveTo>
                      <a:pt x="63319" y="2993"/>
                    </a:moveTo>
                    <a:cubicBezTo>
                      <a:pt x="48364" y="9770"/>
                      <a:pt x="32217" y="14169"/>
                      <a:pt x="17871" y="21961"/>
                    </a:cubicBezTo>
                    <a:cubicBezTo>
                      <a:pt x="10603" y="25898"/>
                      <a:pt x="6138" y="35023"/>
                      <a:pt x="-26" y="42309"/>
                    </a:cubicBezTo>
                    <a:lnTo>
                      <a:pt x="21309" y="58557"/>
                    </a:lnTo>
                    <a:cubicBezTo>
                      <a:pt x="22298" y="32247"/>
                      <a:pt x="43519" y="49235"/>
                      <a:pt x="53324" y="38872"/>
                    </a:cubicBezTo>
                    <a:cubicBezTo>
                      <a:pt x="64270" y="29265"/>
                      <a:pt x="76054" y="20654"/>
                      <a:pt x="88522" y="13142"/>
                    </a:cubicBezTo>
                    <a:cubicBezTo>
                      <a:pt x="86861" y="4376"/>
                      <a:pt x="78413" y="-1378"/>
                      <a:pt x="69661" y="288"/>
                    </a:cubicBezTo>
                    <a:cubicBezTo>
                      <a:pt x="67378" y="723"/>
                      <a:pt x="65221" y="1646"/>
                      <a:pt x="63319" y="2993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85" name="Vrije vorm 484">
                <a:extLst>
                  <a:ext uri="{FF2B5EF4-FFF2-40B4-BE49-F238E27FC236}">
                    <a16:creationId xmlns:a16="http://schemas.microsoft.com/office/drawing/2014/main" id="{2DD7A03F-F8DD-5048-A2DC-7B55F0353BEF}"/>
                  </a:ext>
                </a:extLst>
              </p:cNvPr>
              <p:cNvSpPr/>
              <p:nvPr/>
            </p:nvSpPr>
            <p:spPr>
              <a:xfrm>
                <a:off x="3111272" y="2082335"/>
                <a:ext cx="51593" cy="44168"/>
              </a:xfrm>
              <a:custGeom>
                <a:avLst/>
                <a:gdLst>
                  <a:gd name="connsiteX0" fmla="*/ 2378 w 51593"/>
                  <a:gd name="connsiteY0" fmla="*/ 25712 h 44168"/>
                  <a:gd name="connsiteX1" fmla="*/ 14808 w 51593"/>
                  <a:gd name="connsiteY1" fmla="*/ 44158 h 44168"/>
                  <a:gd name="connsiteX2" fmla="*/ 51567 w 51593"/>
                  <a:gd name="connsiteY2" fmla="*/ 1 h 44168"/>
                  <a:gd name="connsiteX3" fmla="*/ 11142 w 51593"/>
                  <a:gd name="connsiteY3" fmla="*/ 8017 h 44168"/>
                  <a:gd name="connsiteX4" fmla="*/ 2378 w 51593"/>
                  <a:gd name="connsiteY4" fmla="*/ 25712 h 44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593" h="44168">
                    <a:moveTo>
                      <a:pt x="2378" y="25712"/>
                    </a:moveTo>
                    <a:cubicBezTo>
                      <a:pt x="-3254" y="38176"/>
                      <a:pt x="1058" y="44487"/>
                      <a:pt x="14808" y="44158"/>
                    </a:cubicBezTo>
                    <a:cubicBezTo>
                      <a:pt x="28938" y="43820"/>
                      <a:pt x="47102" y="23762"/>
                      <a:pt x="51567" y="1"/>
                    </a:cubicBezTo>
                    <a:lnTo>
                      <a:pt x="11142" y="8017"/>
                    </a:lnTo>
                    <a:cubicBezTo>
                      <a:pt x="7680" y="14972"/>
                      <a:pt x="4851" y="20264"/>
                      <a:pt x="2378" y="25712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86" name="Vrije vorm 485">
                <a:extLst>
                  <a:ext uri="{FF2B5EF4-FFF2-40B4-BE49-F238E27FC236}">
                    <a16:creationId xmlns:a16="http://schemas.microsoft.com/office/drawing/2014/main" id="{941C1C60-B375-7D4E-84F9-87E8ED1E6E3B}"/>
                  </a:ext>
                </a:extLst>
              </p:cNvPr>
              <p:cNvSpPr/>
              <p:nvPr/>
            </p:nvSpPr>
            <p:spPr>
              <a:xfrm>
                <a:off x="3665235" y="2761118"/>
                <a:ext cx="75483" cy="33710"/>
              </a:xfrm>
              <a:custGeom>
                <a:avLst/>
                <a:gdLst>
                  <a:gd name="connsiteX0" fmla="*/ 75458 w 75483"/>
                  <a:gd name="connsiteY0" fmla="*/ 33059 h 33710"/>
                  <a:gd name="connsiteX1" fmla="*/ -26 w 75483"/>
                  <a:gd name="connsiteY1" fmla="*/ 1 h 33710"/>
                  <a:gd name="connsiteX2" fmla="*/ 75458 w 75483"/>
                  <a:gd name="connsiteY2" fmla="*/ 33059 h 337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5483" h="33710">
                    <a:moveTo>
                      <a:pt x="75458" y="33059"/>
                    </a:moveTo>
                    <a:cubicBezTo>
                      <a:pt x="54808" y="13730"/>
                      <a:pt x="28171" y="2071"/>
                      <a:pt x="-26" y="1"/>
                    </a:cubicBezTo>
                    <a:cubicBezTo>
                      <a:pt x="20497" y="19686"/>
                      <a:pt x="39904" y="37365"/>
                      <a:pt x="75458" y="33059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87" name="Vrije vorm 486">
                <a:extLst>
                  <a:ext uri="{FF2B5EF4-FFF2-40B4-BE49-F238E27FC236}">
                    <a16:creationId xmlns:a16="http://schemas.microsoft.com/office/drawing/2014/main" id="{76CDE321-AACA-B948-BE57-809DF8F25C0F}"/>
                  </a:ext>
                </a:extLst>
              </p:cNvPr>
              <p:cNvSpPr/>
              <p:nvPr/>
            </p:nvSpPr>
            <p:spPr>
              <a:xfrm>
                <a:off x="3956946" y="2847224"/>
                <a:ext cx="37557" cy="50380"/>
              </a:xfrm>
              <a:custGeom>
                <a:avLst/>
                <a:gdLst>
                  <a:gd name="connsiteX0" fmla="*/ 37 w 37557"/>
                  <a:gd name="connsiteY0" fmla="*/ 39384 h 50380"/>
                  <a:gd name="connsiteX1" fmla="*/ 26990 w 37557"/>
                  <a:gd name="connsiteY1" fmla="*/ 50382 h 50380"/>
                  <a:gd name="connsiteX2" fmla="*/ 37531 w 37557"/>
                  <a:gd name="connsiteY2" fmla="*/ 15813 h 50380"/>
                  <a:gd name="connsiteX3" fmla="*/ 22640 w 37557"/>
                  <a:gd name="connsiteY3" fmla="*/ 15813 h 50380"/>
                  <a:gd name="connsiteX4" fmla="*/ 24517 w 37557"/>
                  <a:gd name="connsiteY4" fmla="*/ 1 h 50380"/>
                  <a:gd name="connsiteX5" fmla="*/ 37 w 37557"/>
                  <a:gd name="connsiteY5" fmla="*/ 39384 h 503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7557" h="50380">
                    <a:moveTo>
                      <a:pt x="37" y="39384"/>
                    </a:moveTo>
                    <a:cubicBezTo>
                      <a:pt x="9512" y="41695"/>
                      <a:pt x="18594" y="45404"/>
                      <a:pt x="26990" y="50382"/>
                    </a:cubicBezTo>
                    <a:lnTo>
                      <a:pt x="37531" y="15813"/>
                    </a:lnTo>
                    <a:lnTo>
                      <a:pt x="22640" y="15813"/>
                    </a:lnTo>
                    <a:cubicBezTo>
                      <a:pt x="23363" y="9742"/>
                      <a:pt x="23946" y="4878"/>
                      <a:pt x="24517" y="1"/>
                    </a:cubicBezTo>
                    <a:cubicBezTo>
                      <a:pt x="14928" y="12307"/>
                      <a:pt x="-1156" y="20829"/>
                      <a:pt x="37" y="39384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88" name="Vrije vorm 487">
                <a:extLst>
                  <a:ext uri="{FF2B5EF4-FFF2-40B4-BE49-F238E27FC236}">
                    <a16:creationId xmlns:a16="http://schemas.microsoft.com/office/drawing/2014/main" id="{FD2A4161-6D01-724C-B4FF-E2222C3B1C61}"/>
                  </a:ext>
                </a:extLst>
              </p:cNvPr>
              <p:cNvSpPr/>
              <p:nvPr/>
            </p:nvSpPr>
            <p:spPr>
              <a:xfrm>
                <a:off x="3212774" y="2119194"/>
                <a:ext cx="25422" cy="43142"/>
              </a:xfrm>
              <a:custGeom>
                <a:avLst/>
                <a:gdLst>
                  <a:gd name="connsiteX0" fmla="*/ 5330 w 25422"/>
                  <a:gd name="connsiteY0" fmla="*/ 5951 h 43142"/>
                  <a:gd name="connsiteX1" fmla="*/ 14462 w 25422"/>
                  <a:gd name="connsiteY1" fmla="*/ 43143 h 43142"/>
                  <a:gd name="connsiteX2" fmla="*/ 25396 w 25422"/>
                  <a:gd name="connsiteY2" fmla="*/ 14361 h 43142"/>
                  <a:gd name="connsiteX3" fmla="*/ 17735 w 25422"/>
                  <a:gd name="connsiteY3" fmla="*/ 291 h 43142"/>
                  <a:gd name="connsiteX4" fmla="*/ 5330 w 25422"/>
                  <a:gd name="connsiteY4" fmla="*/ 5951 h 431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422" h="43142">
                    <a:moveTo>
                      <a:pt x="5330" y="5951"/>
                    </a:moveTo>
                    <a:cubicBezTo>
                      <a:pt x="-4171" y="17649"/>
                      <a:pt x="-975" y="30697"/>
                      <a:pt x="14462" y="43143"/>
                    </a:cubicBezTo>
                    <a:cubicBezTo>
                      <a:pt x="18965" y="33896"/>
                      <a:pt x="22618" y="24263"/>
                      <a:pt x="25396" y="14361"/>
                    </a:cubicBezTo>
                    <a:cubicBezTo>
                      <a:pt x="25079" y="8761"/>
                      <a:pt x="22263" y="3599"/>
                      <a:pt x="17735" y="291"/>
                    </a:cubicBezTo>
                    <a:cubicBezTo>
                      <a:pt x="16010" y="-1067"/>
                      <a:pt x="8057" y="2604"/>
                      <a:pt x="5330" y="595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89" name="Vrije vorm 488">
                <a:extLst>
                  <a:ext uri="{FF2B5EF4-FFF2-40B4-BE49-F238E27FC236}">
                    <a16:creationId xmlns:a16="http://schemas.microsoft.com/office/drawing/2014/main" id="{5203D9BE-0D1E-4344-93A7-1BB4B6382C16}"/>
                  </a:ext>
                </a:extLst>
              </p:cNvPr>
              <p:cNvSpPr/>
              <p:nvPr/>
            </p:nvSpPr>
            <p:spPr>
              <a:xfrm>
                <a:off x="3371076" y="1732068"/>
                <a:ext cx="34295" cy="20763"/>
              </a:xfrm>
              <a:custGeom>
                <a:avLst/>
                <a:gdLst>
                  <a:gd name="connsiteX0" fmla="*/ 34145 w 34295"/>
                  <a:gd name="connsiteY0" fmla="*/ 20742 h 20763"/>
                  <a:gd name="connsiteX1" fmla="*/ 13292 w 34295"/>
                  <a:gd name="connsiteY1" fmla="*/ 422 h 20763"/>
                  <a:gd name="connsiteX2" fmla="*/ -26 w 34295"/>
                  <a:gd name="connsiteY2" fmla="*/ 3216 h 20763"/>
                  <a:gd name="connsiteX3" fmla="*/ 6595 w 34295"/>
                  <a:gd name="connsiteY3" fmla="*/ 18090 h 20763"/>
                  <a:gd name="connsiteX4" fmla="*/ 34145 w 34295"/>
                  <a:gd name="connsiteY4" fmla="*/ 20742 h 20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295" h="20763">
                    <a:moveTo>
                      <a:pt x="34145" y="20742"/>
                    </a:moveTo>
                    <a:cubicBezTo>
                      <a:pt x="35756" y="1964"/>
                      <a:pt x="21309" y="4359"/>
                      <a:pt x="13292" y="422"/>
                    </a:cubicBezTo>
                    <a:cubicBezTo>
                      <a:pt x="10096" y="-1157"/>
                      <a:pt x="4489" y="2139"/>
                      <a:pt x="-26" y="3216"/>
                    </a:cubicBezTo>
                    <a:cubicBezTo>
                      <a:pt x="2118" y="8399"/>
                      <a:pt x="3145" y="16981"/>
                      <a:pt x="6595" y="18090"/>
                    </a:cubicBezTo>
                    <a:cubicBezTo>
                      <a:pt x="15651" y="20032"/>
                      <a:pt x="24898" y="20922"/>
                      <a:pt x="34145" y="20742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90" name="Vrije vorm 489">
                <a:extLst>
                  <a:ext uri="{FF2B5EF4-FFF2-40B4-BE49-F238E27FC236}">
                    <a16:creationId xmlns:a16="http://schemas.microsoft.com/office/drawing/2014/main" id="{2E014417-A8C8-8D46-BCF5-63C87B59F051}"/>
                  </a:ext>
                </a:extLst>
              </p:cNvPr>
              <p:cNvSpPr/>
              <p:nvPr/>
            </p:nvSpPr>
            <p:spPr>
              <a:xfrm>
                <a:off x="3240986" y="1630994"/>
                <a:ext cx="22845" cy="39923"/>
              </a:xfrm>
              <a:custGeom>
                <a:avLst/>
                <a:gdLst>
                  <a:gd name="connsiteX0" fmla="*/ 51 w 22845"/>
                  <a:gd name="connsiteY0" fmla="*/ 39925 h 39923"/>
                  <a:gd name="connsiteX1" fmla="*/ 22819 w 22845"/>
                  <a:gd name="connsiteY1" fmla="*/ 1 h 39923"/>
                  <a:gd name="connsiteX2" fmla="*/ 51 w 22845"/>
                  <a:gd name="connsiteY2" fmla="*/ 39925 h 39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2845" h="39923">
                    <a:moveTo>
                      <a:pt x="51" y="39925"/>
                    </a:moveTo>
                    <a:cubicBezTo>
                      <a:pt x="13280" y="30753"/>
                      <a:pt x="21652" y="16073"/>
                      <a:pt x="22819" y="1"/>
                    </a:cubicBezTo>
                    <a:cubicBezTo>
                      <a:pt x="17276" y="13246"/>
                      <a:pt x="-1370" y="19280"/>
                      <a:pt x="51" y="39925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91" name="Vrije vorm 490">
                <a:extLst>
                  <a:ext uri="{FF2B5EF4-FFF2-40B4-BE49-F238E27FC236}">
                    <a16:creationId xmlns:a16="http://schemas.microsoft.com/office/drawing/2014/main" id="{8234FB78-6BCE-6245-BAA9-F746B08F88E4}"/>
                  </a:ext>
                </a:extLst>
              </p:cNvPr>
              <p:cNvSpPr/>
              <p:nvPr/>
            </p:nvSpPr>
            <p:spPr>
              <a:xfrm>
                <a:off x="3263793" y="2049584"/>
                <a:ext cx="22438" cy="25440"/>
              </a:xfrm>
              <a:custGeom>
                <a:avLst/>
                <a:gdLst>
                  <a:gd name="connsiteX0" fmla="*/ 22184 w 22438"/>
                  <a:gd name="connsiteY0" fmla="*/ 9742 h 25440"/>
                  <a:gd name="connsiteX1" fmla="*/ 4160 w 22438"/>
                  <a:gd name="connsiteY1" fmla="*/ 1 h 25440"/>
                  <a:gd name="connsiteX2" fmla="*/ -26 w 22438"/>
                  <a:gd name="connsiteY2" fmla="*/ 6632 h 25440"/>
                  <a:gd name="connsiteX3" fmla="*/ 17022 w 22438"/>
                  <a:gd name="connsiteY3" fmla="*/ 25442 h 25440"/>
                  <a:gd name="connsiteX4" fmla="*/ 22184 w 22438"/>
                  <a:gd name="connsiteY4" fmla="*/ 9742 h 25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438" h="25440">
                    <a:moveTo>
                      <a:pt x="22184" y="9742"/>
                    </a:moveTo>
                    <a:cubicBezTo>
                      <a:pt x="16527" y="5875"/>
                      <a:pt x="10489" y="2611"/>
                      <a:pt x="4160" y="1"/>
                    </a:cubicBezTo>
                    <a:lnTo>
                      <a:pt x="-26" y="6632"/>
                    </a:lnTo>
                    <a:cubicBezTo>
                      <a:pt x="4870" y="12024"/>
                      <a:pt x="9741" y="17417"/>
                      <a:pt x="17022" y="25442"/>
                    </a:cubicBezTo>
                    <a:cubicBezTo>
                      <a:pt x="19647" y="17796"/>
                      <a:pt x="23376" y="10707"/>
                      <a:pt x="22184" y="9742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92" name="Vrije vorm 491">
                <a:extLst>
                  <a:ext uri="{FF2B5EF4-FFF2-40B4-BE49-F238E27FC236}">
                    <a16:creationId xmlns:a16="http://schemas.microsoft.com/office/drawing/2014/main" id="{E8750009-C8FF-1741-8E1C-87EF7CAD1495}"/>
                  </a:ext>
                </a:extLst>
              </p:cNvPr>
              <p:cNvSpPr/>
              <p:nvPr/>
            </p:nvSpPr>
            <p:spPr>
              <a:xfrm>
                <a:off x="3207260" y="1596859"/>
                <a:ext cx="31443" cy="11700"/>
              </a:xfrm>
              <a:custGeom>
                <a:avLst/>
                <a:gdLst>
                  <a:gd name="connsiteX0" fmla="*/ -26 w 31443"/>
                  <a:gd name="connsiteY0" fmla="*/ 3109 h 11700"/>
                  <a:gd name="connsiteX1" fmla="*/ 31418 w 31443"/>
                  <a:gd name="connsiteY1" fmla="*/ 1 h 11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443" h="11700">
                    <a:moveTo>
                      <a:pt x="-26" y="3109"/>
                    </a:moveTo>
                    <a:cubicBezTo>
                      <a:pt x="12290" y="15056"/>
                      <a:pt x="13039" y="15021"/>
                      <a:pt x="31418" y="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93" name="Vrije vorm 492">
                <a:extLst>
                  <a:ext uri="{FF2B5EF4-FFF2-40B4-BE49-F238E27FC236}">
                    <a16:creationId xmlns:a16="http://schemas.microsoft.com/office/drawing/2014/main" id="{1C6C6583-26AD-6B46-8756-ADAF47FED523}"/>
                  </a:ext>
                </a:extLst>
              </p:cNvPr>
              <p:cNvSpPr/>
              <p:nvPr/>
            </p:nvSpPr>
            <p:spPr>
              <a:xfrm>
                <a:off x="3296087" y="1626372"/>
                <a:ext cx="18379" cy="23161"/>
              </a:xfrm>
              <a:custGeom>
                <a:avLst/>
                <a:gdLst>
                  <a:gd name="connsiteX0" fmla="*/ -26 w 18379"/>
                  <a:gd name="connsiteY0" fmla="*/ 7206 h 23161"/>
                  <a:gd name="connsiteX1" fmla="*/ 4261 w 18379"/>
                  <a:gd name="connsiteY1" fmla="*/ 23163 h 23161"/>
                  <a:gd name="connsiteX2" fmla="*/ 18353 w 18379"/>
                  <a:gd name="connsiteY2" fmla="*/ 3286 h 23161"/>
                  <a:gd name="connsiteX3" fmla="*/ -26 w 18379"/>
                  <a:gd name="connsiteY3" fmla="*/ 7206 h 231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379" h="23161">
                    <a:moveTo>
                      <a:pt x="-26" y="7206"/>
                    </a:moveTo>
                    <a:cubicBezTo>
                      <a:pt x="532" y="12722"/>
                      <a:pt x="1978" y="18111"/>
                      <a:pt x="4261" y="23163"/>
                    </a:cubicBezTo>
                    <a:lnTo>
                      <a:pt x="18353" y="3286"/>
                    </a:lnTo>
                    <a:cubicBezTo>
                      <a:pt x="8878" y="1068"/>
                      <a:pt x="1610" y="-4515"/>
                      <a:pt x="-26" y="7206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94" name="Vrije vorm 493">
                <a:extLst>
                  <a:ext uri="{FF2B5EF4-FFF2-40B4-BE49-F238E27FC236}">
                    <a16:creationId xmlns:a16="http://schemas.microsoft.com/office/drawing/2014/main" id="{D653D060-DFC7-8344-B327-F5802A2CCD1E}"/>
                  </a:ext>
                </a:extLst>
              </p:cNvPr>
              <p:cNvSpPr/>
              <p:nvPr/>
            </p:nvSpPr>
            <p:spPr>
              <a:xfrm>
                <a:off x="3070524" y="1884523"/>
                <a:ext cx="17783" cy="23216"/>
              </a:xfrm>
              <a:custGeom>
                <a:avLst/>
                <a:gdLst>
                  <a:gd name="connsiteX0" fmla="*/ 17757 w 17783"/>
                  <a:gd name="connsiteY0" fmla="*/ 20354 h 23216"/>
                  <a:gd name="connsiteX1" fmla="*/ 8257 w 17783"/>
                  <a:gd name="connsiteY1" fmla="*/ 1 h 23216"/>
                  <a:gd name="connsiteX2" fmla="*/ -26 w 17783"/>
                  <a:gd name="connsiteY2" fmla="*/ 6217 h 23216"/>
                  <a:gd name="connsiteX3" fmla="*/ 14447 w 17783"/>
                  <a:gd name="connsiteY3" fmla="*/ 23218 h 23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783" h="23216">
                    <a:moveTo>
                      <a:pt x="17757" y="20354"/>
                    </a:moveTo>
                    <a:lnTo>
                      <a:pt x="8257" y="1"/>
                    </a:lnTo>
                    <a:lnTo>
                      <a:pt x="-26" y="6217"/>
                    </a:lnTo>
                    <a:cubicBezTo>
                      <a:pt x="4807" y="11921"/>
                      <a:pt x="9627" y="17570"/>
                      <a:pt x="14447" y="23218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95" name="Vrije vorm 494">
                <a:extLst>
                  <a:ext uri="{FF2B5EF4-FFF2-40B4-BE49-F238E27FC236}">
                    <a16:creationId xmlns:a16="http://schemas.microsoft.com/office/drawing/2014/main" id="{3E0934B8-A5B3-174F-A9D8-AC617A7838ED}"/>
                  </a:ext>
                </a:extLst>
              </p:cNvPr>
              <p:cNvSpPr/>
              <p:nvPr/>
            </p:nvSpPr>
            <p:spPr>
              <a:xfrm>
                <a:off x="3352554" y="1682652"/>
                <a:ext cx="16302" cy="22701"/>
              </a:xfrm>
              <a:custGeom>
                <a:avLst/>
                <a:gdLst>
                  <a:gd name="connsiteX0" fmla="*/ 3389 w 16302"/>
                  <a:gd name="connsiteY0" fmla="*/ 1 h 22701"/>
                  <a:gd name="connsiteX1" fmla="*/ 16276 w 16302"/>
                  <a:gd name="connsiteY1" fmla="*/ 22702 h 22701"/>
                  <a:gd name="connsiteX2" fmla="*/ 3389 w 16302"/>
                  <a:gd name="connsiteY2" fmla="*/ 1 h 22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302" h="22701">
                    <a:moveTo>
                      <a:pt x="3389" y="1"/>
                    </a:moveTo>
                    <a:cubicBezTo>
                      <a:pt x="-3524" y="13186"/>
                      <a:pt x="-289" y="18336"/>
                      <a:pt x="16276" y="22702"/>
                    </a:cubicBezTo>
                    <a:cubicBezTo>
                      <a:pt x="10480" y="12495"/>
                      <a:pt x="7677" y="7549"/>
                      <a:pt x="3389" y="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96" name="Vrije vorm 495">
                <a:extLst>
                  <a:ext uri="{FF2B5EF4-FFF2-40B4-BE49-F238E27FC236}">
                    <a16:creationId xmlns:a16="http://schemas.microsoft.com/office/drawing/2014/main" id="{B29BD775-BAB9-7441-A22F-6EC704493CD6}"/>
                  </a:ext>
                </a:extLst>
              </p:cNvPr>
              <p:cNvSpPr/>
              <p:nvPr/>
            </p:nvSpPr>
            <p:spPr>
              <a:xfrm>
                <a:off x="3172606" y="1576080"/>
                <a:ext cx="16210" cy="18001"/>
              </a:xfrm>
              <a:custGeom>
                <a:avLst/>
                <a:gdLst>
                  <a:gd name="connsiteX0" fmla="*/ -26 w 16210"/>
                  <a:gd name="connsiteY0" fmla="*/ 52 h 18001"/>
                  <a:gd name="connsiteX1" fmla="*/ 16184 w 16210"/>
                  <a:gd name="connsiteY1" fmla="*/ 18002 h 18001"/>
                  <a:gd name="connsiteX2" fmla="*/ -26 w 16210"/>
                  <a:gd name="connsiteY2" fmla="*/ 52 h 18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210" h="18001">
                    <a:moveTo>
                      <a:pt x="-26" y="52"/>
                    </a:moveTo>
                    <a:cubicBezTo>
                      <a:pt x="5377" y="6035"/>
                      <a:pt x="10781" y="12018"/>
                      <a:pt x="16184" y="18002"/>
                    </a:cubicBezTo>
                    <a:cubicBezTo>
                      <a:pt x="14954" y="7165"/>
                      <a:pt x="11060" y="-710"/>
                      <a:pt x="-26" y="52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97" name="Vrije vorm 496">
                <a:extLst>
                  <a:ext uri="{FF2B5EF4-FFF2-40B4-BE49-F238E27FC236}">
                    <a16:creationId xmlns:a16="http://schemas.microsoft.com/office/drawing/2014/main" id="{377CDEFB-B473-AE4E-99C5-B9D5D534AAFE}"/>
                  </a:ext>
                </a:extLst>
              </p:cNvPr>
              <p:cNvSpPr/>
              <p:nvPr/>
            </p:nvSpPr>
            <p:spPr>
              <a:xfrm>
                <a:off x="3100725" y="1880292"/>
                <a:ext cx="11808" cy="14983"/>
              </a:xfrm>
              <a:custGeom>
                <a:avLst/>
                <a:gdLst>
                  <a:gd name="connsiteX0" fmla="*/ 4185 w 11808"/>
                  <a:gd name="connsiteY0" fmla="*/ 1 h 14983"/>
                  <a:gd name="connsiteX1" fmla="*/ -26 w 11808"/>
                  <a:gd name="connsiteY1" fmla="*/ 2183 h 14983"/>
                  <a:gd name="connsiteX2" fmla="*/ 4997 w 11808"/>
                  <a:gd name="connsiteY2" fmla="*/ 14985 h 14983"/>
                  <a:gd name="connsiteX3" fmla="*/ 11783 w 11808"/>
                  <a:gd name="connsiteY3" fmla="*/ 12009 h 14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8" h="14983">
                    <a:moveTo>
                      <a:pt x="4185" y="1"/>
                    </a:moveTo>
                    <a:lnTo>
                      <a:pt x="-26" y="2183"/>
                    </a:lnTo>
                    <a:lnTo>
                      <a:pt x="4997" y="14985"/>
                    </a:lnTo>
                    <a:lnTo>
                      <a:pt x="11783" y="12009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98" name="Vrije vorm 497">
                <a:extLst>
                  <a:ext uri="{FF2B5EF4-FFF2-40B4-BE49-F238E27FC236}">
                    <a16:creationId xmlns:a16="http://schemas.microsoft.com/office/drawing/2014/main" id="{5E9D31B5-C8B6-BA4E-8F66-84D5859CCC58}"/>
                  </a:ext>
                </a:extLst>
              </p:cNvPr>
              <p:cNvSpPr/>
              <p:nvPr/>
            </p:nvSpPr>
            <p:spPr>
              <a:xfrm>
                <a:off x="2591319" y="1676983"/>
                <a:ext cx="9637" cy="13251"/>
              </a:xfrm>
              <a:custGeom>
                <a:avLst/>
                <a:gdLst>
                  <a:gd name="connsiteX0" fmla="*/ 6693 w 9637"/>
                  <a:gd name="connsiteY0" fmla="*/ 1 h 13251"/>
                  <a:gd name="connsiteX1" fmla="*/ -4 w 9637"/>
                  <a:gd name="connsiteY1" fmla="*/ 6286 h 13251"/>
                  <a:gd name="connsiteX2" fmla="*/ 5704 w 9637"/>
                  <a:gd name="connsiteY2" fmla="*/ 13252 h 13251"/>
                  <a:gd name="connsiteX3" fmla="*/ 9598 w 9637"/>
                  <a:gd name="connsiteY3" fmla="*/ 3539 h 13251"/>
                  <a:gd name="connsiteX4" fmla="*/ 6693 w 9637"/>
                  <a:gd name="connsiteY4" fmla="*/ 1 h 132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637" h="13251">
                    <a:moveTo>
                      <a:pt x="6693" y="1"/>
                    </a:moveTo>
                    <a:cubicBezTo>
                      <a:pt x="4258" y="1863"/>
                      <a:pt x="2012" y="3970"/>
                      <a:pt x="-4" y="6286"/>
                    </a:cubicBezTo>
                    <a:cubicBezTo>
                      <a:pt x="-309" y="6702"/>
                      <a:pt x="2634" y="9558"/>
                      <a:pt x="5704" y="13252"/>
                    </a:cubicBezTo>
                    <a:cubicBezTo>
                      <a:pt x="7289" y="10132"/>
                      <a:pt x="8583" y="6883"/>
                      <a:pt x="9598" y="3539"/>
                    </a:cubicBezTo>
                    <a:cubicBezTo>
                      <a:pt x="9801" y="2598"/>
                      <a:pt x="7733" y="1194"/>
                      <a:pt x="6693" y="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99" name="Vrije vorm 498">
                <a:extLst>
                  <a:ext uri="{FF2B5EF4-FFF2-40B4-BE49-F238E27FC236}">
                    <a16:creationId xmlns:a16="http://schemas.microsoft.com/office/drawing/2014/main" id="{FAE770E5-4FB0-2742-A935-F34EEBA6796C}"/>
                  </a:ext>
                </a:extLst>
              </p:cNvPr>
              <p:cNvSpPr/>
              <p:nvPr/>
            </p:nvSpPr>
            <p:spPr>
              <a:xfrm>
                <a:off x="2636205" y="1663146"/>
                <a:ext cx="7496" cy="11764"/>
              </a:xfrm>
              <a:custGeom>
                <a:avLst/>
                <a:gdLst>
                  <a:gd name="connsiteX0" fmla="*/ -26 w 7496"/>
                  <a:gd name="connsiteY0" fmla="*/ 1465 h 11764"/>
                  <a:gd name="connsiteX1" fmla="*/ 1420 w 7496"/>
                  <a:gd name="connsiteY1" fmla="*/ 11765 h 11764"/>
                  <a:gd name="connsiteX2" fmla="*/ 7470 w 7496"/>
                  <a:gd name="connsiteY2" fmla="*/ 11130 h 11764"/>
                  <a:gd name="connsiteX3" fmla="*/ 5885 w 7496"/>
                  <a:gd name="connsiteY3" fmla="*/ 1 h 11764"/>
                  <a:gd name="connsiteX4" fmla="*/ -26 w 7496"/>
                  <a:gd name="connsiteY4" fmla="*/ 1465 h 117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96" h="11764">
                    <a:moveTo>
                      <a:pt x="-26" y="1465"/>
                    </a:moveTo>
                    <a:cubicBezTo>
                      <a:pt x="202" y="4930"/>
                      <a:pt x="684" y="8373"/>
                      <a:pt x="1420" y="11765"/>
                    </a:cubicBezTo>
                    <a:lnTo>
                      <a:pt x="7470" y="11130"/>
                    </a:lnTo>
                    <a:lnTo>
                      <a:pt x="5885" y="1"/>
                    </a:lnTo>
                    <a:cubicBezTo>
                      <a:pt x="3817" y="493"/>
                      <a:pt x="-26" y="1010"/>
                      <a:pt x="-26" y="1465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00" name="Vrije vorm 499">
                <a:extLst>
                  <a:ext uri="{FF2B5EF4-FFF2-40B4-BE49-F238E27FC236}">
                    <a16:creationId xmlns:a16="http://schemas.microsoft.com/office/drawing/2014/main" id="{A16C7D43-C599-034F-89FB-3C2410746BCA}"/>
                  </a:ext>
                </a:extLst>
              </p:cNvPr>
              <p:cNvSpPr/>
              <p:nvPr/>
            </p:nvSpPr>
            <p:spPr>
              <a:xfrm>
                <a:off x="3294552" y="2039096"/>
                <a:ext cx="18506" cy="16869"/>
              </a:xfrm>
              <a:custGeom>
                <a:avLst/>
                <a:gdLst>
                  <a:gd name="connsiteX0" fmla="*/ -26 w 18506"/>
                  <a:gd name="connsiteY0" fmla="*/ 6434 h 16869"/>
                  <a:gd name="connsiteX1" fmla="*/ 11415 w 18506"/>
                  <a:gd name="connsiteY1" fmla="*/ 16871 h 16869"/>
                  <a:gd name="connsiteX2" fmla="*/ 18480 w 18506"/>
                  <a:gd name="connsiteY2" fmla="*/ 9497 h 16869"/>
                  <a:gd name="connsiteX3" fmla="*/ 5872 w 18506"/>
                  <a:gd name="connsiteY3" fmla="*/ 1 h 16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506" h="16869">
                    <a:moveTo>
                      <a:pt x="-26" y="6434"/>
                    </a:moveTo>
                    <a:lnTo>
                      <a:pt x="11415" y="16871"/>
                    </a:lnTo>
                    <a:lnTo>
                      <a:pt x="18480" y="9497"/>
                    </a:lnTo>
                    <a:lnTo>
                      <a:pt x="5872" y="1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01" name="Vrije vorm 500">
                <a:extLst>
                  <a:ext uri="{FF2B5EF4-FFF2-40B4-BE49-F238E27FC236}">
                    <a16:creationId xmlns:a16="http://schemas.microsoft.com/office/drawing/2014/main" id="{47132BAA-FA23-2C44-BDBE-43D28D1ABA23}"/>
                  </a:ext>
                </a:extLst>
              </p:cNvPr>
              <p:cNvSpPr/>
              <p:nvPr/>
            </p:nvSpPr>
            <p:spPr>
              <a:xfrm>
                <a:off x="3748239" y="2888162"/>
                <a:ext cx="46437" cy="58858"/>
              </a:xfrm>
              <a:custGeom>
                <a:avLst/>
                <a:gdLst>
                  <a:gd name="connsiteX0" fmla="*/ 46412 w 46437"/>
                  <a:gd name="connsiteY0" fmla="*/ 42947 h 58858"/>
                  <a:gd name="connsiteX1" fmla="*/ 46196 w 46437"/>
                  <a:gd name="connsiteY1" fmla="*/ 36496 h 58858"/>
                  <a:gd name="connsiteX2" fmla="*/ 32598 w 46437"/>
                  <a:gd name="connsiteY2" fmla="*/ 34819 h 58858"/>
                  <a:gd name="connsiteX3" fmla="*/ 22705 w 46437"/>
                  <a:gd name="connsiteY3" fmla="*/ 38477 h 58858"/>
                  <a:gd name="connsiteX4" fmla="*/ 29326 w 46437"/>
                  <a:gd name="connsiteY4" fmla="*/ 34502 h 58858"/>
                  <a:gd name="connsiteX5" fmla="*/ 19775 w 46437"/>
                  <a:gd name="connsiteY5" fmla="*/ 53234 h 58858"/>
                  <a:gd name="connsiteX6" fmla="*/ 16718 w 46437"/>
                  <a:gd name="connsiteY6" fmla="*/ 55368 h 58858"/>
                  <a:gd name="connsiteX7" fmla="*/ 8283 w 46437"/>
                  <a:gd name="connsiteY7" fmla="*/ 53069 h 58858"/>
                  <a:gd name="connsiteX8" fmla="*/ 13356 w 46437"/>
                  <a:gd name="connsiteY8" fmla="*/ 47951 h 58858"/>
                  <a:gd name="connsiteX9" fmla="*/ 12760 w 46437"/>
                  <a:gd name="connsiteY9" fmla="*/ 45728 h 58858"/>
                  <a:gd name="connsiteX10" fmla="*/ 15678 w 46437"/>
                  <a:gd name="connsiteY10" fmla="*/ 44928 h 58858"/>
                  <a:gd name="connsiteX11" fmla="*/ 8879 w 46437"/>
                  <a:gd name="connsiteY11" fmla="*/ 44065 h 58858"/>
                  <a:gd name="connsiteX12" fmla="*/ 20548 w 46437"/>
                  <a:gd name="connsiteY12" fmla="*/ 36826 h 58858"/>
                  <a:gd name="connsiteX13" fmla="*/ 11999 w 46437"/>
                  <a:gd name="connsiteY13" fmla="*/ 14880 h 58858"/>
                  <a:gd name="connsiteX14" fmla="*/ 38535 w 46437"/>
                  <a:gd name="connsiteY14" fmla="*/ 49640 h 58858"/>
                  <a:gd name="connsiteX15" fmla="*/ 46412 w 46437"/>
                  <a:gd name="connsiteY15" fmla="*/ 42947 h 58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6437" h="58858">
                    <a:moveTo>
                      <a:pt x="46412" y="42947"/>
                    </a:moveTo>
                    <a:cubicBezTo>
                      <a:pt x="42898" y="39112"/>
                      <a:pt x="40069" y="42312"/>
                      <a:pt x="46196" y="36496"/>
                    </a:cubicBezTo>
                    <a:cubicBezTo>
                      <a:pt x="42061" y="33917"/>
                      <a:pt x="37672" y="28850"/>
                      <a:pt x="32598" y="34819"/>
                    </a:cubicBezTo>
                    <a:cubicBezTo>
                      <a:pt x="39511" y="22526"/>
                      <a:pt x="22819" y="32457"/>
                      <a:pt x="22705" y="38477"/>
                    </a:cubicBezTo>
                    <a:cubicBezTo>
                      <a:pt x="25470" y="36115"/>
                      <a:pt x="36569" y="27313"/>
                      <a:pt x="29326" y="34502"/>
                    </a:cubicBezTo>
                    <a:cubicBezTo>
                      <a:pt x="7205" y="54707"/>
                      <a:pt x="36898" y="32216"/>
                      <a:pt x="19775" y="53234"/>
                    </a:cubicBezTo>
                    <a:cubicBezTo>
                      <a:pt x="20624" y="53221"/>
                      <a:pt x="16832" y="56117"/>
                      <a:pt x="16718" y="55368"/>
                    </a:cubicBezTo>
                    <a:cubicBezTo>
                      <a:pt x="21309" y="46935"/>
                      <a:pt x="10452" y="54872"/>
                      <a:pt x="8283" y="53069"/>
                    </a:cubicBezTo>
                    <a:cubicBezTo>
                      <a:pt x="9411" y="51088"/>
                      <a:pt x="9944" y="49132"/>
                      <a:pt x="13356" y="47951"/>
                    </a:cubicBezTo>
                    <a:cubicBezTo>
                      <a:pt x="14117" y="48027"/>
                      <a:pt x="15437" y="46516"/>
                      <a:pt x="12760" y="45728"/>
                    </a:cubicBezTo>
                    <a:cubicBezTo>
                      <a:pt x="7940" y="49462"/>
                      <a:pt x="10921" y="43455"/>
                      <a:pt x="15678" y="44928"/>
                    </a:cubicBezTo>
                    <a:cubicBezTo>
                      <a:pt x="24582" y="34146"/>
                      <a:pt x="14752" y="42134"/>
                      <a:pt x="8879" y="44065"/>
                    </a:cubicBezTo>
                    <a:cubicBezTo>
                      <a:pt x="12468" y="41182"/>
                      <a:pt x="16388" y="38756"/>
                      <a:pt x="20548" y="36826"/>
                    </a:cubicBezTo>
                    <a:cubicBezTo>
                      <a:pt x="32763" y="34743"/>
                      <a:pt x="37558" y="-27817"/>
                      <a:pt x="11999" y="14880"/>
                    </a:cubicBezTo>
                    <a:cubicBezTo>
                      <a:pt x="-10756" y="43976"/>
                      <a:pt x="-837" y="74646"/>
                      <a:pt x="38535" y="49640"/>
                    </a:cubicBezTo>
                    <a:cubicBezTo>
                      <a:pt x="33512" y="44725"/>
                      <a:pt x="44319" y="46605"/>
                      <a:pt x="46412" y="42947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02" name="Vrije vorm 501">
                <a:extLst>
                  <a:ext uri="{FF2B5EF4-FFF2-40B4-BE49-F238E27FC236}">
                    <a16:creationId xmlns:a16="http://schemas.microsoft.com/office/drawing/2014/main" id="{06E2394E-2699-EC44-9F5F-81057C5776C3}"/>
                  </a:ext>
                </a:extLst>
              </p:cNvPr>
              <p:cNvSpPr/>
              <p:nvPr/>
            </p:nvSpPr>
            <p:spPr>
              <a:xfrm>
                <a:off x="1849704" y="2719433"/>
                <a:ext cx="143476" cy="111099"/>
              </a:xfrm>
              <a:custGeom>
                <a:avLst/>
                <a:gdLst>
                  <a:gd name="connsiteX0" fmla="*/ 138186 w 143476"/>
                  <a:gd name="connsiteY0" fmla="*/ 95941 h 111099"/>
                  <a:gd name="connsiteX1" fmla="*/ 136563 w 143476"/>
                  <a:gd name="connsiteY1" fmla="*/ 93515 h 111099"/>
                  <a:gd name="connsiteX2" fmla="*/ 135573 w 143476"/>
                  <a:gd name="connsiteY2" fmla="*/ 92118 h 111099"/>
                  <a:gd name="connsiteX3" fmla="*/ 134000 w 143476"/>
                  <a:gd name="connsiteY3" fmla="*/ 89997 h 111099"/>
                  <a:gd name="connsiteX4" fmla="*/ 130144 w 143476"/>
                  <a:gd name="connsiteY4" fmla="*/ 85362 h 111099"/>
                  <a:gd name="connsiteX5" fmla="*/ 130144 w 143476"/>
                  <a:gd name="connsiteY5" fmla="*/ 85324 h 111099"/>
                  <a:gd name="connsiteX6" fmla="*/ 127798 w 143476"/>
                  <a:gd name="connsiteY6" fmla="*/ 82797 h 111099"/>
                  <a:gd name="connsiteX7" fmla="*/ 127709 w 143476"/>
                  <a:gd name="connsiteY7" fmla="*/ 82670 h 111099"/>
                  <a:gd name="connsiteX8" fmla="*/ 127709 w 143476"/>
                  <a:gd name="connsiteY8" fmla="*/ 82619 h 111099"/>
                  <a:gd name="connsiteX9" fmla="*/ 115583 w 143476"/>
                  <a:gd name="connsiteY9" fmla="*/ 70605 h 111099"/>
                  <a:gd name="connsiteX10" fmla="*/ 105740 w 143476"/>
                  <a:gd name="connsiteY10" fmla="*/ 61156 h 111099"/>
                  <a:gd name="connsiteX11" fmla="*/ 102227 w 143476"/>
                  <a:gd name="connsiteY11" fmla="*/ 57511 h 111099"/>
                  <a:gd name="connsiteX12" fmla="*/ 98776 w 143476"/>
                  <a:gd name="connsiteY12" fmla="*/ 53739 h 111099"/>
                  <a:gd name="connsiteX13" fmla="*/ 94553 w 143476"/>
                  <a:gd name="connsiteY13" fmla="*/ 48735 h 111099"/>
                  <a:gd name="connsiteX14" fmla="*/ 92485 w 143476"/>
                  <a:gd name="connsiteY14" fmla="*/ 45992 h 111099"/>
                  <a:gd name="connsiteX15" fmla="*/ 92206 w 143476"/>
                  <a:gd name="connsiteY15" fmla="*/ 45675 h 111099"/>
                  <a:gd name="connsiteX16" fmla="*/ 89644 w 143476"/>
                  <a:gd name="connsiteY16" fmla="*/ 41991 h 111099"/>
                  <a:gd name="connsiteX17" fmla="*/ 89517 w 143476"/>
                  <a:gd name="connsiteY17" fmla="*/ 41776 h 111099"/>
                  <a:gd name="connsiteX18" fmla="*/ 87855 w 143476"/>
                  <a:gd name="connsiteY18" fmla="*/ 39159 h 111099"/>
                  <a:gd name="connsiteX19" fmla="*/ 85065 w 143476"/>
                  <a:gd name="connsiteY19" fmla="*/ 34206 h 111099"/>
                  <a:gd name="connsiteX20" fmla="*/ 83758 w 143476"/>
                  <a:gd name="connsiteY20" fmla="*/ 31641 h 111099"/>
                  <a:gd name="connsiteX21" fmla="*/ 82503 w 143476"/>
                  <a:gd name="connsiteY21" fmla="*/ 28936 h 111099"/>
                  <a:gd name="connsiteX22" fmla="*/ 81742 w 143476"/>
                  <a:gd name="connsiteY22" fmla="*/ 27145 h 111099"/>
                  <a:gd name="connsiteX23" fmla="*/ 80981 w 143476"/>
                  <a:gd name="connsiteY23" fmla="*/ 25253 h 111099"/>
                  <a:gd name="connsiteX24" fmla="*/ 79141 w 143476"/>
                  <a:gd name="connsiteY24" fmla="*/ 24707 h 111099"/>
                  <a:gd name="connsiteX25" fmla="*/ 75590 w 143476"/>
                  <a:gd name="connsiteY25" fmla="*/ 23678 h 111099"/>
                  <a:gd name="connsiteX26" fmla="*/ 71265 w 143476"/>
                  <a:gd name="connsiteY26" fmla="*/ 22370 h 111099"/>
                  <a:gd name="connsiteX27" fmla="*/ 67003 w 143476"/>
                  <a:gd name="connsiteY27" fmla="*/ 20262 h 111099"/>
                  <a:gd name="connsiteX28" fmla="*/ 43905 w 143476"/>
                  <a:gd name="connsiteY28" fmla="*/ 14229 h 111099"/>
                  <a:gd name="connsiteX29" fmla="*/ 43854 w 143476"/>
                  <a:gd name="connsiteY29" fmla="*/ 14229 h 111099"/>
                  <a:gd name="connsiteX30" fmla="*/ 43042 w 143476"/>
                  <a:gd name="connsiteY30" fmla="*/ 14051 h 111099"/>
                  <a:gd name="connsiteX31" fmla="*/ 34151 w 143476"/>
                  <a:gd name="connsiteY31" fmla="*/ 11524 h 111099"/>
                  <a:gd name="connsiteX32" fmla="*/ 33428 w 143476"/>
                  <a:gd name="connsiteY32" fmla="*/ 11346 h 111099"/>
                  <a:gd name="connsiteX33" fmla="*/ 30282 w 143476"/>
                  <a:gd name="connsiteY33" fmla="*/ 10495 h 111099"/>
                  <a:gd name="connsiteX34" fmla="*/ 22786 w 143476"/>
                  <a:gd name="connsiteY34" fmla="*/ 8603 h 111099"/>
                  <a:gd name="connsiteX35" fmla="*/ 20135 w 143476"/>
                  <a:gd name="connsiteY35" fmla="*/ 7968 h 111099"/>
                  <a:gd name="connsiteX36" fmla="*/ 18511 w 143476"/>
                  <a:gd name="connsiteY36" fmla="*/ 7613 h 111099"/>
                  <a:gd name="connsiteX37" fmla="*/ 1933 w 143476"/>
                  <a:gd name="connsiteY37" fmla="*/ 2342 h 111099"/>
                  <a:gd name="connsiteX38" fmla="*/ 182 w 143476"/>
                  <a:gd name="connsiteY38" fmla="*/ 8819 h 111099"/>
                  <a:gd name="connsiteX39" fmla="*/ 7907 w 143476"/>
                  <a:gd name="connsiteY39" fmla="*/ 14128 h 111099"/>
                  <a:gd name="connsiteX40" fmla="*/ 7996 w 143476"/>
                  <a:gd name="connsiteY40" fmla="*/ 14128 h 111099"/>
                  <a:gd name="connsiteX41" fmla="*/ 11091 w 143476"/>
                  <a:gd name="connsiteY41" fmla="*/ 16198 h 111099"/>
                  <a:gd name="connsiteX42" fmla="*/ 14782 w 143476"/>
                  <a:gd name="connsiteY42" fmla="*/ 18496 h 111099"/>
                  <a:gd name="connsiteX43" fmla="*/ 13653 w 143476"/>
                  <a:gd name="connsiteY43" fmla="*/ 20706 h 111099"/>
                  <a:gd name="connsiteX44" fmla="*/ 13475 w 143476"/>
                  <a:gd name="connsiteY44" fmla="*/ 20922 h 111099"/>
                  <a:gd name="connsiteX45" fmla="*/ 13120 w 143476"/>
                  <a:gd name="connsiteY45" fmla="*/ 21468 h 111099"/>
                  <a:gd name="connsiteX46" fmla="*/ 12943 w 143476"/>
                  <a:gd name="connsiteY46" fmla="*/ 21824 h 111099"/>
                  <a:gd name="connsiteX47" fmla="*/ 12664 w 143476"/>
                  <a:gd name="connsiteY47" fmla="*/ 22726 h 111099"/>
                  <a:gd name="connsiteX48" fmla="*/ 12664 w 143476"/>
                  <a:gd name="connsiteY48" fmla="*/ 22764 h 111099"/>
                  <a:gd name="connsiteX49" fmla="*/ 12270 w 143476"/>
                  <a:gd name="connsiteY49" fmla="*/ 23665 h 111099"/>
                  <a:gd name="connsiteX50" fmla="*/ 12714 w 143476"/>
                  <a:gd name="connsiteY50" fmla="*/ 24034 h 111099"/>
                  <a:gd name="connsiteX51" fmla="*/ 12943 w 143476"/>
                  <a:gd name="connsiteY51" fmla="*/ 24796 h 111099"/>
                  <a:gd name="connsiteX52" fmla="*/ 13298 w 143476"/>
                  <a:gd name="connsiteY52" fmla="*/ 25558 h 111099"/>
                  <a:gd name="connsiteX53" fmla="*/ 16304 w 143476"/>
                  <a:gd name="connsiteY53" fmla="*/ 28479 h 111099"/>
                  <a:gd name="connsiteX54" fmla="*/ 16989 w 143476"/>
                  <a:gd name="connsiteY54" fmla="*/ 28796 h 111099"/>
                  <a:gd name="connsiteX55" fmla="*/ 17699 w 143476"/>
                  <a:gd name="connsiteY55" fmla="*/ 29101 h 111099"/>
                  <a:gd name="connsiteX56" fmla="*/ 23864 w 143476"/>
                  <a:gd name="connsiteY56" fmla="*/ 33419 h 111099"/>
                  <a:gd name="connsiteX57" fmla="*/ 25437 w 143476"/>
                  <a:gd name="connsiteY57" fmla="*/ 34638 h 111099"/>
                  <a:gd name="connsiteX58" fmla="*/ 25297 w 143476"/>
                  <a:gd name="connsiteY58" fmla="*/ 34778 h 111099"/>
                  <a:gd name="connsiteX59" fmla="*/ 26236 w 143476"/>
                  <a:gd name="connsiteY59" fmla="*/ 36086 h 111099"/>
                  <a:gd name="connsiteX60" fmla="*/ 27098 w 143476"/>
                  <a:gd name="connsiteY60" fmla="*/ 37115 h 111099"/>
                  <a:gd name="connsiteX61" fmla="*/ 28303 w 143476"/>
                  <a:gd name="connsiteY61" fmla="*/ 38143 h 111099"/>
                  <a:gd name="connsiteX62" fmla="*/ 28798 w 143476"/>
                  <a:gd name="connsiteY62" fmla="*/ 38372 h 111099"/>
                  <a:gd name="connsiteX63" fmla="*/ 29660 w 143476"/>
                  <a:gd name="connsiteY63" fmla="*/ 38372 h 111099"/>
                  <a:gd name="connsiteX64" fmla="*/ 30104 w 143476"/>
                  <a:gd name="connsiteY64" fmla="*/ 38105 h 111099"/>
                  <a:gd name="connsiteX65" fmla="*/ 30371 w 143476"/>
                  <a:gd name="connsiteY65" fmla="*/ 37877 h 111099"/>
                  <a:gd name="connsiteX66" fmla="*/ 33922 w 143476"/>
                  <a:gd name="connsiteY66" fmla="*/ 39413 h 111099"/>
                  <a:gd name="connsiteX67" fmla="*/ 34823 w 143476"/>
                  <a:gd name="connsiteY67" fmla="*/ 43058 h 111099"/>
                  <a:gd name="connsiteX68" fmla="*/ 35685 w 143476"/>
                  <a:gd name="connsiteY68" fmla="*/ 46792 h 111099"/>
                  <a:gd name="connsiteX69" fmla="*/ 37525 w 143476"/>
                  <a:gd name="connsiteY69" fmla="*/ 47110 h 111099"/>
                  <a:gd name="connsiteX70" fmla="*/ 38463 w 143476"/>
                  <a:gd name="connsiteY70" fmla="*/ 46970 h 111099"/>
                  <a:gd name="connsiteX71" fmla="*/ 39047 w 143476"/>
                  <a:gd name="connsiteY71" fmla="*/ 46741 h 111099"/>
                  <a:gd name="connsiteX72" fmla="*/ 39135 w 143476"/>
                  <a:gd name="connsiteY72" fmla="*/ 46703 h 111099"/>
                  <a:gd name="connsiteX73" fmla="*/ 39947 w 143476"/>
                  <a:gd name="connsiteY73" fmla="*/ 46068 h 111099"/>
                  <a:gd name="connsiteX74" fmla="*/ 40493 w 143476"/>
                  <a:gd name="connsiteY74" fmla="*/ 45344 h 111099"/>
                  <a:gd name="connsiteX75" fmla="*/ 40581 w 143476"/>
                  <a:gd name="connsiteY75" fmla="*/ 45166 h 111099"/>
                  <a:gd name="connsiteX76" fmla="*/ 40899 w 143476"/>
                  <a:gd name="connsiteY76" fmla="*/ 44582 h 111099"/>
                  <a:gd name="connsiteX77" fmla="*/ 41025 w 143476"/>
                  <a:gd name="connsiteY77" fmla="*/ 44265 h 111099"/>
                  <a:gd name="connsiteX78" fmla="*/ 41165 w 143476"/>
                  <a:gd name="connsiteY78" fmla="*/ 43820 h 111099"/>
                  <a:gd name="connsiteX79" fmla="*/ 41292 w 143476"/>
                  <a:gd name="connsiteY79" fmla="*/ 43452 h 111099"/>
                  <a:gd name="connsiteX80" fmla="*/ 41431 w 143476"/>
                  <a:gd name="connsiteY80" fmla="*/ 43046 h 111099"/>
                  <a:gd name="connsiteX81" fmla="*/ 41786 w 143476"/>
                  <a:gd name="connsiteY81" fmla="*/ 43325 h 111099"/>
                  <a:gd name="connsiteX82" fmla="*/ 42421 w 143476"/>
                  <a:gd name="connsiteY82" fmla="*/ 45700 h 111099"/>
                  <a:gd name="connsiteX83" fmla="*/ 43588 w 143476"/>
                  <a:gd name="connsiteY83" fmla="*/ 45027 h 111099"/>
                  <a:gd name="connsiteX84" fmla="*/ 43638 w 143476"/>
                  <a:gd name="connsiteY84" fmla="*/ 45078 h 111099"/>
                  <a:gd name="connsiteX85" fmla="*/ 53126 w 143476"/>
                  <a:gd name="connsiteY85" fmla="*/ 58882 h 111099"/>
                  <a:gd name="connsiteX86" fmla="*/ 52226 w 143476"/>
                  <a:gd name="connsiteY86" fmla="*/ 60330 h 111099"/>
                  <a:gd name="connsiteX87" fmla="*/ 51642 w 143476"/>
                  <a:gd name="connsiteY87" fmla="*/ 61816 h 111099"/>
                  <a:gd name="connsiteX88" fmla="*/ 51274 w 143476"/>
                  <a:gd name="connsiteY88" fmla="*/ 63213 h 111099"/>
                  <a:gd name="connsiteX89" fmla="*/ 53532 w 143476"/>
                  <a:gd name="connsiteY89" fmla="*/ 66134 h 111099"/>
                  <a:gd name="connsiteX90" fmla="*/ 53925 w 143476"/>
                  <a:gd name="connsiteY90" fmla="*/ 65677 h 111099"/>
                  <a:gd name="connsiteX91" fmla="*/ 54788 w 143476"/>
                  <a:gd name="connsiteY91" fmla="*/ 64470 h 111099"/>
                  <a:gd name="connsiteX92" fmla="*/ 55232 w 143476"/>
                  <a:gd name="connsiteY92" fmla="*/ 63658 h 111099"/>
                  <a:gd name="connsiteX93" fmla="*/ 60267 w 143476"/>
                  <a:gd name="connsiteY93" fmla="*/ 64597 h 111099"/>
                  <a:gd name="connsiteX94" fmla="*/ 60584 w 143476"/>
                  <a:gd name="connsiteY94" fmla="*/ 64686 h 111099"/>
                  <a:gd name="connsiteX95" fmla="*/ 67726 w 143476"/>
                  <a:gd name="connsiteY95" fmla="*/ 69690 h 111099"/>
                  <a:gd name="connsiteX96" fmla="*/ 68043 w 143476"/>
                  <a:gd name="connsiteY96" fmla="*/ 70401 h 111099"/>
                  <a:gd name="connsiteX97" fmla="*/ 68271 w 143476"/>
                  <a:gd name="connsiteY97" fmla="*/ 71075 h 111099"/>
                  <a:gd name="connsiteX98" fmla="*/ 68487 w 143476"/>
                  <a:gd name="connsiteY98" fmla="*/ 71709 h 111099"/>
                  <a:gd name="connsiteX99" fmla="*/ 68943 w 143476"/>
                  <a:gd name="connsiteY99" fmla="*/ 73195 h 111099"/>
                  <a:gd name="connsiteX100" fmla="*/ 69616 w 143476"/>
                  <a:gd name="connsiteY100" fmla="*/ 73068 h 111099"/>
                  <a:gd name="connsiteX101" fmla="*/ 70516 w 143476"/>
                  <a:gd name="connsiteY101" fmla="*/ 72078 h 111099"/>
                  <a:gd name="connsiteX102" fmla="*/ 73662 w 143476"/>
                  <a:gd name="connsiteY102" fmla="*/ 75583 h 111099"/>
                  <a:gd name="connsiteX103" fmla="*/ 74017 w 143476"/>
                  <a:gd name="connsiteY103" fmla="*/ 77209 h 111099"/>
                  <a:gd name="connsiteX104" fmla="*/ 74562 w 143476"/>
                  <a:gd name="connsiteY104" fmla="*/ 78733 h 111099"/>
                  <a:gd name="connsiteX105" fmla="*/ 74740 w 143476"/>
                  <a:gd name="connsiteY105" fmla="*/ 79177 h 111099"/>
                  <a:gd name="connsiteX106" fmla="*/ 75767 w 143476"/>
                  <a:gd name="connsiteY106" fmla="*/ 81209 h 111099"/>
                  <a:gd name="connsiteX107" fmla="*/ 76402 w 143476"/>
                  <a:gd name="connsiteY107" fmla="*/ 82149 h 111099"/>
                  <a:gd name="connsiteX108" fmla="*/ 77657 w 143476"/>
                  <a:gd name="connsiteY108" fmla="*/ 83724 h 111099"/>
                  <a:gd name="connsiteX109" fmla="*/ 79370 w 143476"/>
                  <a:gd name="connsiteY109" fmla="*/ 85210 h 111099"/>
                  <a:gd name="connsiteX110" fmla="*/ 80321 w 143476"/>
                  <a:gd name="connsiteY110" fmla="*/ 85845 h 111099"/>
                  <a:gd name="connsiteX111" fmla="*/ 87602 w 143476"/>
                  <a:gd name="connsiteY111" fmla="*/ 87153 h 111099"/>
                  <a:gd name="connsiteX112" fmla="*/ 87640 w 143476"/>
                  <a:gd name="connsiteY112" fmla="*/ 87203 h 111099"/>
                  <a:gd name="connsiteX113" fmla="*/ 95961 w 143476"/>
                  <a:gd name="connsiteY113" fmla="*/ 92918 h 111099"/>
                  <a:gd name="connsiteX114" fmla="*/ 96988 w 143476"/>
                  <a:gd name="connsiteY114" fmla="*/ 94887 h 111099"/>
                  <a:gd name="connsiteX115" fmla="*/ 98206 w 143476"/>
                  <a:gd name="connsiteY115" fmla="*/ 96601 h 111099"/>
                  <a:gd name="connsiteX116" fmla="*/ 99728 w 143476"/>
                  <a:gd name="connsiteY116" fmla="*/ 98354 h 111099"/>
                  <a:gd name="connsiteX117" fmla="*/ 101707 w 143476"/>
                  <a:gd name="connsiteY117" fmla="*/ 100208 h 111099"/>
                  <a:gd name="connsiteX118" fmla="*/ 103457 w 143476"/>
                  <a:gd name="connsiteY118" fmla="*/ 101593 h 111099"/>
                  <a:gd name="connsiteX119" fmla="*/ 104801 w 143476"/>
                  <a:gd name="connsiteY119" fmla="*/ 102583 h 111099"/>
                  <a:gd name="connsiteX120" fmla="*/ 105613 w 143476"/>
                  <a:gd name="connsiteY120" fmla="*/ 103129 h 111099"/>
                  <a:gd name="connsiteX121" fmla="*/ 107896 w 143476"/>
                  <a:gd name="connsiteY121" fmla="*/ 104526 h 111099"/>
                  <a:gd name="connsiteX122" fmla="*/ 111905 w 143476"/>
                  <a:gd name="connsiteY122" fmla="*/ 106546 h 111099"/>
                  <a:gd name="connsiteX123" fmla="*/ 113655 w 143476"/>
                  <a:gd name="connsiteY123" fmla="*/ 107308 h 111099"/>
                  <a:gd name="connsiteX124" fmla="*/ 115405 w 143476"/>
                  <a:gd name="connsiteY124" fmla="*/ 107993 h 111099"/>
                  <a:gd name="connsiteX125" fmla="*/ 117435 w 143476"/>
                  <a:gd name="connsiteY125" fmla="*/ 108705 h 111099"/>
                  <a:gd name="connsiteX126" fmla="*/ 118386 w 143476"/>
                  <a:gd name="connsiteY126" fmla="*/ 109022 h 111099"/>
                  <a:gd name="connsiteX127" fmla="*/ 120314 w 143476"/>
                  <a:gd name="connsiteY127" fmla="*/ 109568 h 111099"/>
                  <a:gd name="connsiteX128" fmla="*/ 125794 w 143476"/>
                  <a:gd name="connsiteY128" fmla="*/ 110686 h 111099"/>
                  <a:gd name="connsiteX129" fmla="*/ 126834 w 143476"/>
                  <a:gd name="connsiteY129" fmla="*/ 110825 h 111099"/>
                  <a:gd name="connsiteX130" fmla="*/ 131096 w 143476"/>
                  <a:gd name="connsiteY130" fmla="*/ 111092 h 111099"/>
                  <a:gd name="connsiteX131" fmla="*/ 134964 w 143476"/>
                  <a:gd name="connsiteY131" fmla="*/ 110775 h 111099"/>
                  <a:gd name="connsiteX132" fmla="*/ 137070 w 143476"/>
                  <a:gd name="connsiteY132" fmla="*/ 110330 h 111099"/>
                  <a:gd name="connsiteX133" fmla="*/ 138516 w 143476"/>
                  <a:gd name="connsiteY133" fmla="*/ 109835 h 111099"/>
                  <a:gd name="connsiteX134" fmla="*/ 139861 w 143476"/>
                  <a:gd name="connsiteY134" fmla="*/ 109200 h 111099"/>
                  <a:gd name="connsiteX135" fmla="*/ 143450 w 143476"/>
                  <a:gd name="connsiteY135" fmla="*/ 105822 h 111099"/>
                  <a:gd name="connsiteX136" fmla="*/ 138186 w 143476"/>
                  <a:gd name="connsiteY136" fmla="*/ 95941 h 111099"/>
                  <a:gd name="connsiteX137" fmla="*/ 16938 w 143476"/>
                  <a:gd name="connsiteY137" fmla="*/ 14001 h 111099"/>
                  <a:gd name="connsiteX138" fmla="*/ 14236 w 143476"/>
                  <a:gd name="connsiteY138" fmla="*/ 12604 h 111099"/>
                  <a:gd name="connsiteX139" fmla="*/ 17204 w 143476"/>
                  <a:gd name="connsiteY139" fmla="*/ 13467 h 111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</a:cxnLst>
                <a:rect l="l" t="t" r="r" b="b"/>
                <a:pathLst>
                  <a:path w="143476" h="111099">
                    <a:moveTo>
                      <a:pt x="138186" y="95941"/>
                    </a:moveTo>
                    <a:cubicBezTo>
                      <a:pt x="137692" y="95128"/>
                      <a:pt x="137146" y="94328"/>
                      <a:pt x="136563" y="93515"/>
                    </a:cubicBezTo>
                    <a:cubicBezTo>
                      <a:pt x="136246" y="93058"/>
                      <a:pt x="135928" y="92563"/>
                      <a:pt x="135573" y="92118"/>
                    </a:cubicBezTo>
                    <a:cubicBezTo>
                      <a:pt x="135079" y="91394"/>
                      <a:pt x="134546" y="90671"/>
                      <a:pt x="134000" y="89997"/>
                    </a:cubicBezTo>
                    <a:cubicBezTo>
                      <a:pt x="132745" y="88423"/>
                      <a:pt x="131438" y="86899"/>
                      <a:pt x="130144" y="85362"/>
                    </a:cubicBezTo>
                    <a:lnTo>
                      <a:pt x="130144" y="85324"/>
                    </a:lnTo>
                    <a:cubicBezTo>
                      <a:pt x="129333" y="84460"/>
                      <a:pt x="128572" y="83660"/>
                      <a:pt x="127798" y="82797"/>
                    </a:cubicBezTo>
                    <a:lnTo>
                      <a:pt x="127709" y="82670"/>
                    </a:lnTo>
                    <a:lnTo>
                      <a:pt x="127709" y="82619"/>
                    </a:lnTo>
                    <a:cubicBezTo>
                      <a:pt x="125134" y="77361"/>
                      <a:pt x="120860" y="73132"/>
                      <a:pt x="115583" y="70605"/>
                    </a:cubicBezTo>
                    <a:cubicBezTo>
                      <a:pt x="112298" y="67506"/>
                      <a:pt x="109013" y="64394"/>
                      <a:pt x="105740" y="61156"/>
                    </a:cubicBezTo>
                    <a:cubicBezTo>
                      <a:pt x="104573" y="59949"/>
                      <a:pt x="103355" y="58730"/>
                      <a:pt x="102227" y="57511"/>
                    </a:cubicBezTo>
                    <a:cubicBezTo>
                      <a:pt x="101060" y="56292"/>
                      <a:pt x="99893" y="55034"/>
                      <a:pt x="98776" y="53739"/>
                    </a:cubicBezTo>
                    <a:cubicBezTo>
                      <a:pt x="97331" y="52113"/>
                      <a:pt x="95935" y="50450"/>
                      <a:pt x="94553" y="48735"/>
                    </a:cubicBezTo>
                    <a:cubicBezTo>
                      <a:pt x="93868" y="47833"/>
                      <a:pt x="93157" y="46932"/>
                      <a:pt x="92485" y="45992"/>
                    </a:cubicBezTo>
                    <a:cubicBezTo>
                      <a:pt x="92384" y="45903"/>
                      <a:pt x="92282" y="45789"/>
                      <a:pt x="92206" y="45675"/>
                    </a:cubicBezTo>
                    <a:cubicBezTo>
                      <a:pt x="91356" y="44506"/>
                      <a:pt x="90506" y="43249"/>
                      <a:pt x="89644" y="41991"/>
                    </a:cubicBezTo>
                    <a:lnTo>
                      <a:pt x="89517" y="41776"/>
                    </a:lnTo>
                    <a:cubicBezTo>
                      <a:pt x="88934" y="40912"/>
                      <a:pt x="88388" y="40010"/>
                      <a:pt x="87855" y="39159"/>
                    </a:cubicBezTo>
                    <a:cubicBezTo>
                      <a:pt x="86904" y="37585"/>
                      <a:pt x="85965" y="35921"/>
                      <a:pt x="85065" y="34206"/>
                    </a:cubicBezTo>
                    <a:cubicBezTo>
                      <a:pt x="84608" y="33355"/>
                      <a:pt x="84164" y="32492"/>
                      <a:pt x="83758" y="31641"/>
                    </a:cubicBezTo>
                    <a:cubicBezTo>
                      <a:pt x="83314" y="30739"/>
                      <a:pt x="82909" y="29838"/>
                      <a:pt x="82503" y="28936"/>
                    </a:cubicBezTo>
                    <a:cubicBezTo>
                      <a:pt x="82224" y="28364"/>
                      <a:pt x="81957" y="27729"/>
                      <a:pt x="81742" y="27145"/>
                    </a:cubicBezTo>
                    <a:cubicBezTo>
                      <a:pt x="81475" y="26510"/>
                      <a:pt x="81196" y="25888"/>
                      <a:pt x="80981" y="25253"/>
                    </a:cubicBezTo>
                    <a:cubicBezTo>
                      <a:pt x="80435" y="25113"/>
                      <a:pt x="79852" y="24935"/>
                      <a:pt x="79141" y="24707"/>
                    </a:cubicBezTo>
                    <a:cubicBezTo>
                      <a:pt x="78101" y="24402"/>
                      <a:pt x="76884" y="24084"/>
                      <a:pt x="75590" y="23678"/>
                    </a:cubicBezTo>
                    <a:cubicBezTo>
                      <a:pt x="74283" y="23322"/>
                      <a:pt x="72837" y="22865"/>
                      <a:pt x="71265" y="22370"/>
                    </a:cubicBezTo>
                    <a:cubicBezTo>
                      <a:pt x="69933" y="21506"/>
                      <a:pt x="68499" y="20795"/>
                      <a:pt x="67003" y="20262"/>
                    </a:cubicBezTo>
                    <a:cubicBezTo>
                      <a:pt x="59430" y="17760"/>
                      <a:pt x="51718" y="15753"/>
                      <a:pt x="43905" y="14229"/>
                    </a:cubicBezTo>
                    <a:lnTo>
                      <a:pt x="43854" y="14229"/>
                    </a:lnTo>
                    <a:cubicBezTo>
                      <a:pt x="43588" y="14153"/>
                      <a:pt x="43321" y="14090"/>
                      <a:pt x="43042" y="14051"/>
                    </a:cubicBezTo>
                    <a:cubicBezTo>
                      <a:pt x="40087" y="13201"/>
                      <a:pt x="37068" y="12337"/>
                      <a:pt x="34151" y="11524"/>
                    </a:cubicBezTo>
                    <a:cubicBezTo>
                      <a:pt x="33910" y="11448"/>
                      <a:pt x="33669" y="11397"/>
                      <a:pt x="33428" y="11346"/>
                    </a:cubicBezTo>
                    <a:cubicBezTo>
                      <a:pt x="32400" y="11080"/>
                      <a:pt x="31322" y="10762"/>
                      <a:pt x="30282" y="10495"/>
                    </a:cubicBezTo>
                    <a:cubicBezTo>
                      <a:pt x="27720" y="9822"/>
                      <a:pt x="25208" y="9187"/>
                      <a:pt x="22786" y="8603"/>
                    </a:cubicBezTo>
                    <a:cubicBezTo>
                      <a:pt x="21885" y="8375"/>
                      <a:pt x="20984" y="8159"/>
                      <a:pt x="20135" y="7968"/>
                    </a:cubicBezTo>
                    <a:cubicBezTo>
                      <a:pt x="19589" y="7841"/>
                      <a:pt x="19056" y="7740"/>
                      <a:pt x="18511" y="7613"/>
                    </a:cubicBezTo>
                    <a:cubicBezTo>
                      <a:pt x="15720" y="-985"/>
                      <a:pt x="9480" y="-1620"/>
                      <a:pt x="1933" y="2342"/>
                    </a:cubicBezTo>
                    <a:cubicBezTo>
                      <a:pt x="258" y="4057"/>
                      <a:pt x="-401" y="6508"/>
                      <a:pt x="182" y="8819"/>
                    </a:cubicBezTo>
                    <a:cubicBezTo>
                      <a:pt x="2516" y="13416"/>
                      <a:pt x="5167" y="14534"/>
                      <a:pt x="7907" y="14128"/>
                    </a:cubicBezTo>
                    <a:lnTo>
                      <a:pt x="7996" y="14128"/>
                    </a:lnTo>
                    <a:cubicBezTo>
                      <a:pt x="8934" y="14763"/>
                      <a:pt x="9975" y="15487"/>
                      <a:pt x="11091" y="16198"/>
                    </a:cubicBezTo>
                    <a:cubicBezTo>
                      <a:pt x="12220" y="16922"/>
                      <a:pt x="13437" y="17684"/>
                      <a:pt x="14782" y="18496"/>
                    </a:cubicBezTo>
                    <a:cubicBezTo>
                      <a:pt x="14427" y="19220"/>
                      <a:pt x="14021" y="19982"/>
                      <a:pt x="13653" y="20706"/>
                    </a:cubicBezTo>
                    <a:cubicBezTo>
                      <a:pt x="13615" y="20795"/>
                      <a:pt x="13526" y="20833"/>
                      <a:pt x="13475" y="20922"/>
                    </a:cubicBezTo>
                    <a:cubicBezTo>
                      <a:pt x="13348" y="21100"/>
                      <a:pt x="13222" y="21278"/>
                      <a:pt x="13120" y="21468"/>
                    </a:cubicBezTo>
                    <a:cubicBezTo>
                      <a:pt x="13044" y="21570"/>
                      <a:pt x="12981" y="21697"/>
                      <a:pt x="12943" y="21824"/>
                    </a:cubicBezTo>
                    <a:cubicBezTo>
                      <a:pt x="12790" y="22103"/>
                      <a:pt x="12702" y="22408"/>
                      <a:pt x="12664" y="22726"/>
                    </a:cubicBezTo>
                    <a:lnTo>
                      <a:pt x="12664" y="22764"/>
                    </a:lnTo>
                    <a:cubicBezTo>
                      <a:pt x="12537" y="23043"/>
                      <a:pt x="12397" y="23361"/>
                      <a:pt x="12270" y="23665"/>
                    </a:cubicBezTo>
                    <a:cubicBezTo>
                      <a:pt x="12410" y="23805"/>
                      <a:pt x="12549" y="23919"/>
                      <a:pt x="12714" y="24034"/>
                    </a:cubicBezTo>
                    <a:cubicBezTo>
                      <a:pt x="12778" y="24288"/>
                      <a:pt x="12854" y="24542"/>
                      <a:pt x="12943" y="24796"/>
                    </a:cubicBezTo>
                    <a:cubicBezTo>
                      <a:pt x="13031" y="25062"/>
                      <a:pt x="13146" y="25316"/>
                      <a:pt x="13298" y="25558"/>
                    </a:cubicBezTo>
                    <a:cubicBezTo>
                      <a:pt x="13983" y="26815"/>
                      <a:pt x="15036" y="27831"/>
                      <a:pt x="16304" y="28479"/>
                    </a:cubicBezTo>
                    <a:cubicBezTo>
                      <a:pt x="16520" y="28606"/>
                      <a:pt x="16748" y="28707"/>
                      <a:pt x="16989" y="28796"/>
                    </a:cubicBezTo>
                    <a:cubicBezTo>
                      <a:pt x="17204" y="28923"/>
                      <a:pt x="17458" y="29025"/>
                      <a:pt x="17699" y="29101"/>
                    </a:cubicBezTo>
                    <a:cubicBezTo>
                      <a:pt x="9302" y="39502"/>
                      <a:pt x="19183" y="34816"/>
                      <a:pt x="23864" y="33419"/>
                    </a:cubicBezTo>
                    <a:cubicBezTo>
                      <a:pt x="24396" y="33825"/>
                      <a:pt x="24891" y="34232"/>
                      <a:pt x="25437" y="34638"/>
                    </a:cubicBezTo>
                    <a:lnTo>
                      <a:pt x="25297" y="34778"/>
                    </a:lnTo>
                    <a:cubicBezTo>
                      <a:pt x="25652" y="35273"/>
                      <a:pt x="25931" y="35718"/>
                      <a:pt x="26236" y="36086"/>
                    </a:cubicBezTo>
                    <a:cubicBezTo>
                      <a:pt x="26553" y="36480"/>
                      <a:pt x="26832" y="36797"/>
                      <a:pt x="27098" y="37115"/>
                    </a:cubicBezTo>
                    <a:cubicBezTo>
                      <a:pt x="27441" y="37521"/>
                      <a:pt x="27846" y="37877"/>
                      <a:pt x="28303" y="38143"/>
                    </a:cubicBezTo>
                    <a:cubicBezTo>
                      <a:pt x="28468" y="38245"/>
                      <a:pt x="28633" y="38321"/>
                      <a:pt x="28798" y="38372"/>
                    </a:cubicBezTo>
                    <a:cubicBezTo>
                      <a:pt x="29077" y="38461"/>
                      <a:pt x="29381" y="38461"/>
                      <a:pt x="29660" y="38372"/>
                    </a:cubicBezTo>
                    <a:cubicBezTo>
                      <a:pt x="29825" y="38334"/>
                      <a:pt x="29990" y="38232"/>
                      <a:pt x="30104" y="38105"/>
                    </a:cubicBezTo>
                    <a:cubicBezTo>
                      <a:pt x="30193" y="38016"/>
                      <a:pt x="30282" y="37966"/>
                      <a:pt x="30371" y="37877"/>
                    </a:cubicBezTo>
                    <a:cubicBezTo>
                      <a:pt x="31512" y="38486"/>
                      <a:pt x="32705" y="39007"/>
                      <a:pt x="33922" y="39413"/>
                    </a:cubicBezTo>
                    <a:cubicBezTo>
                      <a:pt x="34201" y="40404"/>
                      <a:pt x="34506" y="41611"/>
                      <a:pt x="34823" y="43058"/>
                    </a:cubicBezTo>
                    <a:cubicBezTo>
                      <a:pt x="35102" y="44176"/>
                      <a:pt x="35368" y="45395"/>
                      <a:pt x="35685" y="46792"/>
                    </a:cubicBezTo>
                    <a:cubicBezTo>
                      <a:pt x="36269" y="46995"/>
                      <a:pt x="36890" y="47097"/>
                      <a:pt x="37525" y="47110"/>
                    </a:cubicBezTo>
                    <a:cubicBezTo>
                      <a:pt x="37842" y="47110"/>
                      <a:pt x="38159" y="47059"/>
                      <a:pt x="38463" y="46970"/>
                    </a:cubicBezTo>
                    <a:cubicBezTo>
                      <a:pt x="38666" y="46919"/>
                      <a:pt x="38869" y="46843"/>
                      <a:pt x="39047" y="46741"/>
                    </a:cubicBezTo>
                    <a:lnTo>
                      <a:pt x="39135" y="46703"/>
                    </a:lnTo>
                    <a:cubicBezTo>
                      <a:pt x="39440" y="46525"/>
                      <a:pt x="39706" y="46309"/>
                      <a:pt x="39947" y="46068"/>
                    </a:cubicBezTo>
                    <a:cubicBezTo>
                      <a:pt x="40163" y="45852"/>
                      <a:pt x="40353" y="45611"/>
                      <a:pt x="40493" y="45344"/>
                    </a:cubicBezTo>
                    <a:lnTo>
                      <a:pt x="40581" y="45166"/>
                    </a:lnTo>
                    <a:cubicBezTo>
                      <a:pt x="40696" y="44976"/>
                      <a:pt x="40810" y="44786"/>
                      <a:pt x="40899" y="44582"/>
                    </a:cubicBezTo>
                    <a:lnTo>
                      <a:pt x="41025" y="44265"/>
                    </a:lnTo>
                    <a:cubicBezTo>
                      <a:pt x="41076" y="44087"/>
                      <a:pt x="41114" y="43947"/>
                      <a:pt x="41165" y="43820"/>
                    </a:cubicBezTo>
                    <a:cubicBezTo>
                      <a:pt x="41203" y="43693"/>
                      <a:pt x="41241" y="43566"/>
                      <a:pt x="41292" y="43452"/>
                    </a:cubicBezTo>
                    <a:cubicBezTo>
                      <a:pt x="41330" y="43312"/>
                      <a:pt x="41368" y="43173"/>
                      <a:pt x="41431" y="43046"/>
                    </a:cubicBezTo>
                    <a:cubicBezTo>
                      <a:pt x="41558" y="43122"/>
                      <a:pt x="41685" y="43223"/>
                      <a:pt x="41786" y="43325"/>
                    </a:cubicBezTo>
                    <a:cubicBezTo>
                      <a:pt x="41926" y="43769"/>
                      <a:pt x="42154" y="44531"/>
                      <a:pt x="42421" y="45700"/>
                    </a:cubicBezTo>
                    <a:cubicBezTo>
                      <a:pt x="42839" y="45522"/>
                      <a:pt x="43232" y="45306"/>
                      <a:pt x="43588" y="45027"/>
                    </a:cubicBezTo>
                    <a:lnTo>
                      <a:pt x="43638" y="45078"/>
                    </a:lnTo>
                    <a:cubicBezTo>
                      <a:pt x="47596" y="49396"/>
                      <a:pt x="49435" y="54971"/>
                      <a:pt x="53126" y="58882"/>
                    </a:cubicBezTo>
                    <a:cubicBezTo>
                      <a:pt x="52796" y="59352"/>
                      <a:pt x="52492" y="59835"/>
                      <a:pt x="52226" y="60330"/>
                    </a:cubicBezTo>
                    <a:cubicBezTo>
                      <a:pt x="51984" y="60800"/>
                      <a:pt x="51794" y="61308"/>
                      <a:pt x="51642" y="61816"/>
                    </a:cubicBezTo>
                    <a:cubicBezTo>
                      <a:pt x="51503" y="62261"/>
                      <a:pt x="51363" y="62756"/>
                      <a:pt x="51274" y="63213"/>
                    </a:cubicBezTo>
                    <a:cubicBezTo>
                      <a:pt x="50779" y="65956"/>
                      <a:pt x="51680" y="67976"/>
                      <a:pt x="53532" y="66134"/>
                    </a:cubicBezTo>
                    <a:cubicBezTo>
                      <a:pt x="53672" y="65994"/>
                      <a:pt x="53811" y="65842"/>
                      <a:pt x="53925" y="65677"/>
                    </a:cubicBezTo>
                    <a:cubicBezTo>
                      <a:pt x="54242" y="65296"/>
                      <a:pt x="54534" y="64890"/>
                      <a:pt x="54788" y="64470"/>
                    </a:cubicBezTo>
                    <a:cubicBezTo>
                      <a:pt x="54915" y="64191"/>
                      <a:pt x="55092" y="63924"/>
                      <a:pt x="55232" y="63658"/>
                    </a:cubicBezTo>
                    <a:cubicBezTo>
                      <a:pt x="56538" y="67074"/>
                      <a:pt x="60407" y="70541"/>
                      <a:pt x="60267" y="64597"/>
                    </a:cubicBezTo>
                    <a:cubicBezTo>
                      <a:pt x="60356" y="64648"/>
                      <a:pt x="60496" y="64648"/>
                      <a:pt x="60584" y="64686"/>
                    </a:cubicBezTo>
                    <a:cubicBezTo>
                      <a:pt x="62956" y="66261"/>
                      <a:pt x="65392" y="67836"/>
                      <a:pt x="67726" y="69690"/>
                    </a:cubicBezTo>
                    <a:cubicBezTo>
                      <a:pt x="67852" y="69919"/>
                      <a:pt x="67954" y="70160"/>
                      <a:pt x="68043" y="70401"/>
                    </a:cubicBezTo>
                    <a:cubicBezTo>
                      <a:pt x="68131" y="70617"/>
                      <a:pt x="68208" y="70846"/>
                      <a:pt x="68271" y="71075"/>
                    </a:cubicBezTo>
                    <a:cubicBezTo>
                      <a:pt x="68309" y="71303"/>
                      <a:pt x="68385" y="71519"/>
                      <a:pt x="68487" y="71709"/>
                    </a:cubicBezTo>
                    <a:cubicBezTo>
                      <a:pt x="68626" y="72471"/>
                      <a:pt x="68715" y="73018"/>
                      <a:pt x="68943" y="73195"/>
                    </a:cubicBezTo>
                    <a:cubicBezTo>
                      <a:pt x="69070" y="73373"/>
                      <a:pt x="69260" y="73335"/>
                      <a:pt x="69616" y="73068"/>
                    </a:cubicBezTo>
                    <a:cubicBezTo>
                      <a:pt x="69958" y="72776"/>
                      <a:pt x="70262" y="72446"/>
                      <a:pt x="70516" y="72078"/>
                    </a:cubicBezTo>
                    <a:cubicBezTo>
                      <a:pt x="71670" y="73145"/>
                      <a:pt x="72723" y="74326"/>
                      <a:pt x="73662" y="75583"/>
                    </a:cubicBezTo>
                    <a:cubicBezTo>
                      <a:pt x="73751" y="76129"/>
                      <a:pt x="73877" y="76662"/>
                      <a:pt x="74017" y="77209"/>
                    </a:cubicBezTo>
                    <a:cubicBezTo>
                      <a:pt x="74245" y="77742"/>
                      <a:pt x="74385" y="78199"/>
                      <a:pt x="74562" y="78733"/>
                    </a:cubicBezTo>
                    <a:cubicBezTo>
                      <a:pt x="74600" y="78885"/>
                      <a:pt x="74664" y="79037"/>
                      <a:pt x="74740" y="79177"/>
                    </a:cubicBezTo>
                    <a:cubicBezTo>
                      <a:pt x="75057" y="79850"/>
                      <a:pt x="75412" y="80523"/>
                      <a:pt x="75767" y="81209"/>
                    </a:cubicBezTo>
                    <a:cubicBezTo>
                      <a:pt x="75996" y="81527"/>
                      <a:pt x="76173" y="81844"/>
                      <a:pt x="76402" y="82149"/>
                    </a:cubicBezTo>
                    <a:cubicBezTo>
                      <a:pt x="76769" y="82720"/>
                      <a:pt x="77201" y="83241"/>
                      <a:pt x="77657" y="83724"/>
                    </a:cubicBezTo>
                    <a:cubicBezTo>
                      <a:pt x="78203" y="84257"/>
                      <a:pt x="78773" y="84752"/>
                      <a:pt x="79370" y="85210"/>
                    </a:cubicBezTo>
                    <a:cubicBezTo>
                      <a:pt x="79687" y="85438"/>
                      <a:pt x="80004" y="85616"/>
                      <a:pt x="80321" y="85845"/>
                    </a:cubicBezTo>
                    <a:cubicBezTo>
                      <a:pt x="82515" y="87127"/>
                      <a:pt x="85090" y="87584"/>
                      <a:pt x="87602" y="87153"/>
                    </a:cubicBezTo>
                    <a:lnTo>
                      <a:pt x="87640" y="87203"/>
                    </a:lnTo>
                    <a:cubicBezTo>
                      <a:pt x="90557" y="88893"/>
                      <a:pt x="93335" y="90798"/>
                      <a:pt x="95961" y="92918"/>
                    </a:cubicBezTo>
                    <a:cubicBezTo>
                      <a:pt x="96252" y="93592"/>
                      <a:pt x="96595" y="94252"/>
                      <a:pt x="96988" y="94887"/>
                    </a:cubicBezTo>
                    <a:cubicBezTo>
                      <a:pt x="97369" y="95484"/>
                      <a:pt x="97762" y="96055"/>
                      <a:pt x="98206" y="96601"/>
                    </a:cubicBezTo>
                    <a:cubicBezTo>
                      <a:pt x="98700" y="97186"/>
                      <a:pt x="99195" y="97770"/>
                      <a:pt x="99728" y="98354"/>
                    </a:cubicBezTo>
                    <a:cubicBezTo>
                      <a:pt x="100337" y="99014"/>
                      <a:pt x="100996" y="99637"/>
                      <a:pt x="101707" y="100208"/>
                    </a:cubicBezTo>
                    <a:cubicBezTo>
                      <a:pt x="102290" y="100704"/>
                      <a:pt x="102873" y="101148"/>
                      <a:pt x="103457" y="101593"/>
                    </a:cubicBezTo>
                    <a:cubicBezTo>
                      <a:pt x="103901" y="101961"/>
                      <a:pt x="104358" y="102278"/>
                      <a:pt x="104801" y="102583"/>
                    </a:cubicBezTo>
                    <a:lnTo>
                      <a:pt x="105613" y="103129"/>
                    </a:lnTo>
                    <a:cubicBezTo>
                      <a:pt x="106324" y="103574"/>
                      <a:pt x="107097" y="104069"/>
                      <a:pt x="107896" y="104526"/>
                    </a:cubicBezTo>
                    <a:cubicBezTo>
                      <a:pt x="109190" y="105288"/>
                      <a:pt x="110522" y="105961"/>
                      <a:pt x="111905" y="106546"/>
                    </a:cubicBezTo>
                    <a:cubicBezTo>
                      <a:pt x="112488" y="106825"/>
                      <a:pt x="113072" y="107092"/>
                      <a:pt x="113655" y="107308"/>
                    </a:cubicBezTo>
                    <a:cubicBezTo>
                      <a:pt x="114226" y="107574"/>
                      <a:pt x="114809" y="107803"/>
                      <a:pt x="115405" y="107993"/>
                    </a:cubicBezTo>
                    <a:cubicBezTo>
                      <a:pt x="116078" y="108260"/>
                      <a:pt x="116750" y="108476"/>
                      <a:pt x="117435" y="108705"/>
                    </a:cubicBezTo>
                    <a:cubicBezTo>
                      <a:pt x="117739" y="108832"/>
                      <a:pt x="118056" y="108933"/>
                      <a:pt x="118386" y="109022"/>
                    </a:cubicBezTo>
                    <a:cubicBezTo>
                      <a:pt x="119008" y="109200"/>
                      <a:pt x="119680" y="109378"/>
                      <a:pt x="120314" y="109568"/>
                    </a:cubicBezTo>
                    <a:cubicBezTo>
                      <a:pt x="122115" y="110076"/>
                      <a:pt x="123942" y="110457"/>
                      <a:pt x="125794" y="110686"/>
                    </a:cubicBezTo>
                    <a:cubicBezTo>
                      <a:pt x="126136" y="110749"/>
                      <a:pt x="126479" y="110800"/>
                      <a:pt x="126834" y="110825"/>
                    </a:cubicBezTo>
                    <a:cubicBezTo>
                      <a:pt x="128242" y="111041"/>
                      <a:pt x="129675" y="111130"/>
                      <a:pt x="131096" y="111092"/>
                    </a:cubicBezTo>
                    <a:cubicBezTo>
                      <a:pt x="132390" y="111105"/>
                      <a:pt x="133683" y="111003"/>
                      <a:pt x="134964" y="110775"/>
                    </a:cubicBezTo>
                    <a:cubicBezTo>
                      <a:pt x="135675" y="110698"/>
                      <a:pt x="136385" y="110546"/>
                      <a:pt x="137070" y="110330"/>
                    </a:cubicBezTo>
                    <a:cubicBezTo>
                      <a:pt x="137565" y="110190"/>
                      <a:pt x="138047" y="110025"/>
                      <a:pt x="138516" y="109835"/>
                    </a:cubicBezTo>
                    <a:cubicBezTo>
                      <a:pt x="138985" y="109657"/>
                      <a:pt x="139429" y="109441"/>
                      <a:pt x="139861" y="109200"/>
                    </a:cubicBezTo>
                    <a:cubicBezTo>
                      <a:pt x="141357" y="108425"/>
                      <a:pt x="142600" y="107257"/>
                      <a:pt x="143450" y="105822"/>
                    </a:cubicBezTo>
                    <a:cubicBezTo>
                      <a:pt x="141991" y="102380"/>
                      <a:pt x="140228" y="99065"/>
                      <a:pt x="138186" y="95941"/>
                    </a:cubicBezTo>
                    <a:close/>
                    <a:moveTo>
                      <a:pt x="16938" y="14001"/>
                    </a:moveTo>
                    <a:cubicBezTo>
                      <a:pt x="15999" y="13607"/>
                      <a:pt x="15099" y="13137"/>
                      <a:pt x="14236" y="12604"/>
                    </a:cubicBezTo>
                    <a:cubicBezTo>
                      <a:pt x="15226" y="12921"/>
                      <a:pt x="16215" y="13188"/>
                      <a:pt x="17204" y="13467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03" name="Vrije vorm 502">
                <a:extLst>
                  <a:ext uri="{FF2B5EF4-FFF2-40B4-BE49-F238E27FC236}">
                    <a16:creationId xmlns:a16="http://schemas.microsoft.com/office/drawing/2014/main" id="{C91ECBDC-4274-2840-A6BB-4C12079291BF}"/>
                  </a:ext>
                </a:extLst>
              </p:cNvPr>
              <p:cNvSpPr/>
              <p:nvPr/>
            </p:nvSpPr>
            <p:spPr>
              <a:xfrm>
                <a:off x="1487451" y="1399981"/>
                <a:ext cx="2417203" cy="1690080"/>
              </a:xfrm>
              <a:custGeom>
                <a:avLst/>
                <a:gdLst>
                  <a:gd name="connsiteX0" fmla="*/ 2417083 w 2417203"/>
                  <a:gd name="connsiteY0" fmla="*/ 1253814 h 1690080"/>
                  <a:gd name="connsiteX1" fmla="*/ 2416905 w 2417203"/>
                  <a:gd name="connsiteY1" fmla="*/ 1252464 h 1690080"/>
                  <a:gd name="connsiteX2" fmla="*/ 2416182 w 2417203"/>
                  <a:gd name="connsiteY2" fmla="*/ 1250124 h 1690080"/>
                  <a:gd name="connsiteX3" fmla="*/ 2414293 w 2417203"/>
                  <a:gd name="connsiteY3" fmla="*/ 1245669 h 1690080"/>
                  <a:gd name="connsiteX4" fmla="*/ 2413570 w 2417203"/>
                  <a:gd name="connsiteY4" fmla="*/ 1243374 h 1690080"/>
                  <a:gd name="connsiteX5" fmla="*/ 2412897 w 2417203"/>
                  <a:gd name="connsiteY5" fmla="*/ 1240494 h 1690080"/>
                  <a:gd name="connsiteX6" fmla="*/ 2412771 w 2417203"/>
                  <a:gd name="connsiteY6" fmla="*/ 1239505 h 1690080"/>
                  <a:gd name="connsiteX7" fmla="*/ 2412491 w 2417203"/>
                  <a:gd name="connsiteY7" fmla="*/ 1234465 h 1690080"/>
                  <a:gd name="connsiteX8" fmla="*/ 2412542 w 2417203"/>
                  <a:gd name="connsiteY8" fmla="*/ 1233068 h 1690080"/>
                  <a:gd name="connsiteX9" fmla="*/ 2414432 w 2417203"/>
                  <a:gd name="connsiteY9" fmla="*/ 1223485 h 1690080"/>
                  <a:gd name="connsiteX10" fmla="*/ 2414610 w 2417203"/>
                  <a:gd name="connsiteY10" fmla="*/ 1222945 h 1690080"/>
                  <a:gd name="connsiteX11" fmla="*/ 2415054 w 2417203"/>
                  <a:gd name="connsiteY11" fmla="*/ 1221459 h 1690080"/>
                  <a:gd name="connsiteX12" fmla="*/ 2415371 w 2417203"/>
                  <a:gd name="connsiteY12" fmla="*/ 1205577 h 1690080"/>
                  <a:gd name="connsiteX13" fmla="*/ 2415193 w 2417203"/>
                  <a:gd name="connsiteY13" fmla="*/ 1205127 h 1690080"/>
                  <a:gd name="connsiteX14" fmla="*/ 2413215 w 2417203"/>
                  <a:gd name="connsiteY14" fmla="*/ 1201212 h 1690080"/>
                  <a:gd name="connsiteX15" fmla="*/ 2413176 w 2417203"/>
                  <a:gd name="connsiteY15" fmla="*/ 1201167 h 1690080"/>
                  <a:gd name="connsiteX16" fmla="*/ 2410246 w 2417203"/>
                  <a:gd name="connsiteY16" fmla="*/ 1197611 h 1690080"/>
                  <a:gd name="connsiteX17" fmla="*/ 2407595 w 2417203"/>
                  <a:gd name="connsiteY17" fmla="*/ 1195182 h 1690080"/>
                  <a:gd name="connsiteX18" fmla="*/ 2407380 w 2417203"/>
                  <a:gd name="connsiteY18" fmla="*/ 1195001 h 1690080"/>
                  <a:gd name="connsiteX19" fmla="*/ 2406708 w 2417203"/>
                  <a:gd name="connsiteY19" fmla="*/ 1194462 h 1690080"/>
                  <a:gd name="connsiteX20" fmla="*/ 2406656 w 2417203"/>
                  <a:gd name="connsiteY20" fmla="*/ 1194462 h 1690080"/>
                  <a:gd name="connsiteX21" fmla="*/ 2406073 w 2417203"/>
                  <a:gd name="connsiteY21" fmla="*/ 1194011 h 1690080"/>
                  <a:gd name="connsiteX22" fmla="*/ 2399731 w 2417203"/>
                  <a:gd name="connsiteY22" fmla="*/ 1190277 h 1690080"/>
                  <a:gd name="connsiteX23" fmla="*/ 2395647 w 2417203"/>
                  <a:gd name="connsiteY23" fmla="*/ 1188837 h 1690080"/>
                  <a:gd name="connsiteX24" fmla="*/ 2389939 w 2417203"/>
                  <a:gd name="connsiteY24" fmla="*/ 1188477 h 1690080"/>
                  <a:gd name="connsiteX25" fmla="*/ 2375327 w 2417203"/>
                  <a:gd name="connsiteY25" fmla="*/ 1196936 h 1690080"/>
                  <a:gd name="connsiteX26" fmla="*/ 2374692 w 2417203"/>
                  <a:gd name="connsiteY26" fmla="*/ 1197611 h 1690080"/>
                  <a:gd name="connsiteX27" fmla="*/ 2374959 w 2417203"/>
                  <a:gd name="connsiteY27" fmla="*/ 1196486 h 1690080"/>
                  <a:gd name="connsiteX28" fmla="*/ 2375910 w 2417203"/>
                  <a:gd name="connsiteY28" fmla="*/ 1192121 h 1690080"/>
                  <a:gd name="connsiteX29" fmla="*/ 2367374 w 2417203"/>
                  <a:gd name="connsiteY29" fmla="*/ 1165843 h 1690080"/>
                  <a:gd name="connsiteX30" fmla="*/ 2357531 w 2417203"/>
                  <a:gd name="connsiteY30" fmla="*/ 1161652 h 1690080"/>
                  <a:gd name="connsiteX31" fmla="*/ 2352622 w 2417203"/>
                  <a:gd name="connsiteY31" fmla="*/ 1165117 h 1690080"/>
                  <a:gd name="connsiteX32" fmla="*/ 2348360 w 2417203"/>
                  <a:gd name="connsiteY32" fmla="*/ 1168132 h 1690080"/>
                  <a:gd name="connsiteX33" fmla="*/ 2293894 w 2417203"/>
                  <a:gd name="connsiteY33" fmla="*/ 1206867 h 1690080"/>
                  <a:gd name="connsiteX34" fmla="*/ 2292499 w 2417203"/>
                  <a:gd name="connsiteY34" fmla="*/ 1207858 h 1690080"/>
                  <a:gd name="connsiteX35" fmla="*/ 2292588 w 2417203"/>
                  <a:gd name="connsiteY35" fmla="*/ 1206913 h 1690080"/>
                  <a:gd name="connsiteX36" fmla="*/ 2292626 w 2417203"/>
                  <a:gd name="connsiteY36" fmla="*/ 1206151 h 1690080"/>
                  <a:gd name="connsiteX37" fmla="*/ 2309978 w 2417203"/>
                  <a:gd name="connsiteY37" fmla="*/ 1178749 h 1690080"/>
                  <a:gd name="connsiteX38" fmla="*/ 2318108 w 2417203"/>
                  <a:gd name="connsiteY38" fmla="*/ 1175014 h 1690080"/>
                  <a:gd name="connsiteX39" fmla="*/ 2324767 w 2417203"/>
                  <a:gd name="connsiteY39" fmla="*/ 1171054 h 1690080"/>
                  <a:gd name="connsiteX40" fmla="*/ 2324894 w 2417203"/>
                  <a:gd name="connsiteY40" fmla="*/ 1171010 h 1690080"/>
                  <a:gd name="connsiteX41" fmla="*/ 2353522 w 2417203"/>
                  <a:gd name="connsiteY41" fmla="*/ 1161381 h 1690080"/>
                  <a:gd name="connsiteX42" fmla="*/ 2368135 w 2417203"/>
                  <a:gd name="connsiteY42" fmla="*/ 1143561 h 1690080"/>
                  <a:gd name="connsiteX43" fmla="*/ 2370507 w 2417203"/>
                  <a:gd name="connsiteY43" fmla="*/ 1140640 h 1690080"/>
                  <a:gd name="connsiteX44" fmla="*/ 2332048 w 2417203"/>
                  <a:gd name="connsiteY44" fmla="*/ 1129121 h 1690080"/>
                  <a:gd name="connsiteX45" fmla="*/ 2322522 w 2417203"/>
                  <a:gd name="connsiteY45" fmla="*/ 1124847 h 1690080"/>
                  <a:gd name="connsiteX46" fmla="*/ 2321622 w 2417203"/>
                  <a:gd name="connsiteY46" fmla="*/ 1124441 h 1690080"/>
                  <a:gd name="connsiteX47" fmla="*/ 2318387 w 2417203"/>
                  <a:gd name="connsiteY47" fmla="*/ 1123044 h 1690080"/>
                  <a:gd name="connsiteX48" fmla="*/ 2316041 w 2417203"/>
                  <a:gd name="connsiteY48" fmla="*/ 1122055 h 1690080"/>
                  <a:gd name="connsiteX49" fmla="*/ 2310029 w 2417203"/>
                  <a:gd name="connsiteY49" fmla="*/ 1119716 h 1690080"/>
                  <a:gd name="connsiteX50" fmla="*/ 2306299 w 2417203"/>
                  <a:gd name="connsiteY50" fmla="*/ 1118410 h 1690080"/>
                  <a:gd name="connsiteX51" fmla="*/ 2300858 w 2417203"/>
                  <a:gd name="connsiteY51" fmla="*/ 1116791 h 1690080"/>
                  <a:gd name="connsiteX52" fmla="*/ 2299869 w 2417203"/>
                  <a:gd name="connsiteY52" fmla="*/ 1116520 h 1690080"/>
                  <a:gd name="connsiteX53" fmla="*/ 2297661 w 2417203"/>
                  <a:gd name="connsiteY53" fmla="*/ 1115981 h 1690080"/>
                  <a:gd name="connsiteX54" fmla="*/ 2296317 w 2417203"/>
                  <a:gd name="connsiteY54" fmla="*/ 1115710 h 1690080"/>
                  <a:gd name="connsiteX55" fmla="*/ 2293577 w 2417203"/>
                  <a:gd name="connsiteY55" fmla="*/ 1115170 h 1690080"/>
                  <a:gd name="connsiteX56" fmla="*/ 2287464 w 2417203"/>
                  <a:gd name="connsiteY56" fmla="*/ 1114360 h 1690080"/>
                  <a:gd name="connsiteX57" fmla="*/ 2285979 w 2417203"/>
                  <a:gd name="connsiteY57" fmla="*/ 1114226 h 1690080"/>
                  <a:gd name="connsiteX58" fmla="*/ 2284495 w 2417203"/>
                  <a:gd name="connsiteY58" fmla="*/ 1094743 h 1690080"/>
                  <a:gd name="connsiteX59" fmla="*/ 2283557 w 2417203"/>
                  <a:gd name="connsiteY59" fmla="*/ 1093258 h 1690080"/>
                  <a:gd name="connsiteX60" fmla="*/ 2280639 w 2417203"/>
                  <a:gd name="connsiteY60" fmla="*/ 1089613 h 1690080"/>
                  <a:gd name="connsiteX61" fmla="*/ 2279510 w 2417203"/>
                  <a:gd name="connsiteY61" fmla="*/ 1088443 h 1690080"/>
                  <a:gd name="connsiteX62" fmla="*/ 2275426 w 2417203"/>
                  <a:gd name="connsiteY62" fmla="*/ 1084618 h 1690080"/>
                  <a:gd name="connsiteX63" fmla="*/ 2270391 w 2417203"/>
                  <a:gd name="connsiteY63" fmla="*/ 1080479 h 1690080"/>
                  <a:gd name="connsiteX64" fmla="*/ 2269173 w 2417203"/>
                  <a:gd name="connsiteY64" fmla="*/ 1079488 h 1690080"/>
                  <a:gd name="connsiteX65" fmla="*/ 2268323 w 2417203"/>
                  <a:gd name="connsiteY65" fmla="*/ 1078814 h 1690080"/>
                  <a:gd name="connsiteX66" fmla="*/ 2263959 w 2417203"/>
                  <a:gd name="connsiteY66" fmla="*/ 1075304 h 1690080"/>
                  <a:gd name="connsiteX67" fmla="*/ 2252277 w 2417203"/>
                  <a:gd name="connsiteY67" fmla="*/ 1065271 h 1690080"/>
                  <a:gd name="connsiteX68" fmla="*/ 2249271 w 2417203"/>
                  <a:gd name="connsiteY68" fmla="*/ 1062031 h 1690080"/>
                  <a:gd name="connsiteX69" fmla="*/ 2244236 w 2417203"/>
                  <a:gd name="connsiteY69" fmla="*/ 1054877 h 1690080"/>
                  <a:gd name="connsiteX70" fmla="*/ 2243158 w 2417203"/>
                  <a:gd name="connsiteY70" fmla="*/ 1052897 h 1690080"/>
                  <a:gd name="connsiteX71" fmla="*/ 2240240 w 2417203"/>
                  <a:gd name="connsiteY71" fmla="*/ 1043673 h 1690080"/>
                  <a:gd name="connsiteX72" fmla="*/ 2239872 w 2417203"/>
                  <a:gd name="connsiteY72" fmla="*/ 1040879 h 1690080"/>
                  <a:gd name="connsiteX73" fmla="*/ 2239834 w 2417203"/>
                  <a:gd name="connsiteY73" fmla="*/ 1040384 h 1690080"/>
                  <a:gd name="connsiteX74" fmla="*/ 2261854 w 2417203"/>
                  <a:gd name="connsiteY74" fmla="*/ 1019730 h 1690080"/>
                  <a:gd name="connsiteX75" fmla="*/ 2257947 w 2417203"/>
                  <a:gd name="connsiteY75" fmla="*/ 1017751 h 1690080"/>
                  <a:gd name="connsiteX76" fmla="*/ 2254890 w 2417203"/>
                  <a:gd name="connsiteY76" fmla="*/ 1016265 h 1690080"/>
                  <a:gd name="connsiteX77" fmla="*/ 2253089 w 2417203"/>
                  <a:gd name="connsiteY77" fmla="*/ 1015141 h 1690080"/>
                  <a:gd name="connsiteX78" fmla="*/ 2251656 w 2417203"/>
                  <a:gd name="connsiteY78" fmla="*/ 1013926 h 1690080"/>
                  <a:gd name="connsiteX79" fmla="*/ 2247521 w 2417203"/>
                  <a:gd name="connsiteY79" fmla="*/ 1009111 h 1690080"/>
                  <a:gd name="connsiteX80" fmla="*/ 2241813 w 2417203"/>
                  <a:gd name="connsiteY80" fmla="*/ 1002137 h 1690080"/>
                  <a:gd name="connsiteX81" fmla="*/ 2239111 w 2417203"/>
                  <a:gd name="connsiteY81" fmla="*/ 998628 h 1690080"/>
                  <a:gd name="connsiteX82" fmla="*/ 2237006 w 2417203"/>
                  <a:gd name="connsiteY82" fmla="*/ 995027 h 1690080"/>
                  <a:gd name="connsiteX83" fmla="*/ 2243564 w 2417203"/>
                  <a:gd name="connsiteY83" fmla="*/ 983959 h 1690080"/>
                  <a:gd name="connsiteX84" fmla="*/ 2242168 w 2417203"/>
                  <a:gd name="connsiteY84" fmla="*/ 979999 h 1690080"/>
                  <a:gd name="connsiteX85" fmla="*/ 2238173 w 2417203"/>
                  <a:gd name="connsiteY85" fmla="*/ 976130 h 1690080"/>
                  <a:gd name="connsiteX86" fmla="*/ 2235204 w 2417203"/>
                  <a:gd name="connsiteY86" fmla="*/ 974098 h 1690080"/>
                  <a:gd name="connsiteX87" fmla="*/ 2235154 w 2417203"/>
                  <a:gd name="connsiteY87" fmla="*/ 974053 h 1690080"/>
                  <a:gd name="connsiteX88" fmla="*/ 2232642 w 2417203"/>
                  <a:gd name="connsiteY88" fmla="*/ 972388 h 1690080"/>
                  <a:gd name="connsiteX89" fmla="*/ 2229230 w 2417203"/>
                  <a:gd name="connsiteY89" fmla="*/ 969778 h 1690080"/>
                  <a:gd name="connsiteX90" fmla="*/ 2225222 w 2417203"/>
                  <a:gd name="connsiteY90" fmla="*/ 964698 h 1690080"/>
                  <a:gd name="connsiteX91" fmla="*/ 2224550 w 2417203"/>
                  <a:gd name="connsiteY91" fmla="*/ 963483 h 1690080"/>
                  <a:gd name="connsiteX92" fmla="*/ 2222799 w 2417203"/>
                  <a:gd name="connsiteY92" fmla="*/ 958714 h 1690080"/>
                  <a:gd name="connsiteX93" fmla="*/ 2222749 w 2417203"/>
                  <a:gd name="connsiteY93" fmla="*/ 958399 h 1690080"/>
                  <a:gd name="connsiteX94" fmla="*/ 2222571 w 2417203"/>
                  <a:gd name="connsiteY94" fmla="*/ 954349 h 1690080"/>
                  <a:gd name="connsiteX95" fmla="*/ 2221315 w 2417203"/>
                  <a:gd name="connsiteY95" fmla="*/ 946564 h 1690080"/>
                  <a:gd name="connsiteX96" fmla="*/ 2210661 w 2417203"/>
                  <a:gd name="connsiteY96" fmla="*/ 945215 h 1690080"/>
                  <a:gd name="connsiteX97" fmla="*/ 2207388 w 2417203"/>
                  <a:gd name="connsiteY97" fmla="*/ 942515 h 1690080"/>
                  <a:gd name="connsiteX98" fmla="*/ 2212995 w 2417203"/>
                  <a:gd name="connsiteY98" fmla="*/ 925596 h 1690080"/>
                  <a:gd name="connsiteX99" fmla="*/ 2210889 w 2417203"/>
                  <a:gd name="connsiteY99" fmla="*/ 922537 h 1690080"/>
                  <a:gd name="connsiteX100" fmla="*/ 2209405 w 2417203"/>
                  <a:gd name="connsiteY100" fmla="*/ 920647 h 1690080"/>
                  <a:gd name="connsiteX101" fmla="*/ 2209354 w 2417203"/>
                  <a:gd name="connsiteY101" fmla="*/ 920647 h 1690080"/>
                  <a:gd name="connsiteX102" fmla="*/ 2208821 w 2417203"/>
                  <a:gd name="connsiteY102" fmla="*/ 920012 h 1690080"/>
                  <a:gd name="connsiteX103" fmla="*/ 2205042 w 2417203"/>
                  <a:gd name="connsiteY103" fmla="*/ 915332 h 1690080"/>
                  <a:gd name="connsiteX104" fmla="*/ 2201401 w 2417203"/>
                  <a:gd name="connsiteY104" fmla="*/ 912812 h 1690080"/>
                  <a:gd name="connsiteX105" fmla="*/ 2197583 w 2417203"/>
                  <a:gd name="connsiteY105" fmla="*/ 909843 h 1690080"/>
                  <a:gd name="connsiteX106" fmla="*/ 2193042 w 2417203"/>
                  <a:gd name="connsiteY106" fmla="*/ 897424 h 1690080"/>
                  <a:gd name="connsiteX107" fmla="*/ 2192104 w 2417203"/>
                  <a:gd name="connsiteY107" fmla="*/ 895309 h 1690080"/>
                  <a:gd name="connsiteX108" fmla="*/ 2189047 w 2417203"/>
                  <a:gd name="connsiteY108" fmla="*/ 888920 h 1690080"/>
                  <a:gd name="connsiteX109" fmla="*/ 2188996 w 2417203"/>
                  <a:gd name="connsiteY109" fmla="*/ 888784 h 1690080"/>
                  <a:gd name="connsiteX110" fmla="*/ 2184772 w 2417203"/>
                  <a:gd name="connsiteY110" fmla="*/ 880730 h 1690080"/>
                  <a:gd name="connsiteX111" fmla="*/ 2182121 w 2417203"/>
                  <a:gd name="connsiteY111" fmla="*/ 875871 h 1690080"/>
                  <a:gd name="connsiteX112" fmla="*/ 2182121 w 2417203"/>
                  <a:gd name="connsiteY112" fmla="*/ 875847 h 1690080"/>
                  <a:gd name="connsiteX113" fmla="*/ 2176959 w 2417203"/>
                  <a:gd name="connsiteY113" fmla="*/ 866396 h 1690080"/>
                  <a:gd name="connsiteX114" fmla="*/ 2176781 w 2417203"/>
                  <a:gd name="connsiteY114" fmla="*/ 865991 h 1690080"/>
                  <a:gd name="connsiteX115" fmla="*/ 2175297 w 2417203"/>
                  <a:gd name="connsiteY115" fmla="*/ 863070 h 1690080"/>
                  <a:gd name="connsiteX116" fmla="*/ 2174929 w 2417203"/>
                  <a:gd name="connsiteY116" fmla="*/ 862350 h 1690080"/>
                  <a:gd name="connsiteX117" fmla="*/ 2173141 w 2417203"/>
                  <a:gd name="connsiteY117" fmla="*/ 858840 h 1690080"/>
                  <a:gd name="connsiteX118" fmla="*/ 2172418 w 2417203"/>
                  <a:gd name="connsiteY118" fmla="*/ 857265 h 1690080"/>
                  <a:gd name="connsiteX119" fmla="*/ 2166355 w 2417203"/>
                  <a:gd name="connsiteY119" fmla="*/ 842777 h 1690080"/>
                  <a:gd name="connsiteX120" fmla="*/ 2165137 w 2417203"/>
                  <a:gd name="connsiteY120" fmla="*/ 839357 h 1690080"/>
                  <a:gd name="connsiteX121" fmla="*/ 2164110 w 2417203"/>
                  <a:gd name="connsiteY121" fmla="*/ 841921 h 1690080"/>
                  <a:gd name="connsiteX122" fmla="*/ 2164110 w 2417203"/>
                  <a:gd name="connsiteY122" fmla="*/ 841967 h 1690080"/>
                  <a:gd name="connsiteX123" fmla="*/ 2149142 w 2417203"/>
                  <a:gd name="connsiteY123" fmla="*/ 873328 h 1690080"/>
                  <a:gd name="connsiteX124" fmla="*/ 2146491 w 2417203"/>
                  <a:gd name="connsiteY124" fmla="*/ 883047 h 1690080"/>
                  <a:gd name="connsiteX125" fmla="*/ 2146085 w 2417203"/>
                  <a:gd name="connsiteY125" fmla="*/ 892445 h 1690080"/>
                  <a:gd name="connsiteX126" fmla="*/ 2145946 w 2417203"/>
                  <a:gd name="connsiteY126" fmla="*/ 899684 h 1690080"/>
                  <a:gd name="connsiteX127" fmla="*/ 2142077 w 2417203"/>
                  <a:gd name="connsiteY127" fmla="*/ 912778 h 1690080"/>
                  <a:gd name="connsiteX128" fmla="*/ 2139832 w 2417203"/>
                  <a:gd name="connsiteY128" fmla="*/ 916377 h 1690080"/>
                  <a:gd name="connsiteX129" fmla="*/ 2138399 w 2417203"/>
                  <a:gd name="connsiteY129" fmla="*/ 918267 h 1690080"/>
                  <a:gd name="connsiteX130" fmla="*/ 2137181 w 2417203"/>
                  <a:gd name="connsiteY130" fmla="*/ 919571 h 1690080"/>
                  <a:gd name="connsiteX131" fmla="*/ 2133947 w 2417203"/>
                  <a:gd name="connsiteY131" fmla="*/ 922407 h 1690080"/>
                  <a:gd name="connsiteX132" fmla="*/ 2133008 w 2417203"/>
                  <a:gd name="connsiteY132" fmla="*/ 923126 h 1690080"/>
                  <a:gd name="connsiteX133" fmla="*/ 2122620 w 2417203"/>
                  <a:gd name="connsiteY133" fmla="*/ 930460 h 1690080"/>
                  <a:gd name="connsiteX134" fmla="*/ 2114806 w 2417203"/>
                  <a:gd name="connsiteY134" fmla="*/ 936085 h 1690080"/>
                  <a:gd name="connsiteX135" fmla="*/ 2083476 w 2417203"/>
                  <a:gd name="connsiteY135" fmla="*/ 959259 h 1690080"/>
                  <a:gd name="connsiteX136" fmla="*/ 2082893 w 2417203"/>
                  <a:gd name="connsiteY136" fmla="*/ 959708 h 1690080"/>
                  <a:gd name="connsiteX137" fmla="*/ 2079113 w 2417203"/>
                  <a:gd name="connsiteY137" fmla="*/ 954628 h 1690080"/>
                  <a:gd name="connsiteX138" fmla="*/ 2077274 w 2417203"/>
                  <a:gd name="connsiteY138" fmla="*/ 952245 h 1690080"/>
                  <a:gd name="connsiteX139" fmla="*/ 2072910 w 2417203"/>
                  <a:gd name="connsiteY139" fmla="*/ 946484 h 1690080"/>
                  <a:gd name="connsiteX140" fmla="*/ 2061139 w 2417203"/>
                  <a:gd name="connsiteY140" fmla="*/ 930101 h 1690080"/>
                  <a:gd name="connsiteX141" fmla="*/ 2031484 w 2417203"/>
                  <a:gd name="connsiteY141" fmla="*/ 930641 h 1690080"/>
                  <a:gd name="connsiteX142" fmla="*/ 2031344 w 2417203"/>
                  <a:gd name="connsiteY142" fmla="*/ 930641 h 1690080"/>
                  <a:gd name="connsiteX143" fmla="*/ 2030900 w 2417203"/>
                  <a:gd name="connsiteY143" fmla="*/ 926456 h 1690080"/>
                  <a:gd name="connsiteX144" fmla="*/ 2028148 w 2417203"/>
                  <a:gd name="connsiteY144" fmla="*/ 901079 h 1690080"/>
                  <a:gd name="connsiteX145" fmla="*/ 2027882 w 2417203"/>
                  <a:gd name="connsiteY145" fmla="*/ 898064 h 1690080"/>
                  <a:gd name="connsiteX146" fmla="*/ 2027615 w 2417203"/>
                  <a:gd name="connsiteY146" fmla="*/ 895185 h 1690080"/>
                  <a:gd name="connsiteX147" fmla="*/ 2026981 w 2417203"/>
                  <a:gd name="connsiteY147" fmla="*/ 887085 h 1690080"/>
                  <a:gd name="connsiteX148" fmla="*/ 2026486 w 2417203"/>
                  <a:gd name="connsiteY148" fmla="*/ 877726 h 1690080"/>
                  <a:gd name="connsiteX149" fmla="*/ 2022300 w 2417203"/>
                  <a:gd name="connsiteY149" fmla="*/ 865487 h 1690080"/>
                  <a:gd name="connsiteX150" fmla="*/ 2018888 w 2417203"/>
                  <a:gd name="connsiteY150" fmla="*/ 862922 h 1690080"/>
                  <a:gd name="connsiteX151" fmla="*/ 2018800 w 2417203"/>
                  <a:gd name="connsiteY151" fmla="*/ 862922 h 1690080"/>
                  <a:gd name="connsiteX152" fmla="*/ 2007650 w 2417203"/>
                  <a:gd name="connsiteY152" fmla="*/ 860448 h 1690080"/>
                  <a:gd name="connsiteX153" fmla="*/ 2021311 w 2417203"/>
                  <a:gd name="connsiteY153" fmla="*/ 854098 h 1690080"/>
                  <a:gd name="connsiteX154" fmla="*/ 2028503 w 2417203"/>
                  <a:gd name="connsiteY154" fmla="*/ 805412 h 1690080"/>
                  <a:gd name="connsiteX155" fmla="*/ 2027653 w 2417203"/>
                  <a:gd name="connsiteY155" fmla="*/ 805637 h 1690080"/>
                  <a:gd name="connsiteX156" fmla="*/ 2015514 w 2417203"/>
                  <a:gd name="connsiteY156" fmla="*/ 808742 h 1690080"/>
                  <a:gd name="connsiteX157" fmla="*/ 2014309 w 2417203"/>
                  <a:gd name="connsiteY157" fmla="*/ 806537 h 1690080"/>
                  <a:gd name="connsiteX158" fmla="*/ 2014309 w 2417203"/>
                  <a:gd name="connsiteY158" fmla="*/ 806505 h 1690080"/>
                  <a:gd name="connsiteX159" fmla="*/ 2007473 w 2417203"/>
                  <a:gd name="connsiteY159" fmla="*/ 800430 h 1690080"/>
                  <a:gd name="connsiteX160" fmla="*/ 1985909 w 2417203"/>
                  <a:gd name="connsiteY160" fmla="*/ 795796 h 1690080"/>
                  <a:gd name="connsiteX161" fmla="*/ 1970181 w 2417203"/>
                  <a:gd name="connsiteY161" fmla="*/ 787336 h 1690080"/>
                  <a:gd name="connsiteX162" fmla="*/ 1967708 w 2417203"/>
                  <a:gd name="connsiteY162" fmla="*/ 784542 h 1690080"/>
                  <a:gd name="connsiteX163" fmla="*/ 1967657 w 2417203"/>
                  <a:gd name="connsiteY163" fmla="*/ 784542 h 1690080"/>
                  <a:gd name="connsiteX164" fmla="*/ 1967162 w 2417203"/>
                  <a:gd name="connsiteY164" fmla="*/ 783868 h 1690080"/>
                  <a:gd name="connsiteX165" fmla="*/ 1965006 w 2417203"/>
                  <a:gd name="connsiteY165" fmla="*/ 780043 h 1690080"/>
                  <a:gd name="connsiteX166" fmla="*/ 1964689 w 2417203"/>
                  <a:gd name="connsiteY166" fmla="*/ 779324 h 1690080"/>
                  <a:gd name="connsiteX167" fmla="*/ 1963661 w 2417203"/>
                  <a:gd name="connsiteY167" fmla="*/ 776488 h 1690080"/>
                  <a:gd name="connsiteX168" fmla="*/ 1960871 w 2417203"/>
                  <a:gd name="connsiteY168" fmla="*/ 769154 h 1690080"/>
                  <a:gd name="connsiteX169" fmla="*/ 1959704 w 2417203"/>
                  <a:gd name="connsiteY169" fmla="*/ 766409 h 1690080"/>
                  <a:gd name="connsiteX170" fmla="*/ 1957180 w 2417203"/>
                  <a:gd name="connsiteY170" fmla="*/ 761550 h 1690080"/>
                  <a:gd name="connsiteX171" fmla="*/ 1956013 w 2417203"/>
                  <a:gd name="connsiteY171" fmla="*/ 759705 h 1690080"/>
                  <a:gd name="connsiteX172" fmla="*/ 1950584 w 2417203"/>
                  <a:gd name="connsiteY172" fmla="*/ 751787 h 1690080"/>
                  <a:gd name="connsiteX173" fmla="*/ 1943887 w 2417203"/>
                  <a:gd name="connsiteY173" fmla="*/ 744001 h 1690080"/>
                  <a:gd name="connsiteX174" fmla="*/ 1937456 w 2417203"/>
                  <a:gd name="connsiteY174" fmla="*/ 737612 h 1690080"/>
                  <a:gd name="connsiteX175" fmla="*/ 1932331 w 2417203"/>
                  <a:gd name="connsiteY175" fmla="*/ 732932 h 1690080"/>
                  <a:gd name="connsiteX176" fmla="*/ 1920738 w 2417203"/>
                  <a:gd name="connsiteY176" fmla="*/ 723123 h 1690080"/>
                  <a:gd name="connsiteX177" fmla="*/ 1909551 w 2417203"/>
                  <a:gd name="connsiteY177" fmla="*/ 713764 h 1690080"/>
                  <a:gd name="connsiteX178" fmla="*/ 1848565 w 2417203"/>
                  <a:gd name="connsiteY178" fmla="*/ 722719 h 1690080"/>
                  <a:gd name="connsiteX179" fmla="*/ 1845064 w 2417203"/>
                  <a:gd name="connsiteY179" fmla="*/ 721322 h 1690080"/>
                  <a:gd name="connsiteX180" fmla="*/ 1839483 w 2417203"/>
                  <a:gd name="connsiteY180" fmla="*/ 718982 h 1690080"/>
                  <a:gd name="connsiteX181" fmla="*/ 1812479 w 2417203"/>
                  <a:gd name="connsiteY181" fmla="*/ 709893 h 1690080"/>
                  <a:gd name="connsiteX182" fmla="*/ 1806137 w 2417203"/>
                  <a:gd name="connsiteY182" fmla="*/ 709624 h 1690080"/>
                  <a:gd name="connsiteX183" fmla="*/ 1805921 w 2417203"/>
                  <a:gd name="connsiteY183" fmla="*/ 709624 h 1690080"/>
                  <a:gd name="connsiteX184" fmla="*/ 1785246 w 2417203"/>
                  <a:gd name="connsiteY184" fmla="*/ 732594 h 1690080"/>
                  <a:gd name="connsiteX185" fmla="*/ 1785740 w 2417203"/>
                  <a:gd name="connsiteY185" fmla="*/ 736216 h 1690080"/>
                  <a:gd name="connsiteX186" fmla="*/ 1786945 w 2417203"/>
                  <a:gd name="connsiteY186" fmla="*/ 741435 h 1690080"/>
                  <a:gd name="connsiteX187" fmla="*/ 1796573 w 2417203"/>
                  <a:gd name="connsiteY187" fmla="*/ 765868 h 1690080"/>
                  <a:gd name="connsiteX188" fmla="*/ 1796611 w 2417203"/>
                  <a:gd name="connsiteY188" fmla="*/ 765913 h 1690080"/>
                  <a:gd name="connsiteX189" fmla="*/ 1799756 w 2417203"/>
                  <a:gd name="connsiteY189" fmla="*/ 773652 h 1690080"/>
                  <a:gd name="connsiteX190" fmla="*/ 1790637 w 2417203"/>
                  <a:gd name="connsiteY190" fmla="*/ 806050 h 1690080"/>
                  <a:gd name="connsiteX191" fmla="*/ 1791448 w 2417203"/>
                  <a:gd name="connsiteY191" fmla="*/ 807574 h 1690080"/>
                  <a:gd name="connsiteX192" fmla="*/ 1796167 w 2417203"/>
                  <a:gd name="connsiteY192" fmla="*/ 818194 h 1690080"/>
                  <a:gd name="connsiteX193" fmla="*/ 1797866 w 2417203"/>
                  <a:gd name="connsiteY193" fmla="*/ 823008 h 1690080"/>
                  <a:gd name="connsiteX194" fmla="*/ 1799985 w 2417203"/>
                  <a:gd name="connsiteY194" fmla="*/ 829937 h 1690080"/>
                  <a:gd name="connsiteX195" fmla="*/ 1801241 w 2417203"/>
                  <a:gd name="connsiteY195" fmla="*/ 834662 h 1690080"/>
                  <a:gd name="connsiteX196" fmla="*/ 1806365 w 2417203"/>
                  <a:gd name="connsiteY196" fmla="*/ 859635 h 1690080"/>
                  <a:gd name="connsiteX197" fmla="*/ 1807887 w 2417203"/>
                  <a:gd name="connsiteY197" fmla="*/ 866835 h 1690080"/>
                  <a:gd name="connsiteX198" fmla="*/ 1808026 w 2417203"/>
                  <a:gd name="connsiteY198" fmla="*/ 867597 h 1690080"/>
                  <a:gd name="connsiteX199" fmla="*/ 1808065 w 2417203"/>
                  <a:gd name="connsiteY199" fmla="*/ 868002 h 1690080"/>
                  <a:gd name="connsiteX200" fmla="*/ 1806086 w 2417203"/>
                  <a:gd name="connsiteY200" fmla="*/ 872320 h 1690080"/>
                  <a:gd name="connsiteX201" fmla="*/ 1801329 w 2417203"/>
                  <a:gd name="connsiteY201" fmla="*/ 880829 h 1690080"/>
                  <a:gd name="connsiteX202" fmla="*/ 1797105 w 2417203"/>
                  <a:gd name="connsiteY202" fmla="*/ 888343 h 1690080"/>
                  <a:gd name="connsiteX203" fmla="*/ 1784612 w 2417203"/>
                  <a:gd name="connsiteY203" fmla="*/ 909941 h 1690080"/>
                  <a:gd name="connsiteX204" fmla="*/ 1778269 w 2417203"/>
                  <a:gd name="connsiteY204" fmla="*/ 921235 h 1690080"/>
                  <a:gd name="connsiteX205" fmla="*/ 1776608 w 2417203"/>
                  <a:gd name="connsiteY205" fmla="*/ 925465 h 1690080"/>
                  <a:gd name="connsiteX206" fmla="*/ 1776646 w 2417203"/>
                  <a:gd name="connsiteY206" fmla="*/ 933295 h 1690080"/>
                  <a:gd name="connsiteX207" fmla="*/ 1781364 w 2417203"/>
                  <a:gd name="connsiteY207" fmla="*/ 939999 h 1690080"/>
                  <a:gd name="connsiteX208" fmla="*/ 1790535 w 2417203"/>
                  <a:gd name="connsiteY208" fmla="*/ 948054 h 1690080"/>
                  <a:gd name="connsiteX209" fmla="*/ 1795926 w 2417203"/>
                  <a:gd name="connsiteY209" fmla="*/ 951743 h 1690080"/>
                  <a:gd name="connsiteX210" fmla="*/ 1801278 w 2417203"/>
                  <a:gd name="connsiteY210" fmla="*/ 955477 h 1690080"/>
                  <a:gd name="connsiteX211" fmla="*/ 1832012 w 2417203"/>
                  <a:gd name="connsiteY211" fmla="*/ 1052084 h 1690080"/>
                  <a:gd name="connsiteX212" fmla="*/ 1826761 w 2417203"/>
                  <a:gd name="connsiteY212" fmla="*/ 1069363 h 1690080"/>
                  <a:gd name="connsiteX213" fmla="*/ 1770811 w 2417203"/>
                  <a:gd name="connsiteY213" fmla="*/ 1126012 h 1690080"/>
                  <a:gd name="connsiteX214" fmla="*/ 1745506 w 2417203"/>
                  <a:gd name="connsiteY214" fmla="*/ 1138747 h 1690080"/>
                  <a:gd name="connsiteX215" fmla="*/ 1745773 w 2417203"/>
                  <a:gd name="connsiteY215" fmla="*/ 1141221 h 1690080"/>
                  <a:gd name="connsiteX216" fmla="*/ 1746229 w 2417203"/>
                  <a:gd name="connsiteY216" fmla="*/ 1146846 h 1690080"/>
                  <a:gd name="connsiteX217" fmla="*/ 1746546 w 2417203"/>
                  <a:gd name="connsiteY217" fmla="*/ 1148286 h 1690080"/>
                  <a:gd name="connsiteX218" fmla="*/ 1747434 w 2417203"/>
                  <a:gd name="connsiteY218" fmla="*/ 1150040 h 1690080"/>
                  <a:gd name="connsiteX219" fmla="*/ 1756922 w 2417203"/>
                  <a:gd name="connsiteY219" fmla="*/ 1166958 h 1690080"/>
                  <a:gd name="connsiteX220" fmla="*/ 1758051 w 2417203"/>
                  <a:gd name="connsiteY220" fmla="*/ 1170558 h 1690080"/>
                  <a:gd name="connsiteX221" fmla="*/ 1758406 w 2417203"/>
                  <a:gd name="connsiteY221" fmla="*/ 1171908 h 1690080"/>
                  <a:gd name="connsiteX222" fmla="*/ 1759750 w 2417203"/>
                  <a:gd name="connsiteY222" fmla="*/ 1178028 h 1690080"/>
                  <a:gd name="connsiteX223" fmla="*/ 1759750 w 2417203"/>
                  <a:gd name="connsiteY223" fmla="*/ 1178162 h 1690080"/>
                  <a:gd name="connsiteX224" fmla="*/ 1760156 w 2417203"/>
                  <a:gd name="connsiteY224" fmla="*/ 1180457 h 1690080"/>
                  <a:gd name="connsiteX225" fmla="*/ 1760207 w 2417203"/>
                  <a:gd name="connsiteY225" fmla="*/ 1180638 h 1690080"/>
                  <a:gd name="connsiteX226" fmla="*/ 1761057 w 2417203"/>
                  <a:gd name="connsiteY226" fmla="*/ 1186847 h 1690080"/>
                  <a:gd name="connsiteX227" fmla="*/ 1761463 w 2417203"/>
                  <a:gd name="connsiteY227" fmla="*/ 1190492 h 1690080"/>
                  <a:gd name="connsiteX228" fmla="*/ 1761640 w 2417203"/>
                  <a:gd name="connsiteY228" fmla="*/ 1192016 h 1690080"/>
                  <a:gd name="connsiteX229" fmla="*/ 1761869 w 2417203"/>
                  <a:gd name="connsiteY229" fmla="*/ 1194581 h 1690080"/>
                  <a:gd name="connsiteX230" fmla="*/ 1762046 w 2417203"/>
                  <a:gd name="connsiteY230" fmla="*/ 1196471 h 1690080"/>
                  <a:gd name="connsiteX231" fmla="*/ 1762135 w 2417203"/>
                  <a:gd name="connsiteY231" fmla="*/ 1197233 h 1690080"/>
                  <a:gd name="connsiteX232" fmla="*/ 1762363 w 2417203"/>
                  <a:gd name="connsiteY232" fmla="*/ 1199303 h 1690080"/>
                  <a:gd name="connsiteX233" fmla="*/ 1762769 w 2417203"/>
                  <a:gd name="connsiteY233" fmla="*/ 1202813 h 1690080"/>
                  <a:gd name="connsiteX234" fmla="*/ 1763569 w 2417203"/>
                  <a:gd name="connsiteY234" fmla="*/ 1208797 h 1690080"/>
                  <a:gd name="connsiteX235" fmla="*/ 1764431 w 2417203"/>
                  <a:gd name="connsiteY235" fmla="*/ 1213297 h 1690080"/>
                  <a:gd name="connsiteX236" fmla="*/ 1766993 w 2417203"/>
                  <a:gd name="connsiteY236" fmla="*/ 1223286 h 1690080"/>
                  <a:gd name="connsiteX237" fmla="*/ 1767488 w 2417203"/>
                  <a:gd name="connsiteY237" fmla="*/ 1225086 h 1690080"/>
                  <a:gd name="connsiteX238" fmla="*/ 1767488 w 2417203"/>
                  <a:gd name="connsiteY238" fmla="*/ 1225131 h 1690080"/>
                  <a:gd name="connsiteX239" fmla="*/ 1768655 w 2417203"/>
                  <a:gd name="connsiteY239" fmla="*/ 1229360 h 1690080"/>
                  <a:gd name="connsiteX240" fmla="*/ 1769238 w 2417203"/>
                  <a:gd name="connsiteY240" fmla="*/ 1231519 h 1690080"/>
                  <a:gd name="connsiteX241" fmla="*/ 1769365 w 2417203"/>
                  <a:gd name="connsiteY241" fmla="*/ 1231924 h 1690080"/>
                  <a:gd name="connsiteX242" fmla="*/ 1769682 w 2417203"/>
                  <a:gd name="connsiteY242" fmla="*/ 1233094 h 1690080"/>
                  <a:gd name="connsiteX243" fmla="*/ 1771483 w 2417203"/>
                  <a:gd name="connsiteY243" fmla="*/ 1241417 h 1690080"/>
                  <a:gd name="connsiteX244" fmla="*/ 1771572 w 2417203"/>
                  <a:gd name="connsiteY244" fmla="*/ 1242228 h 1690080"/>
                  <a:gd name="connsiteX245" fmla="*/ 1770938 w 2417203"/>
                  <a:gd name="connsiteY245" fmla="*/ 1263641 h 1690080"/>
                  <a:gd name="connsiteX246" fmla="*/ 1769771 w 2417203"/>
                  <a:gd name="connsiteY246" fmla="*/ 1268861 h 1690080"/>
                  <a:gd name="connsiteX247" fmla="*/ 1764824 w 2417203"/>
                  <a:gd name="connsiteY247" fmla="*/ 1285650 h 1690080"/>
                  <a:gd name="connsiteX248" fmla="*/ 1762617 w 2417203"/>
                  <a:gd name="connsiteY248" fmla="*/ 1292800 h 1690080"/>
                  <a:gd name="connsiteX249" fmla="*/ 1748817 w 2417203"/>
                  <a:gd name="connsiteY249" fmla="*/ 1286272 h 1690080"/>
                  <a:gd name="connsiteX250" fmla="*/ 1737769 w 2417203"/>
                  <a:gd name="connsiteY250" fmla="*/ 1303468 h 1690080"/>
                  <a:gd name="connsiteX251" fmla="*/ 1718261 w 2417203"/>
                  <a:gd name="connsiteY251" fmla="*/ 1292483 h 1690080"/>
                  <a:gd name="connsiteX252" fmla="*/ 1714937 w 2417203"/>
                  <a:gd name="connsiteY252" fmla="*/ 1284126 h 1690080"/>
                  <a:gd name="connsiteX253" fmla="*/ 1704562 w 2417203"/>
                  <a:gd name="connsiteY253" fmla="*/ 1269724 h 1690080"/>
                  <a:gd name="connsiteX254" fmla="*/ 1699031 w 2417203"/>
                  <a:gd name="connsiteY254" fmla="*/ 1264809 h 1690080"/>
                  <a:gd name="connsiteX255" fmla="*/ 1689366 w 2417203"/>
                  <a:gd name="connsiteY255" fmla="*/ 1254967 h 1690080"/>
                  <a:gd name="connsiteX256" fmla="*/ 1672559 w 2417203"/>
                  <a:gd name="connsiteY256" fmla="*/ 1227784 h 1690080"/>
                  <a:gd name="connsiteX257" fmla="*/ 1670352 w 2417203"/>
                  <a:gd name="connsiteY257" fmla="*/ 1221125 h 1690080"/>
                  <a:gd name="connsiteX258" fmla="*/ 1668830 w 2417203"/>
                  <a:gd name="connsiteY258" fmla="*/ 1190302 h 1690080"/>
                  <a:gd name="connsiteX259" fmla="*/ 1668792 w 2417203"/>
                  <a:gd name="connsiteY259" fmla="*/ 1177389 h 1690080"/>
                  <a:gd name="connsiteX260" fmla="*/ 1667219 w 2417203"/>
                  <a:gd name="connsiteY260" fmla="*/ 1134373 h 1690080"/>
                  <a:gd name="connsiteX261" fmla="*/ 1660712 w 2417203"/>
                  <a:gd name="connsiteY261" fmla="*/ 1118438 h 1690080"/>
                  <a:gd name="connsiteX262" fmla="*/ 1660611 w 2417203"/>
                  <a:gd name="connsiteY262" fmla="*/ 1118399 h 1690080"/>
                  <a:gd name="connsiteX263" fmla="*/ 1656121 w 2417203"/>
                  <a:gd name="connsiteY263" fmla="*/ 1117139 h 1690080"/>
                  <a:gd name="connsiteX264" fmla="*/ 1634139 w 2417203"/>
                  <a:gd name="connsiteY264" fmla="*/ 1113855 h 1690080"/>
                  <a:gd name="connsiteX265" fmla="*/ 1607756 w 2417203"/>
                  <a:gd name="connsiteY265" fmla="*/ 1111061 h 1690080"/>
                  <a:gd name="connsiteX266" fmla="*/ 1605067 w 2417203"/>
                  <a:gd name="connsiteY266" fmla="*/ 1110926 h 1690080"/>
                  <a:gd name="connsiteX267" fmla="*/ 1580168 w 2417203"/>
                  <a:gd name="connsiteY267" fmla="*/ 1104132 h 1690080"/>
                  <a:gd name="connsiteX268" fmla="*/ 1576566 w 2417203"/>
                  <a:gd name="connsiteY268" fmla="*/ 1101117 h 1690080"/>
                  <a:gd name="connsiteX269" fmla="*/ 1572925 w 2417203"/>
                  <a:gd name="connsiteY269" fmla="*/ 1097652 h 1690080"/>
                  <a:gd name="connsiteX270" fmla="*/ 1562194 w 2417203"/>
                  <a:gd name="connsiteY270" fmla="*/ 1090272 h 1690080"/>
                  <a:gd name="connsiteX271" fmla="*/ 1512447 w 2417203"/>
                  <a:gd name="connsiteY271" fmla="*/ 1063770 h 1690080"/>
                  <a:gd name="connsiteX272" fmla="*/ 1498596 w 2417203"/>
                  <a:gd name="connsiteY272" fmla="*/ 1048831 h 1690080"/>
                  <a:gd name="connsiteX273" fmla="*/ 1491949 w 2417203"/>
                  <a:gd name="connsiteY273" fmla="*/ 1041452 h 1690080"/>
                  <a:gd name="connsiteX274" fmla="*/ 1491721 w 2417203"/>
                  <a:gd name="connsiteY274" fmla="*/ 1041272 h 1690080"/>
                  <a:gd name="connsiteX275" fmla="*/ 1428313 w 2417203"/>
                  <a:gd name="connsiteY275" fmla="*/ 1011080 h 1690080"/>
                  <a:gd name="connsiteX276" fmla="*/ 1406065 w 2417203"/>
                  <a:gd name="connsiteY276" fmla="*/ 1013959 h 1690080"/>
                  <a:gd name="connsiteX277" fmla="*/ 1376320 w 2417203"/>
                  <a:gd name="connsiteY277" fmla="*/ 1023865 h 1690080"/>
                  <a:gd name="connsiteX278" fmla="*/ 1376358 w 2417203"/>
                  <a:gd name="connsiteY278" fmla="*/ 1023460 h 1690080"/>
                  <a:gd name="connsiteX279" fmla="*/ 1376358 w 2417203"/>
                  <a:gd name="connsiteY279" fmla="*/ 1023415 h 1690080"/>
                  <a:gd name="connsiteX280" fmla="*/ 1358791 w 2417203"/>
                  <a:gd name="connsiteY280" fmla="*/ 941072 h 1690080"/>
                  <a:gd name="connsiteX281" fmla="*/ 1356812 w 2417203"/>
                  <a:gd name="connsiteY281" fmla="*/ 932883 h 1690080"/>
                  <a:gd name="connsiteX282" fmla="*/ 1330568 w 2417203"/>
                  <a:gd name="connsiteY282" fmla="*/ 932208 h 1690080"/>
                  <a:gd name="connsiteX283" fmla="*/ 1326027 w 2417203"/>
                  <a:gd name="connsiteY283" fmla="*/ 938508 h 1690080"/>
                  <a:gd name="connsiteX284" fmla="*/ 1318303 w 2417203"/>
                  <a:gd name="connsiteY284" fmla="*/ 925818 h 1690080"/>
                  <a:gd name="connsiteX285" fmla="*/ 1317225 w 2417203"/>
                  <a:gd name="connsiteY285" fmla="*/ 924109 h 1690080"/>
                  <a:gd name="connsiteX286" fmla="*/ 1312823 w 2417203"/>
                  <a:gd name="connsiteY286" fmla="*/ 915244 h 1690080"/>
                  <a:gd name="connsiteX287" fmla="*/ 1312417 w 2417203"/>
                  <a:gd name="connsiteY287" fmla="*/ 914075 h 1690080"/>
                  <a:gd name="connsiteX288" fmla="*/ 1311339 w 2417203"/>
                  <a:gd name="connsiteY288" fmla="*/ 909395 h 1690080"/>
                  <a:gd name="connsiteX289" fmla="*/ 1312278 w 2417203"/>
                  <a:gd name="connsiteY289" fmla="*/ 857560 h 1690080"/>
                  <a:gd name="connsiteX290" fmla="*/ 1348542 w 2417203"/>
                  <a:gd name="connsiteY290" fmla="*/ 752784 h 1690080"/>
                  <a:gd name="connsiteX291" fmla="*/ 1349760 w 2417203"/>
                  <a:gd name="connsiteY291" fmla="*/ 750579 h 1690080"/>
                  <a:gd name="connsiteX292" fmla="*/ 1350432 w 2417203"/>
                  <a:gd name="connsiteY292" fmla="*/ 749273 h 1690080"/>
                  <a:gd name="connsiteX293" fmla="*/ 1363636 w 2417203"/>
                  <a:gd name="connsiteY293" fmla="*/ 726235 h 1690080"/>
                  <a:gd name="connsiteX294" fmla="*/ 1364004 w 2417203"/>
                  <a:gd name="connsiteY294" fmla="*/ 725600 h 1690080"/>
                  <a:gd name="connsiteX295" fmla="*/ 1373352 w 2417203"/>
                  <a:gd name="connsiteY295" fmla="*/ 710437 h 1690080"/>
                  <a:gd name="connsiteX296" fmla="*/ 1381305 w 2417203"/>
                  <a:gd name="connsiteY296" fmla="*/ 696173 h 1690080"/>
                  <a:gd name="connsiteX297" fmla="*/ 1382206 w 2417203"/>
                  <a:gd name="connsiteY297" fmla="*/ 694464 h 1690080"/>
                  <a:gd name="connsiteX298" fmla="*/ 1383233 w 2417203"/>
                  <a:gd name="connsiteY298" fmla="*/ 692528 h 1690080"/>
                  <a:gd name="connsiteX299" fmla="*/ 1425662 w 2417203"/>
                  <a:gd name="connsiteY299" fmla="*/ 682179 h 1690080"/>
                  <a:gd name="connsiteX300" fmla="*/ 1418381 w 2417203"/>
                  <a:gd name="connsiteY300" fmla="*/ 653833 h 1690080"/>
                  <a:gd name="connsiteX301" fmla="*/ 1418204 w 2417203"/>
                  <a:gd name="connsiteY301" fmla="*/ 653697 h 1690080"/>
                  <a:gd name="connsiteX302" fmla="*/ 1396894 w 2417203"/>
                  <a:gd name="connsiteY302" fmla="*/ 636868 h 1690080"/>
                  <a:gd name="connsiteX303" fmla="*/ 1396717 w 2417203"/>
                  <a:gd name="connsiteY303" fmla="*/ 636599 h 1690080"/>
                  <a:gd name="connsiteX304" fmla="*/ 1396501 w 2417203"/>
                  <a:gd name="connsiteY304" fmla="*/ 636733 h 1690080"/>
                  <a:gd name="connsiteX305" fmla="*/ 1388764 w 2417203"/>
                  <a:gd name="connsiteY305" fmla="*/ 641233 h 1690080"/>
                  <a:gd name="connsiteX306" fmla="*/ 1388269 w 2417203"/>
                  <a:gd name="connsiteY306" fmla="*/ 641504 h 1690080"/>
                  <a:gd name="connsiteX307" fmla="*/ 1381534 w 2417203"/>
                  <a:gd name="connsiteY307" fmla="*/ 644563 h 1690080"/>
                  <a:gd name="connsiteX308" fmla="*/ 1385174 w 2417203"/>
                  <a:gd name="connsiteY308" fmla="*/ 636418 h 1690080"/>
                  <a:gd name="connsiteX309" fmla="*/ 1385567 w 2417203"/>
                  <a:gd name="connsiteY309" fmla="*/ 635698 h 1690080"/>
                  <a:gd name="connsiteX310" fmla="*/ 1405748 w 2417203"/>
                  <a:gd name="connsiteY310" fmla="*/ 634348 h 1690080"/>
                  <a:gd name="connsiteX311" fmla="*/ 1443052 w 2417203"/>
                  <a:gd name="connsiteY311" fmla="*/ 634983 h 1690080"/>
                  <a:gd name="connsiteX312" fmla="*/ 1445703 w 2417203"/>
                  <a:gd name="connsiteY312" fmla="*/ 623465 h 1690080"/>
                  <a:gd name="connsiteX313" fmla="*/ 1446109 w 2417203"/>
                  <a:gd name="connsiteY313" fmla="*/ 621845 h 1690080"/>
                  <a:gd name="connsiteX314" fmla="*/ 1448214 w 2417203"/>
                  <a:gd name="connsiteY314" fmla="*/ 612936 h 1690080"/>
                  <a:gd name="connsiteX315" fmla="*/ 1448582 w 2417203"/>
                  <a:gd name="connsiteY315" fmla="*/ 611361 h 1690080"/>
                  <a:gd name="connsiteX316" fmla="*/ 1449432 w 2417203"/>
                  <a:gd name="connsiteY316" fmla="*/ 607716 h 1690080"/>
                  <a:gd name="connsiteX317" fmla="*/ 1455051 w 2417203"/>
                  <a:gd name="connsiteY317" fmla="*/ 609021 h 1690080"/>
                  <a:gd name="connsiteX318" fmla="*/ 1457524 w 2417203"/>
                  <a:gd name="connsiteY318" fmla="*/ 609561 h 1690080"/>
                  <a:gd name="connsiteX319" fmla="*/ 1471731 w 2417203"/>
                  <a:gd name="connsiteY319" fmla="*/ 613341 h 1690080"/>
                  <a:gd name="connsiteX320" fmla="*/ 1472492 w 2417203"/>
                  <a:gd name="connsiteY320" fmla="*/ 613611 h 1690080"/>
                  <a:gd name="connsiteX321" fmla="*/ 1472809 w 2417203"/>
                  <a:gd name="connsiteY321" fmla="*/ 613745 h 1690080"/>
                  <a:gd name="connsiteX322" fmla="*/ 1500042 w 2417203"/>
                  <a:gd name="connsiteY322" fmla="*/ 604206 h 1690080"/>
                  <a:gd name="connsiteX323" fmla="*/ 1534594 w 2417203"/>
                  <a:gd name="connsiteY323" fmla="*/ 540313 h 1690080"/>
                  <a:gd name="connsiteX324" fmla="*/ 1536623 w 2417203"/>
                  <a:gd name="connsiteY324" fmla="*/ 536487 h 1690080"/>
                  <a:gd name="connsiteX325" fmla="*/ 1503314 w 2417203"/>
                  <a:gd name="connsiteY325" fmla="*/ 532393 h 1690080"/>
                  <a:gd name="connsiteX326" fmla="*/ 1473342 w 2417203"/>
                  <a:gd name="connsiteY326" fmla="*/ 524878 h 1690080"/>
                  <a:gd name="connsiteX327" fmla="*/ 1462877 w 2417203"/>
                  <a:gd name="connsiteY327" fmla="*/ 513585 h 1690080"/>
                  <a:gd name="connsiteX328" fmla="*/ 1461520 w 2417203"/>
                  <a:gd name="connsiteY328" fmla="*/ 511290 h 1690080"/>
                  <a:gd name="connsiteX329" fmla="*/ 1449432 w 2417203"/>
                  <a:gd name="connsiteY329" fmla="*/ 495316 h 1690080"/>
                  <a:gd name="connsiteX330" fmla="*/ 1443597 w 2417203"/>
                  <a:gd name="connsiteY330" fmla="*/ 488522 h 1690080"/>
                  <a:gd name="connsiteX331" fmla="*/ 1462915 w 2417203"/>
                  <a:gd name="connsiteY331" fmla="*/ 490681 h 1690080"/>
                  <a:gd name="connsiteX332" fmla="*/ 1487548 w 2417203"/>
                  <a:gd name="connsiteY332" fmla="*/ 509985 h 1690080"/>
                  <a:gd name="connsiteX333" fmla="*/ 1488981 w 2417203"/>
                  <a:gd name="connsiteY333" fmla="*/ 511245 h 1690080"/>
                  <a:gd name="connsiteX334" fmla="*/ 1496896 w 2417203"/>
                  <a:gd name="connsiteY334" fmla="*/ 518399 h 1690080"/>
                  <a:gd name="connsiteX335" fmla="*/ 1526590 w 2417203"/>
                  <a:gd name="connsiteY335" fmla="*/ 523169 h 1690080"/>
                  <a:gd name="connsiteX336" fmla="*/ 1561294 w 2417203"/>
                  <a:gd name="connsiteY336" fmla="*/ 470884 h 1690080"/>
                  <a:gd name="connsiteX337" fmla="*/ 1555002 w 2417203"/>
                  <a:gd name="connsiteY337" fmla="*/ 466294 h 1690080"/>
                  <a:gd name="connsiteX338" fmla="*/ 1542420 w 2417203"/>
                  <a:gd name="connsiteY338" fmla="*/ 452300 h 1690080"/>
                  <a:gd name="connsiteX339" fmla="*/ 1538640 w 2417203"/>
                  <a:gd name="connsiteY339" fmla="*/ 445551 h 1690080"/>
                  <a:gd name="connsiteX340" fmla="*/ 1577694 w 2417203"/>
                  <a:gd name="connsiteY340" fmla="*/ 442630 h 1690080"/>
                  <a:gd name="connsiteX341" fmla="*/ 1579039 w 2417203"/>
                  <a:gd name="connsiteY341" fmla="*/ 446313 h 1690080"/>
                  <a:gd name="connsiteX342" fmla="*/ 1583440 w 2417203"/>
                  <a:gd name="connsiteY342" fmla="*/ 456077 h 1690080"/>
                  <a:gd name="connsiteX343" fmla="*/ 1595845 w 2417203"/>
                  <a:gd name="connsiteY343" fmla="*/ 461971 h 1690080"/>
                  <a:gd name="connsiteX344" fmla="*/ 1623129 w 2417203"/>
                  <a:gd name="connsiteY344" fmla="*/ 460713 h 1690080"/>
                  <a:gd name="connsiteX345" fmla="*/ 1612297 w 2417203"/>
                  <a:gd name="connsiteY345" fmla="*/ 437764 h 1690080"/>
                  <a:gd name="connsiteX346" fmla="*/ 1610280 w 2417203"/>
                  <a:gd name="connsiteY346" fmla="*/ 434208 h 1690080"/>
                  <a:gd name="connsiteX347" fmla="*/ 1606411 w 2417203"/>
                  <a:gd name="connsiteY347" fmla="*/ 428809 h 1690080"/>
                  <a:gd name="connsiteX348" fmla="*/ 1606361 w 2417203"/>
                  <a:gd name="connsiteY348" fmla="*/ 428763 h 1690080"/>
                  <a:gd name="connsiteX349" fmla="*/ 1605562 w 2417203"/>
                  <a:gd name="connsiteY349" fmla="*/ 427909 h 1690080"/>
                  <a:gd name="connsiteX350" fmla="*/ 1595630 w 2417203"/>
                  <a:gd name="connsiteY350" fmla="*/ 421114 h 1690080"/>
                  <a:gd name="connsiteX351" fmla="*/ 1589732 w 2417203"/>
                  <a:gd name="connsiteY351" fmla="*/ 419405 h 1690080"/>
                  <a:gd name="connsiteX352" fmla="*/ 1586370 w 2417203"/>
                  <a:gd name="connsiteY352" fmla="*/ 418909 h 1690080"/>
                  <a:gd name="connsiteX353" fmla="*/ 1607172 w 2417203"/>
                  <a:gd name="connsiteY353" fmla="*/ 415445 h 1690080"/>
                  <a:gd name="connsiteX354" fmla="*/ 1619476 w 2417203"/>
                  <a:gd name="connsiteY354" fmla="*/ 432049 h 1690080"/>
                  <a:gd name="connsiteX355" fmla="*/ 1622000 w 2417203"/>
                  <a:gd name="connsiteY355" fmla="*/ 436637 h 1690080"/>
                  <a:gd name="connsiteX356" fmla="*/ 1637183 w 2417203"/>
                  <a:gd name="connsiteY356" fmla="*/ 454726 h 1690080"/>
                  <a:gd name="connsiteX357" fmla="*/ 1687387 w 2417203"/>
                  <a:gd name="connsiteY357" fmla="*/ 407300 h 1690080"/>
                  <a:gd name="connsiteX358" fmla="*/ 1691472 w 2417203"/>
                  <a:gd name="connsiteY358" fmla="*/ 369454 h 1690080"/>
                  <a:gd name="connsiteX359" fmla="*/ 1691116 w 2417203"/>
                  <a:gd name="connsiteY359" fmla="*/ 368819 h 1690080"/>
                  <a:gd name="connsiteX360" fmla="*/ 1690178 w 2417203"/>
                  <a:gd name="connsiteY360" fmla="*/ 367244 h 1690080"/>
                  <a:gd name="connsiteX361" fmla="*/ 1688998 w 2417203"/>
                  <a:gd name="connsiteY361" fmla="*/ 365804 h 1690080"/>
                  <a:gd name="connsiteX362" fmla="*/ 1665101 w 2417203"/>
                  <a:gd name="connsiteY362" fmla="*/ 319504 h 1690080"/>
                  <a:gd name="connsiteX363" fmla="*/ 1664733 w 2417203"/>
                  <a:gd name="connsiteY363" fmla="*/ 318558 h 1690080"/>
                  <a:gd name="connsiteX364" fmla="*/ 1664733 w 2417203"/>
                  <a:gd name="connsiteY364" fmla="*/ 318513 h 1690080"/>
                  <a:gd name="connsiteX365" fmla="*/ 1661816 w 2417203"/>
                  <a:gd name="connsiteY365" fmla="*/ 309649 h 1690080"/>
                  <a:gd name="connsiteX366" fmla="*/ 1661017 w 2417203"/>
                  <a:gd name="connsiteY366" fmla="*/ 307400 h 1690080"/>
                  <a:gd name="connsiteX367" fmla="*/ 1658353 w 2417203"/>
                  <a:gd name="connsiteY367" fmla="*/ 300161 h 1690080"/>
                  <a:gd name="connsiteX368" fmla="*/ 1694313 w 2417203"/>
                  <a:gd name="connsiteY368" fmla="*/ 282026 h 1690080"/>
                  <a:gd name="connsiteX369" fmla="*/ 1692740 w 2417203"/>
                  <a:gd name="connsiteY369" fmla="*/ 276088 h 1690080"/>
                  <a:gd name="connsiteX370" fmla="*/ 1685092 w 2417203"/>
                  <a:gd name="connsiteY370" fmla="*/ 265603 h 1690080"/>
                  <a:gd name="connsiteX371" fmla="*/ 1683480 w 2417203"/>
                  <a:gd name="connsiteY371" fmla="*/ 263129 h 1690080"/>
                  <a:gd name="connsiteX372" fmla="*/ 1692017 w 2417203"/>
                  <a:gd name="connsiteY372" fmla="*/ 245895 h 1690080"/>
                  <a:gd name="connsiteX373" fmla="*/ 1693057 w 2417203"/>
                  <a:gd name="connsiteY373" fmla="*/ 243780 h 1690080"/>
                  <a:gd name="connsiteX374" fmla="*/ 1671659 w 2417203"/>
                  <a:gd name="connsiteY374" fmla="*/ 235951 h 1690080"/>
                  <a:gd name="connsiteX375" fmla="*/ 1662767 w 2417203"/>
                  <a:gd name="connsiteY375" fmla="*/ 227896 h 1690080"/>
                  <a:gd name="connsiteX376" fmla="*/ 1657097 w 2417203"/>
                  <a:gd name="connsiteY376" fmla="*/ 217952 h 1690080"/>
                  <a:gd name="connsiteX377" fmla="*/ 1656793 w 2417203"/>
                  <a:gd name="connsiteY377" fmla="*/ 217143 h 1690080"/>
                  <a:gd name="connsiteX378" fmla="*/ 1654675 w 2417203"/>
                  <a:gd name="connsiteY378" fmla="*/ 209314 h 1690080"/>
                  <a:gd name="connsiteX379" fmla="*/ 1654269 w 2417203"/>
                  <a:gd name="connsiteY379" fmla="*/ 206838 h 1690080"/>
                  <a:gd name="connsiteX380" fmla="*/ 1621912 w 2417203"/>
                  <a:gd name="connsiteY380" fmla="*/ 198559 h 1690080"/>
                  <a:gd name="connsiteX381" fmla="*/ 1584519 w 2417203"/>
                  <a:gd name="connsiteY381" fmla="*/ 196625 h 1690080"/>
                  <a:gd name="connsiteX382" fmla="*/ 1582324 w 2417203"/>
                  <a:gd name="connsiteY382" fmla="*/ 197884 h 1690080"/>
                  <a:gd name="connsiteX383" fmla="*/ 1579356 w 2417203"/>
                  <a:gd name="connsiteY383" fmla="*/ 199819 h 1690080"/>
                  <a:gd name="connsiteX384" fmla="*/ 1579305 w 2417203"/>
                  <a:gd name="connsiteY384" fmla="*/ 200359 h 1690080"/>
                  <a:gd name="connsiteX385" fmla="*/ 1578950 w 2417203"/>
                  <a:gd name="connsiteY385" fmla="*/ 203599 h 1690080"/>
                  <a:gd name="connsiteX386" fmla="*/ 1578405 w 2417203"/>
                  <a:gd name="connsiteY386" fmla="*/ 208863 h 1690080"/>
                  <a:gd name="connsiteX387" fmla="*/ 1578405 w 2417203"/>
                  <a:gd name="connsiteY387" fmla="*/ 208909 h 1690080"/>
                  <a:gd name="connsiteX388" fmla="*/ 1578050 w 2417203"/>
                  <a:gd name="connsiteY388" fmla="*/ 213318 h 1690080"/>
                  <a:gd name="connsiteX389" fmla="*/ 1577733 w 2417203"/>
                  <a:gd name="connsiteY389" fmla="*/ 220923 h 1690080"/>
                  <a:gd name="connsiteX390" fmla="*/ 1578012 w 2417203"/>
                  <a:gd name="connsiteY390" fmla="*/ 226052 h 1690080"/>
                  <a:gd name="connsiteX391" fmla="*/ 1580117 w 2417203"/>
                  <a:gd name="connsiteY391" fmla="*/ 234420 h 1690080"/>
                  <a:gd name="connsiteX392" fmla="*/ 1591355 w 2417203"/>
                  <a:gd name="connsiteY392" fmla="*/ 249495 h 1690080"/>
                  <a:gd name="connsiteX393" fmla="*/ 1591888 w 2417203"/>
                  <a:gd name="connsiteY393" fmla="*/ 250079 h 1690080"/>
                  <a:gd name="connsiteX394" fmla="*/ 1596391 w 2417203"/>
                  <a:gd name="connsiteY394" fmla="*/ 254623 h 1690080"/>
                  <a:gd name="connsiteX395" fmla="*/ 1596023 w 2417203"/>
                  <a:gd name="connsiteY395" fmla="*/ 256469 h 1690080"/>
                  <a:gd name="connsiteX396" fmla="*/ 1594628 w 2417203"/>
                  <a:gd name="connsiteY396" fmla="*/ 263534 h 1690080"/>
                  <a:gd name="connsiteX397" fmla="*/ 1594412 w 2417203"/>
                  <a:gd name="connsiteY397" fmla="*/ 264613 h 1690080"/>
                  <a:gd name="connsiteX398" fmla="*/ 1593778 w 2417203"/>
                  <a:gd name="connsiteY398" fmla="*/ 267718 h 1690080"/>
                  <a:gd name="connsiteX399" fmla="*/ 1591799 w 2417203"/>
                  <a:gd name="connsiteY399" fmla="*/ 277617 h 1690080"/>
                  <a:gd name="connsiteX400" fmla="*/ 1591520 w 2417203"/>
                  <a:gd name="connsiteY400" fmla="*/ 278967 h 1690080"/>
                  <a:gd name="connsiteX401" fmla="*/ 1572202 w 2417203"/>
                  <a:gd name="connsiteY401" fmla="*/ 282297 h 1690080"/>
                  <a:gd name="connsiteX402" fmla="*/ 1551210 w 2417203"/>
                  <a:gd name="connsiteY402" fmla="*/ 346596 h 1690080"/>
                  <a:gd name="connsiteX403" fmla="*/ 1546263 w 2417203"/>
                  <a:gd name="connsiteY403" fmla="*/ 316043 h 1690080"/>
                  <a:gd name="connsiteX404" fmla="*/ 1543117 w 2417203"/>
                  <a:gd name="connsiteY404" fmla="*/ 353121 h 1690080"/>
                  <a:gd name="connsiteX405" fmla="*/ 1545147 w 2417203"/>
                  <a:gd name="connsiteY405" fmla="*/ 381333 h 1690080"/>
                  <a:gd name="connsiteX406" fmla="*/ 1542039 w 2417203"/>
                  <a:gd name="connsiteY406" fmla="*/ 385158 h 1690080"/>
                  <a:gd name="connsiteX407" fmla="*/ 1536788 w 2417203"/>
                  <a:gd name="connsiteY407" fmla="*/ 389748 h 1690080"/>
                  <a:gd name="connsiteX408" fmla="*/ 1536788 w 2417203"/>
                  <a:gd name="connsiteY408" fmla="*/ 389792 h 1690080"/>
                  <a:gd name="connsiteX409" fmla="*/ 1535799 w 2417203"/>
                  <a:gd name="connsiteY409" fmla="*/ 390554 h 1690080"/>
                  <a:gd name="connsiteX410" fmla="*/ 1534226 w 2417203"/>
                  <a:gd name="connsiteY410" fmla="*/ 391679 h 1690080"/>
                  <a:gd name="connsiteX411" fmla="*/ 1522772 w 2417203"/>
                  <a:gd name="connsiteY411" fmla="*/ 399914 h 1690080"/>
                  <a:gd name="connsiteX412" fmla="*/ 1522277 w 2417203"/>
                  <a:gd name="connsiteY412" fmla="*/ 398744 h 1690080"/>
                  <a:gd name="connsiteX413" fmla="*/ 1511889 w 2417203"/>
                  <a:gd name="connsiteY413" fmla="*/ 376921 h 1690080"/>
                  <a:gd name="connsiteX414" fmla="*/ 1496021 w 2417203"/>
                  <a:gd name="connsiteY414" fmla="*/ 313929 h 1690080"/>
                  <a:gd name="connsiteX415" fmla="*/ 1500930 w 2417203"/>
                  <a:gd name="connsiteY415" fmla="*/ 314289 h 1690080"/>
                  <a:gd name="connsiteX416" fmla="*/ 1502947 w 2417203"/>
                  <a:gd name="connsiteY416" fmla="*/ 314424 h 1690080"/>
                  <a:gd name="connsiteX417" fmla="*/ 1507437 w 2417203"/>
                  <a:gd name="connsiteY417" fmla="*/ 314783 h 1690080"/>
                  <a:gd name="connsiteX418" fmla="*/ 1474864 w 2417203"/>
                  <a:gd name="connsiteY418" fmla="*/ 242250 h 1690080"/>
                  <a:gd name="connsiteX419" fmla="*/ 1470450 w 2417203"/>
                  <a:gd name="connsiteY419" fmla="*/ 238059 h 1690080"/>
                  <a:gd name="connsiteX420" fmla="*/ 1456345 w 2417203"/>
                  <a:gd name="connsiteY420" fmla="*/ 273831 h 1690080"/>
                  <a:gd name="connsiteX421" fmla="*/ 1455850 w 2417203"/>
                  <a:gd name="connsiteY421" fmla="*/ 284451 h 1690080"/>
                  <a:gd name="connsiteX422" fmla="*/ 1454188 w 2417203"/>
                  <a:gd name="connsiteY422" fmla="*/ 292730 h 1690080"/>
                  <a:gd name="connsiteX423" fmla="*/ 1454138 w 2417203"/>
                  <a:gd name="connsiteY423" fmla="*/ 292999 h 1690080"/>
                  <a:gd name="connsiteX424" fmla="*/ 1441695 w 2417203"/>
                  <a:gd name="connsiteY424" fmla="*/ 315902 h 1690080"/>
                  <a:gd name="connsiteX425" fmla="*/ 1440261 w 2417203"/>
                  <a:gd name="connsiteY425" fmla="*/ 317523 h 1690080"/>
                  <a:gd name="connsiteX426" fmla="*/ 1438866 w 2417203"/>
                  <a:gd name="connsiteY426" fmla="*/ 314729 h 1690080"/>
                  <a:gd name="connsiteX427" fmla="*/ 1438727 w 2417203"/>
                  <a:gd name="connsiteY427" fmla="*/ 314458 h 1690080"/>
                  <a:gd name="connsiteX428" fmla="*/ 1428389 w 2417203"/>
                  <a:gd name="connsiteY428" fmla="*/ 256278 h 1690080"/>
                  <a:gd name="connsiteX429" fmla="*/ 1416390 w 2417203"/>
                  <a:gd name="connsiteY429" fmla="*/ 239361 h 1690080"/>
                  <a:gd name="connsiteX430" fmla="*/ 1414183 w 2417203"/>
                  <a:gd name="connsiteY430" fmla="*/ 237696 h 1690080"/>
                  <a:gd name="connsiteX431" fmla="*/ 1430913 w 2417203"/>
                  <a:gd name="connsiteY431" fmla="*/ 222487 h 1690080"/>
                  <a:gd name="connsiteX432" fmla="*/ 1432308 w 2417203"/>
                  <a:gd name="connsiteY432" fmla="*/ 221228 h 1690080"/>
                  <a:gd name="connsiteX433" fmla="*/ 1415717 w 2417203"/>
                  <a:gd name="connsiteY433" fmla="*/ 215422 h 1690080"/>
                  <a:gd name="connsiteX434" fmla="*/ 1406915 w 2417203"/>
                  <a:gd name="connsiteY434" fmla="*/ 212273 h 1690080"/>
                  <a:gd name="connsiteX435" fmla="*/ 1397300 w 2417203"/>
                  <a:gd name="connsiteY435" fmla="*/ 216817 h 1690080"/>
                  <a:gd name="connsiteX436" fmla="*/ 1386239 w 2417203"/>
                  <a:gd name="connsiteY436" fmla="*/ 212407 h 1690080"/>
                  <a:gd name="connsiteX437" fmla="*/ 1385783 w 2417203"/>
                  <a:gd name="connsiteY437" fmla="*/ 212183 h 1690080"/>
                  <a:gd name="connsiteX438" fmla="*/ 1379631 w 2417203"/>
                  <a:gd name="connsiteY438" fmla="*/ 208762 h 1690080"/>
                  <a:gd name="connsiteX439" fmla="*/ 1377386 w 2417203"/>
                  <a:gd name="connsiteY439" fmla="*/ 207503 h 1690080"/>
                  <a:gd name="connsiteX440" fmla="*/ 1375407 w 2417203"/>
                  <a:gd name="connsiteY440" fmla="*/ 206333 h 1690080"/>
                  <a:gd name="connsiteX441" fmla="*/ 1372807 w 2417203"/>
                  <a:gd name="connsiteY441" fmla="*/ 204848 h 1690080"/>
                  <a:gd name="connsiteX442" fmla="*/ 1368443 w 2417203"/>
                  <a:gd name="connsiteY442" fmla="*/ 202283 h 1690080"/>
                  <a:gd name="connsiteX443" fmla="*/ 1389423 w 2417203"/>
                  <a:gd name="connsiteY443" fmla="*/ 176322 h 1690080"/>
                  <a:gd name="connsiteX444" fmla="*/ 1389030 w 2417203"/>
                  <a:gd name="connsiteY444" fmla="*/ 175961 h 1690080"/>
                  <a:gd name="connsiteX445" fmla="*/ 1382066 w 2417203"/>
                  <a:gd name="connsiteY445" fmla="*/ 170246 h 1690080"/>
                  <a:gd name="connsiteX446" fmla="*/ 1377386 w 2417203"/>
                  <a:gd name="connsiteY446" fmla="*/ 166377 h 1690080"/>
                  <a:gd name="connsiteX447" fmla="*/ 1379314 w 2417203"/>
                  <a:gd name="connsiteY447" fmla="*/ 162193 h 1690080"/>
                  <a:gd name="connsiteX448" fmla="*/ 1384083 w 2417203"/>
                  <a:gd name="connsiteY448" fmla="*/ 162777 h 1690080"/>
                  <a:gd name="connsiteX449" fmla="*/ 1386645 w 2417203"/>
                  <a:gd name="connsiteY449" fmla="*/ 163138 h 1690080"/>
                  <a:gd name="connsiteX450" fmla="*/ 1402462 w 2417203"/>
                  <a:gd name="connsiteY450" fmla="*/ 165162 h 1690080"/>
                  <a:gd name="connsiteX451" fmla="*/ 1397249 w 2417203"/>
                  <a:gd name="connsiteY451" fmla="*/ 157062 h 1690080"/>
                  <a:gd name="connsiteX452" fmla="*/ 1394548 w 2417203"/>
                  <a:gd name="connsiteY452" fmla="*/ 152968 h 1690080"/>
                  <a:gd name="connsiteX453" fmla="*/ 1376396 w 2417203"/>
                  <a:gd name="connsiteY453" fmla="*/ 124756 h 1690080"/>
                  <a:gd name="connsiteX454" fmla="*/ 1375369 w 2417203"/>
                  <a:gd name="connsiteY454" fmla="*/ 123091 h 1690080"/>
                  <a:gd name="connsiteX455" fmla="*/ 1374468 w 2417203"/>
                  <a:gd name="connsiteY455" fmla="*/ 121606 h 1690080"/>
                  <a:gd name="connsiteX456" fmla="*/ 1374101 w 2417203"/>
                  <a:gd name="connsiteY456" fmla="*/ 121021 h 1690080"/>
                  <a:gd name="connsiteX457" fmla="*/ 1372579 w 2417203"/>
                  <a:gd name="connsiteY457" fmla="*/ 118366 h 1690080"/>
                  <a:gd name="connsiteX458" fmla="*/ 1370650 w 2417203"/>
                  <a:gd name="connsiteY458" fmla="*/ 115082 h 1690080"/>
                  <a:gd name="connsiteX459" fmla="*/ 1367822 w 2417203"/>
                  <a:gd name="connsiteY459" fmla="*/ 109097 h 1690080"/>
                  <a:gd name="connsiteX460" fmla="*/ 1365615 w 2417203"/>
                  <a:gd name="connsiteY460" fmla="*/ 93664 h 1690080"/>
                  <a:gd name="connsiteX461" fmla="*/ 1355506 w 2417203"/>
                  <a:gd name="connsiteY461" fmla="*/ 54471 h 1690080"/>
                  <a:gd name="connsiteX462" fmla="*/ 1355468 w 2417203"/>
                  <a:gd name="connsiteY462" fmla="*/ 54381 h 1690080"/>
                  <a:gd name="connsiteX463" fmla="*/ 1345219 w 2417203"/>
                  <a:gd name="connsiteY463" fmla="*/ 40703 h 1690080"/>
                  <a:gd name="connsiteX464" fmla="*/ 1338788 w 2417203"/>
                  <a:gd name="connsiteY464" fmla="*/ 31343 h 1690080"/>
                  <a:gd name="connsiteX465" fmla="*/ 1338433 w 2417203"/>
                  <a:gd name="connsiteY465" fmla="*/ 30894 h 1690080"/>
                  <a:gd name="connsiteX466" fmla="*/ 1324226 w 2417203"/>
                  <a:gd name="connsiteY466" fmla="*/ 24639 h 1690080"/>
                  <a:gd name="connsiteX467" fmla="*/ 1323288 w 2417203"/>
                  <a:gd name="connsiteY467" fmla="*/ 24370 h 1690080"/>
                  <a:gd name="connsiteX468" fmla="*/ 1321487 w 2417203"/>
                  <a:gd name="connsiteY468" fmla="*/ 23875 h 1690080"/>
                  <a:gd name="connsiteX469" fmla="*/ 1317174 w 2417203"/>
                  <a:gd name="connsiteY469" fmla="*/ 22570 h 1690080"/>
                  <a:gd name="connsiteX470" fmla="*/ 1315956 w 2417203"/>
                  <a:gd name="connsiteY470" fmla="*/ 22165 h 1690080"/>
                  <a:gd name="connsiteX471" fmla="*/ 1316147 w 2417203"/>
                  <a:gd name="connsiteY471" fmla="*/ 21445 h 1690080"/>
                  <a:gd name="connsiteX472" fmla="*/ 1318696 w 2417203"/>
                  <a:gd name="connsiteY472" fmla="*/ 9206 h 1690080"/>
                  <a:gd name="connsiteX473" fmla="*/ 1319153 w 2417203"/>
                  <a:gd name="connsiteY473" fmla="*/ 7631 h 1690080"/>
                  <a:gd name="connsiteX474" fmla="*/ 1319153 w 2417203"/>
                  <a:gd name="connsiteY474" fmla="*/ 7606 h 1690080"/>
                  <a:gd name="connsiteX475" fmla="*/ 1322742 w 2417203"/>
                  <a:gd name="connsiteY475" fmla="*/ 1845 h 1690080"/>
                  <a:gd name="connsiteX476" fmla="*/ 1325355 w 2417203"/>
                  <a:gd name="connsiteY476" fmla="*/ 1 h 1690080"/>
                  <a:gd name="connsiteX477" fmla="*/ 1305175 w 2417203"/>
                  <a:gd name="connsiteY477" fmla="*/ 1 h 1690080"/>
                  <a:gd name="connsiteX478" fmla="*/ 1304274 w 2417203"/>
                  <a:gd name="connsiteY478" fmla="*/ 7155 h 1690080"/>
                  <a:gd name="connsiteX479" fmla="*/ 1282039 w 2417203"/>
                  <a:gd name="connsiteY479" fmla="*/ 40186 h 1690080"/>
                  <a:gd name="connsiteX480" fmla="*/ 1284994 w 2417203"/>
                  <a:gd name="connsiteY480" fmla="*/ 44235 h 1690080"/>
                  <a:gd name="connsiteX481" fmla="*/ 1290702 w 2417203"/>
                  <a:gd name="connsiteY481" fmla="*/ 53370 h 1690080"/>
                  <a:gd name="connsiteX482" fmla="*/ 1290702 w 2417203"/>
                  <a:gd name="connsiteY482" fmla="*/ 53415 h 1690080"/>
                  <a:gd name="connsiteX483" fmla="*/ 1288457 w 2417203"/>
                  <a:gd name="connsiteY483" fmla="*/ 65158 h 1690080"/>
                  <a:gd name="connsiteX484" fmla="*/ 1275024 w 2417203"/>
                  <a:gd name="connsiteY484" fmla="*/ 59804 h 1690080"/>
                  <a:gd name="connsiteX485" fmla="*/ 1265004 w 2417203"/>
                  <a:gd name="connsiteY485" fmla="*/ 107725 h 1690080"/>
                  <a:gd name="connsiteX486" fmla="*/ 1276052 w 2417203"/>
                  <a:gd name="connsiteY486" fmla="*/ 126983 h 1690080"/>
                  <a:gd name="connsiteX487" fmla="*/ 1275608 w 2417203"/>
                  <a:gd name="connsiteY487" fmla="*/ 127618 h 1690080"/>
                  <a:gd name="connsiteX488" fmla="*/ 1268010 w 2417203"/>
                  <a:gd name="connsiteY488" fmla="*/ 176035 h 1690080"/>
                  <a:gd name="connsiteX489" fmla="*/ 1268061 w 2417203"/>
                  <a:gd name="connsiteY489" fmla="*/ 176214 h 1690080"/>
                  <a:gd name="connsiteX490" fmla="*/ 1294482 w 2417203"/>
                  <a:gd name="connsiteY490" fmla="*/ 201457 h 1690080"/>
                  <a:gd name="connsiteX491" fmla="*/ 1317808 w 2417203"/>
                  <a:gd name="connsiteY491" fmla="*/ 209601 h 1690080"/>
                  <a:gd name="connsiteX492" fmla="*/ 1317846 w 2417203"/>
                  <a:gd name="connsiteY492" fmla="*/ 209646 h 1690080"/>
                  <a:gd name="connsiteX493" fmla="*/ 1318214 w 2417203"/>
                  <a:gd name="connsiteY493" fmla="*/ 210186 h 1690080"/>
                  <a:gd name="connsiteX494" fmla="*/ 1323783 w 2417203"/>
                  <a:gd name="connsiteY494" fmla="*/ 218016 h 1690080"/>
                  <a:gd name="connsiteX495" fmla="*/ 1323833 w 2417203"/>
                  <a:gd name="connsiteY495" fmla="*/ 218060 h 1690080"/>
                  <a:gd name="connsiteX496" fmla="*/ 1351561 w 2417203"/>
                  <a:gd name="connsiteY496" fmla="*/ 216441 h 1690080"/>
                  <a:gd name="connsiteX497" fmla="*/ 1349848 w 2417203"/>
                  <a:gd name="connsiteY497" fmla="*/ 222200 h 1690080"/>
                  <a:gd name="connsiteX498" fmla="*/ 1347921 w 2417203"/>
                  <a:gd name="connsiteY498" fmla="*/ 228769 h 1690080"/>
                  <a:gd name="connsiteX499" fmla="*/ 1345853 w 2417203"/>
                  <a:gd name="connsiteY499" fmla="*/ 235699 h 1690080"/>
                  <a:gd name="connsiteX500" fmla="*/ 1344407 w 2417203"/>
                  <a:gd name="connsiteY500" fmla="*/ 240652 h 1690080"/>
                  <a:gd name="connsiteX501" fmla="*/ 1342796 w 2417203"/>
                  <a:gd name="connsiteY501" fmla="*/ 239890 h 1690080"/>
                  <a:gd name="connsiteX502" fmla="*/ 1333765 w 2417203"/>
                  <a:gd name="connsiteY502" fmla="*/ 235525 h 1690080"/>
                  <a:gd name="connsiteX503" fmla="*/ 1331735 w 2417203"/>
                  <a:gd name="connsiteY503" fmla="*/ 234580 h 1690080"/>
                  <a:gd name="connsiteX504" fmla="*/ 1330657 w 2417203"/>
                  <a:gd name="connsiteY504" fmla="*/ 238089 h 1690080"/>
                  <a:gd name="connsiteX505" fmla="*/ 1328273 w 2417203"/>
                  <a:gd name="connsiteY505" fmla="*/ 245874 h 1690080"/>
                  <a:gd name="connsiteX506" fmla="*/ 1322108 w 2417203"/>
                  <a:gd name="connsiteY506" fmla="*/ 266122 h 1690080"/>
                  <a:gd name="connsiteX507" fmla="*/ 1319774 w 2417203"/>
                  <a:gd name="connsiteY507" fmla="*/ 273727 h 1690080"/>
                  <a:gd name="connsiteX508" fmla="*/ 1319279 w 2417203"/>
                  <a:gd name="connsiteY508" fmla="*/ 275392 h 1690080"/>
                  <a:gd name="connsiteX509" fmla="*/ 1319863 w 2417203"/>
                  <a:gd name="connsiteY509" fmla="*/ 275617 h 1690080"/>
                  <a:gd name="connsiteX510" fmla="*/ 1340982 w 2417203"/>
                  <a:gd name="connsiteY510" fmla="*/ 260048 h 1690080"/>
                  <a:gd name="connsiteX511" fmla="*/ 1341794 w 2417203"/>
                  <a:gd name="connsiteY511" fmla="*/ 260048 h 1690080"/>
                  <a:gd name="connsiteX512" fmla="*/ 1343278 w 2417203"/>
                  <a:gd name="connsiteY512" fmla="*/ 260228 h 1690080"/>
                  <a:gd name="connsiteX513" fmla="*/ 1343633 w 2417203"/>
                  <a:gd name="connsiteY513" fmla="*/ 263917 h 1690080"/>
                  <a:gd name="connsiteX514" fmla="*/ 1345980 w 2417203"/>
                  <a:gd name="connsiteY514" fmla="*/ 286904 h 1690080"/>
                  <a:gd name="connsiteX515" fmla="*/ 1345980 w 2417203"/>
                  <a:gd name="connsiteY515" fmla="*/ 286949 h 1690080"/>
                  <a:gd name="connsiteX516" fmla="*/ 1346475 w 2417203"/>
                  <a:gd name="connsiteY516" fmla="*/ 291809 h 1690080"/>
                  <a:gd name="connsiteX517" fmla="*/ 1346652 w 2417203"/>
                  <a:gd name="connsiteY517" fmla="*/ 293563 h 1690080"/>
                  <a:gd name="connsiteX518" fmla="*/ 1306697 w 2417203"/>
                  <a:gd name="connsiteY518" fmla="*/ 334599 h 1690080"/>
                  <a:gd name="connsiteX519" fmla="*/ 1300228 w 2417203"/>
                  <a:gd name="connsiteY519" fmla="*/ 335590 h 1690080"/>
                  <a:gd name="connsiteX520" fmla="*/ 1296676 w 2417203"/>
                  <a:gd name="connsiteY520" fmla="*/ 335545 h 1690080"/>
                  <a:gd name="connsiteX521" fmla="*/ 1291235 w 2417203"/>
                  <a:gd name="connsiteY521" fmla="*/ 357817 h 1690080"/>
                  <a:gd name="connsiteX522" fmla="*/ 1293975 w 2417203"/>
                  <a:gd name="connsiteY522" fmla="*/ 368032 h 1690080"/>
                  <a:gd name="connsiteX523" fmla="*/ 1293975 w 2417203"/>
                  <a:gd name="connsiteY523" fmla="*/ 368076 h 1690080"/>
                  <a:gd name="connsiteX524" fmla="*/ 1298021 w 2417203"/>
                  <a:gd name="connsiteY524" fmla="*/ 381890 h 1690080"/>
                  <a:gd name="connsiteX525" fmla="*/ 1298160 w 2417203"/>
                  <a:gd name="connsiteY525" fmla="*/ 382652 h 1690080"/>
                  <a:gd name="connsiteX526" fmla="*/ 1295915 w 2417203"/>
                  <a:gd name="connsiteY526" fmla="*/ 400290 h 1690080"/>
                  <a:gd name="connsiteX527" fmla="*/ 1294520 w 2417203"/>
                  <a:gd name="connsiteY527" fmla="*/ 400019 h 1690080"/>
                  <a:gd name="connsiteX528" fmla="*/ 1293391 w 2417203"/>
                  <a:gd name="connsiteY528" fmla="*/ 399616 h 1690080"/>
                  <a:gd name="connsiteX529" fmla="*/ 1293353 w 2417203"/>
                  <a:gd name="connsiteY529" fmla="*/ 399616 h 1690080"/>
                  <a:gd name="connsiteX530" fmla="*/ 1289802 w 2417203"/>
                  <a:gd name="connsiteY530" fmla="*/ 397050 h 1690080"/>
                  <a:gd name="connsiteX531" fmla="*/ 1284677 w 2417203"/>
                  <a:gd name="connsiteY531" fmla="*/ 392460 h 1690080"/>
                  <a:gd name="connsiteX532" fmla="*/ 1275100 w 2417203"/>
                  <a:gd name="connsiteY532" fmla="*/ 392731 h 1690080"/>
                  <a:gd name="connsiteX533" fmla="*/ 1275050 w 2417203"/>
                  <a:gd name="connsiteY533" fmla="*/ 392551 h 1690080"/>
                  <a:gd name="connsiteX534" fmla="*/ 1267465 w 2417203"/>
                  <a:gd name="connsiteY534" fmla="*/ 365013 h 1690080"/>
                  <a:gd name="connsiteX535" fmla="*/ 1276179 w 2417203"/>
                  <a:gd name="connsiteY535" fmla="*/ 324562 h 1690080"/>
                  <a:gd name="connsiteX536" fmla="*/ 1277308 w 2417203"/>
                  <a:gd name="connsiteY536" fmla="*/ 319927 h 1690080"/>
                  <a:gd name="connsiteX537" fmla="*/ 1262289 w 2417203"/>
                  <a:gd name="connsiteY537" fmla="*/ 330051 h 1690080"/>
                  <a:gd name="connsiteX538" fmla="*/ 1260894 w 2417203"/>
                  <a:gd name="connsiteY538" fmla="*/ 330996 h 1690080"/>
                  <a:gd name="connsiteX539" fmla="*/ 1254552 w 2417203"/>
                  <a:gd name="connsiteY539" fmla="*/ 321725 h 1690080"/>
                  <a:gd name="connsiteX540" fmla="*/ 1251990 w 2417203"/>
                  <a:gd name="connsiteY540" fmla="*/ 317900 h 1690080"/>
                  <a:gd name="connsiteX541" fmla="*/ 1242819 w 2417203"/>
                  <a:gd name="connsiteY541" fmla="*/ 305571 h 1690080"/>
                  <a:gd name="connsiteX542" fmla="*/ 1241348 w 2417203"/>
                  <a:gd name="connsiteY542" fmla="*/ 303952 h 1690080"/>
                  <a:gd name="connsiteX543" fmla="*/ 1231226 w 2417203"/>
                  <a:gd name="connsiteY543" fmla="*/ 301207 h 1690080"/>
                  <a:gd name="connsiteX544" fmla="*/ 1225708 w 2417203"/>
                  <a:gd name="connsiteY544" fmla="*/ 305751 h 1690080"/>
                  <a:gd name="connsiteX545" fmla="*/ 1215992 w 2417203"/>
                  <a:gd name="connsiteY545" fmla="*/ 311735 h 1690080"/>
                  <a:gd name="connsiteX546" fmla="*/ 1211147 w 2417203"/>
                  <a:gd name="connsiteY546" fmla="*/ 312185 h 1690080"/>
                  <a:gd name="connsiteX547" fmla="*/ 1211147 w 2417203"/>
                  <a:gd name="connsiteY547" fmla="*/ 312231 h 1690080"/>
                  <a:gd name="connsiteX548" fmla="*/ 1209840 w 2417203"/>
                  <a:gd name="connsiteY548" fmla="*/ 312411 h 1690080"/>
                  <a:gd name="connsiteX549" fmla="*/ 1209701 w 2417203"/>
                  <a:gd name="connsiteY549" fmla="*/ 312455 h 1690080"/>
                  <a:gd name="connsiteX550" fmla="*/ 1209574 w 2417203"/>
                  <a:gd name="connsiteY550" fmla="*/ 313896 h 1690080"/>
                  <a:gd name="connsiteX551" fmla="*/ 1208673 w 2417203"/>
                  <a:gd name="connsiteY551" fmla="*/ 322129 h 1690080"/>
                  <a:gd name="connsiteX552" fmla="*/ 1207418 w 2417203"/>
                  <a:gd name="connsiteY552" fmla="*/ 334233 h 1690080"/>
                  <a:gd name="connsiteX553" fmla="*/ 1206022 w 2417203"/>
                  <a:gd name="connsiteY553" fmla="*/ 346697 h 1690080"/>
                  <a:gd name="connsiteX554" fmla="*/ 1205439 w 2417203"/>
                  <a:gd name="connsiteY554" fmla="*/ 352276 h 1690080"/>
                  <a:gd name="connsiteX555" fmla="*/ 1178828 w 2417203"/>
                  <a:gd name="connsiteY555" fmla="*/ 354481 h 1690080"/>
                  <a:gd name="connsiteX556" fmla="*/ 1136006 w 2417203"/>
                  <a:gd name="connsiteY556" fmla="*/ 354481 h 1690080"/>
                  <a:gd name="connsiteX557" fmla="*/ 1112591 w 2417203"/>
                  <a:gd name="connsiteY557" fmla="*/ 359341 h 1690080"/>
                  <a:gd name="connsiteX558" fmla="*/ 1108633 w 2417203"/>
                  <a:gd name="connsiteY558" fmla="*/ 358981 h 1690080"/>
                  <a:gd name="connsiteX559" fmla="*/ 1080677 w 2417203"/>
                  <a:gd name="connsiteY559" fmla="*/ 345708 h 1690080"/>
                  <a:gd name="connsiteX560" fmla="*/ 1076276 w 2417203"/>
                  <a:gd name="connsiteY560" fmla="*/ 342017 h 1690080"/>
                  <a:gd name="connsiteX561" fmla="*/ 1076187 w 2417203"/>
                  <a:gd name="connsiteY561" fmla="*/ 341973 h 1690080"/>
                  <a:gd name="connsiteX562" fmla="*/ 1064137 w 2417203"/>
                  <a:gd name="connsiteY562" fmla="*/ 334773 h 1690080"/>
                  <a:gd name="connsiteX563" fmla="*/ 1048447 w 2417203"/>
                  <a:gd name="connsiteY563" fmla="*/ 333648 h 1690080"/>
                  <a:gd name="connsiteX564" fmla="*/ 1039378 w 2417203"/>
                  <a:gd name="connsiteY564" fmla="*/ 332124 h 1690080"/>
                  <a:gd name="connsiteX565" fmla="*/ 1034482 w 2417203"/>
                  <a:gd name="connsiteY565" fmla="*/ 329153 h 1690080"/>
                  <a:gd name="connsiteX566" fmla="*/ 1028051 w 2417203"/>
                  <a:gd name="connsiteY566" fmla="*/ 323799 h 1690080"/>
                  <a:gd name="connsiteX567" fmla="*/ 1027290 w 2417203"/>
                  <a:gd name="connsiteY567" fmla="*/ 323164 h 1690080"/>
                  <a:gd name="connsiteX568" fmla="*/ 1023599 w 2417203"/>
                  <a:gd name="connsiteY568" fmla="*/ 319924 h 1690080"/>
                  <a:gd name="connsiteX569" fmla="*/ 1017256 w 2417203"/>
                  <a:gd name="connsiteY569" fmla="*/ 314209 h 1690080"/>
                  <a:gd name="connsiteX570" fmla="*/ 1012310 w 2417203"/>
                  <a:gd name="connsiteY570" fmla="*/ 309664 h 1690080"/>
                  <a:gd name="connsiteX571" fmla="*/ 1009621 w 2417203"/>
                  <a:gd name="connsiteY571" fmla="*/ 307144 h 1690080"/>
                  <a:gd name="connsiteX572" fmla="*/ 1004813 w 2417203"/>
                  <a:gd name="connsiteY572" fmla="*/ 302826 h 1690080"/>
                  <a:gd name="connsiteX573" fmla="*/ 1003507 w 2417203"/>
                  <a:gd name="connsiteY573" fmla="*/ 301611 h 1690080"/>
                  <a:gd name="connsiteX574" fmla="*/ 945578 w 2417203"/>
                  <a:gd name="connsiteY574" fmla="*/ 339993 h 1690080"/>
                  <a:gd name="connsiteX575" fmla="*/ 945312 w 2417203"/>
                  <a:gd name="connsiteY575" fmla="*/ 340533 h 1690080"/>
                  <a:gd name="connsiteX576" fmla="*/ 944944 w 2417203"/>
                  <a:gd name="connsiteY576" fmla="*/ 341208 h 1690080"/>
                  <a:gd name="connsiteX577" fmla="*/ 944944 w 2417203"/>
                  <a:gd name="connsiteY577" fmla="*/ 341253 h 1690080"/>
                  <a:gd name="connsiteX578" fmla="*/ 939020 w 2417203"/>
                  <a:gd name="connsiteY578" fmla="*/ 353132 h 1690080"/>
                  <a:gd name="connsiteX579" fmla="*/ 940048 w 2417203"/>
                  <a:gd name="connsiteY579" fmla="*/ 356641 h 1690080"/>
                  <a:gd name="connsiteX580" fmla="*/ 943282 w 2417203"/>
                  <a:gd name="connsiteY580" fmla="*/ 367576 h 1690080"/>
                  <a:gd name="connsiteX581" fmla="*/ 948356 w 2417203"/>
                  <a:gd name="connsiteY581" fmla="*/ 384403 h 1690080"/>
                  <a:gd name="connsiteX582" fmla="*/ 948762 w 2417203"/>
                  <a:gd name="connsiteY582" fmla="*/ 385753 h 1690080"/>
                  <a:gd name="connsiteX583" fmla="*/ 950335 w 2417203"/>
                  <a:gd name="connsiteY583" fmla="*/ 390524 h 1690080"/>
                  <a:gd name="connsiteX584" fmla="*/ 953937 w 2417203"/>
                  <a:gd name="connsiteY584" fmla="*/ 416352 h 1690080"/>
                  <a:gd name="connsiteX585" fmla="*/ 951641 w 2417203"/>
                  <a:gd name="connsiteY585" fmla="*/ 419995 h 1690080"/>
                  <a:gd name="connsiteX586" fmla="*/ 950297 w 2417203"/>
                  <a:gd name="connsiteY586" fmla="*/ 421750 h 1690080"/>
                  <a:gd name="connsiteX587" fmla="*/ 948039 w 2417203"/>
                  <a:gd name="connsiteY587" fmla="*/ 424360 h 1690080"/>
                  <a:gd name="connsiteX588" fmla="*/ 941037 w 2417203"/>
                  <a:gd name="connsiteY588" fmla="*/ 431599 h 1690080"/>
                  <a:gd name="connsiteX589" fmla="*/ 940048 w 2417203"/>
                  <a:gd name="connsiteY589" fmla="*/ 432634 h 1690080"/>
                  <a:gd name="connsiteX590" fmla="*/ 936230 w 2417203"/>
                  <a:gd name="connsiteY590" fmla="*/ 425705 h 1690080"/>
                  <a:gd name="connsiteX591" fmla="*/ 935596 w 2417203"/>
                  <a:gd name="connsiteY591" fmla="*/ 424580 h 1690080"/>
                  <a:gd name="connsiteX592" fmla="*/ 929482 w 2417203"/>
                  <a:gd name="connsiteY592" fmla="*/ 413466 h 1690080"/>
                  <a:gd name="connsiteX593" fmla="*/ 927592 w 2417203"/>
                  <a:gd name="connsiteY593" fmla="*/ 410002 h 1690080"/>
                  <a:gd name="connsiteX594" fmla="*/ 928087 w 2417203"/>
                  <a:gd name="connsiteY594" fmla="*/ 409462 h 1690080"/>
                  <a:gd name="connsiteX595" fmla="*/ 927998 w 2417203"/>
                  <a:gd name="connsiteY595" fmla="*/ 383993 h 1690080"/>
                  <a:gd name="connsiteX596" fmla="*/ 927592 w 2417203"/>
                  <a:gd name="connsiteY596" fmla="*/ 383768 h 1690080"/>
                  <a:gd name="connsiteX597" fmla="*/ 925981 w 2417203"/>
                  <a:gd name="connsiteY597" fmla="*/ 382779 h 1690080"/>
                  <a:gd name="connsiteX598" fmla="*/ 918967 w 2417203"/>
                  <a:gd name="connsiteY598" fmla="*/ 379630 h 1690080"/>
                  <a:gd name="connsiteX599" fmla="*/ 912181 w 2417203"/>
                  <a:gd name="connsiteY599" fmla="*/ 376165 h 1690080"/>
                  <a:gd name="connsiteX600" fmla="*/ 906473 w 2417203"/>
                  <a:gd name="connsiteY600" fmla="*/ 362847 h 1690080"/>
                  <a:gd name="connsiteX601" fmla="*/ 905483 w 2417203"/>
                  <a:gd name="connsiteY601" fmla="*/ 361226 h 1690080"/>
                  <a:gd name="connsiteX602" fmla="*/ 902832 w 2417203"/>
                  <a:gd name="connsiteY602" fmla="*/ 359651 h 1690080"/>
                  <a:gd name="connsiteX603" fmla="*/ 900803 w 2417203"/>
                  <a:gd name="connsiteY603" fmla="*/ 359832 h 1690080"/>
                  <a:gd name="connsiteX604" fmla="*/ 899940 w 2417203"/>
                  <a:gd name="connsiteY604" fmla="*/ 359876 h 1690080"/>
                  <a:gd name="connsiteX605" fmla="*/ 892178 w 2417203"/>
                  <a:gd name="connsiteY605" fmla="*/ 357581 h 1690080"/>
                  <a:gd name="connsiteX606" fmla="*/ 885290 w 2417203"/>
                  <a:gd name="connsiteY606" fmla="*/ 351011 h 1690080"/>
                  <a:gd name="connsiteX607" fmla="*/ 883679 w 2417203"/>
                  <a:gd name="connsiteY607" fmla="*/ 349033 h 1690080"/>
                  <a:gd name="connsiteX608" fmla="*/ 877832 w 2417203"/>
                  <a:gd name="connsiteY608" fmla="*/ 342822 h 1690080"/>
                  <a:gd name="connsiteX609" fmla="*/ 873976 w 2417203"/>
                  <a:gd name="connsiteY609" fmla="*/ 340842 h 1690080"/>
                  <a:gd name="connsiteX610" fmla="*/ 726395 w 2417203"/>
                  <a:gd name="connsiteY610" fmla="*/ 347097 h 1690080"/>
                  <a:gd name="connsiteX611" fmla="*/ 723148 w 2417203"/>
                  <a:gd name="connsiteY611" fmla="*/ 345928 h 1690080"/>
                  <a:gd name="connsiteX612" fmla="*/ 738077 w 2417203"/>
                  <a:gd name="connsiteY612" fmla="*/ 322754 h 1690080"/>
                  <a:gd name="connsiteX613" fmla="*/ 742834 w 2417203"/>
                  <a:gd name="connsiteY613" fmla="*/ 319833 h 1690080"/>
                  <a:gd name="connsiteX614" fmla="*/ 743012 w 2417203"/>
                  <a:gd name="connsiteY614" fmla="*/ 319787 h 1690080"/>
                  <a:gd name="connsiteX615" fmla="*/ 763192 w 2417203"/>
                  <a:gd name="connsiteY615" fmla="*/ 312723 h 1690080"/>
                  <a:gd name="connsiteX616" fmla="*/ 747159 w 2417203"/>
                  <a:gd name="connsiteY616" fmla="*/ 279962 h 1690080"/>
                  <a:gd name="connsiteX617" fmla="*/ 722260 w 2417203"/>
                  <a:gd name="connsiteY617" fmla="*/ 264348 h 1690080"/>
                  <a:gd name="connsiteX618" fmla="*/ 717098 w 2417203"/>
                  <a:gd name="connsiteY618" fmla="*/ 263854 h 1690080"/>
                  <a:gd name="connsiteX619" fmla="*/ 715436 w 2417203"/>
                  <a:gd name="connsiteY619" fmla="*/ 263988 h 1690080"/>
                  <a:gd name="connsiteX620" fmla="*/ 712151 w 2417203"/>
                  <a:gd name="connsiteY620" fmla="*/ 265068 h 1690080"/>
                  <a:gd name="connsiteX621" fmla="*/ 710578 w 2417203"/>
                  <a:gd name="connsiteY621" fmla="*/ 265968 h 1690080"/>
                  <a:gd name="connsiteX622" fmla="*/ 705187 w 2417203"/>
                  <a:gd name="connsiteY622" fmla="*/ 268398 h 1690080"/>
                  <a:gd name="connsiteX623" fmla="*/ 667566 w 2417203"/>
                  <a:gd name="connsiteY623" fmla="*/ 263178 h 1690080"/>
                  <a:gd name="connsiteX624" fmla="*/ 611667 w 2417203"/>
                  <a:gd name="connsiteY624" fmla="*/ 234425 h 1690080"/>
                  <a:gd name="connsiteX625" fmla="*/ 592564 w 2417203"/>
                  <a:gd name="connsiteY625" fmla="*/ 229296 h 1690080"/>
                  <a:gd name="connsiteX626" fmla="*/ 580515 w 2417203"/>
                  <a:gd name="connsiteY626" fmla="*/ 219712 h 1690080"/>
                  <a:gd name="connsiteX627" fmla="*/ 576291 w 2417203"/>
                  <a:gd name="connsiteY627" fmla="*/ 214538 h 1690080"/>
                  <a:gd name="connsiteX628" fmla="*/ 511348 w 2417203"/>
                  <a:gd name="connsiteY628" fmla="*/ 196584 h 1690080"/>
                  <a:gd name="connsiteX629" fmla="*/ 473739 w 2417203"/>
                  <a:gd name="connsiteY629" fmla="*/ 228172 h 1690080"/>
                  <a:gd name="connsiteX630" fmla="*/ 469021 w 2417203"/>
                  <a:gd name="connsiteY630" fmla="*/ 227227 h 1690080"/>
                  <a:gd name="connsiteX631" fmla="*/ 473511 w 2417203"/>
                  <a:gd name="connsiteY631" fmla="*/ 205539 h 1690080"/>
                  <a:gd name="connsiteX632" fmla="*/ 472877 w 2417203"/>
                  <a:gd name="connsiteY632" fmla="*/ 202659 h 1690080"/>
                  <a:gd name="connsiteX633" fmla="*/ 466446 w 2417203"/>
                  <a:gd name="connsiteY633" fmla="*/ 184885 h 1690080"/>
                  <a:gd name="connsiteX634" fmla="*/ 465862 w 2417203"/>
                  <a:gd name="connsiteY634" fmla="*/ 183488 h 1690080"/>
                  <a:gd name="connsiteX635" fmla="*/ 463795 w 2417203"/>
                  <a:gd name="connsiteY635" fmla="*/ 178224 h 1690080"/>
                  <a:gd name="connsiteX636" fmla="*/ 461727 w 2417203"/>
                  <a:gd name="connsiteY636" fmla="*/ 181508 h 1690080"/>
                  <a:gd name="connsiteX637" fmla="*/ 452747 w 2417203"/>
                  <a:gd name="connsiteY637" fmla="*/ 196132 h 1690080"/>
                  <a:gd name="connsiteX638" fmla="*/ 450768 w 2417203"/>
                  <a:gd name="connsiteY638" fmla="*/ 200046 h 1690080"/>
                  <a:gd name="connsiteX639" fmla="*/ 447255 w 2417203"/>
                  <a:gd name="connsiteY639" fmla="*/ 211026 h 1690080"/>
                  <a:gd name="connsiteX640" fmla="*/ 446950 w 2417203"/>
                  <a:gd name="connsiteY640" fmla="*/ 214895 h 1690080"/>
                  <a:gd name="connsiteX641" fmla="*/ 448155 w 2417203"/>
                  <a:gd name="connsiteY641" fmla="*/ 223309 h 1690080"/>
                  <a:gd name="connsiteX642" fmla="*/ 449144 w 2417203"/>
                  <a:gd name="connsiteY642" fmla="*/ 226189 h 1690080"/>
                  <a:gd name="connsiteX643" fmla="*/ 448878 w 2417203"/>
                  <a:gd name="connsiteY643" fmla="*/ 226414 h 1690080"/>
                  <a:gd name="connsiteX644" fmla="*/ 432477 w 2417203"/>
                  <a:gd name="connsiteY644" fmla="*/ 229923 h 1690080"/>
                  <a:gd name="connsiteX645" fmla="*/ 425146 w 2417203"/>
                  <a:gd name="connsiteY645" fmla="*/ 223760 h 1690080"/>
                  <a:gd name="connsiteX646" fmla="*/ 403177 w 2417203"/>
                  <a:gd name="connsiteY646" fmla="*/ 188933 h 1690080"/>
                  <a:gd name="connsiteX647" fmla="*/ 391761 w 2417203"/>
                  <a:gd name="connsiteY647" fmla="*/ 157120 h 1690080"/>
                  <a:gd name="connsiteX648" fmla="*/ 374726 w 2417203"/>
                  <a:gd name="connsiteY648" fmla="*/ 138222 h 1690080"/>
                  <a:gd name="connsiteX649" fmla="*/ 364160 w 2417203"/>
                  <a:gd name="connsiteY649" fmla="*/ 136153 h 1690080"/>
                  <a:gd name="connsiteX650" fmla="*/ 366811 w 2417203"/>
                  <a:gd name="connsiteY650" fmla="*/ 141417 h 1690080"/>
                  <a:gd name="connsiteX651" fmla="*/ 369196 w 2417203"/>
                  <a:gd name="connsiteY651" fmla="*/ 146051 h 1690080"/>
                  <a:gd name="connsiteX652" fmla="*/ 372202 w 2417203"/>
                  <a:gd name="connsiteY652" fmla="*/ 151946 h 1690080"/>
                  <a:gd name="connsiteX653" fmla="*/ 374270 w 2417203"/>
                  <a:gd name="connsiteY653" fmla="*/ 156041 h 1690080"/>
                  <a:gd name="connsiteX654" fmla="*/ 372836 w 2417203"/>
                  <a:gd name="connsiteY654" fmla="*/ 158156 h 1690080"/>
                  <a:gd name="connsiteX655" fmla="*/ 342775 w 2417203"/>
                  <a:gd name="connsiteY655" fmla="*/ 202612 h 1690080"/>
                  <a:gd name="connsiteX656" fmla="*/ 339858 w 2417203"/>
                  <a:gd name="connsiteY656" fmla="*/ 200767 h 1690080"/>
                  <a:gd name="connsiteX657" fmla="*/ 335405 w 2417203"/>
                  <a:gd name="connsiteY657" fmla="*/ 197797 h 1690080"/>
                  <a:gd name="connsiteX658" fmla="*/ 334150 w 2417203"/>
                  <a:gd name="connsiteY658" fmla="*/ 196672 h 1690080"/>
                  <a:gd name="connsiteX659" fmla="*/ 330471 w 2417203"/>
                  <a:gd name="connsiteY659" fmla="*/ 193116 h 1690080"/>
                  <a:gd name="connsiteX660" fmla="*/ 288182 w 2417203"/>
                  <a:gd name="connsiteY660" fmla="*/ 232397 h 1690080"/>
                  <a:gd name="connsiteX661" fmla="*/ 286026 w 2417203"/>
                  <a:gd name="connsiteY661" fmla="*/ 236401 h 1690080"/>
                  <a:gd name="connsiteX662" fmla="*/ 280622 w 2417203"/>
                  <a:gd name="connsiteY662" fmla="*/ 234062 h 1690080"/>
                  <a:gd name="connsiteX663" fmla="*/ 280318 w 2417203"/>
                  <a:gd name="connsiteY663" fmla="*/ 233928 h 1690080"/>
                  <a:gd name="connsiteX664" fmla="*/ 276500 w 2417203"/>
                  <a:gd name="connsiteY664" fmla="*/ 232307 h 1690080"/>
                  <a:gd name="connsiteX665" fmla="*/ 275143 w 2417203"/>
                  <a:gd name="connsiteY665" fmla="*/ 231723 h 1690080"/>
                  <a:gd name="connsiteX666" fmla="*/ 270297 w 2417203"/>
                  <a:gd name="connsiteY666" fmla="*/ 229653 h 1690080"/>
                  <a:gd name="connsiteX667" fmla="*/ 265401 w 2417203"/>
                  <a:gd name="connsiteY667" fmla="*/ 232622 h 1690080"/>
                  <a:gd name="connsiteX668" fmla="*/ 248633 w 2417203"/>
                  <a:gd name="connsiteY668" fmla="*/ 242702 h 1690080"/>
                  <a:gd name="connsiteX669" fmla="*/ 244269 w 2417203"/>
                  <a:gd name="connsiteY669" fmla="*/ 245356 h 1690080"/>
                  <a:gd name="connsiteX670" fmla="*/ 236722 w 2417203"/>
                  <a:gd name="connsiteY670" fmla="*/ 249900 h 1690080"/>
                  <a:gd name="connsiteX671" fmla="*/ 230380 w 2417203"/>
                  <a:gd name="connsiteY671" fmla="*/ 253726 h 1690080"/>
                  <a:gd name="connsiteX672" fmla="*/ 268230 w 2417203"/>
                  <a:gd name="connsiteY672" fmla="*/ 213004 h 1690080"/>
                  <a:gd name="connsiteX673" fmla="*/ 322911 w 2417203"/>
                  <a:gd name="connsiteY673" fmla="*/ 175433 h 1690080"/>
                  <a:gd name="connsiteX674" fmla="*/ 324624 w 2417203"/>
                  <a:gd name="connsiteY674" fmla="*/ 165758 h 1690080"/>
                  <a:gd name="connsiteX675" fmla="*/ 321478 w 2417203"/>
                  <a:gd name="connsiteY675" fmla="*/ 166299 h 1690080"/>
                  <a:gd name="connsiteX676" fmla="*/ 305344 w 2417203"/>
                  <a:gd name="connsiteY676" fmla="*/ 168999 h 1690080"/>
                  <a:gd name="connsiteX677" fmla="*/ 301348 w 2417203"/>
                  <a:gd name="connsiteY677" fmla="*/ 169853 h 1690080"/>
                  <a:gd name="connsiteX678" fmla="*/ 300676 w 2417203"/>
                  <a:gd name="connsiteY678" fmla="*/ 170033 h 1690080"/>
                  <a:gd name="connsiteX679" fmla="*/ 300587 w 2417203"/>
                  <a:gd name="connsiteY679" fmla="*/ 170033 h 1690080"/>
                  <a:gd name="connsiteX680" fmla="*/ 287142 w 2417203"/>
                  <a:gd name="connsiteY680" fmla="*/ 175387 h 1690080"/>
                  <a:gd name="connsiteX681" fmla="*/ 269803 w 2417203"/>
                  <a:gd name="connsiteY681" fmla="*/ 188436 h 1690080"/>
                  <a:gd name="connsiteX682" fmla="*/ 232943 w 2417203"/>
                  <a:gd name="connsiteY682" fmla="*/ 210440 h 1690080"/>
                  <a:gd name="connsiteX683" fmla="*/ 202069 w 2417203"/>
                  <a:gd name="connsiteY683" fmla="*/ 234018 h 1690080"/>
                  <a:gd name="connsiteX684" fmla="*/ 192721 w 2417203"/>
                  <a:gd name="connsiteY684" fmla="*/ 239777 h 1690080"/>
                  <a:gd name="connsiteX685" fmla="*/ 199012 w 2417203"/>
                  <a:gd name="connsiteY685" fmla="*/ 224479 h 1690080"/>
                  <a:gd name="connsiteX686" fmla="*/ 189398 w 2417203"/>
                  <a:gd name="connsiteY686" fmla="*/ 213094 h 1690080"/>
                  <a:gd name="connsiteX687" fmla="*/ 188637 w 2417203"/>
                  <a:gd name="connsiteY687" fmla="*/ 215568 h 1690080"/>
                  <a:gd name="connsiteX688" fmla="*/ 168417 w 2417203"/>
                  <a:gd name="connsiteY688" fmla="*/ 222858 h 1690080"/>
                  <a:gd name="connsiteX689" fmla="*/ 152508 w 2417203"/>
                  <a:gd name="connsiteY689" fmla="*/ 238157 h 1690080"/>
                  <a:gd name="connsiteX690" fmla="*/ 150575 w 2417203"/>
                  <a:gd name="connsiteY690" fmla="*/ 241892 h 1690080"/>
                  <a:gd name="connsiteX691" fmla="*/ 148733 w 2417203"/>
                  <a:gd name="connsiteY691" fmla="*/ 246706 h 1690080"/>
                  <a:gd name="connsiteX692" fmla="*/ 147430 w 2417203"/>
                  <a:gd name="connsiteY692" fmla="*/ 253366 h 1690080"/>
                  <a:gd name="connsiteX693" fmla="*/ 148239 w 2417203"/>
                  <a:gd name="connsiteY693" fmla="*/ 261194 h 1690080"/>
                  <a:gd name="connsiteX694" fmla="*/ 148912 w 2417203"/>
                  <a:gd name="connsiteY694" fmla="*/ 262815 h 1690080"/>
                  <a:gd name="connsiteX695" fmla="*/ 154890 w 2417203"/>
                  <a:gd name="connsiteY695" fmla="*/ 271229 h 1690080"/>
                  <a:gd name="connsiteX696" fmla="*/ 161002 w 2417203"/>
                  <a:gd name="connsiteY696" fmla="*/ 278248 h 1690080"/>
                  <a:gd name="connsiteX697" fmla="*/ 161451 w 2417203"/>
                  <a:gd name="connsiteY697" fmla="*/ 278788 h 1690080"/>
                  <a:gd name="connsiteX698" fmla="*/ 161182 w 2417203"/>
                  <a:gd name="connsiteY698" fmla="*/ 278743 h 1690080"/>
                  <a:gd name="connsiteX699" fmla="*/ 133140 w 2417203"/>
                  <a:gd name="connsiteY699" fmla="*/ 269294 h 1690080"/>
                  <a:gd name="connsiteX700" fmla="*/ 91435 w 2417203"/>
                  <a:gd name="connsiteY700" fmla="*/ 254943 h 1690080"/>
                  <a:gd name="connsiteX701" fmla="*/ 89772 w 2417203"/>
                  <a:gd name="connsiteY701" fmla="*/ 253323 h 1690080"/>
                  <a:gd name="connsiteX702" fmla="*/ 83974 w 2417203"/>
                  <a:gd name="connsiteY702" fmla="*/ 247878 h 1690080"/>
                  <a:gd name="connsiteX703" fmla="*/ 78492 w 2417203"/>
                  <a:gd name="connsiteY703" fmla="*/ 243019 h 1690080"/>
                  <a:gd name="connsiteX704" fmla="*/ 75481 w 2417203"/>
                  <a:gd name="connsiteY704" fmla="*/ 240454 h 1690080"/>
                  <a:gd name="connsiteX705" fmla="*/ 73774 w 2417203"/>
                  <a:gd name="connsiteY705" fmla="*/ 239014 h 1690080"/>
                  <a:gd name="connsiteX706" fmla="*/ 70718 w 2417203"/>
                  <a:gd name="connsiteY706" fmla="*/ 236630 h 1690080"/>
                  <a:gd name="connsiteX707" fmla="*/ 60156 w 2417203"/>
                  <a:gd name="connsiteY707" fmla="*/ 228981 h 1690080"/>
                  <a:gd name="connsiteX708" fmla="*/ 59841 w 2417203"/>
                  <a:gd name="connsiteY708" fmla="*/ 228710 h 1690080"/>
                  <a:gd name="connsiteX709" fmla="*/ 21058 w 2417203"/>
                  <a:gd name="connsiteY709" fmla="*/ 211207 h 1690080"/>
                  <a:gd name="connsiteX710" fmla="*/ 22991 w 2417203"/>
                  <a:gd name="connsiteY710" fmla="*/ 214267 h 1690080"/>
                  <a:gd name="connsiteX711" fmla="*/ 15666 w 2417203"/>
                  <a:gd name="connsiteY711" fmla="*/ 212917 h 1690080"/>
                  <a:gd name="connsiteX712" fmla="*/ 13284 w 2417203"/>
                  <a:gd name="connsiteY712" fmla="*/ 212467 h 1690080"/>
                  <a:gd name="connsiteX713" fmla="*/ 11487 w 2417203"/>
                  <a:gd name="connsiteY713" fmla="*/ 212106 h 1690080"/>
                  <a:gd name="connsiteX714" fmla="*/ 8161 w 2417203"/>
                  <a:gd name="connsiteY714" fmla="*/ 211386 h 1690080"/>
                  <a:gd name="connsiteX715" fmla="*/ 7891 w 2417203"/>
                  <a:gd name="connsiteY715" fmla="*/ 211342 h 1690080"/>
                  <a:gd name="connsiteX716" fmla="*/ 4162 w 2417203"/>
                  <a:gd name="connsiteY716" fmla="*/ 210397 h 1690080"/>
                  <a:gd name="connsiteX717" fmla="*/ 4162 w 2417203"/>
                  <a:gd name="connsiteY717" fmla="*/ 211476 h 1690080"/>
                  <a:gd name="connsiteX718" fmla="*/ 17554 w 2417203"/>
                  <a:gd name="connsiteY718" fmla="*/ 850374 h 1690080"/>
                  <a:gd name="connsiteX719" fmla="*/ 19980 w 2417203"/>
                  <a:gd name="connsiteY719" fmla="*/ 846010 h 1690080"/>
                  <a:gd name="connsiteX720" fmla="*/ 32204 w 2417203"/>
                  <a:gd name="connsiteY720" fmla="*/ 852129 h 1690080"/>
                  <a:gd name="connsiteX721" fmla="*/ 58134 w 2417203"/>
                  <a:gd name="connsiteY721" fmla="*/ 843040 h 1690080"/>
                  <a:gd name="connsiteX722" fmla="*/ 104917 w 2417203"/>
                  <a:gd name="connsiteY722" fmla="*/ 924213 h 1690080"/>
                  <a:gd name="connsiteX723" fmla="*/ 123837 w 2417203"/>
                  <a:gd name="connsiteY723" fmla="*/ 909989 h 1690080"/>
                  <a:gd name="connsiteX724" fmla="*/ 127073 w 2417203"/>
                  <a:gd name="connsiteY724" fmla="*/ 910304 h 1690080"/>
                  <a:gd name="connsiteX725" fmla="*/ 132869 w 2417203"/>
                  <a:gd name="connsiteY725" fmla="*/ 893070 h 1690080"/>
                  <a:gd name="connsiteX726" fmla="*/ 135701 w 2417203"/>
                  <a:gd name="connsiteY726" fmla="*/ 893746 h 1690080"/>
                  <a:gd name="connsiteX727" fmla="*/ 160777 w 2417203"/>
                  <a:gd name="connsiteY727" fmla="*/ 874532 h 1690080"/>
                  <a:gd name="connsiteX728" fmla="*/ 268268 w 2417203"/>
                  <a:gd name="connsiteY728" fmla="*/ 1047136 h 1690080"/>
                  <a:gd name="connsiteX729" fmla="*/ 271325 w 2417203"/>
                  <a:gd name="connsiteY729" fmla="*/ 1046597 h 1690080"/>
                  <a:gd name="connsiteX730" fmla="*/ 310291 w 2417203"/>
                  <a:gd name="connsiteY730" fmla="*/ 1072425 h 1690080"/>
                  <a:gd name="connsiteX731" fmla="*/ 312992 w 2417203"/>
                  <a:gd name="connsiteY731" fmla="*/ 1071614 h 1690080"/>
                  <a:gd name="connsiteX732" fmla="*/ 315732 w 2417203"/>
                  <a:gd name="connsiteY732" fmla="*/ 1081647 h 1690080"/>
                  <a:gd name="connsiteX733" fmla="*/ 314109 w 2417203"/>
                  <a:gd name="connsiteY733" fmla="*/ 1098116 h 1690080"/>
                  <a:gd name="connsiteX734" fmla="*/ 314071 w 2417203"/>
                  <a:gd name="connsiteY734" fmla="*/ 1099241 h 1690080"/>
                  <a:gd name="connsiteX735" fmla="*/ 318066 w 2417203"/>
                  <a:gd name="connsiteY735" fmla="*/ 1120974 h 1690080"/>
                  <a:gd name="connsiteX736" fmla="*/ 316582 w 2417203"/>
                  <a:gd name="connsiteY736" fmla="*/ 1144281 h 1690080"/>
                  <a:gd name="connsiteX737" fmla="*/ 314476 w 2417203"/>
                  <a:gd name="connsiteY737" fmla="*/ 1154181 h 1690080"/>
                  <a:gd name="connsiteX738" fmla="*/ 303822 w 2417203"/>
                  <a:gd name="connsiteY738" fmla="*/ 1145497 h 1690080"/>
                  <a:gd name="connsiteX739" fmla="*/ 309213 w 2417203"/>
                  <a:gd name="connsiteY739" fmla="*/ 1156115 h 1690080"/>
                  <a:gd name="connsiteX740" fmla="*/ 327769 w 2417203"/>
                  <a:gd name="connsiteY740" fmla="*/ 1166148 h 1690080"/>
                  <a:gd name="connsiteX741" fmla="*/ 327769 w 2417203"/>
                  <a:gd name="connsiteY741" fmla="*/ 1166148 h 1690080"/>
                  <a:gd name="connsiteX742" fmla="*/ 322911 w 2417203"/>
                  <a:gd name="connsiteY742" fmla="*/ 1165969 h 1690080"/>
                  <a:gd name="connsiteX743" fmla="*/ 322734 w 2417203"/>
                  <a:gd name="connsiteY743" fmla="*/ 1175328 h 1690080"/>
                  <a:gd name="connsiteX744" fmla="*/ 336446 w 2417203"/>
                  <a:gd name="connsiteY744" fmla="*/ 1205205 h 1690080"/>
                  <a:gd name="connsiteX745" fmla="*/ 356043 w 2417203"/>
                  <a:gd name="connsiteY745" fmla="*/ 1174383 h 1690080"/>
                  <a:gd name="connsiteX746" fmla="*/ 354191 w 2417203"/>
                  <a:gd name="connsiteY746" fmla="*/ 1181087 h 1690080"/>
                  <a:gd name="connsiteX747" fmla="*/ 351045 w 2417203"/>
                  <a:gd name="connsiteY747" fmla="*/ 1189996 h 1690080"/>
                  <a:gd name="connsiteX748" fmla="*/ 364351 w 2417203"/>
                  <a:gd name="connsiteY748" fmla="*/ 1201426 h 1690080"/>
                  <a:gd name="connsiteX749" fmla="*/ 345388 w 2417203"/>
                  <a:gd name="connsiteY749" fmla="*/ 1197063 h 1690080"/>
                  <a:gd name="connsiteX750" fmla="*/ 346466 w 2417203"/>
                  <a:gd name="connsiteY750" fmla="*/ 1202282 h 1690080"/>
                  <a:gd name="connsiteX751" fmla="*/ 347278 w 2417203"/>
                  <a:gd name="connsiteY751" fmla="*/ 1204531 h 1690080"/>
                  <a:gd name="connsiteX752" fmla="*/ 347988 w 2417203"/>
                  <a:gd name="connsiteY752" fmla="*/ 1206421 h 1690080"/>
                  <a:gd name="connsiteX753" fmla="*/ 348533 w 2417203"/>
                  <a:gd name="connsiteY753" fmla="*/ 1207591 h 1690080"/>
                  <a:gd name="connsiteX754" fmla="*/ 348495 w 2417203"/>
                  <a:gd name="connsiteY754" fmla="*/ 1207591 h 1690080"/>
                  <a:gd name="connsiteX755" fmla="*/ 345350 w 2417203"/>
                  <a:gd name="connsiteY755" fmla="*/ 1207951 h 1690080"/>
                  <a:gd name="connsiteX756" fmla="*/ 345756 w 2417203"/>
                  <a:gd name="connsiteY756" fmla="*/ 1232564 h 1690080"/>
                  <a:gd name="connsiteX757" fmla="*/ 350880 w 2417203"/>
                  <a:gd name="connsiteY757" fmla="*/ 1213895 h 1690080"/>
                  <a:gd name="connsiteX758" fmla="*/ 358427 w 2417203"/>
                  <a:gd name="connsiteY758" fmla="*/ 1225055 h 1690080"/>
                  <a:gd name="connsiteX759" fmla="*/ 362917 w 2417203"/>
                  <a:gd name="connsiteY759" fmla="*/ 1232569 h 1690080"/>
                  <a:gd name="connsiteX760" fmla="*/ 363412 w 2417203"/>
                  <a:gd name="connsiteY760" fmla="*/ 1232838 h 1690080"/>
                  <a:gd name="connsiteX761" fmla="*/ 363780 w 2417203"/>
                  <a:gd name="connsiteY761" fmla="*/ 1233019 h 1690080"/>
                  <a:gd name="connsiteX762" fmla="*/ 367966 w 2417203"/>
                  <a:gd name="connsiteY762" fmla="*/ 1239139 h 1690080"/>
                  <a:gd name="connsiteX763" fmla="*/ 364592 w 2417203"/>
                  <a:gd name="connsiteY763" fmla="*/ 1250432 h 1690080"/>
                  <a:gd name="connsiteX764" fmla="*/ 364363 w 2417203"/>
                  <a:gd name="connsiteY764" fmla="*/ 1251152 h 1690080"/>
                  <a:gd name="connsiteX765" fmla="*/ 364097 w 2417203"/>
                  <a:gd name="connsiteY765" fmla="*/ 1255297 h 1690080"/>
                  <a:gd name="connsiteX766" fmla="*/ 364909 w 2417203"/>
                  <a:gd name="connsiteY766" fmla="*/ 1255018 h 1690080"/>
                  <a:gd name="connsiteX767" fmla="*/ 365619 w 2417203"/>
                  <a:gd name="connsiteY767" fmla="*/ 1254387 h 1690080"/>
                  <a:gd name="connsiteX768" fmla="*/ 366304 w 2417203"/>
                  <a:gd name="connsiteY768" fmla="*/ 1253576 h 1690080"/>
                  <a:gd name="connsiteX769" fmla="*/ 367281 w 2417203"/>
                  <a:gd name="connsiteY769" fmla="*/ 1252318 h 1690080"/>
                  <a:gd name="connsiteX770" fmla="*/ 370477 w 2417203"/>
                  <a:gd name="connsiteY770" fmla="*/ 1248087 h 1690080"/>
                  <a:gd name="connsiteX771" fmla="*/ 371200 w 2417203"/>
                  <a:gd name="connsiteY771" fmla="*/ 1247188 h 1690080"/>
                  <a:gd name="connsiteX772" fmla="*/ 372405 w 2417203"/>
                  <a:gd name="connsiteY772" fmla="*/ 1245748 h 1690080"/>
                  <a:gd name="connsiteX773" fmla="*/ 373166 w 2417203"/>
                  <a:gd name="connsiteY773" fmla="*/ 1246872 h 1690080"/>
                  <a:gd name="connsiteX774" fmla="*/ 371860 w 2417203"/>
                  <a:gd name="connsiteY774" fmla="*/ 1247634 h 1690080"/>
                  <a:gd name="connsiteX775" fmla="*/ 371593 w 2417203"/>
                  <a:gd name="connsiteY775" fmla="*/ 1247949 h 1690080"/>
                  <a:gd name="connsiteX776" fmla="*/ 371555 w 2417203"/>
                  <a:gd name="connsiteY776" fmla="*/ 1248039 h 1690080"/>
                  <a:gd name="connsiteX777" fmla="*/ 371238 w 2417203"/>
                  <a:gd name="connsiteY777" fmla="*/ 1248713 h 1690080"/>
                  <a:gd name="connsiteX778" fmla="*/ 371187 w 2417203"/>
                  <a:gd name="connsiteY778" fmla="*/ 1248938 h 1690080"/>
                  <a:gd name="connsiteX779" fmla="*/ 372228 w 2417203"/>
                  <a:gd name="connsiteY779" fmla="*/ 1253348 h 1690080"/>
                  <a:gd name="connsiteX780" fmla="*/ 375728 w 2417203"/>
                  <a:gd name="connsiteY780" fmla="*/ 1251504 h 1690080"/>
                  <a:gd name="connsiteX781" fmla="*/ 375817 w 2417203"/>
                  <a:gd name="connsiteY781" fmla="*/ 1255411 h 1690080"/>
                  <a:gd name="connsiteX782" fmla="*/ 376223 w 2417203"/>
                  <a:gd name="connsiteY782" fmla="*/ 1256542 h 1690080"/>
                  <a:gd name="connsiteX783" fmla="*/ 376807 w 2417203"/>
                  <a:gd name="connsiteY783" fmla="*/ 1257304 h 1690080"/>
                  <a:gd name="connsiteX784" fmla="*/ 378874 w 2417203"/>
                  <a:gd name="connsiteY784" fmla="*/ 1257850 h 1690080"/>
                  <a:gd name="connsiteX785" fmla="*/ 377390 w 2417203"/>
                  <a:gd name="connsiteY785" fmla="*/ 1286196 h 1690080"/>
                  <a:gd name="connsiteX786" fmla="*/ 377441 w 2417203"/>
                  <a:gd name="connsiteY786" fmla="*/ 1286374 h 1690080"/>
                  <a:gd name="connsiteX787" fmla="*/ 378024 w 2417203"/>
                  <a:gd name="connsiteY787" fmla="*/ 1288177 h 1690080"/>
                  <a:gd name="connsiteX788" fmla="*/ 378747 w 2417203"/>
                  <a:gd name="connsiteY788" fmla="*/ 1289574 h 1690080"/>
                  <a:gd name="connsiteX789" fmla="*/ 378836 w 2417203"/>
                  <a:gd name="connsiteY789" fmla="*/ 1289701 h 1690080"/>
                  <a:gd name="connsiteX790" fmla="*/ 380092 w 2417203"/>
                  <a:gd name="connsiteY790" fmla="*/ 1292902 h 1690080"/>
                  <a:gd name="connsiteX791" fmla="*/ 382426 w 2417203"/>
                  <a:gd name="connsiteY791" fmla="*/ 1299112 h 1690080"/>
                  <a:gd name="connsiteX792" fmla="*/ 382071 w 2417203"/>
                  <a:gd name="connsiteY792" fmla="*/ 1300281 h 1690080"/>
                  <a:gd name="connsiteX793" fmla="*/ 382971 w 2417203"/>
                  <a:gd name="connsiteY793" fmla="*/ 1300509 h 1690080"/>
                  <a:gd name="connsiteX794" fmla="*/ 383999 w 2417203"/>
                  <a:gd name="connsiteY794" fmla="*/ 1303163 h 1690080"/>
                  <a:gd name="connsiteX795" fmla="*/ 416495 w 2417203"/>
                  <a:gd name="connsiteY795" fmla="*/ 1319902 h 1690080"/>
                  <a:gd name="connsiteX796" fmla="*/ 417256 w 2417203"/>
                  <a:gd name="connsiteY796" fmla="*/ 1322467 h 1690080"/>
                  <a:gd name="connsiteX797" fmla="*/ 418867 w 2417203"/>
                  <a:gd name="connsiteY797" fmla="*/ 1323496 h 1690080"/>
                  <a:gd name="connsiteX798" fmla="*/ 433023 w 2417203"/>
                  <a:gd name="connsiteY798" fmla="*/ 1328716 h 1690080"/>
                  <a:gd name="connsiteX799" fmla="*/ 433568 w 2417203"/>
                  <a:gd name="connsiteY799" fmla="*/ 1329071 h 1690080"/>
                  <a:gd name="connsiteX800" fmla="*/ 428127 w 2417203"/>
                  <a:gd name="connsiteY800" fmla="*/ 1331281 h 1690080"/>
                  <a:gd name="connsiteX801" fmla="*/ 426516 w 2417203"/>
                  <a:gd name="connsiteY801" fmla="*/ 1331865 h 1690080"/>
                  <a:gd name="connsiteX802" fmla="*/ 424842 w 2417203"/>
                  <a:gd name="connsiteY802" fmla="*/ 1332589 h 1690080"/>
                  <a:gd name="connsiteX803" fmla="*/ 431501 w 2417203"/>
                  <a:gd name="connsiteY803" fmla="*/ 1332043 h 1690080"/>
                  <a:gd name="connsiteX804" fmla="*/ 436752 w 2417203"/>
                  <a:gd name="connsiteY804" fmla="*/ 1337492 h 1690080"/>
                  <a:gd name="connsiteX805" fmla="*/ 438642 w 2417203"/>
                  <a:gd name="connsiteY805" fmla="*/ 1340730 h 1690080"/>
                  <a:gd name="connsiteX806" fmla="*/ 438959 w 2417203"/>
                  <a:gd name="connsiteY806" fmla="*/ 1340590 h 1690080"/>
                  <a:gd name="connsiteX807" fmla="*/ 440671 w 2417203"/>
                  <a:gd name="connsiteY807" fmla="*/ 1336818 h 1690080"/>
                  <a:gd name="connsiteX808" fmla="*/ 441027 w 2417203"/>
                  <a:gd name="connsiteY808" fmla="*/ 1335739 h 1690080"/>
                  <a:gd name="connsiteX809" fmla="*/ 441965 w 2417203"/>
                  <a:gd name="connsiteY809" fmla="*/ 1333034 h 1690080"/>
                  <a:gd name="connsiteX810" fmla="*/ 443817 w 2417203"/>
                  <a:gd name="connsiteY810" fmla="*/ 1333580 h 1690080"/>
                  <a:gd name="connsiteX811" fmla="*/ 445479 w 2417203"/>
                  <a:gd name="connsiteY811" fmla="*/ 1339473 h 1690080"/>
                  <a:gd name="connsiteX812" fmla="*/ 446151 w 2417203"/>
                  <a:gd name="connsiteY812" fmla="*/ 1339651 h 1690080"/>
                  <a:gd name="connsiteX813" fmla="*/ 447635 w 2417203"/>
                  <a:gd name="connsiteY813" fmla="*/ 1339651 h 1690080"/>
                  <a:gd name="connsiteX814" fmla="*/ 448218 w 2417203"/>
                  <a:gd name="connsiteY814" fmla="*/ 1339562 h 1690080"/>
                  <a:gd name="connsiteX815" fmla="*/ 454066 w 2417203"/>
                  <a:gd name="connsiteY815" fmla="*/ 1336679 h 1690080"/>
                  <a:gd name="connsiteX816" fmla="*/ 459051 w 2417203"/>
                  <a:gd name="connsiteY816" fmla="*/ 1339473 h 1690080"/>
                  <a:gd name="connsiteX817" fmla="*/ 459089 w 2417203"/>
                  <a:gd name="connsiteY817" fmla="*/ 1339473 h 1690080"/>
                  <a:gd name="connsiteX818" fmla="*/ 458962 w 2417203"/>
                  <a:gd name="connsiteY818" fmla="*/ 1340235 h 1690080"/>
                  <a:gd name="connsiteX819" fmla="*/ 458784 w 2417203"/>
                  <a:gd name="connsiteY819" fmla="*/ 1341136 h 1690080"/>
                  <a:gd name="connsiteX820" fmla="*/ 458683 w 2417203"/>
                  <a:gd name="connsiteY820" fmla="*/ 1343257 h 1690080"/>
                  <a:gd name="connsiteX821" fmla="*/ 458873 w 2417203"/>
                  <a:gd name="connsiteY821" fmla="*/ 1344019 h 1690080"/>
                  <a:gd name="connsiteX822" fmla="*/ 459901 w 2417203"/>
                  <a:gd name="connsiteY822" fmla="*/ 1344908 h 1690080"/>
                  <a:gd name="connsiteX823" fmla="*/ 461334 w 2417203"/>
                  <a:gd name="connsiteY823" fmla="*/ 1345010 h 1690080"/>
                  <a:gd name="connsiteX824" fmla="*/ 461917 w 2417203"/>
                  <a:gd name="connsiteY824" fmla="*/ 1344959 h 1690080"/>
                  <a:gd name="connsiteX825" fmla="*/ 463275 w 2417203"/>
                  <a:gd name="connsiteY825" fmla="*/ 1344604 h 1690080"/>
                  <a:gd name="connsiteX826" fmla="*/ 464848 w 2417203"/>
                  <a:gd name="connsiteY826" fmla="*/ 1352566 h 1690080"/>
                  <a:gd name="connsiteX827" fmla="*/ 467765 w 2417203"/>
                  <a:gd name="connsiteY827" fmla="*/ 1362333 h 1690080"/>
                  <a:gd name="connsiteX828" fmla="*/ 467854 w 2417203"/>
                  <a:gd name="connsiteY828" fmla="*/ 1362422 h 1690080"/>
                  <a:gd name="connsiteX829" fmla="*/ 468488 w 2417203"/>
                  <a:gd name="connsiteY829" fmla="*/ 1363768 h 1690080"/>
                  <a:gd name="connsiteX830" fmla="*/ 468627 w 2417203"/>
                  <a:gd name="connsiteY830" fmla="*/ 1363996 h 1690080"/>
                  <a:gd name="connsiteX831" fmla="*/ 470555 w 2417203"/>
                  <a:gd name="connsiteY831" fmla="*/ 1366651 h 1690080"/>
                  <a:gd name="connsiteX832" fmla="*/ 471811 w 2417203"/>
                  <a:gd name="connsiteY832" fmla="*/ 1367857 h 1690080"/>
                  <a:gd name="connsiteX833" fmla="*/ 473206 w 2417203"/>
                  <a:gd name="connsiteY833" fmla="*/ 1368810 h 1690080"/>
                  <a:gd name="connsiteX834" fmla="*/ 474196 w 2417203"/>
                  <a:gd name="connsiteY834" fmla="*/ 1369254 h 1690080"/>
                  <a:gd name="connsiteX835" fmla="*/ 475540 w 2417203"/>
                  <a:gd name="connsiteY835" fmla="*/ 1369661 h 1690080"/>
                  <a:gd name="connsiteX836" fmla="*/ 480043 w 2417203"/>
                  <a:gd name="connsiteY836" fmla="*/ 1369216 h 1690080"/>
                  <a:gd name="connsiteX837" fmla="*/ 481121 w 2417203"/>
                  <a:gd name="connsiteY837" fmla="*/ 1368721 h 1690080"/>
                  <a:gd name="connsiteX838" fmla="*/ 482732 w 2417203"/>
                  <a:gd name="connsiteY838" fmla="*/ 1367679 h 1690080"/>
                  <a:gd name="connsiteX839" fmla="*/ 484356 w 2417203"/>
                  <a:gd name="connsiteY839" fmla="*/ 1366282 h 1690080"/>
                  <a:gd name="connsiteX840" fmla="*/ 485472 w 2417203"/>
                  <a:gd name="connsiteY840" fmla="*/ 1365114 h 1690080"/>
                  <a:gd name="connsiteX841" fmla="*/ 486055 w 2417203"/>
                  <a:gd name="connsiteY841" fmla="*/ 1365838 h 1690080"/>
                  <a:gd name="connsiteX842" fmla="*/ 486690 w 2417203"/>
                  <a:gd name="connsiteY842" fmla="*/ 1366422 h 1690080"/>
                  <a:gd name="connsiteX843" fmla="*/ 487235 w 2417203"/>
                  <a:gd name="connsiteY843" fmla="*/ 1366651 h 1690080"/>
                  <a:gd name="connsiteX844" fmla="*/ 487235 w 2417203"/>
                  <a:gd name="connsiteY844" fmla="*/ 1366689 h 1690080"/>
                  <a:gd name="connsiteX845" fmla="*/ 494338 w 2417203"/>
                  <a:gd name="connsiteY845" fmla="*/ 1377763 h 1690080"/>
                  <a:gd name="connsiteX846" fmla="*/ 493438 w 2417203"/>
                  <a:gd name="connsiteY846" fmla="*/ 1378563 h 1690080"/>
                  <a:gd name="connsiteX847" fmla="*/ 492943 w 2417203"/>
                  <a:gd name="connsiteY847" fmla="*/ 1378881 h 1690080"/>
                  <a:gd name="connsiteX848" fmla="*/ 492499 w 2417203"/>
                  <a:gd name="connsiteY848" fmla="*/ 1379021 h 1690080"/>
                  <a:gd name="connsiteX849" fmla="*/ 492131 w 2417203"/>
                  <a:gd name="connsiteY849" fmla="*/ 1378932 h 1690080"/>
                  <a:gd name="connsiteX850" fmla="*/ 491725 w 2417203"/>
                  <a:gd name="connsiteY850" fmla="*/ 1378563 h 1690080"/>
                  <a:gd name="connsiteX851" fmla="*/ 488174 w 2417203"/>
                  <a:gd name="connsiteY851" fmla="*/ 1371286 h 1690080"/>
                  <a:gd name="connsiteX852" fmla="*/ 484800 w 2417203"/>
                  <a:gd name="connsiteY852" fmla="*/ 1376912 h 1690080"/>
                  <a:gd name="connsiteX853" fmla="*/ 485218 w 2417203"/>
                  <a:gd name="connsiteY853" fmla="*/ 1377979 h 1690080"/>
                  <a:gd name="connsiteX854" fmla="*/ 485929 w 2417203"/>
                  <a:gd name="connsiteY854" fmla="*/ 1379198 h 1690080"/>
                  <a:gd name="connsiteX855" fmla="*/ 486778 w 2417203"/>
                  <a:gd name="connsiteY855" fmla="*/ 1380240 h 1690080"/>
                  <a:gd name="connsiteX856" fmla="*/ 487679 w 2417203"/>
                  <a:gd name="connsiteY856" fmla="*/ 1381091 h 1690080"/>
                  <a:gd name="connsiteX857" fmla="*/ 490558 w 2417203"/>
                  <a:gd name="connsiteY857" fmla="*/ 1383021 h 1690080"/>
                  <a:gd name="connsiteX858" fmla="*/ 492765 w 2417203"/>
                  <a:gd name="connsiteY858" fmla="*/ 1383885 h 1690080"/>
                  <a:gd name="connsiteX859" fmla="*/ 504219 w 2417203"/>
                  <a:gd name="connsiteY859" fmla="*/ 1381586 h 1690080"/>
                  <a:gd name="connsiteX860" fmla="*/ 504270 w 2417203"/>
                  <a:gd name="connsiteY860" fmla="*/ 1381624 h 1690080"/>
                  <a:gd name="connsiteX861" fmla="*/ 507010 w 2417203"/>
                  <a:gd name="connsiteY861" fmla="*/ 1386577 h 1690080"/>
                  <a:gd name="connsiteX862" fmla="*/ 506515 w 2417203"/>
                  <a:gd name="connsiteY862" fmla="*/ 1387568 h 1690080"/>
                  <a:gd name="connsiteX863" fmla="*/ 507010 w 2417203"/>
                  <a:gd name="connsiteY863" fmla="*/ 1388203 h 1690080"/>
                  <a:gd name="connsiteX864" fmla="*/ 508443 w 2417203"/>
                  <a:gd name="connsiteY864" fmla="*/ 1389333 h 1690080"/>
                  <a:gd name="connsiteX865" fmla="*/ 508494 w 2417203"/>
                  <a:gd name="connsiteY865" fmla="*/ 1389422 h 1690080"/>
                  <a:gd name="connsiteX866" fmla="*/ 509610 w 2417203"/>
                  <a:gd name="connsiteY866" fmla="*/ 1391441 h 1690080"/>
                  <a:gd name="connsiteX867" fmla="*/ 509661 w 2417203"/>
                  <a:gd name="connsiteY867" fmla="*/ 1391492 h 1690080"/>
                  <a:gd name="connsiteX868" fmla="*/ 509026 w 2417203"/>
                  <a:gd name="connsiteY868" fmla="*/ 1394464 h 1690080"/>
                  <a:gd name="connsiteX869" fmla="*/ 509166 w 2417203"/>
                  <a:gd name="connsiteY869" fmla="*/ 1397207 h 1690080"/>
                  <a:gd name="connsiteX870" fmla="*/ 510777 w 2417203"/>
                  <a:gd name="connsiteY870" fmla="*/ 1400992 h 1690080"/>
                  <a:gd name="connsiteX871" fmla="*/ 520480 w 2417203"/>
                  <a:gd name="connsiteY871" fmla="*/ 1403557 h 1690080"/>
                  <a:gd name="connsiteX872" fmla="*/ 673908 w 2417203"/>
                  <a:gd name="connsiteY872" fmla="*/ 1400534 h 1690080"/>
                  <a:gd name="connsiteX873" fmla="*/ 829987 w 2417203"/>
                  <a:gd name="connsiteY873" fmla="*/ 1404408 h 1690080"/>
                  <a:gd name="connsiteX874" fmla="*/ 986738 w 2417203"/>
                  <a:gd name="connsiteY874" fmla="*/ 1408904 h 1690080"/>
                  <a:gd name="connsiteX875" fmla="*/ 1137921 w 2417203"/>
                  <a:gd name="connsiteY875" fmla="*/ 1407291 h 1690080"/>
                  <a:gd name="connsiteX876" fmla="*/ 1277270 w 2417203"/>
                  <a:gd name="connsiteY876" fmla="*/ 1392889 h 1690080"/>
                  <a:gd name="connsiteX877" fmla="*/ 1287341 w 2417203"/>
                  <a:gd name="connsiteY877" fmla="*/ 1391263 h 1690080"/>
                  <a:gd name="connsiteX878" fmla="*/ 1300951 w 2417203"/>
                  <a:gd name="connsiteY878" fmla="*/ 1387530 h 1690080"/>
                  <a:gd name="connsiteX879" fmla="*/ 1315563 w 2417203"/>
                  <a:gd name="connsiteY879" fmla="*/ 1396127 h 1690080"/>
                  <a:gd name="connsiteX880" fmla="*/ 1318392 w 2417203"/>
                  <a:gd name="connsiteY880" fmla="*/ 1412777 h 1690080"/>
                  <a:gd name="connsiteX881" fmla="*/ 1332458 w 2417203"/>
                  <a:gd name="connsiteY881" fmla="*/ 1417946 h 1690080"/>
                  <a:gd name="connsiteX882" fmla="*/ 1344914 w 2417203"/>
                  <a:gd name="connsiteY882" fmla="*/ 1425414 h 1690080"/>
                  <a:gd name="connsiteX883" fmla="*/ 1376409 w 2417203"/>
                  <a:gd name="connsiteY883" fmla="*/ 1426684 h 1690080"/>
                  <a:gd name="connsiteX884" fmla="*/ 1383779 w 2417203"/>
                  <a:gd name="connsiteY884" fmla="*/ 1436933 h 1690080"/>
                  <a:gd name="connsiteX885" fmla="*/ 1392455 w 2417203"/>
                  <a:gd name="connsiteY885" fmla="*/ 1433021 h 1690080"/>
                  <a:gd name="connsiteX886" fmla="*/ 1401169 w 2417203"/>
                  <a:gd name="connsiteY886" fmla="*/ 1440400 h 1690080"/>
                  <a:gd name="connsiteX887" fmla="*/ 1424482 w 2417203"/>
                  <a:gd name="connsiteY887" fmla="*/ 1436272 h 1690080"/>
                  <a:gd name="connsiteX888" fmla="*/ 1424672 w 2417203"/>
                  <a:gd name="connsiteY888" fmla="*/ 1435993 h 1690080"/>
                  <a:gd name="connsiteX889" fmla="*/ 1440008 w 2417203"/>
                  <a:gd name="connsiteY889" fmla="*/ 1443232 h 1690080"/>
                  <a:gd name="connsiteX890" fmla="*/ 1457930 w 2417203"/>
                  <a:gd name="connsiteY890" fmla="*/ 1445708 h 1690080"/>
                  <a:gd name="connsiteX891" fmla="*/ 1461393 w 2417203"/>
                  <a:gd name="connsiteY891" fmla="*/ 1446115 h 1690080"/>
                  <a:gd name="connsiteX892" fmla="*/ 1472403 w 2417203"/>
                  <a:gd name="connsiteY892" fmla="*/ 1430278 h 1690080"/>
                  <a:gd name="connsiteX893" fmla="*/ 1482652 w 2417203"/>
                  <a:gd name="connsiteY893" fmla="*/ 1430189 h 1690080"/>
                  <a:gd name="connsiteX894" fmla="*/ 1486787 w 2417203"/>
                  <a:gd name="connsiteY894" fmla="*/ 1430049 h 1690080"/>
                  <a:gd name="connsiteX895" fmla="*/ 1491683 w 2417203"/>
                  <a:gd name="connsiteY895" fmla="*/ 1428017 h 1690080"/>
                  <a:gd name="connsiteX896" fmla="*/ 1499230 w 2417203"/>
                  <a:gd name="connsiteY896" fmla="*/ 1420232 h 1690080"/>
                  <a:gd name="connsiteX897" fmla="*/ 1513348 w 2417203"/>
                  <a:gd name="connsiteY897" fmla="*/ 1406465 h 1690080"/>
                  <a:gd name="connsiteX898" fmla="*/ 1567763 w 2417203"/>
                  <a:gd name="connsiteY898" fmla="*/ 1446521 h 1690080"/>
                  <a:gd name="connsiteX899" fmla="*/ 1595668 w 2417203"/>
                  <a:gd name="connsiteY899" fmla="*/ 1454751 h 1690080"/>
                  <a:gd name="connsiteX900" fmla="*/ 1598585 w 2417203"/>
                  <a:gd name="connsiteY900" fmla="*/ 1487999 h 1690080"/>
                  <a:gd name="connsiteX901" fmla="*/ 1604877 w 2417203"/>
                  <a:gd name="connsiteY901" fmla="*/ 1498985 h 1690080"/>
                  <a:gd name="connsiteX902" fmla="*/ 1606906 w 2417203"/>
                  <a:gd name="connsiteY902" fmla="*/ 1498578 h 1690080"/>
                  <a:gd name="connsiteX903" fmla="*/ 1606944 w 2417203"/>
                  <a:gd name="connsiteY903" fmla="*/ 1510008 h 1690080"/>
                  <a:gd name="connsiteX904" fmla="*/ 1606044 w 2417203"/>
                  <a:gd name="connsiteY904" fmla="*/ 1510364 h 1690080"/>
                  <a:gd name="connsiteX905" fmla="*/ 1606411 w 2417203"/>
                  <a:gd name="connsiteY905" fmla="*/ 1510910 h 1690080"/>
                  <a:gd name="connsiteX906" fmla="*/ 1610952 w 2417203"/>
                  <a:gd name="connsiteY906" fmla="*/ 1507989 h 1690080"/>
                  <a:gd name="connsiteX907" fmla="*/ 1612297 w 2417203"/>
                  <a:gd name="connsiteY907" fmla="*/ 1508840 h 1690080"/>
                  <a:gd name="connsiteX908" fmla="*/ 1615354 w 2417203"/>
                  <a:gd name="connsiteY908" fmla="*/ 1506998 h 1690080"/>
                  <a:gd name="connsiteX909" fmla="*/ 1618182 w 2417203"/>
                  <a:gd name="connsiteY909" fmla="*/ 1518835 h 1690080"/>
                  <a:gd name="connsiteX910" fmla="*/ 1690355 w 2417203"/>
                  <a:gd name="connsiteY910" fmla="*/ 1526163 h 1690080"/>
                  <a:gd name="connsiteX911" fmla="*/ 1686804 w 2417203"/>
                  <a:gd name="connsiteY911" fmla="*/ 1531382 h 1690080"/>
                  <a:gd name="connsiteX912" fmla="*/ 1715115 w 2417203"/>
                  <a:gd name="connsiteY912" fmla="*/ 1535383 h 1690080"/>
                  <a:gd name="connsiteX913" fmla="*/ 1722535 w 2417203"/>
                  <a:gd name="connsiteY913" fmla="*/ 1544527 h 1690080"/>
                  <a:gd name="connsiteX914" fmla="*/ 1732556 w 2417203"/>
                  <a:gd name="connsiteY914" fmla="*/ 1554065 h 1690080"/>
                  <a:gd name="connsiteX915" fmla="*/ 1739164 w 2417203"/>
                  <a:gd name="connsiteY915" fmla="*/ 1573140 h 1690080"/>
                  <a:gd name="connsiteX916" fmla="*/ 1743692 w 2417203"/>
                  <a:gd name="connsiteY916" fmla="*/ 1579033 h 1690080"/>
                  <a:gd name="connsiteX917" fmla="*/ 1717994 w 2417203"/>
                  <a:gd name="connsiteY917" fmla="*/ 1585243 h 1690080"/>
                  <a:gd name="connsiteX918" fmla="*/ 1708912 w 2417203"/>
                  <a:gd name="connsiteY918" fmla="*/ 1578131 h 1690080"/>
                  <a:gd name="connsiteX919" fmla="*/ 1702393 w 2417203"/>
                  <a:gd name="connsiteY919" fmla="*/ 1579617 h 1690080"/>
                  <a:gd name="connsiteX920" fmla="*/ 1697446 w 2417203"/>
                  <a:gd name="connsiteY920" fmla="*/ 1559640 h 1690080"/>
                  <a:gd name="connsiteX921" fmla="*/ 1687387 w 2417203"/>
                  <a:gd name="connsiteY921" fmla="*/ 1561304 h 1690080"/>
                  <a:gd name="connsiteX922" fmla="*/ 1674399 w 2417203"/>
                  <a:gd name="connsiteY922" fmla="*/ 1644323 h 1690080"/>
                  <a:gd name="connsiteX923" fmla="*/ 1664683 w 2417203"/>
                  <a:gd name="connsiteY923" fmla="*/ 1643155 h 1690080"/>
                  <a:gd name="connsiteX924" fmla="*/ 1649182 w 2417203"/>
                  <a:gd name="connsiteY924" fmla="*/ 1685624 h 1690080"/>
                  <a:gd name="connsiteX925" fmla="*/ 1663300 w 2417203"/>
                  <a:gd name="connsiteY925" fmla="*/ 1690082 h 1690080"/>
                  <a:gd name="connsiteX926" fmla="*/ 1680690 w 2417203"/>
                  <a:gd name="connsiteY926" fmla="*/ 1675959 h 1690080"/>
                  <a:gd name="connsiteX927" fmla="*/ 1724730 w 2417203"/>
                  <a:gd name="connsiteY927" fmla="*/ 1663754 h 1690080"/>
                  <a:gd name="connsiteX928" fmla="*/ 1753307 w 2417203"/>
                  <a:gd name="connsiteY928" fmla="*/ 1654128 h 1690080"/>
                  <a:gd name="connsiteX929" fmla="*/ 1765357 w 2417203"/>
                  <a:gd name="connsiteY929" fmla="*/ 1637618 h 1690080"/>
                  <a:gd name="connsiteX930" fmla="*/ 1764101 w 2417203"/>
                  <a:gd name="connsiteY930" fmla="*/ 1614720 h 1690080"/>
                  <a:gd name="connsiteX931" fmla="*/ 1811197 w 2417203"/>
                  <a:gd name="connsiteY931" fmla="*/ 1611164 h 1690080"/>
                  <a:gd name="connsiteX932" fmla="*/ 1823742 w 2417203"/>
                  <a:gd name="connsiteY932" fmla="*/ 1611519 h 1690080"/>
                  <a:gd name="connsiteX933" fmla="*/ 1823691 w 2417203"/>
                  <a:gd name="connsiteY933" fmla="*/ 1604865 h 1690080"/>
                  <a:gd name="connsiteX934" fmla="*/ 1814204 w 2417203"/>
                  <a:gd name="connsiteY934" fmla="*/ 1603607 h 1690080"/>
                  <a:gd name="connsiteX935" fmla="*/ 1809942 w 2417203"/>
                  <a:gd name="connsiteY935" fmla="*/ 1602299 h 1690080"/>
                  <a:gd name="connsiteX936" fmla="*/ 1822651 w 2417203"/>
                  <a:gd name="connsiteY936" fmla="*/ 1602248 h 1690080"/>
                  <a:gd name="connsiteX937" fmla="*/ 1820495 w 2417203"/>
                  <a:gd name="connsiteY937" fmla="*/ 1606211 h 1690080"/>
                  <a:gd name="connsiteX938" fmla="*/ 1848730 w 2417203"/>
                  <a:gd name="connsiteY938" fmla="*/ 1592889 h 1690080"/>
                  <a:gd name="connsiteX939" fmla="*/ 1879908 w 2417203"/>
                  <a:gd name="connsiteY939" fmla="*/ 1569355 h 1690080"/>
                  <a:gd name="connsiteX940" fmla="*/ 1883510 w 2417203"/>
                  <a:gd name="connsiteY940" fmla="*/ 1569813 h 1690080"/>
                  <a:gd name="connsiteX941" fmla="*/ 1884322 w 2417203"/>
                  <a:gd name="connsiteY941" fmla="*/ 1569762 h 1690080"/>
                  <a:gd name="connsiteX942" fmla="*/ 1884817 w 2417203"/>
                  <a:gd name="connsiteY942" fmla="*/ 1569851 h 1690080"/>
                  <a:gd name="connsiteX943" fmla="*/ 1933207 w 2417203"/>
                  <a:gd name="connsiteY943" fmla="*/ 1570219 h 1690080"/>
                  <a:gd name="connsiteX944" fmla="*/ 1981381 w 2417203"/>
                  <a:gd name="connsiteY944" fmla="*/ 1558027 h 1690080"/>
                  <a:gd name="connsiteX945" fmla="*/ 1984223 w 2417203"/>
                  <a:gd name="connsiteY945" fmla="*/ 1559551 h 1690080"/>
                  <a:gd name="connsiteX946" fmla="*/ 1987279 w 2417203"/>
                  <a:gd name="connsiteY946" fmla="*/ 1557443 h 1690080"/>
                  <a:gd name="connsiteX947" fmla="*/ 1990691 w 2417203"/>
                  <a:gd name="connsiteY947" fmla="*/ 1556579 h 1690080"/>
                  <a:gd name="connsiteX948" fmla="*/ 1992531 w 2417203"/>
                  <a:gd name="connsiteY948" fmla="*/ 1560275 h 1690080"/>
                  <a:gd name="connsiteX949" fmla="*/ 1993964 w 2417203"/>
                  <a:gd name="connsiteY949" fmla="*/ 1556897 h 1690080"/>
                  <a:gd name="connsiteX950" fmla="*/ 1995004 w 2417203"/>
                  <a:gd name="connsiteY950" fmla="*/ 1553252 h 1690080"/>
                  <a:gd name="connsiteX951" fmla="*/ 1997883 w 2417203"/>
                  <a:gd name="connsiteY951" fmla="*/ 1554014 h 1690080"/>
                  <a:gd name="connsiteX952" fmla="*/ 2005697 w 2417203"/>
                  <a:gd name="connsiteY952" fmla="*/ 1535472 h 1690080"/>
                  <a:gd name="connsiteX953" fmla="*/ 2014322 w 2417203"/>
                  <a:gd name="connsiteY953" fmla="*/ 1512891 h 1690080"/>
                  <a:gd name="connsiteX954" fmla="*/ 2040071 w 2417203"/>
                  <a:gd name="connsiteY954" fmla="*/ 1469102 h 1690080"/>
                  <a:gd name="connsiteX955" fmla="*/ 2044612 w 2417203"/>
                  <a:gd name="connsiteY955" fmla="*/ 1472924 h 1690080"/>
                  <a:gd name="connsiteX956" fmla="*/ 2048164 w 2417203"/>
                  <a:gd name="connsiteY956" fmla="*/ 1479770 h 1690080"/>
                  <a:gd name="connsiteX957" fmla="*/ 2054277 w 2417203"/>
                  <a:gd name="connsiteY957" fmla="*/ 1478462 h 1690080"/>
                  <a:gd name="connsiteX958" fmla="*/ 2063308 w 2417203"/>
                  <a:gd name="connsiteY958" fmla="*/ 1474550 h 1690080"/>
                  <a:gd name="connsiteX959" fmla="*/ 2066860 w 2417203"/>
                  <a:gd name="connsiteY959" fmla="*/ 1473610 h 1690080"/>
                  <a:gd name="connsiteX960" fmla="*/ 2078910 w 2417203"/>
                  <a:gd name="connsiteY960" fmla="*/ 1486209 h 1690080"/>
                  <a:gd name="connsiteX961" fmla="*/ 2081244 w 2417203"/>
                  <a:gd name="connsiteY961" fmla="*/ 1505055 h 1690080"/>
                  <a:gd name="connsiteX962" fmla="*/ 2081878 w 2417203"/>
                  <a:gd name="connsiteY962" fmla="*/ 1542444 h 1690080"/>
                  <a:gd name="connsiteX963" fmla="*/ 2082461 w 2417203"/>
                  <a:gd name="connsiteY963" fmla="*/ 1541860 h 1690080"/>
                  <a:gd name="connsiteX964" fmla="*/ 2088715 w 2417203"/>
                  <a:gd name="connsiteY964" fmla="*/ 1545200 h 1690080"/>
                  <a:gd name="connsiteX965" fmla="*/ 2089615 w 2417203"/>
                  <a:gd name="connsiteY965" fmla="*/ 1545098 h 1690080"/>
                  <a:gd name="connsiteX966" fmla="*/ 2094017 w 2417203"/>
                  <a:gd name="connsiteY966" fmla="*/ 1563602 h 1690080"/>
                  <a:gd name="connsiteX967" fmla="*/ 2095856 w 2417203"/>
                  <a:gd name="connsiteY967" fmla="*/ 1561532 h 1690080"/>
                  <a:gd name="connsiteX968" fmla="*/ 2097924 w 2417203"/>
                  <a:gd name="connsiteY968" fmla="*/ 1562929 h 1690080"/>
                  <a:gd name="connsiteX969" fmla="*/ 2098862 w 2417203"/>
                  <a:gd name="connsiteY969" fmla="*/ 1561532 h 1690080"/>
                  <a:gd name="connsiteX970" fmla="*/ 2099814 w 2417203"/>
                  <a:gd name="connsiteY970" fmla="*/ 1564225 h 1690080"/>
                  <a:gd name="connsiteX971" fmla="*/ 2100930 w 2417203"/>
                  <a:gd name="connsiteY971" fmla="*/ 1564987 h 1690080"/>
                  <a:gd name="connsiteX972" fmla="*/ 2103492 w 2417203"/>
                  <a:gd name="connsiteY972" fmla="*/ 1563374 h 1690080"/>
                  <a:gd name="connsiteX973" fmla="*/ 2108756 w 2417203"/>
                  <a:gd name="connsiteY973" fmla="*/ 1565444 h 1690080"/>
                  <a:gd name="connsiteX974" fmla="*/ 2117521 w 2417203"/>
                  <a:gd name="connsiteY974" fmla="*/ 1563501 h 1690080"/>
                  <a:gd name="connsiteX975" fmla="*/ 2122645 w 2417203"/>
                  <a:gd name="connsiteY975" fmla="*/ 1561520 h 1690080"/>
                  <a:gd name="connsiteX976" fmla="*/ 2128746 w 2417203"/>
                  <a:gd name="connsiteY976" fmla="*/ 1555538 h 1690080"/>
                  <a:gd name="connsiteX977" fmla="*/ 2127579 w 2417203"/>
                  <a:gd name="connsiteY977" fmla="*/ 1557201 h 1690080"/>
                  <a:gd name="connsiteX978" fmla="*/ 2167496 w 2417203"/>
                  <a:gd name="connsiteY978" fmla="*/ 1542622 h 1690080"/>
                  <a:gd name="connsiteX979" fmla="*/ 2170452 w 2417203"/>
                  <a:gd name="connsiteY979" fmla="*/ 1533541 h 1690080"/>
                  <a:gd name="connsiteX980" fmla="*/ 2180523 w 2417203"/>
                  <a:gd name="connsiteY980" fmla="*/ 1538533 h 1690080"/>
                  <a:gd name="connsiteX981" fmla="*/ 2166418 w 2417203"/>
                  <a:gd name="connsiteY981" fmla="*/ 1556706 h 1690080"/>
                  <a:gd name="connsiteX982" fmla="*/ 2177149 w 2417203"/>
                  <a:gd name="connsiteY982" fmla="*/ 1555004 h 1690080"/>
                  <a:gd name="connsiteX983" fmla="*/ 2203215 w 2417203"/>
                  <a:gd name="connsiteY983" fmla="*/ 1558014 h 1690080"/>
                  <a:gd name="connsiteX984" fmla="*/ 2184924 w 2417203"/>
                  <a:gd name="connsiteY984" fmla="*/ 1567920 h 1690080"/>
                  <a:gd name="connsiteX985" fmla="*/ 2179495 w 2417203"/>
                  <a:gd name="connsiteY985" fmla="*/ 1563780 h 1690080"/>
                  <a:gd name="connsiteX986" fmla="*/ 2177733 w 2417203"/>
                  <a:gd name="connsiteY986" fmla="*/ 1561888 h 1690080"/>
                  <a:gd name="connsiteX987" fmla="*/ 2144703 w 2417203"/>
                  <a:gd name="connsiteY987" fmla="*/ 1579833 h 1690080"/>
                  <a:gd name="connsiteX988" fmla="*/ 2132031 w 2417203"/>
                  <a:gd name="connsiteY988" fmla="*/ 1620968 h 1690080"/>
                  <a:gd name="connsiteX989" fmla="*/ 2139401 w 2417203"/>
                  <a:gd name="connsiteY989" fmla="*/ 1628664 h 1690080"/>
                  <a:gd name="connsiteX990" fmla="*/ 2146326 w 2417203"/>
                  <a:gd name="connsiteY990" fmla="*/ 1630138 h 1690080"/>
                  <a:gd name="connsiteX991" fmla="*/ 2148432 w 2417203"/>
                  <a:gd name="connsiteY991" fmla="*/ 1628842 h 1690080"/>
                  <a:gd name="connsiteX992" fmla="*/ 2150144 w 2417203"/>
                  <a:gd name="connsiteY992" fmla="*/ 1627267 h 1690080"/>
                  <a:gd name="connsiteX993" fmla="*/ 2150005 w 2417203"/>
                  <a:gd name="connsiteY993" fmla="*/ 1619571 h 1690080"/>
                  <a:gd name="connsiteX994" fmla="*/ 2150550 w 2417203"/>
                  <a:gd name="connsiteY994" fmla="*/ 1621324 h 1690080"/>
                  <a:gd name="connsiteX995" fmla="*/ 2153062 w 2417203"/>
                  <a:gd name="connsiteY995" fmla="*/ 1617057 h 1690080"/>
                  <a:gd name="connsiteX996" fmla="*/ 2157336 w 2417203"/>
                  <a:gd name="connsiteY996" fmla="*/ 1618936 h 1690080"/>
                  <a:gd name="connsiteX997" fmla="*/ 2158681 w 2417203"/>
                  <a:gd name="connsiteY997" fmla="*/ 1616015 h 1690080"/>
                  <a:gd name="connsiteX998" fmla="*/ 2160748 w 2417203"/>
                  <a:gd name="connsiteY998" fmla="*/ 1614402 h 1690080"/>
                  <a:gd name="connsiteX999" fmla="*/ 2164160 w 2417203"/>
                  <a:gd name="connsiteY999" fmla="*/ 1612243 h 1690080"/>
                  <a:gd name="connsiteX1000" fmla="*/ 2172304 w 2417203"/>
                  <a:gd name="connsiteY1000" fmla="*/ 1603607 h 1690080"/>
                  <a:gd name="connsiteX1001" fmla="*/ 2180028 w 2417203"/>
                  <a:gd name="connsiteY1001" fmla="*/ 1599239 h 1690080"/>
                  <a:gd name="connsiteX1002" fmla="*/ 2181690 w 2417203"/>
                  <a:gd name="connsiteY1002" fmla="*/ 1595238 h 1690080"/>
                  <a:gd name="connsiteX1003" fmla="*/ 2181741 w 2417203"/>
                  <a:gd name="connsiteY1003" fmla="*/ 1588215 h 1690080"/>
                  <a:gd name="connsiteX1004" fmla="*/ 2184797 w 2417203"/>
                  <a:gd name="connsiteY1004" fmla="*/ 1588215 h 1690080"/>
                  <a:gd name="connsiteX1005" fmla="*/ 2191355 w 2417203"/>
                  <a:gd name="connsiteY1005" fmla="*/ 1581865 h 1690080"/>
                  <a:gd name="connsiteX1006" fmla="*/ 2198268 w 2417203"/>
                  <a:gd name="connsiteY1006" fmla="*/ 1581052 h 1690080"/>
                  <a:gd name="connsiteX1007" fmla="*/ 2212563 w 2417203"/>
                  <a:gd name="connsiteY1007" fmla="*/ 1582182 h 1690080"/>
                  <a:gd name="connsiteX1008" fmla="*/ 2215214 w 2417203"/>
                  <a:gd name="connsiteY1008" fmla="*/ 1579071 h 1690080"/>
                  <a:gd name="connsiteX1009" fmla="*/ 2220389 w 2417203"/>
                  <a:gd name="connsiteY1009" fmla="*/ 1580201 h 1690080"/>
                  <a:gd name="connsiteX1010" fmla="*/ 2225425 w 2417203"/>
                  <a:gd name="connsiteY1010" fmla="*/ 1577687 h 1690080"/>
                  <a:gd name="connsiteX1011" fmla="*/ 2231399 w 2417203"/>
                  <a:gd name="connsiteY1011" fmla="*/ 1573724 h 1690080"/>
                  <a:gd name="connsiteX1012" fmla="*/ 2233556 w 2417203"/>
                  <a:gd name="connsiteY1012" fmla="*/ 1574486 h 1690080"/>
                  <a:gd name="connsiteX1013" fmla="*/ 2247800 w 2417203"/>
                  <a:gd name="connsiteY1013" fmla="*/ 1568505 h 1690080"/>
                  <a:gd name="connsiteX1014" fmla="*/ 2267118 w 2417203"/>
                  <a:gd name="connsiteY1014" fmla="*/ 1559818 h 1690080"/>
                  <a:gd name="connsiteX1015" fmla="*/ 2269858 w 2417203"/>
                  <a:gd name="connsiteY1015" fmla="*/ 1561215 h 1690080"/>
                  <a:gd name="connsiteX1016" fmla="*/ 2274094 w 2417203"/>
                  <a:gd name="connsiteY1016" fmla="*/ 1557163 h 1690080"/>
                  <a:gd name="connsiteX1017" fmla="*/ 2259926 w 2417203"/>
                  <a:gd name="connsiteY1017" fmla="*/ 1542266 h 1690080"/>
                  <a:gd name="connsiteX1018" fmla="*/ 2230905 w 2417203"/>
                  <a:gd name="connsiteY1018" fmla="*/ 1545289 h 1690080"/>
                  <a:gd name="connsiteX1019" fmla="*/ 2223675 w 2417203"/>
                  <a:gd name="connsiteY1019" fmla="*/ 1543028 h 1690080"/>
                  <a:gd name="connsiteX1020" fmla="*/ 2210014 w 2417203"/>
                  <a:gd name="connsiteY1020" fmla="*/ 1537275 h 1690080"/>
                  <a:gd name="connsiteX1021" fmla="*/ 2185914 w 2417203"/>
                  <a:gd name="connsiteY1021" fmla="*/ 1527865 h 1690080"/>
                  <a:gd name="connsiteX1022" fmla="*/ 2177377 w 2417203"/>
                  <a:gd name="connsiteY1022" fmla="*/ 1520219 h 1690080"/>
                  <a:gd name="connsiteX1023" fmla="*/ 2168220 w 2417203"/>
                  <a:gd name="connsiteY1023" fmla="*/ 1515990 h 1690080"/>
                  <a:gd name="connsiteX1024" fmla="*/ 2165518 w 2417203"/>
                  <a:gd name="connsiteY1024" fmla="*/ 1484850 h 1690080"/>
                  <a:gd name="connsiteX1025" fmla="*/ 2160571 w 2417203"/>
                  <a:gd name="connsiteY1025" fmla="*/ 1476303 h 1690080"/>
                  <a:gd name="connsiteX1026" fmla="*/ 2140847 w 2417203"/>
                  <a:gd name="connsiteY1026" fmla="*/ 1460821 h 1690080"/>
                  <a:gd name="connsiteX1027" fmla="*/ 2107411 w 2417203"/>
                  <a:gd name="connsiteY1027" fmla="*/ 1446381 h 1690080"/>
                  <a:gd name="connsiteX1028" fmla="*/ 2168803 w 2417203"/>
                  <a:gd name="connsiteY1028" fmla="*/ 1431891 h 1690080"/>
                  <a:gd name="connsiteX1029" fmla="*/ 2177555 w 2417203"/>
                  <a:gd name="connsiteY1029" fmla="*/ 1412587 h 1690080"/>
                  <a:gd name="connsiteX1030" fmla="*/ 2174650 w 2417203"/>
                  <a:gd name="connsiteY1030" fmla="*/ 1410694 h 1690080"/>
                  <a:gd name="connsiteX1031" fmla="*/ 2183402 w 2417203"/>
                  <a:gd name="connsiteY1031" fmla="*/ 1413844 h 1690080"/>
                  <a:gd name="connsiteX1032" fmla="*/ 2087599 w 2417203"/>
                  <a:gd name="connsiteY1032" fmla="*/ 1409526 h 1690080"/>
                  <a:gd name="connsiteX1033" fmla="*/ 2006572 w 2417203"/>
                  <a:gd name="connsiteY1033" fmla="*/ 1471629 h 1690080"/>
                  <a:gd name="connsiteX1034" fmla="*/ 2009718 w 2417203"/>
                  <a:gd name="connsiteY1034" fmla="*/ 1432703 h 1690080"/>
                  <a:gd name="connsiteX1035" fmla="*/ 2063283 w 2417203"/>
                  <a:gd name="connsiteY1035" fmla="*/ 1395632 h 1690080"/>
                  <a:gd name="connsiteX1036" fmla="*/ 2091734 w 2417203"/>
                  <a:gd name="connsiteY1036" fmla="*/ 1389333 h 1690080"/>
                  <a:gd name="connsiteX1037" fmla="*/ 2119284 w 2417203"/>
                  <a:gd name="connsiteY1037" fmla="*/ 1347931 h 1690080"/>
                  <a:gd name="connsiteX1038" fmla="*/ 2171276 w 2417203"/>
                  <a:gd name="connsiteY1038" fmla="*/ 1344908 h 1690080"/>
                  <a:gd name="connsiteX1039" fmla="*/ 2251047 w 2417203"/>
                  <a:gd name="connsiteY1039" fmla="*/ 1347474 h 1690080"/>
                  <a:gd name="connsiteX1040" fmla="*/ 2325871 w 2417203"/>
                  <a:gd name="connsiteY1040" fmla="*/ 1317057 h 1690080"/>
                  <a:gd name="connsiteX1041" fmla="*/ 2373373 w 2417203"/>
                  <a:gd name="connsiteY1041" fmla="*/ 1291048 h 1690080"/>
                  <a:gd name="connsiteX1042" fmla="*/ 2412555 w 2417203"/>
                  <a:gd name="connsiteY1042" fmla="*/ 1268378 h 1690080"/>
                  <a:gd name="connsiteX1043" fmla="*/ 2417083 w 2417203"/>
                  <a:gd name="connsiteY1043" fmla="*/ 1253814 h 1690080"/>
                  <a:gd name="connsiteX1044" fmla="*/ 1410289 w 2417203"/>
                  <a:gd name="connsiteY1044" fmla="*/ 484967 h 1690080"/>
                  <a:gd name="connsiteX1045" fmla="*/ 1423543 w 2417203"/>
                  <a:gd name="connsiteY1045" fmla="*/ 486947 h 1690080"/>
                  <a:gd name="connsiteX1046" fmla="*/ 1423594 w 2417203"/>
                  <a:gd name="connsiteY1046" fmla="*/ 488792 h 1690080"/>
                  <a:gd name="connsiteX1047" fmla="*/ 1418242 w 2417203"/>
                  <a:gd name="connsiteY1047" fmla="*/ 489554 h 1690080"/>
                  <a:gd name="connsiteX1048" fmla="*/ 1410289 w 2417203"/>
                  <a:gd name="connsiteY1048" fmla="*/ 490680 h 1690080"/>
                  <a:gd name="connsiteX1049" fmla="*/ 1346157 w 2417203"/>
                  <a:gd name="connsiteY1049" fmla="*/ 613791 h 1690080"/>
                  <a:gd name="connsiteX1050" fmla="*/ 1347007 w 2417203"/>
                  <a:gd name="connsiteY1050" fmla="*/ 612441 h 1690080"/>
                  <a:gd name="connsiteX1051" fmla="*/ 1348859 w 2417203"/>
                  <a:gd name="connsiteY1051" fmla="*/ 613431 h 1690080"/>
                  <a:gd name="connsiteX1052" fmla="*/ 1348986 w 2417203"/>
                  <a:gd name="connsiteY1052" fmla="*/ 613520 h 1690080"/>
                  <a:gd name="connsiteX1053" fmla="*/ 1365792 w 2417203"/>
                  <a:gd name="connsiteY1053" fmla="*/ 622700 h 1690080"/>
                  <a:gd name="connsiteX1054" fmla="*/ 1362469 w 2417203"/>
                  <a:gd name="connsiteY1054" fmla="*/ 623195 h 1690080"/>
                  <a:gd name="connsiteX1055" fmla="*/ 1355100 w 2417203"/>
                  <a:gd name="connsiteY1055" fmla="*/ 625175 h 1690080"/>
                  <a:gd name="connsiteX1056" fmla="*/ 1354199 w 2417203"/>
                  <a:gd name="connsiteY1056" fmla="*/ 625400 h 1690080"/>
                  <a:gd name="connsiteX1057" fmla="*/ 1344813 w 2417203"/>
                  <a:gd name="connsiteY1057" fmla="*/ 623645 h 1690080"/>
                  <a:gd name="connsiteX1058" fmla="*/ 1342834 w 2417203"/>
                  <a:gd name="connsiteY1058" fmla="*/ 619191 h 1690080"/>
                  <a:gd name="connsiteX1059" fmla="*/ 1346157 w 2417203"/>
                  <a:gd name="connsiteY1059" fmla="*/ 613791 h 1690080"/>
                  <a:gd name="connsiteX1060" fmla="*/ 237763 w 2417203"/>
                  <a:gd name="connsiteY1060" fmla="*/ 273082 h 1690080"/>
                  <a:gd name="connsiteX1061" fmla="*/ 226220 w 2417203"/>
                  <a:gd name="connsiteY1061" fmla="*/ 276502 h 1690080"/>
                  <a:gd name="connsiteX1062" fmla="*/ 220969 w 2417203"/>
                  <a:gd name="connsiteY1062" fmla="*/ 278026 h 1690080"/>
                  <a:gd name="connsiteX1063" fmla="*/ 219256 w 2417203"/>
                  <a:gd name="connsiteY1063" fmla="*/ 278521 h 1690080"/>
                  <a:gd name="connsiteX1064" fmla="*/ 216022 w 2417203"/>
                  <a:gd name="connsiteY1064" fmla="*/ 279466 h 1690080"/>
                  <a:gd name="connsiteX1065" fmla="*/ 229949 w 2417203"/>
                  <a:gd name="connsiteY1065" fmla="*/ 254763 h 1690080"/>
                  <a:gd name="connsiteX1066" fmla="*/ 232511 w 2417203"/>
                  <a:gd name="connsiteY1066" fmla="*/ 258272 h 1690080"/>
                  <a:gd name="connsiteX1067" fmla="*/ 233095 w 2417203"/>
                  <a:gd name="connsiteY1067" fmla="*/ 259034 h 1690080"/>
                  <a:gd name="connsiteX1068" fmla="*/ 234084 w 2417203"/>
                  <a:gd name="connsiteY1068" fmla="*/ 260338 h 1690080"/>
                  <a:gd name="connsiteX1069" fmla="*/ 234084 w 2417203"/>
                  <a:gd name="connsiteY1069" fmla="*/ 260384 h 1690080"/>
                  <a:gd name="connsiteX1070" fmla="*/ 236012 w 2417203"/>
                  <a:gd name="connsiteY1070" fmla="*/ 263083 h 1690080"/>
                  <a:gd name="connsiteX1071" fmla="*/ 242392 w 2417203"/>
                  <a:gd name="connsiteY1071" fmla="*/ 271678 h 1690080"/>
                  <a:gd name="connsiteX1072" fmla="*/ 237763 w 2417203"/>
                  <a:gd name="connsiteY1072" fmla="*/ 273082 h 1690080"/>
                  <a:gd name="connsiteX1073" fmla="*/ 831243 w 2417203"/>
                  <a:gd name="connsiteY1073" fmla="*/ 752828 h 1690080"/>
                  <a:gd name="connsiteX1074" fmla="*/ 788865 w 2417203"/>
                  <a:gd name="connsiteY1074" fmla="*/ 778431 h 1690080"/>
                  <a:gd name="connsiteX1075" fmla="*/ 764816 w 2417203"/>
                  <a:gd name="connsiteY1075" fmla="*/ 805249 h 1690080"/>
                  <a:gd name="connsiteX1076" fmla="*/ 665461 w 2417203"/>
                  <a:gd name="connsiteY1076" fmla="*/ 787160 h 1690080"/>
                  <a:gd name="connsiteX1077" fmla="*/ 708333 w 2417203"/>
                  <a:gd name="connsiteY1077" fmla="*/ 790805 h 1690080"/>
                  <a:gd name="connsiteX1078" fmla="*/ 712684 w 2417203"/>
                  <a:gd name="connsiteY1078" fmla="*/ 791615 h 1690080"/>
                  <a:gd name="connsiteX1079" fmla="*/ 716109 w 2417203"/>
                  <a:gd name="connsiteY1079" fmla="*/ 786125 h 1690080"/>
                  <a:gd name="connsiteX1080" fmla="*/ 712430 w 2417203"/>
                  <a:gd name="connsiteY1080" fmla="*/ 782076 h 1690080"/>
                  <a:gd name="connsiteX1081" fmla="*/ 727118 w 2417203"/>
                  <a:gd name="connsiteY1081" fmla="*/ 763534 h 1690080"/>
                  <a:gd name="connsiteX1082" fmla="*/ 747121 w 2417203"/>
                  <a:gd name="connsiteY1082" fmla="*/ 744410 h 1690080"/>
                  <a:gd name="connsiteX1083" fmla="*/ 721550 w 2417203"/>
                  <a:gd name="connsiteY1083" fmla="*/ 715252 h 1690080"/>
                  <a:gd name="connsiteX1084" fmla="*/ 711834 w 2417203"/>
                  <a:gd name="connsiteY1084" fmla="*/ 702654 h 1690080"/>
                  <a:gd name="connsiteX1085" fmla="*/ 750977 w 2417203"/>
                  <a:gd name="connsiteY1085" fmla="*/ 722902 h 1690080"/>
                  <a:gd name="connsiteX1086" fmla="*/ 763611 w 2417203"/>
                  <a:gd name="connsiteY1086" fmla="*/ 724567 h 1690080"/>
                  <a:gd name="connsiteX1087" fmla="*/ 836190 w 2417203"/>
                  <a:gd name="connsiteY1087" fmla="*/ 722227 h 1690080"/>
                  <a:gd name="connsiteX1088" fmla="*/ 890161 w 2417203"/>
                  <a:gd name="connsiteY1088" fmla="*/ 701439 h 1690080"/>
                  <a:gd name="connsiteX1089" fmla="*/ 871376 w 2417203"/>
                  <a:gd name="connsiteY1089" fmla="*/ 703734 h 1690080"/>
                  <a:gd name="connsiteX1090" fmla="*/ 862116 w 2417203"/>
                  <a:gd name="connsiteY1090" fmla="*/ 712283 h 1690080"/>
                  <a:gd name="connsiteX1091" fmla="*/ 874432 w 2417203"/>
                  <a:gd name="connsiteY1091" fmla="*/ 712823 h 1690080"/>
                  <a:gd name="connsiteX1092" fmla="*/ 887015 w 2417203"/>
                  <a:gd name="connsiteY1092" fmla="*/ 711114 h 1690080"/>
                  <a:gd name="connsiteX1093" fmla="*/ 869942 w 2417203"/>
                  <a:gd name="connsiteY1093" fmla="*/ 722047 h 1690080"/>
                  <a:gd name="connsiteX1094" fmla="*/ 864450 w 2417203"/>
                  <a:gd name="connsiteY1094" fmla="*/ 721102 h 1690080"/>
                  <a:gd name="connsiteX1095" fmla="*/ 848278 w 2417203"/>
                  <a:gd name="connsiteY1095" fmla="*/ 729066 h 1690080"/>
                  <a:gd name="connsiteX1096" fmla="*/ 831243 w 2417203"/>
                  <a:gd name="connsiteY1096" fmla="*/ 752828 h 1690080"/>
                  <a:gd name="connsiteX1097" fmla="*/ 906790 w 2417203"/>
                  <a:gd name="connsiteY1097" fmla="*/ 913692 h 1690080"/>
                  <a:gd name="connsiteX1098" fmla="*/ 861939 w 2417203"/>
                  <a:gd name="connsiteY1098" fmla="*/ 943792 h 1690080"/>
                  <a:gd name="connsiteX1099" fmla="*/ 857119 w 2417203"/>
                  <a:gd name="connsiteY1099" fmla="*/ 937942 h 1690080"/>
                  <a:gd name="connsiteX1100" fmla="*/ 851462 w 2417203"/>
                  <a:gd name="connsiteY1100" fmla="*/ 939607 h 1690080"/>
                  <a:gd name="connsiteX1101" fmla="*/ 850028 w 2417203"/>
                  <a:gd name="connsiteY1101" fmla="*/ 934747 h 1690080"/>
                  <a:gd name="connsiteX1102" fmla="*/ 896579 w 2417203"/>
                  <a:gd name="connsiteY1102" fmla="*/ 885746 h 1690080"/>
                  <a:gd name="connsiteX1103" fmla="*/ 916582 w 2417203"/>
                  <a:gd name="connsiteY1103" fmla="*/ 889121 h 1690080"/>
                  <a:gd name="connsiteX1104" fmla="*/ 917115 w 2417203"/>
                  <a:gd name="connsiteY1104" fmla="*/ 898300 h 1690080"/>
                  <a:gd name="connsiteX1105" fmla="*/ 978151 w 2417203"/>
                  <a:gd name="connsiteY1105" fmla="*/ 902485 h 1690080"/>
                  <a:gd name="connsiteX1106" fmla="*/ 906790 w 2417203"/>
                  <a:gd name="connsiteY1106" fmla="*/ 913692 h 1690080"/>
                  <a:gd name="connsiteX1107" fmla="*/ 1216335 w 2417203"/>
                  <a:gd name="connsiteY1107" fmla="*/ 351603 h 1690080"/>
                  <a:gd name="connsiteX1108" fmla="*/ 1217134 w 2417203"/>
                  <a:gd name="connsiteY1108" fmla="*/ 346923 h 1690080"/>
                  <a:gd name="connsiteX1109" fmla="*/ 1229387 w 2417203"/>
                  <a:gd name="connsiteY1109" fmla="*/ 337407 h 1690080"/>
                  <a:gd name="connsiteX1110" fmla="*/ 1231974 w 2417203"/>
                  <a:gd name="connsiteY1110" fmla="*/ 338060 h 1690080"/>
                  <a:gd name="connsiteX1111" fmla="*/ 1244785 w 2417203"/>
                  <a:gd name="connsiteY1111" fmla="*/ 352907 h 1690080"/>
                  <a:gd name="connsiteX1112" fmla="*/ 1240777 w 2417203"/>
                  <a:gd name="connsiteY1112" fmla="*/ 367172 h 1690080"/>
                  <a:gd name="connsiteX1113" fmla="*/ 1218757 w 2417203"/>
                  <a:gd name="connsiteY1113" fmla="*/ 354753 h 1690080"/>
                  <a:gd name="connsiteX1114" fmla="*/ 1216195 w 2417203"/>
                  <a:gd name="connsiteY1114" fmla="*/ 353313 h 1690080"/>
                  <a:gd name="connsiteX1115" fmla="*/ 1216335 w 2417203"/>
                  <a:gd name="connsiteY1115" fmla="*/ 351599 h 1690080"/>
                  <a:gd name="connsiteX1116" fmla="*/ 1272234 w 2417203"/>
                  <a:gd name="connsiteY1116" fmla="*/ 1332335 h 1690080"/>
                  <a:gd name="connsiteX1117" fmla="*/ 1263837 w 2417203"/>
                  <a:gd name="connsiteY1117" fmla="*/ 1330532 h 1690080"/>
                  <a:gd name="connsiteX1118" fmla="*/ 1263241 w 2417203"/>
                  <a:gd name="connsiteY1118" fmla="*/ 1299887 h 1690080"/>
                  <a:gd name="connsiteX1119" fmla="*/ 1260780 w 2417203"/>
                  <a:gd name="connsiteY1119" fmla="*/ 1299137 h 1690080"/>
                  <a:gd name="connsiteX1120" fmla="*/ 1257863 w 2417203"/>
                  <a:gd name="connsiteY1120" fmla="*/ 1287835 h 1690080"/>
                  <a:gd name="connsiteX1121" fmla="*/ 1244608 w 2417203"/>
                  <a:gd name="connsiteY1121" fmla="*/ 1295582 h 1690080"/>
                  <a:gd name="connsiteX1122" fmla="*/ 1236287 w 2417203"/>
                  <a:gd name="connsiteY1122" fmla="*/ 1273750 h 1690080"/>
                  <a:gd name="connsiteX1123" fmla="*/ 1233319 w 2417203"/>
                  <a:gd name="connsiteY1123" fmla="*/ 1265025 h 1690080"/>
                  <a:gd name="connsiteX1124" fmla="*/ 1202674 w 2417203"/>
                  <a:gd name="connsiteY1124" fmla="*/ 1238296 h 1690080"/>
                  <a:gd name="connsiteX1125" fmla="*/ 1211439 w 2417203"/>
                  <a:gd name="connsiteY1125" fmla="*/ 1220838 h 1690080"/>
                  <a:gd name="connsiteX1126" fmla="*/ 1224148 w 2417203"/>
                  <a:gd name="connsiteY1126" fmla="*/ 1190645 h 1690080"/>
                  <a:gd name="connsiteX1127" fmla="*/ 1215028 w 2417203"/>
                  <a:gd name="connsiteY1127" fmla="*/ 1176697 h 1690080"/>
                  <a:gd name="connsiteX1128" fmla="*/ 1226089 w 2417203"/>
                  <a:gd name="connsiteY1128" fmla="*/ 1159148 h 1690080"/>
                  <a:gd name="connsiteX1129" fmla="*/ 1228829 w 2417203"/>
                  <a:gd name="connsiteY1129" fmla="*/ 1160139 h 1690080"/>
                  <a:gd name="connsiteX1130" fmla="*/ 1228512 w 2417203"/>
                  <a:gd name="connsiteY1130" fmla="*/ 1174627 h 1690080"/>
                  <a:gd name="connsiteX1131" fmla="*/ 1272640 w 2417203"/>
                  <a:gd name="connsiteY1131" fmla="*/ 1304624 h 1690080"/>
                  <a:gd name="connsiteX1132" fmla="*/ 1272234 w 2417203"/>
                  <a:gd name="connsiteY1132" fmla="*/ 1332335 h 1690080"/>
                  <a:gd name="connsiteX1133" fmla="*/ 1281087 w 2417203"/>
                  <a:gd name="connsiteY1133" fmla="*/ 417027 h 1690080"/>
                  <a:gd name="connsiteX1134" fmla="*/ 1281037 w 2417203"/>
                  <a:gd name="connsiteY1134" fmla="*/ 417027 h 1690080"/>
                  <a:gd name="connsiteX1135" fmla="*/ 1278931 w 2417203"/>
                  <a:gd name="connsiteY1135" fmla="*/ 417523 h 1690080"/>
                  <a:gd name="connsiteX1136" fmla="*/ 1277041 w 2417203"/>
                  <a:gd name="connsiteY1136" fmla="*/ 417657 h 1690080"/>
                  <a:gd name="connsiteX1137" fmla="*/ 1269811 w 2417203"/>
                  <a:gd name="connsiteY1137" fmla="*/ 413922 h 1690080"/>
                  <a:gd name="connsiteX1138" fmla="*/ 1266488 w 2417203"/>
                  <a:gd name="connsiteY1138" fmla="*/ 408253 h 1690080"/>
                  <a:gd name="connsiteX1139" fmla="*/ 1268593 w 2417203"/>
                  <a:gd name="connsiteY1139" fmla="*/ 408658 h 1690080"/>
                  <a:gd name="connsiteX1140" fmla="*/ 1270889 w 2417203"/>
                  <a:gd name="connsiteY1140" fmla="*/ 409108 h 1690080"/>
                  <a:gd name="connsiteX1141" fmla="*/ 1280593 w 2417203"/>
                  <a:gd name="connsiteY1141" fmla="*/ 411043 h 1690080"/>
                  <a:gd name="connsiteX1142" fmla="*/ 1282178 w 2417203"/>
                  <a:gd name="connsiteY1142" fmla="*/ 411312 h 1690080"/>
                  <a:gd name="connsiteX1143" fmla="*/ 1292694 w 2417203"/>
                  <a:gd name="connsiteY1143" fmla="*/ 413428 h 1690080"/>
                  <a:gd name="connsiteX1144" fmla="*/ 1281087 w 2417203"/>
                  <a:gd name="connsiteY1144" fmla="*/ 417023 h 1690080"/>
                  <a:gd name="connsiteX1145" fmla="*/ 2019814 w 2417203"/>
                  <a:gd name="connsiteY1145" fmla="*/ 933176 h 1690080"/>
                  <a:gd name="connsiteX1146" fmla="*/ 2017125 w 2417203"/>
                  <a:gd name="connsiteY1146" fmla="*/ 932006 h 1690080"/>
                  <a:gd name="connsiteX1147" fmla="*/ 2015362 w 2417203"/>
                  <a:gd name="connsiteY1147" fmla="*/ 929396 h 1690080"/>
                  <a:gd name="connsiteX1148" fmla="*/ 2014868 w 2417203"/>
                  <a:gd name="connsiteY1148" fmla="*/ 928136 h 1690080"/>
                  <a:gd name="connsiteX1149" fmla="*/ 2021971 w 2417203"/>
                  <a:gd name="connsiteY1149" fmla="*/ 915267 h 1690080"/>
                  <a:gd name="connsiteX1150" fmla="*/ 2023366 w 2417203"/>
                  <a:gd name="connsiteY1150" fmla="*/ 917608 h 1690080"/>
                  <a:gd name="connsiteX1151" fmla="*/ 2026030 w 2417203"/>
                  <a:gd name="connsiteY1151" fmla="*/ 921881 h 1690080"/>
                  <a:gd name="connsiteX1152" fmla="*/ 2030025 w 2417203"/>
                  <a:gd name="connsiteY1152" fmla="*/ 928541 h 1690080"/>
                  <a:gd name="connsiteX1153" fmla="*/ 2031281 w 2417203"/>
                  <a:gd name="connsiteY1153" fmla="*/ 930656 h 1690080"/>
                  <a:gd name="connsiteX1154" fmla="*/ 2019814 w 2417203"/>
                  <a:gd name="connsiteY1154" fmla="*/ 933172 h 1690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</a:cxnLst>
                <a:rect l="l" t="t" r="r" b="b"/>
                <a:pathLst>
                  <a:path w="2417203" h="1690080">
                    <a:moveTo>
                      <a:pt x="2417083" y="1253814"/>
                    </a:moveTo>
                    <a:cubicBezTo>
                      <a:pt x="2417032" y="1253363"/>
                      <a:pt x="2416994" y="1252913"/>
                      <a:pt x="2416905" y="1252464"/>
                    </a:cubicBezTo>
                    <a:cubicBezTo>
                      <a:pt x="2416791" y="1251650"/>
                      <a:pt x="2416551" y="1250860"/>
                      <a:pt x="2416182" y="1250124"/>
                    </a:cubicBezTo>
                    <a:cubicBezTo>
                      <a:pt x="2415434" y="1248691"/>
                      <a:pt x="2414812" y="1247201"/>
                      <a:pt x="2414293" y="1245669"/>
                    </a:cubicBezTo>
                    <a:cubicBezTo>
                      <a:pt x="2414014" y="1244917"/>
                      <a:pt x="2413772" y="1244152"/>
                      <a:pt x="2413570" y="1243374"/>
                    </a:cubicBezTo>
                    <a:cubicBezTo>
                      <a:pt x="2413303" y="1242430"/>
                      <a:pt x="2413075" y="1241439"/>
                      <a:pt x="2412897" y="1240494"/>
                    </a:cubicBezTo>
                    <a:lnTo>
                      <a:pt x="2412771" y="1239505"/>
                    </a:lnTo>
                    <a:cubicBezTo>
                      <a:pt x="2412491" y="1237840"/>
                      <a:pt x="2412402" y="1236149"/>
                      <a:pt x="2412491" y="1234465"/>
                    </a:cubicBezTo>
                    <a:cubicBezTo>
                      <a:pt x="2412466" y="1233999"/>
                      <a:pt x="2412479" y="1233532"/>
                      <a:pt x="2412542" y="1233068"/>
                    </a:cubicBezTo>
                    <a:cubicBezTo>
                      <a:pt x="2412771" y="1229808"/>
                      <a:pt x="2413405" y="1226589"/>
                      <a:pt x="2414432" y="1223485"/>
                    </a:cubicBezTo>
                    <a:cubicBezTo>
                      <a:pt x="2414470" y="1223305"/>
                      <a:pt x="2414559" y="1223125"/>
                      <a:pt x="2414610" y="1222945"/>
                    </a:cubicBezTo>
                    <a:cubicBezTo>
                      <a:pt x="2414787" y="1222450"/>
                      <a:pt x="2414927" y="1221955"/>
                      <a:pt x="2415054" y="1221459"/>
                    </a:cubicBezTo>
                    <a:cubicBezTo>
                      <a:pt x="2416817" y="1216328"/>
                      <a:pt x="2416931" y="1210774"/>
                      <a:pt x="2415371" y="1205577"/>
                    </a:cubicBezTo>
                    <a:cubicBezTo>
                      <a:pt x="2415320" y="1205423"/>
                      <a:pt x="2415256" y="1205273"/>
                      <a:pt x="2415193" y="1205127"/>
                    </a:cubicBezTo>
                    <a:cubicBezTo>
                      <a:pt x="2414673" y="1203753"/>
                      <a:pt x="2414014" y="1202440"/>
                      <a:pt x="2413215" y="1201212"/>
                    </a:cubicBezTo>
                    <a:lnTo>
                      <a:pt x="2413176" y="1201167"/>
                    </a:lnTo>
                    <a:cubicBezTo>
                      <a:pt x="2412339" y="1199868"/>
                      <a:pt x="2411362" y="1198674"/>
                      <a:pt x="2410246" y="1197611"/>
                    </a:cubicBezTo>
                    <a:cubicBezTo>
                      <a:pt x="2409435" y="1196734"/>
                      <a:pt x="2408547" y="1195922"/>
                      <a:pt x="2407595" y="1195182"/>
                    </a:cubicBezTo>
                    <a:cubicBezTo>
                      <a:pt x="2407532" y="1195111"/>
                      <a:pt x="2407456" y="1195050"/>
                      <a:pt x="2407380" y="1195001"/>
                    </a:cubicBezTo>
                    <a:lnTo>
                      <a:pt x="2406708" y="1194462"/>
                    </a:lnTo>
                    <a:lnTo>
                      <a:pt x="2406656" y="1194462"/>
                    </a:lnTo>
                    <a:cubicBezTo>
                      <a:pt x="2406454" y="1194322"/>
                      <a:pt x="2406264" y="1194172"/>
                      <a:pt x="2406073" y="1194011"/>
                    </a:cubicBezTo>
                    <a:cubicBezTo>
                      <a:pt x="2404094" y="1192552"/>
                      <a:pt x="2401963" y="1191301"/>
                      <a:pt x="2399731" y="1190277"/>
                    </a:cubicBezTo>
                    <a:cubicBezTo>
                      <a:pt x="2398412" y="1189678"/>
                      <a:pt x="2397042" y="1189195"/>
                      <a:pt x="2395647" y="1188837"/>
                    </a:cubicBezTo>
                    <a:cubicBezTo>
                      <a:pt x="2393769" y="1188424"/>
                      <a:pt x="2391841" y="1188303"/>
                      <a:pt x="2389939" y="1188477"/>
                    </a:cubicBezTo>
                    <a:cubicBezTo>
                      <a:pt x="2384206" y="1189436"/>
                      <a:pt x="2379018" y="1192441"/>
                      <a:pt x="2375327" y="1196936"/>
                    </a:cubicBezTo>
                    <a:cubicBezTo>
                      <a:pt x="2375124" y="1197172"/>
                      <a:pt x="2374921" y="1197398"/>
                      <a:pt x="2374692" y="1197611"/>
                    </a:cubicBezTo>
                    <a:cubicBezTo>
                      <a:pt x="2374782" y="1197250"/>
                      <a:pt x="2374870" y="1196849"/>
                      <a:pt x="2374959" y="1196486"/>
                    </a:cubicBezTo>
                    <a:cubicBezTo>
                      <a:pt x="2375327" y="1194962"/>
                      <a:pt x="2375631" y="1193471"/>
                      <a:pt x="2375910" y="1192121"/>
                    </a:cubicBezTo>
                    <a:cubicBezTo>
                      <a:pt x="2379411" y="1175833"/>
                      <a:pt x="2378510" y="1171243"/>
                      <a:pt x="2367374" y="1165843"/>
                    </a:cubicBezTo>
                    <a:cubicBezTo>
                      <a:pt x="2364723" y="1164539"/>
                      <a:pt x="2361438" y="1163234"/>
                      <a:pt x="2357531" y="1161652"/>
                    </a:cubicBezTo>
                    <a:cubicBezTo>
                      <a:pt x="2355907" y="1162822"/>
                      <a:pt x="2354246" y="1163993"/>
                      <a:pt x="2352622" y="1165117"/>
                    </a:cubicBezTo>
                    <a:cubicBezTo>
                      <a:pt x="2351239" y="1166152"/>
                      <a:pt x="2349794" y="1167143"/>
                      <a:pt x="2348360" y="1168132"/>
                    </a:cubicBezTo>
                    <a:cubicBezTo>
                      <a:pt x="2330970" y="1180551"/>
                      <a:pt x="2313301" y="1193105"/>
                      <a:pt x="2293894" y="1206867"/>
                    </a:cubicBezTo>
                    <a:cubicBezTo>
                      <a:pt x="2293438" y="1207182"/>
                      <a:pt x="2292943" y="1207543"/>
                      <a:pt x="2292499" y="1207858"/>
                    </a:cubicBezTo>
                    <a:cubicBezTo>
                      <a:pt x="2292537" y="1207543"/>
                      <a:pt x="2292537" y="1207223"/>
                      <a:pt x="2292588" y="1206913"/>
                    </a:cubicBezTo>
                    <a:cubicBezTo>
                      <a:pt x="2292588" y="1206642"/>
                      <a:pt x="2292626" y="1206373"/>
                      <a:pt x="2292626" y="1206151"/>
                    </a:cubicBezTo>
                    <a:cubicBezTo>
                      <a:pt x="2293704" y="1192248"/>
                      <a:pt x="2295328" y="1183743"/>
                      <a:pt x="2309978" y="1178749"/>
                    </a:cubicBezTo>
                    <a:cubicBezTo>
                      <a:pt x="2312794" y="1177755"/>
                      <a:pt x="2315521" y="1176505"/>
                      <a:pt x="2318108" y="1175014"/>
                    </a:cubicBezTo>
                    <a:cubicBezTo>
                      <a:pt x="2320353" y="1173799"/>
                      <a:pt x="2322561" y="1172450"/>
                      <a:pt x="2324767" y="1171054"/>
                    </a:cubicBezTo>
                    <a:lnTo>
                      <a:pt x="2324894" y="1171010"/>
                    </a:lnTo>
                    <a:cubicBezTo>
                      <a:pt x="2333076" y="1164641"/>
                      <a:pt x="2343172" y="1161245"/>
                      <a:pt x="2353522" y="1161381"/>
                    </a:cubicBezTo>
                    <a:cubicBezTo>
                      <a:pt x="2357886" y="1156071"/>
                      <a:pt x="2362199" y="1150807"/>
                      <a:pt x="2368135" y="1143561"/>
                    </a:cubicBezTo>
                    <a:cubicBezTo>
                      <a:pt x="2368896" y="1142616"/>
                      <a:pt x="2369708" y="1141627"/>
                      <a:pt x="2370507" y="1140640"/>
                    </a:cubicBezTo>
                    <a:cubicBezTo>
                      <a:pt x="2357100" y="1139130"/>
                      <a:pt x="2344073" y="1135230"/>
                      <a:pt x="2332048" y="1129121"/>
                    </a:cubicBezTo>
                    <a:cubicBezTo>
                      <a:pt x="2328852" y="1127724"/>
                      <a:pt x="2325706" y="1126241"/>
                      <a:pt x="2322522" y="1124847"/>
                    </a:cubicBezTo>
                    <a:cubicBezTo>
                      <a:pt x="2322205" y="1124711"/>
                      <a:pt x="2321926" y="1124576"/>
                      <a:pt x="2321622" y="1124441"/>
                    </a:cubicBezTo>
                    <a:cubicBezTo>
                      <a:pt x="2320544" y="1123991"/>
                      <a:pt x="2319465" y="1123497"/>
                      <a:pt x="2318387" y="1123044"/>
                    </a:cubicBezTo>
                    <a:cubicBezTo>
                      <a:pt x="2317626" y="1122731"/>
                      <a:pt x="2316802" y="1122370"/>
                      <a:pt x="2316041" y="1122055"/>
                    </a:cubicBezTo>
                    <a:cubicBezTo>
                      <a:pt x="2314062" y="1121245"/>
                      <a:pt x="2312045" y="1120436"/>
                      <a:pt x="2310029" y="1119716"/>
                    </a:cubicBezTo>
                    <a:cubicBezTo>
                      <a:pt x="2308811" y="1119265"/>
                      <a:pt x="2307555" y="1118815"/>
                      <a:pt x="2306299" y="1118410"/>
                    </a:cubicBezTo>
                    <a:cubicBezTo>
                      <a:pt x="2304498" y="1117826"/>
                      <a:pt x="2302697" y="1117285"/>
                      <a:pt x="2300858" y="1116791"/>
                    </a:cubicBezTo>
                    <a:cubicBezTo>
                      <a:pt x="2300541" y="1116701"/>
                      <a:pt x="2300186" y="1116611"/>
                      <a:pt x="2299869" y="1116520"/>
                    </a:cubicBezTo>
                    <a:cubicBezTo>
                      <a:pt x="2299146" y="1116340"/>
                      <a:pt x="2298385" y="1116161"/>
                      <a:pt x="2297661" y="1115981"/>
                    </a:cubicBezTo>
                    <a:lnTo>
                      <a:pt x="2296317" y="1115710"/>
                    </a:lnTo>
                    <a:cubicBezTo>
                      <a:pt x="2295416" y="1115485"/>
                      <a:pt x="2294478" y="1115306"/>
                      <a:pt x="2293577" y="1115170"/>
                    </a:cubicBezTo>
                    <a:cubicBezTo>
                      <a:pt x="2291548" y="1114811"/>
                      <a:pt x="2289531" y="1114535"/>
                      <a:pt x="2287464" y="1114360"/>
                    </a:cubicBezTo>
                    <a:lnTo>
                      <a:pt x="2285979" y="1114226"/>
                    </a:lnTo>
                    <a:cubicBezTo>
                      <a:pt x="2288427" y="1107837"/>
                      <a:pt x="2287895" y="1100685"/>
                      <a:pt x="2284495" y="1094743"/>
                    </a:cubicBezTo>
                    <a:cubicBezTo>
                      <a:pt x="2284216" y="1094227"/>
                      <a:pt x="2283899" y="1093732"/>
                      <a:pt x="2283557" y="1093258"/>
                    </a:cubicBezTo>
                    <a:cubicBezTo>
                      <a:pt x="2282669" y="1091971"/>
                      <a:pt x="2281692" y="1090753"/>
                      <a:pt x="2280639" y="1089613"/>
                    </a:cubicBezTo>
                    <a:cubicBezTo>
                      <a:pt x="2280284" y="1089200"/>
                      <a:pt x="2279904" y="1088810"/>
                      <a:pt x="2279510" y="1088443"/>
                    </a:cubicBezTo>
                    <a:cubicBezTo>
                      <a:pt x="2278255" y="1087138"/>
                      <a:pt x="2276860" y="1085878"/>
                      <a:pt x="2275426" y="1084618"/>
                    </a:cubicBezTo>
                    <a:cubicBezTo>
                      <a:pt x="2273802" y="1083268"/>
                      <a:pt x="2272103" y="1081874"/>
                      <a:pt x="2270391" y="1080479"/>
                    </a:cubicBezTo>
                    <a:cubicBezTo>
                      <a:pt x="2269984" y="1080164"/>
                      <a:pt x="2269579" y="1079803"/>
                      <a:pt x="2269173" y="1079488"/>
                    </a:cubicBezTo>
                    <a:cubicBezTo>
                      <a:pt x="2268906" y="1079264"/>
                      <a:pt x="2268589" y="1079039"/>
                      <a:pt x="2268323" y="1078814"/>
                    </a:cubicBezTo>
                    <a:cubicBezTo>
                      <a:pt x="2266890" y="1077644"/>
                      <a:pt x="2265444" y="1076473"/>
                      <a:pt x="2263959" y="1075304"/>
                    </a:cubicBezTo>
                    <a:cubicBezTo>
                      <a:pt x="2259875" y="1072191"/>
                      <a:pt x="2255969" y="1068841"/>
                      <a:pt x="2252277" y="1065271"/>
                    </a:cubicBezTo>
                    <a:cubicBezTo>
                      <a:pt x="2251212" y="1064246"/>
                      <a:pt x="2250210" y="1063165"/>
                      <a:pt x="2249271" y="1062031"/>
                    </a:cubicBezTo>
                    <a:cubicBezTo>
                      <a:pt x="2247331" y="1059840"/>
                      <a:pt x="2245644" y="1057441"/>
                      <a:pt x="2244236" y="1054877"/>
                    </a:cubicBezTo>
                    <a:cubicBezTo>
                      <a:pt x="2243830" y="1054242"/>
                      <a:pt x="2243513" y="1053573"/>
                      <a:pt x="2243158" y="1052897"/>
                    </a:cubicBezTo>
                    <a:cubicBezTo>
                      <a:pt x="2241762" y="1049975"/>
                      <a:pt x="2240773" y="1046870"/>
                      <a:pt x="2240240" y="1043673"/>
                    </a:cubicBezTo>
                    <a:cubicBezTo>
                      <a:pt x="2240101" y="1042774"/>
                      <a:pt x="2239974" y="1041828"/>
                      <a:pt x="2239872" y="1040879"/>
                    </a:cubicBezTo>
                    <a:cubicBezTo>
                      <a:pt x="2239872" y="1040743"/>
                      <a:pt x="2239834" y="1040564"/>
                      <a:pt x="2239834" y="1040384"/>
                    </a:cubicBezTo>
                    <a:cubicBezTo>
                      <a:pt x="2246760" y="1033907"/>
                      <a:pt x="2253407" y="1027650"/>
                      <a:pt x="2261854" y="1019730"/>
                    </a:cubicBezTo>
                    <a:cubicBezTo>
                      <a:pt x="2260421" y="1018921"/>
                      <a:pt x="2259114" y="1018291"/>
                      <a:pt x="2257947" y="1017751"/>
                    </a:cubicBezTo>
                    <a:cubicBezTo>
                      <a:pt x="2256780" y="1017211"/>
                      <a:pt x="2255791" y="1016715"/>
                      <a:pt x="2254890" y="1016265"/>
                    </a:cubicBezTo>
                    <a:cubicBezTo>
                      <a:pt x="2254256" y="1015938"/>
                      <a:pt x="2253660" y="1015563"/>
                      <a:pt x="2253089" y="1015141"/>
                    </a:cubicBezTo>
                    <a:cubicBezTo>
                      <a:pt x="2252556" y="1014811"/>
                      <a:pt x="2252075" y="1014401"/>
                      <a:pt x="2251656" y="1013926"/>
                    </a:cubicBezTo>
                    <a:cubicBezTo>
                      <a:pt x="2250438" y="1012529"/>
                      <a:pt x="2249005" y="1010867"/>
                      <a:pt x="2247521" y="1009111"/>
                    </a:cubicBezTo>
                    <a:cubicBezTo>
                      <a:pt x="2245580" y="1006817"/>
                      <a:pt x="2243564" y="1004341"/>
                      <a:pt x="2241813" y="1002137"/>
                    </a:cubicBezTo>
                    <a:cubicBezTo>
                      <a:pt x="2240824" y="1000877"/>
                      <a:pt x="2239872" y="999663"/>
                      <a:pt x="2239111" y="998628"/>
                    </a:cubicBezTo>
                    <a:cubicBezTo>
                      <a:pt x="2237678" y="996648"/>
                      <a:pt x="2236778" y="995253"/>
                      <a:pt x="2237006" y="995027"/>
                    </a:cubicBezTo>
                    <a:cubicBezTo>
                      <a:pt x="2241813" y="990348"/>
                      <a:pt x="2243602" y="986838"/>
                      <a:pt x="2243564" y="983959"/>
                    </a:cubicBezTo>
                    <a:cubicBezTo>
                      <a:pt x="2243513" y="982526"/>
                      <a:pt x="2243031" y="981143"/>
                      <a:pt x="2242168" y="979999"/>
                    </a:cubicBezTo>
                    <a:cubicBezTo>
                      <a:pt x="2241052" y="978502"/>
                      <a:pt x="2239707" y="977195"/>
                      <a:pt x="2238173" y="976130"/>
                    </a:cubicBezTo>
                    <a:cubicBezTo>
                      <a:pt x="2237222" y="975453"/>
                      <a:pt x="2236232" y="974774"/>
                      <a:pt x="2235204" y="974098"/>
                    </a:cubicBezTo>
                    <a:lnTo>
                      <a:pt x="2235154" y="974053"/>
                    </a:lnTo>
                    <a:cubicBezTo>
                      <a:pt x="2234304" y="973513"/>
                      <a:pt x="2233492" y="972928"/>
                      <a:pt x="2232642" y="972388"/>
                    </a:cubicBezTo>
                    <a:cubicBezTo>
                      <a:pt x="2231476" y="971533"/>
                      <a:pt x="2230308" y="970679"/>
                      <a:pt x="2229230" y="969778"/>
                    </a:cubicBezTo>
                    <a:cubicBezTo>
                      <a:pt x="2227607" y="968332"/>
                      <a:pt x="2226249" y="966612"/>
                      <a:pt x="2225222" y="964698"/>
                    </a:cubicBezTo>
                    <a:cubicBezTo>
                      <a:pt x="2224956" y="964293"/>
                      <a:pt x="2224778" y="963888"/>
                      <a:pt x="2224550" y="963483"/>
                    </a:cubicBezTo>
                    <a:cubicBezTo>
                      <a:pt x="2223789" y="961964"/>
                      <a:pt x="2223205" y="960364"/>
                      <a:pt x="2222799" y="958714"/>
                    </a:cubicBezTo>
                    <a:cubicBezTo>
                      <a:pt x="2222761" y="958614"/>
                      <a:pt x="2222749" y="958506"/>
                      <a:pt x="2222749" y="958399"/>
                    </a:cubicBezTo>
                    <a:cubicBezTo>
                      <a:pt x="2222432" y="957074"/>
                      <a:pt x="2222368" y="955698"/>
                      <a:pt x="2222571" y="954349"/>
                    </a:cubicBezTo>
                    <a:cubicBezTo>
                      <a:pt x="2223332" y="949940"/>
                      <a:pt x="2222711" y="947689"/>
                      <a:pt x="2221315" y="946564"/>
                    </a:cubicBezTo>
                    <a:cubicBezTo>
                      <a:pt x="2218842" y="944584"/>
                      <a:pt x="2214085" y="946070"/>
                      <a:pt x="2210661" y="945215"/>
                    </a:cubicBezTo>
                    <a:cubicBezTo>
                      <a:pt x="2209164" y="944956"/>
                      <a:pt x="2207921" y="943930"/>
                      <a:pt x="2207388" y="942515"/>
                    </a:cubicBezTo>
                    <a:cubicBezTo>
                      <a:pt x="2216762" y="936485"/>
                      <a:pt x="2216280" y="930996"/>
                      <a:pt x="2212995" y="925596"/>
                    </a:cubicBezTo>
                    <a:cubicBezTo>
                      <a:pt x="2212360" y="924561"/>
                      <a:pt x="2211650" y="923572"/>
                      <a:pt x="2210889" y="922537"/>
                    </a:cubicBezTo>
                    <a:lnTo>
                      <a:pt x="2209405" y="920647"/>
                    </a:lnTo>
                    <a:lnTo>
                      <a:pt x="2209354" y="920647"/>
                    </a:lnTo>
                    <a:cubicBezTo>
                      <a:pt x="2209177" y="920467"/>
                      <a:pt x="2209037" y="920242"/>
                      <a:pt x="2208821" y="920012"/>
                    </a:cubicBezTo>
                    <a:cubicBezTo>
                      <a:pt x="2207566" y="918482"/>
                      <a:pt x="2206209" y="916907"/>
                      <a:pt x="2205042" y="915332"/>
                    </a:cubicBezTo>
                    <a:cubicBezTo>
                      <a:pt x="2204027" y="914242"/>
                      <a:pt x="2202784" y="913384"/>
                      <a:pt x="2201401" y="912812"/>
                    </a:cubicBezTo>
                    <a:cubicBezTo>
                      <a:pt x="2199651" y="911958"/>
                      <a:pt x="2197938" y="911147"/>
                      <a:pt x="2197583" y="909843"/>
                    </a:cubicBezTo>
                    <a:cubicBezTo>
                      <a:pt x="2196328" y="905614"/>
                      <a:pt x="2194805" y="901466"/>
                      <a:pt x="2193042" y="897424"/>
                    </a:cubicBezTo>
                    <a:cubicBezTo>
                      <a:pt x="2192763" y="896702"/>
                      <a:pt x="2192459" y="895996"/>
                      <a:pt x="2192104" y="895309"/>
                    </a:cubicBezTo>
                    <a:cubicBezTo>
                      <a:pt x="2191152" y="893150"/>
                      <a:pt x="2190125" y="891034"/>
                      <a:pt x="2189047" y="888920"/>
                    </a:cubicBezTo>
                    <a:lnTo>
                      <a:pt x="2188996" y="888784"/>
                    </a:lnTo>
                    <a:cubicBezTo>
                      <a:pt x="2187651" y="886085"/>
                      <a:pt x="2186206" y="883385"/>
                      <a:pt x="2184772" y="880730"/>
                    </a:cubicBezTo>
                    <a:cubicBezTo>
                      <a:pt x="2183884" y="879110"/>
                      <a:pt x="2182984" y="877491"/>
                      <a:pt x="2182121" y="875871"/>
                    </a:cubicBezTo>
                    <a:lnTo>
                      <a:pt x="2182121" y="875847"/>
                    </a:lnTo>
                    <a:cubicBezTo>
                      <a:pt x="2180421" y="872741"/>
                      <a:pt x="2178659" y="869636"/>
                      <a:pt x="2176959" y="866396"/>
                    </a:cubicBezTo>
                    <a:cubicBezTo>
                      <a:pt x="2176921" y="866254"/>
                      <a:pt x="2176857" y="866117"/>
                      <a:pt x="2176781" y="865991"/>
                    </a:cubicBezTo>
                    <a:cubicBezTo>
                      <a:pt x="2176286" y="865046"/>
                      <a:pt x="2175741" y="864057"/>
                      <a:pt x="2175297" y="863070"/>
                    </a:cubicBezTo>
                    <a:cubicBezTo>
                      <a:pt x="2175132" y="862854"/>
                      <a:pt x="2175006" y="862611"/>
                      <a:pt x="2174929" y="862350"/>
                    </a:cubicBezTo>
                    <a:cubicBezTo>
                      <a:pt x="2174295" y="861181"/>
                      <a:pt x="2173724" y="860010"/>
                      <a:pt x="2173141" y="858840"/>
                    </a:cubicBezTo>
                    <a:cubicBezTo>
                      <a:pt x="2172862" y="858300"/>
                      <a:pt x="2172646" y="857805"/>
                      <a:pt x="2172418" y="857265"/>
                    </a:cubicBezTo>
                    <a:cubicBezTo>
                      <a:pt x="2170135" y="852548"/>
                      <a:pt x="2168118" y="847712"/>
                      <a:pt x="2166355" y="842777"/>
                    </a:cubicBezTo>
                    <a:cubicBezTo>
                      <a:pt x="2165898" y="841652"/>
                      <a:pt x="2165492" y="840527"/>
                      <a:pt x="2165137" y="839357"/>
                    </a:cubicBezTo>
                    <a:cubicBezTo>
                      <a:pt x="2164820" y="840212"/>
                      <a:pt x="2164465" y="841066"/>
                      <a:pt x="2164110" y="841921"/>
                    </a:cubicBezTo>
                    <a:lnTo>
                      <a:pt x="2164110" y="841967"/>
                    </a:lnTo>
                    <a:cubicBezTo>
                      <a:pt x="2159163" y="854032"/>
                      <a:pt x="2152871" y="863340"/>
                      <a:pt x="2149142" y="873328"/>
                    </a:cubicBezTo>
                    <a:cubicBezTo>
                      <a:pt x="2147937" y="876473"/>
                      <a:pt x="2147050" y="879728"/>
                      <a:pt x="2146491" y="883047"/>
                    </a:cubicBezTo>
                    <a:cubicBezTo>
                      <a:pt x="2146009" y="886156"/>
                      <a:pt x="2145870" y="889307"/>
                      <a:pt x="2146085" y="892445"/>
                    </a:cubicBezTo>
                    <a:cubicBezTo>
                      <a:pt x="2146238" y="894858"/>
                      <a:pt x="2146187" y="897279"/>
                      <a:pt x="2145946" y="899684"/>
                    </a:cubicBezTo>
                    <a:cubicBezTo>
                      <a:pt x="2145477" y="904250"/>
                      <a:pt x="2144157" y="908689"/>
                      <a:pt x="2142077" y="912778"/>
                    </a:cubicBezTo>
                    <a:cubicBezTo>
                      <a:pt x="2141430" y="914039"/>
                      <a:pt x="2140682" y="915243"/>
                      <a:pt x="2139832" y="916377"/>
                    </a:cubicBezTo>
                    <a:cubicBezTo>
                      <a:pt x="2139388" y="917012"/>
                      <a:pt x="2138932" y="917637"/>
                      <a:pt x="2138399" y="918267"/>
                    </a:cubicBezTo>
                    <a:cubicBezTo>
                      <a:pt x="2138018" y="918723"/>
                      <a:pt x="2137612" y="919159"/>
                      <a:pt x="2137181" y="919571"/>
                    </a:cubicBezTo>
                    <a:cubicBezTo>
                      <a:pt x="2136192" y="920610"/>
                      <a:pt x="2135114" y="921559"/>
                      <a:pt x="2133947" y="922407"/>
                    </a:cubicBezTo>
                    <a:cubicBezTo>
                      <a:pt x="2133630" y="922677"/>
                      <a:pt x="2133312" y="922901"/>
                      <a:pt x="2133008" y="923126"/>
                    </a:cubicBezTo>
                    <a:cubicBezTo>
                      <a:pt x="2129545" y="925511"/>
                      <a:pt x="2126083" y="927986"/>
                      <a:pt x="2122620" y="930460"/>
                    </a:cubicBezTo>
                    <a:cubicBezTo>
                      <a:pt x="2120019" y="932306"/>
                      <a:pt x="2117407" y="934195"/>
                      <a:pt x="2114806" y="936085"/>
                    </a:cubicBezTo>
                    <a:cubicBezTo>
                      <a:pt x="2104824" y="943419"/>
                      <a:pt x="2094575" y="951114"/>
                      <a:pt x="2083476" y="959259"/>
                    </a:cubicBezTo>
                    <a:cubicBezTo>
                      <a:pt x="2083286" y="959423"/>
                      <a:pt x="2083096" y="959573"/>
                      <a:pt x="2082893" y="959708"/>
                    </a:cubicBezTo>
                    <a:cubicBezTo>
                      <a:pt x="2081586" y="957999"/>
                      <a:pt x="2080331" y="956288"/>
                      <a:pt x="2079113" y="954628"/>
                    </a:cubicBezTo>
                    <a:cubicBezTo>
                      <a:pt x="2078479" y="953819"/>
                      <a:pt x="2077857" y="953009"/>
                      <a:pt x="2077274" y="952245"/>
                    </a:cubicBezTo>
                    <a:cubicBezTo>
                      <a:pt x="2075790" y="950265"/>
                      <a:pt x="2074356" y="948375"/>
                      <a:pt x="2072910" y="946484"/>
                    </a:cubicBezTo>
                    <a:cubicBezTo>
                      <a:pt x="2068775" y="940995"/>
                      <a:pt x="2064830" y="935641"/>
                      <a:pt x="2061139" y="930101"/>
                    </a:cubicBezTo>
                    <a:cubicBezTo>
                      <a:pt x="2052958" y="917817"/>
                      <a:pt x="2044244" y="917727"/>
                      <a:pt x="2031484" y="930641"/>
                    </a:cubicBezTo>
                    <a:lnTo>
                      <a:pt x="2031344" y="930641"/>
                    </a:lnTo>
                    <a:cubicBezTo>
                      <a:pt x="2031205" y="929244"/>
                      <a:pt x="2031078" y="927847"/>
                      <a:pt x="2030900" y="926456"/>
                    </a:cubicBezTo>
                    <a:cubicBezTo>
                      <a:pt x="2030038" y="917998"/>
                      <a:pt x="2029010" y="909538"/>
                      <a:pt x="2028148" y="901079"/>
                    </a:cubicBezTo>
                    <a:cubicBezTo>
                      <a:pt x="2028059" y="900088"/>
                      <a:pt x="2027970" y="899047"/>
                      <a:pt x="2027882" y="898064"/>
                    </a:cubicBezTo>
                    <a:cubicBezTo>
                      <a:pt x="2027793" y="897119"/>
                      <a:pt x="2027704" y="896128"/>
                      <a:pt x="2027615" y="895185"/>
                    </a:cubicBezTo>
                    <a:cubicBezTo>
                      <a:pt x="2027349" y="892485"/>
                      <a:pt x="2027158" y="889785"/>
                      <a:pt x="2026981" y="887085"/>
                    </a:cubicBezTo>
                    <a:cubicBezTo>
                      <a:pt x="2026753" y="883980"/>
                      <a:pt x="2026575" y="880830"/>
                      <a:pt x="2026486" y="877726"/>
                    </a:cubicBezTo>
                    <a:cubicBezTo>
                      <a:pt x="2026689" y="873265"/>
                      <a:pt x="2025192" y="868893"/>
                      <a:pt x="2022300" y="865487"/>
                    </a:cubicBezTo>
                    <a:cubicBezTo>
                      <a:pt x="2021324" y="864437"/>
                      <a:pt x="2020170" y="863569"/>
                      <a:pt x="2018888" y="862922"/>
                    </a:cubicBezTo>
                    <a:lnTo>
                      <a:pt x="2018800" y="862922"/>
                    </a:lnTo>
                    <a:cubicBezTo>
                      <a:pt x="2015299" y="861313"/>
                      <a:pt x="2011506" y="860469"/>
                      <a:pt x="2007650" y="860448"/>
                    </a:cubicBezTo>
                    <a:cubicBezTo>
                      <a:pt x="2013815" y="857567"/>
                      <a:pt x="2019066" y="855138"/>
                      <a:pt x="2021311" y="854098"/>
                    </a:cubicBezTo>
                    <a:cubicBezTo>
                      <a:pt x="2024013" y="835919"/>
                      <a:pt x="2026258" y="820570"/>
                      <a:pt x="2028503" y="805412"/>
                    </a:cubicBezTo>
                    <a:cubicBezTo>
                      <a:pt x="2028237" y="805502"/>
                      <a:pt x="2027970" y="805547"/>
                      <a:pt x="2027653" y="805637"/>
                    </a:cubicBezTo>
                    <a:cubicBezTo>
                      <a:pt x="2023746" y="807170"/>
                      <a:pt x="2019675" y="808213"/>
                      <a:pt x="2015514" y="808742"/>
                    </a:cubicBezTo>
                    <a:cubicBezTo>
                      <a:pt x="2015185" y="807974"/>
                      <a:pt x="2014779" y="807236"/>
                      <a:pt x="2014309" y="806537"/>
                    </a:cubicBezTo>
                    <a:lnTo>
                      <a:pt x="2014309" y="806505"/>
                    </a:lnTo>
                    <a:cubicBezTo>
                      <a:pt x="2012648" y="803874"/>
                      <a:pt x="2010276" y="801769"/>
                      <a:pt x="2007473" y="800430"/>
                    </a:cubicBezTo>
                    <a:cubicBezTo>
                      <a:pt x="2000395" y="798435"/>
                      <a:pt x="1993190" y="796888"/>
                      <a:pt x="1985909" y="795796"/>
                    </a:cubicBezTo>
                    <a:cubicBezTo>
                      <a:pt x="1980113" y="794146"/>
                      <a:pt x="1974748" y="791261"/>
                      <a:pt x="1970181" y="787336"/>
                    </a:cubicBezTo>
                    <a:cubicBezTo>
                      <a:pt x="1969243" y="786502"/>
                      <a:pt x="1968418" y="785565"/>
                      <a:pt x="1967708" y="784542"/>
                    </a:cubicBezTo>
                    <a:lnTo>
                      <a:pt x="1967657" y="784542"/>
                    </a:lnTo>
                    <a:cubicBezTo>
                      <a:pt x="1967480" y="784318"/>
                      <a:pt x="1967340" y="784093"/>
                      <a:pt x="1967162" y="783868"/>
                    </a:cubicBezTo>
                    <a:cubicBezTo>
                      <a:pt x="1966325" y="782662"/>
                      <a:pt x="1965615" y="781381"/>
                      <a:pt x="1965006" y="780043"/>
                    </a:cubicBezTo>
                    <a:cubicBezTo>
                      <a:pt x="1964879" y="779815"/>
                      <a:pt x="1964778" y="779574"/>
                      <a:pt x="1964689" y="779324"/>
                    </a:cubicBezTo>
                    <a:cubicBezTo>
                      <a:pt x="1964296" y="778399"/>
                      <a:pt x="1963953" y="777452"/>
                      <a:pt x="1963661" y="776488"/>
                    </a:cubicBezTo>
                    <a:cubicBezTo>
                      <a:pt x="1962888" y="773986"/>
                      <a:pt x="1961949" y="771536"/>
                      <a:pt x="1960871" y="769154"/>
                    </a:cubicBezTo>
                    <a:cubicBezTo>
                      <a:pt x="1960541" y="768213"/>
                      <a:pt x="1960161" y="767295"/>
                      <a:pt x="1959704" y="766409"/>
                    </a:cubicBezTo>
                    <a:cubicBezTo>
                      <a:pt x="1958892" y="764744"/>
                      <a:pt x="1958042" y="763125"/>
                      <a:pt x="1957180" y="761550"/>
                    </a:cubicBezTo>
                    <a:cubicBezTo>
                      <a:pt x="1956774" y="760915"/>
                      <a:pt x="1956419" y="760335"/>
                      <a:pt x="1956013" y="759705"/>
                    </a:cubicBezTo>
                    <a:cubicBezTo>
                      <a:pt x="1954377" y="756948"/>
                      <a:pt x="1952563" y="754302"/>
                      <a:pt x="1950584" y="751787"/>
                    </a:cubicBezTo>
                    <a:cubicBezTo>
                      <a:pt x="1948491" y="749068"/>
                      <a:pt x="1946259" y="746469"/>
                      <a:pt x="1943887" y="744001"/>
                    </a:cubicBezTo>
                    <a:cubicBezTo>
                      <a:pt x="1941857" y="741797"/>
                      <a:pt x="1939701" y="739683"/>
                      <a:pt x="1937456" y="737612"/>
                    </a:cubicBezTo>
                    <a:cubicBezTo>
                      <a:pt x="1935794" y="735993"/>
                      <a:pt x="1934082" y="734462"/>
                      <a:pt x="1932331" y="732932"/>
                    </a:cubicBezTo>
                    <a:cubicBezTo>
                      <a:pt x="1928552" y="729602"/>
                      <a:pt x="1924645" y="726364"/>
                      <a:pt x="1920738" y="723123"/>
                    </a:cubicBezTo>
                    <a:cubicBezTo>
                      <a:pt x="1917009" y="720019"/>
                      <a:pt x="1913229" y="716959"/>
                      <a:pt x="1909551" y="713764"/>
                    </a:cubicBezTo>
                    <a:cubicBezTo>
                      <a:pt x="1893099" y="729254"/>
                      <a:pt x="1868758" y="732829"/>
                      <a:pt x="1848565" y="722719"/>
                    </a:cubicBezTo>
                    <a:cubicBezTo>
                      <a:pt x="1847487" y="722269"/>
                      <a:pt x="1846320" y="721818"/>
                      <a:pt x="1845064" y="721322"/>
                    </a:cubicBezTo>
                    <a:cubicBezTo>
                      <a:pt x="1843212" y="720602"/>
                      <a:pt x="1841322" y="719798"/>
                      <a:pt x="1839483" y="718982"/>
                    </a:cubicBezTo>
                    <a:cubicBezTo>
                      <a:pt x="1830921" y="714786"/>
                      <a:pt x="1821840" y="711731"/>
                      <a:pt x="1812479" y="709893"/>
                    </a:cubicBezTo>
                    <a:cubicBezTo>
                      <a:pt x="1810386" y="709582"/>
                      <a:pt x="1808255" y="709492"/>
                      <a:pt x="1806137" y="709624"/>
                    </a:cubicBezTo>
                    <a:lnTo>
                      <a:pt x="1805921" y="709624"/>
                    </a:lnTo>
                    <a:cubicBezTo>
                      <a:pt x="1793871" y="710251"/>
                      <a:pt x="1784612" y="720536"/>
                      <a:pt x="1785246" y="732594"/>
                    </a:cubicBezTo>
                    <a:cubicBezTo>
                      <a:pt x="1785309" y="733814"/>
                      <a:pt x="1785474" y="735025"/>
                      <a:pt x="1785740" y="736216"/>
                    </a:cubicBezTo>
                    <a:cubicBezTo>
                      <a:pt x="1786058" y="737971"/>
                      <a:pt x="1786463" y="739681"/>
                      <a:pt x="1786945" y="741435"/>
                    </a:cubicBezTo>
                    <a:cubicBezTo>
                      <a:pt x="1789673" y="749763"/>
                      <a:pt x="1792882" y="757922"/>
                      <a:pt x="1796573" y="765868"/>
                    </a:cubicBezTo>
                    <a:lnTo>
                      <a:pt x="1796611" y="765913"/>
                    </a:lnTo>
                    <a:cubicBezTo>
                      <a:pt x="1797651" y="768344"/>
                      <a:pt x="1798678" y="770952"/>
                      <a:pt x="1799756" y="773652"/>
                    </a:cubicBezTo>
                    <a:cubicBezTo>
                      <a:pt x="1797511" y="781616"/>
                      <a:pt x="1793782" y="794800"/>
                      <a:pt x="1790637" y="806050"/>
                    </a:cubicBezTo>
                    <a:cubicBezTo>
                      <a:pt x="1790903" y="806545"/>
                      <a:pt x="1791182" y="807085"/>
                      <a:pt x="1791448" y="807574"/>
                    </a:cubicBezTo>
                    <a:cubicBezTo>
                      <a:pt x="1793237" y="811010"/>
                      <a:pt x="1794822" y="814558"/>
                      <a:pt x="1796167" y="818194"/>
                    </a:cubicBezTo>
                    <a:cubicBezTo>
                      <a:pt x="1796801" y="819768"/>
                      <a:pt x="1797385" y="821388"/>
                      <a:pt x="1797866" y="823008"/>
                    </a:cubicBezTo>
                    <a:cubicBezTo>
                      <a:pt x="1798678" y="825303"/>
                      <a:pt x="1799351" y="827642"/>
                      <a:pt x="1799985" y="829937"/>
                    </a:cubicBezTo>
                    <a:cubicBezTo>
                      <a:pt x="1800429" y="831512"/>
                      <a:pt x="1800835" y="833087"/>
                      <a:pt x="1801241" y="834662"/>
                    </a:cubicBezTo>
                    <a:cubicBezTo>
                      <a:pt x="1803270" y="842987"/>
                      <a:pt x="1804741" y="851356"/>
                      <a:pt x="1806365" y="859635"/>
                    </a:cubicBezTo>
                    <a:cubicBezTo>
                      <a:pt x="1806860" y="862064"/>
                      <a:pt x="1807354" y="864450"/>
                      <a:pt x="1807887" y="866835"/>
                    </a:cubicBezTo>
                    <a:lnTo>
                      <a:pt x="1808026" y="867597"/>
                    </a:lnTo>
                    <a:cubicBezTo>
                      <a:pt x="1808065" y="867729"/>
                      <a:pt x="1808077" y="867865"/>
                      <a:pt x="1808065" y="868002"/>
                    </a:cubicBezTo>
                    <a:cubicBezTo>
                      <a:pt x="1807684" y="869552"/>
                      <a:pt x="1807012" y="871018"/>
                      <a:pt x="1806086" y="872320"/>
                    </a:cubicBezTo>
                    <a:cubicBezTo>
                      <a:pt x="1804475" y="875154"/>
                      <a:pt x="1802902" y="877989"/>
                      <a:pt x="1801329" y="880829"/>
                    </a:cubicBezTo>
                    <a:cubicBezTo>
                      <a:pt x="1799883" y="883348"/>
                      <a:pt x="1798501" y="885869"/>
                      <a:pt x="1797105" y="888343"/>
                    </a:cubicBezTo>
                    <a:cubicBezTo>
                      <a:pt x="1793008" y="895633"/>
                      <a:pt x="1788924" y="902831"/>
                      <a:pt x="1784612" y="909941"/>
                    </a:cubicBezTo>
                    <a:cubicBezTo>
                      <a:pt x="1782303" y="913596"/>
                      <a:pt x="1780185" y="917365"/>
                      <a:pt x="1778269" y="921235"/>
                    </a:cubicBezTo>
                    <a:cubicBezTo>
                      <a:pt x="1777584" y="922588"/>
                      <a:pt x="1777026" y="924005"/>
                      <a:pt x="1776608" y="925465"/>
                    </a:cubicBezTo>
                    <a:cubicBezTo>
                      <a:pt x="1775695" y="927999"/>
                      <a:pt x="1775707" y="930773"/>
                      <a:pt x="1776646" y="933295"/>
                    </a:cubicBezTo>
                    <a:cubicBezTo>
                      <a:pt x="1777762" y="935826"/>
                      <a:pt x="1779360" y="938106"/>
                      <a:pt x="1781364" y="939999"/>
                    </a:cubicBezTo>
                    <a:cubicBezTo>
                      <a:pt x="1783660" y="942339"/>
                      <a:pt x="1786717" y="944904"/>
                      <a:pt x="1790535" y="948054"/>
                    </a:cubicBezTo>
                    <a:cubicBezTo>
                      <a:pt x="1792273" y="949376"/>
                      <a:pt x="1794074" y="950606"/>
                      <a:pt x="1795926" y="951743"/>
                    </a:cubicBezTo>
                    <a:cubicBezTo>
                      <a:pt x="1797803" y="952858"/>
                      <a:pt x="1799592" y="954105"/>
                      <a:pt x="1801278" y="955477"/>
                    </a:cubicBezTo>
                    <a:cubicBezTo>
                      <a:pt x="1823615" y="974421"/>
                      <a:pt x="1837225" y="1019731"/>
                      <a:pt x="1832012" y="1052084"/>
                    </a:cubicBezTo>
                    <a:cubicBezTo>
                      <a:pt x="1831175" y="1058083"/>
                      <a:pt x="1829399" y="1063912"/>
                      <a:pt x="1826761" y="1069363"/>
                    </a:cubicBezTo>
                    <a:cubicBezTo>
                      <a:pt x="1814876" y="1093923"/>
                      <a:pt x="1795203" y="1113847"/>
                      <a:pt x="1770811" y="1126012"/>
                    </a:cubicBezTo>
                    <a:cubicBezTo>
                      <a:pt x="1762452" y="1130151"/>
                      <a:pt x="1754131" y="1134426"/>
                      <a:pt x="1745506" y="1138747"/>
                    </a:cubicBezTo>
                    <a:cubicBezTo>
                      <a:pt x="1745633" y="1139566"/>
                      <a:pt x="1745734" y="1140391"/>
                      <a:pt x="1745773" y="1141221"/>
                    </a:cubicBezTo>
                    <a:cubicBezTo>
                      <a:pt x="1745950" y="1143291"/>
                      <a:pt x="1745950" y="1145225"/>
                      <a:pt x="1746229" y="1146846"/>
                    </a:cubicBezTo>
                    <a:cubicBezTo>
                      <a:pt x="1746280" y="1147336"/>
                      <a:pt x="1746381" y="1147818"/>
                      <a:pt x="1746546" y="1148286"/>
                    </a:cubicBezTo>
                    <a:cubicBezTo>
                      <a:pt x="1746711" y="1148928"/>
                      <a:pt x="1747016" y="1149526"/>
                      <a:pt x="1747434" y="1150040"/>
                    </a:cubicBezTo>
                    <a:cubicBezTo>
                      <a:pt x="1751645" y="1155024"/>
                      <a:pt x="1754867" y="1160766"/>
                      <a:pt x="1756922" y="1166958"/>
                    </a:cubicBezTo>
                    <a:cubicBezTo>
                      <a:pt x="1757328" y="1168128"/>
                      <a:pt x="1757734" y="1169344"/>
                      <a:pt x="1758051" y="1170558"/>
                    </a:cubicBezTo>
                    <a:cubicBezTo>
                      <a:pt x="1758178" y="1171008"/>
                      <a:pt x="1758317" y="1171458"/>
                      <a:pt x="1758406" y="1171908"/>
                    </a:cubicBezTo>
                    <a:cubicBezTo>
                      <a:pt x="1758939" y="1173940"/>
                      <a:pt x="1759395" y="1175958"/>
                      <a:pt x="1759750" y="1178028"/>
                    </a:cubicBezTo>
                    <a:lnTo>
                      <a:pt x="1759750" y="1178162"/>
                    </a:lnTo>
                    <a:cubicBezTo>
                      <a:pt x="1759928" y="1178919"/>
                      <a:pt x="1760068" y="1179685"/>
                      <a:pt x="1760156" y="1180457"/>
                    </a:cubicBezTo>
                    <a:lnTo>
                      <a:pt x="1760207" y="1180638"/>
                    </a:lnTo>
                    <a:cubicBezTo>
                      <a:pt x="1760512" y="1182707"/>
                      <a:pt x="1760791" y="1184777"/>
                      <a:pt x="1761057" y="1186847"/>
                    </a:cubicBezTo>
                    <a:lnTo>
                      <a:pt x="1761463" y="1190492"/>
                    </a:lnTo>
                    <a:cubicBezTo>
                      <a:pt x="1761501" y="1191031"/>
                      <a:pt x="1761552" y="1191527"/>
                      <a:pt x="1761640" y="1192016"/>
                    </a:cubicBezTo>
                    <a:cubicBezTo>
                      <a:pt x="1761691" y="1192872"/>
                      <a:pt x="1761780" y="1193726"/>
                      <a:pt x="1761869" y="1194581"/>
                    </a:cubicBezTo>
                    <a:cubicBezTo>
                      <a:pt x="1761907" y="1195216"/>
                      <a:pt x="1761996" y="1195841"/>
                      <a:pt x="1762046" y="1196471"/>
                    </a:cubicBezTo>
                    <a:cubicBezTo>
                      <a:pt x="1762084" y="1196741"/>
                      <a:pt x="1762084" y="1197010"/>
                      <a:pt x="1762135" y="1197233"/>
                    </a:cubicBezTo>
                    <a:cubicBezTo>
                      <a:pt x="1762224" y="1197953"/>
                      <a:pt x="1762275" y="1198630"/>
                      <a:pt x="1762363" y="1199303"/>
                    </a:cubicBezTo>
                    <a:cubicBezTo>
                      <a:pt x="1762490" y="1200472"/>
                      <a:pt x="1762579" y="1201642"/>
                      <a:pt x="1762769" y="1202813"/>
                    </a:cubicBezTo>
                    <a:cubicBezTo>
                      <a:pt x="1762985" y="1204793"/>
                      <a:pt x="1763251" y="1206817"/>
                      <a:pt x="1763569" y="1208797"/>
                    </a:cubicBezTo>
                    <a:cubicBezTo>
                      <a:pt x="1763797" y="1210321"/>
                      <a:pt x="1764114" y="1211812"/>
                      <a:pt x="1764431" y="1213297"/>
                    </a:cubicBezTo>
                    <a:cubicBezTo>
                      <a:pt x="1765141" y="1216671"/>
                      <a:pt x="1766042" y="1219956"/>
                      <a:pt x="1766993" y="1223286"/>
                    </a:cubicBezTo>
                    <a:cubicBezTo>
                      <a:pt x="1767120" y="1223871"/>
                      <a:pt x="1767298" y="1224501"/>
                      <a:pt x="1767488" y="1225086"/>
                    </a:cubicBezTo>
                    <a:lnTo>
                      <a:pt x="1767488" y="1225131"/>
                    </a:lnTo>
                    <a:cubicBezTo>
                      <a:pt x="1767894" y="1226528"/>
                      <a:pt x="1768287" y="1227965"/>
                      <a:pt x="1768655" y="1229360"/>
                    </a:cubicBezTo>
                    <a:cubicBezTo>
                      <a:pt x="1768870" y="1230080"/>
                      <a:pt x="1769061" y="1230800"/>
                      <a:pt x="1769238" y="1231519"/>
                    </a:cubicBezTo>
                    <a:lnTo>
                      <a:pt x="1769365" y="1231924"/>
                    </a:lnTo>
                    <a:cubicBezTo>
                      <a:pt x="1769454" y="1232329"/>
                      <a:pt x="1769593" y="1232733"/>
                      <a:pt x="1769682" y="1233094"/>
                    </a:cubicBezTo>
                    <a:cubicBezTo>
                      <a:pt x="1770405" y="1235838"/>
                      <a:pt x="1771039" y="1238628"/>
                      <a:pt x="1771483" y="1241417"/>
                    </a:cubicBezTo>
                    <a:cubicBezTo>
                      <a:pt x="1771534" y="1241684"/>
                      <a:pt x="1771559" y="1241956"/>
                      <a:pt x="1771572" y="1242228"/>
                    </a:cubicBezTo>
                    <a:cubicBezTo>
                      <a:pt x="1772536" y="1249354"/>
                      <a:pt x="1772321" y="1256593"/>
                      <a:pt x="1770938" y="1263641"/>
                    </a:cubicBezTo>
                    <a:cubicBezTo>
                      <a:pt x="1770621" y="1265406"/>
                      <a:pt x="1770215" y="1267108"/>
                      <a:pt x="1769771" y="1268861"/>
                    </a:cubicBezTo>
                    <a:cubicBezTo>
                      <a:pt x="1768465" y="1274309"/>
                      <a:pt x="1766663" y="1279757"/>
                      <a:pt x="1764824" y="1285650"/>
                    </a:cubicBezTo>
                    <a:cubicBezTo>
                      <a:pt x="1764101" y="1287949"/>
                      <a:pt x="1763340" y="1290324"/>
                      <a:pt x="1762617" y="1292800"/>
                    </a:cubicBezTo>
                    <a:cubicBezTo>
                      <a:pt x="1759154" y="1291137"/>
                      <a:pt x="1754309" y="1288851"/>
                      <a:pt x="1748817" y="1286272"/>
                    </a:cubicBezTo>
                    <a:cubicBezTo>
                      <a:pt x="1744821" y="1292483"/>
                      <a:pt x="1741232" y="1298071"/>
                      <a:pt x="1737769" y="1303468"/>
                    </a:cubicBezTo>
                    <a:cubicBezTo>
                      <a:pt x="1730146" y="1302325"/>
                      <a:pt x="1723195" y="1298426"/>
                      <a:pt x="1718261" y="1292483"/>
                    </a:cubicBezTo>
                    <a:cubicBezTo>
                      <a:pt x="1716599" y="1289955"/>
                      <a:pt x="1715470" y="1287111"/>
                      <a:pt x="1714937" y="1284126"/>
                    </a:cubicBezTo>
                    <a:cubicBezTo>
                      <a:pt x="1713060" y="1278360"/>
                      <a:pt x="1709432" y="1273318"/>
                      <a:pt x="1704562" y="1269724"/>
                    </a:cubicBezTo>
                    <a:cubicBezTo>
                      <a:pt x="1702672" y="1268099"/>
                      <a:pt x="1700833" y="1266486"/>
                      <a:pt x="1699031" y="1264809"/>
                    </a:cubicBezTo>
                    <a:cubicBezTo>
                      <a:pt x="1695645" y="1261698"/>
                      <a:pt x="1692410" y="1258409"/>
                      <a:pt x="1689366" y="1254967"/>
                    </a:cubicBezTo>
                    <a:cubicBezTo>
                      <a:pt x="1682111" y="1247040"/>
                      <a:pt x="1676415" y="1237819"/>
                      <a:pt x="1672559" y="1227784"/>
                    </a:cubicBezTo>
                    <a:cubicBezTo>
                      <a:pt x="1671671" y="1225619"/>
                      <a:pt x="1670936" y="1223393"/>
                      <a:pt x="1670352" y="1221125"/>
                    </a:cubicBezTo>
                    <a:cubicBezTo>
                      <a:pt x="1667727" y="1211068"/>
                      <a:pt x="1667207" y="1200572"/>
                      <a:pt x="1668830" y="1190302"/>
                    </a:cubicBezTo>
                    <a:cubicBezTo>
                      <a:pt x="1669972" y="1186071"/>
                      <a:pt x="1669959" y="1181613"/>
                      <a:pt x="1668792" y="1177389"/>
                    </a:cubicBezTo>
                    <a:cubicBezTo>
                      <a:pt x="1662577" y="1163829"/>
                      <a:pt x="1662019" y="1148350"/>
                      <a:pt x="1667219" y="1134373"/>
                    </a:cubicBezTo>
                    <a:cubicBezTo>
                      <a:pt x="1669820" y="1128173"/>
                      <a:pt x="1666902" y="1121038"/>
                      <a:pt x="1660712" y="1118438"/>
                    </a:cubicBezTo>
                    <a:cubicBezTo>
                      <a:pt x="1660674" y="1118424"/>
                      <a:pt x="1660649" y="1118411"/>
                      <a:pt x="1660611" y="1118399"/>
                    </a:cubicBezTo>
                    <a:cubicBezTo>
                      <a:pt x="1659178" y="1117794"/>
                      <a:pt x="1657668" y="1117370"/>
                      <a:pt x="1656121" y="1117139"/>
                    </a:cubicBezTo>
                    <a:cubicBezTo>
                      <a:pt x="1648789" y="1116014"/>
                      <a:pt x="1641470" y="1114890"/>
                      <a:pt x="1634139" y="1113855"/>
                    </a:cubicBezTo>
                    <a:cubicBezTo>
                      <a:pt x="1625374" y="1112595"/>
                      <a:pt x="1616571" y="1111560"/>
                      <a:pt x="1607756" y="1111061"/>
                    </a:cubicBezTo>
                    <a:lnTo>
                      <a:pt x="1605067" y="1110926"/>
                    </a:lnTo>
                    <a:cubicBezTo>
                      <a:pt x="1596264" y="1111251"/>
                      <a:pt x="1587575" y="1108880"/>
                      <a:pt x="1580168" y="1104132"/>
                    </a:cubicBezTo>
                    <a:cubicBezTo>
                      <a:pt x="1578899" y="1103218"/>
                      <a:pt x="1577694" y="1102210"/>
                      <a:pt x="1576566" y="1101117"/>
                    </a:cubicBezTo>
                    <a:cubicBezTo>
                      <a:pt x="1575399" y="1099991"/>
                      <a:pt x="1574194" y="1098822"/>
                      <a:pt x="1572925" y="1097652"/>
                    </a:cubicBezTo>
                    <a:cubicBezTo>
                      <a:pt x="1569856" y="1094532"/>
                      <a:pt x="1566203" y="1092027"/>
                      <a:pt x="1562194" y="1090272"/>
                    </a:cubicBezTo>
                    <a:cubicBezTo>
                      <a:pt x="1544208" y="1084381"/>
                      <a:pt x="1527376" y="1075414"/>
                      <a:pt x="1512447" y="1063770"/>
                    </a:cubicBezTo>
                    <a:cubicBezTo>
                      <a:pt x="1507272" y="1059341"/>
                      <a:pt x="1502629" y="1054329"/>
                      <a:pt x="1498596" y="1048831"/>
                    </a:cubicBezTo>
                    <a:cubicBezTo>
                      <a:pt x="1496617" y="1046166"/>
                      <a:pt x="1494397" y="1043695"/>
                      <a:pt x="1491949" y="1041452"/>
                    </a:cubicBezTo>
                    <a:cubicBezTo>
                      <a:pt x="1491861" y="1041419"/>
                      <a:pt x="1491772" y="1041355"/>
                      <a:pt x="1491721" y="1041272"/>
                    </a:cubicBezTo>
                    <a:cubicBezTo>
                      <a:pt x="1474382" y="1025568"/>
                      <a:pt x="1448405" y="1023094"/>
                      <a:pt x="1428313" y="1011080"/>
                    </a:cubicBezTo>
                    <a:cubicBezTo>
                      <a:pt x="1423277" y="1008020"/>
                      <a:pt x="1413434" y="1012025"/>
                      <a:pt x="1406065" y="1013959"/>
                    </a:cubicBezTo>
                    <a:cubicBezTo>
                      <a:pt x="1396501" y="1016479"/>
                      <a:pt x="1387191" y="1020169"/>
                      <a:pt x="1376320" y="1023865"/>
                    </a:cubicBezTo>
                    <a:cubicBezTo>
                      <a:pt x="1376308" y="1023728"/>
                      <a:pt x="1376333" y="1023592"/>
                      <a:pt x="1376358" y="1023460"/>
                    </a:cubicBezTo>
                    <a:lnTo>
                      <a:pt x="1376358" y="1023415"/>
                    </a:lnTo>
                    <a:cubicBezTo>
                      <a:pt x="1378388" y="991919"/>
                      <a:pt x="1365716" y="966900"/>
                      <a:pt x="1358791" y="941072"/>
                    </a:cubicBezTo>
                    <a:cubicBezTo>
                      <a:pt x="1358068" y="938328"/>
                      <a:pt x="1357396" y="935628"/>
                      <a:pt x="1356812" y="932883"/>
                    </a:cubicBezTo>
                    <a:cubicBezTo>
                      <a:pt x="1346753" y="929200"/>
                      <a:pt x="1337583" y="925684"/>
                      <a:pt x="1330568" y="932208"/>
                    </a:cubicBezTo>
                    <a:cubicBezTo>
                      <a:pt x="1328691" y="934018"/>
                      <a:pt x="1327156" y="936151"/>
                      <a:pt x="1326027" y="938508"/>
                    </a:cubicBezTo>
                    <a:cubicBezTo>
                      <a:pt x="1323783" y="934233"/>
                      <a:pt x="1320865" y="930049"/>
                      <a:pt x="1318303" y="925818"/>
                    </a:cubicBezTo>
                    <a:cubicBezTo>
                      <a:pt x="1317897" y="925234"/>
                      <a:pt x="1317580" y="924695"/>
                      <a:pt x="1317225" y="924109"/>
                    </a:cubicBezTo>
                    <a:cubicBezTo>
                      <a:pt x="1315500" y="921286"/>
                      <a:pt x="1314028" y="918319"/>
                      <a:pt x="1312823" y="915244"/>
                    </a:cubicBezTo>
                    <a:cubicBezTo>
                      <a:pt x="1312684" y="914885"/>
                      <a:pt x="1312544" y="914482"/>
                      <a:pt x="1312417" y="914075"/>
                    </a:cubicBezTo>
                    <a:cubicBezTo>
                      <a:pt x="1311923" y="912548"/>
                      <a:pt x="1311567" y="910982"/>
                      <a:pt x="1311339" y="909395"/>
                    </a:cubicBezTo>
                    <a:cubicBezTo>
                      <a:pt x="1309424" y="892147"/>
                      <a:pt x="1309741" y="874726"/>
                      <a:pt x="1312278" y="857560"/>
                    </a:cubicBezTo>
                    <a:cubicBezTo>
                      <a:pt x="1317960" y="820731"/>
                      <a:pt x="1330251" y="785235"/>
                      <a:pt x="1348542" y="752784"/>
                    </a:cubicBezTo>
                    <a:cubicBezTo>
                      <a:pt x="1348897" y="752025"/>
                      <a:pt x="1349303" y="751289"/>
                      <a:pt x="1349760" y="750579"/>
                    </a:cubicBezTo>
                    <a:cubicBezTo>
                      <a:pt x="1349937" y="750122"/>
                      <a:pt x="1350165" y="749683"/>
                      <a:pt x="1350432" y="749273"/>
                    </a:cubicBezTo>
                    <a:cubicBezTo>
                      <a:pt x="1354605" y="741489"/>
                      <a:pt x="1359057" y="733840"/>
                      <a:pt x="1363636" y="726235"/>
                    </a:cubicBezTo>
                    <a:cubicBezTo>
                      <a:pt x="1363750" y="726014"/>
                      <a:pt x="1363864" y="725802"/>
                      <a:pt x="1364004" y="725600"/>
                    </a:cubicBezTo>
                    <a:cubicBezTo>
                      <a:pt x="1367061" y="720520"/>
                      <a:pt x="1370156" y="715477"/>
                      <a:pt x="1373352" y="710437"/>
                    </a:cubicBezTo>
                    <a:cubicBezTo>
                      <a:pt x="1376409" y="705532"/>
                      <a:pt x="1379060" y="700448"/>
                      <a:pt x="1381305" y="696173"/>
                    </a:cubicBezTo>
                    <a:cubicBezTo>
                      <a:pt x="1381572" y="695588"/>
                      <a:pt x="1381889" y="695004"/>
                      <a:pt x="1382206" y="694464"/>
                    </a:cubicBezTo>
                    <a:cubicBezTo>
                      <a:pt x="1382561" y="693788"/>
                      <a:pt x="1382878" y="693158"/>
                      <a:pt x="1383233" y="692528"/>
                    </a:cubicBezTo>
                    <a:cubicBezTo>
                      <a:pt x="1398467" y="688845"/>
                      <a:pt x="1412940" y="685289"/>
                      <a:pt x="1425662" y="682179"/>
                    </a:cubicBezTo>
                    <a:cubicBezTo>
                      <a:pt x="1429911" y="672169"/>
                      <a:pt x="1426930" y="660548"/>
                      <a:pt x="1418381" y="653833"/>
                    </a:cubicBezTo>
                    <a:cubicBezTo>
                      <a:pt x="1418318" y="653784"/>
                      <a:pt x="1418267" y="653739"/>
                      <a:pt x="1418204" y="653697"/>
                    </a:cubicBezTo>
                    <a:cubicBezTo>
                      <a:pt x="1411012" y="647893"/>
                      <a:pt x="1401346" y="644383"/>
                      <a:pt x="1396894" y="636868"/>
                    </a:cubicBezTo>
                    <a:cubicBezTo>
                      <a:pt x="1396818" y="636789"/>
                      <a:pt x="1396767" y="636699"/>
                      <a:pt x="1396717" y="636599"/>
                    </a:cubicBezTo>
                    <a:lnTo>
                      <a:pt x="1396501" y="636733"/>
                    </a:lnTo>
                    <a:cubicBezTo>
                      <a:pt x="1392898" y="638804"/>
                      <a:pt x="1390831" y="640108"/>
                      <a:pt x="1388764" y="641233"/>
                    </a:cubicBezTo>
                    <a:cubicBezTo>
                      <a:pt x="1388586" y="641323"/>
                      <a:pt x="1388446" y="641413"/>
                      <a:pt x="1388269" y="641504"/>
                    </a:cubicBezTo>
                    <a:cubicBezTo>
                      <a:pt x="1386430" y="642493"/>
                      <a:pt x="1384451" y="643257"/>
                      <a:pt x="1381534" y="644563"/>
                    </a:cubicBezTo>
                    <a:cubicBezTo>
                      <a:pt x="1382586" y="641782"/>
                      <a:pt x="1383804" y="639061"/>
                      <a:pt x="1385174" y="636418"/>
                    </a:cubicBezTo>
                    <a:cubicBezTo>
                      <a:pt x="1385301" y="636194"/>
                      <a:pt x="1385440" y="635924"/>
                      <a:pt x="1385567" y="635698"/>
                    </a:cubicBezTo>
                    <a:cubicBezTo>
                      <a:pt x="1390019" y="627824"/>
                      <a:pt x="1394560" y="627780"/>
                      <a:pt x="1405748" y="634348"/>
                    </a:cubicBezTo>
                    <a:cubicBezTo>
                      <a:pt x="1416846" y="642296"/>
                      <a:pt x="1431699" y="642549"/>
                      <a:pt x="1443052" y="634983"/>
                    </a:cubicBezTo>
                    <a:cubicBezTo>
                      <a:pt x="1443990" y="630979"/>
                      <a:pt x="1444891" y="627155"/>
                      <a:pt x="1445703" y="623465"/>
                    </a:cubicBezTo>
                    <a:cubicBezTo>
                      <a:pt x="1445880" y="622936"/>
                      <a:pt x="1446020" y="622395"/>
                      <a:pt x="1446109" y="621845"/>
                    </a:cubicBezTo>
                    <a:cubicBezTo>
                      <a:pt x="1446832" y="618786"/>
                      <a:pt x="1447542" y="615815"/>
                      <a:pt x="1448214" y="612936"/>
                    </a:cubicBezTo>
                    <a:cubicBezTo>
                      <a:pt x="1448354" y="612396"/>
                      <a:pt x="1448443" y="611901"/>
                      <a:pt x="1448582" y="611361"/>
                    </a:cubicBezTo>
                    <a:cubicBezTo>
                      <a:pt x="1448899" y="610146"/>
                      <a:pt x="1449166" y="608932"/>
                      <a:pt x="1449432" y="607716"/>
                    </a:cubicBezTo>
                    <a:cubicBezTo>
                      <a:pt x="1451360" y="608212"/>
                      <a:pt x="1453212" y="608617"/>
                      <a:pt x="1455051" y="609021"/>
                    </a:cubicBezTo>
                    <a:cubicBezTo>
                      <a:pt x="1455901" y="609201"/>
                      <a:pt x="1456713" y="609381"/>
                      <a:pt x="1457524" y="609561"/>
                    </a:cubicBezTo>
                    <a:cubicBezTo>
                      <a:pt x="1462344" y="610462"/>
                      <a:pt x="1467088" y="611726"/>
                      <a:pt x="1471731" y="613341"/>
                    </a:cubicBezTo>
                    <a:cubicBezTo>
                      <a:pt x="1471997" y="613431"/>
                      <a:pt x="1472225" y="613520"/>
                      <a:pt x="1472492" y="613611"/>
                    </a:cubicBezTo>
                    <a:lnTo>
                      <a:pt x="1472809" y="613745"/>
                    </a:lnTo>
                    <a:cubicBezTo>
                      <a:pt x="1482982" y="618059"/>
                      <a:pt x="1494765" y="613932"/>
                      <a:pt x="1500042" y="604206"/>
                    </a:cubicBezTo>
                    <a:cubicBezTo>
                      <a:pt x="1512168" y="584994"/>
                      <a:pt x="1522011" y="564295"/>
                      <a:pt x="1534594" y="540313"/>
                    </a:cubicBezTo>
                    <a:cubicBezTo>
                      <a:pt x="1535266" y="539053"/>
                      <a:pt x="1535951" y="537793"/>
                      <a:pt x="1536623" y="536487"/>
                    </a:cubicBezTo>
                    <a:cubicBezTo>
                      <a:pt x="1522772" y="534733"/>
                      <a:pt x="1513068" y="532798"/>
                      <a:pt x="1503314" y="532393"/>
                    </a:cubicBezTo>
                    <a:cubicBezTo>
                      <a:pt x="1492825" y="532731"/>
                      <a:pt x="1482436" y="530128"/>
                      <a:pt x="1473342" y="524878"/>
                    </a:cubicBezTo>
                    <a:cubicBezTo>
                      <a:pt x="1469042" y="521953"/>
                      <a:pt x="1465465" y="518093"/>
                      <a:pt x="1462877" y="513585"/>
                    </a:cubicBezTo>
                    <a:cubicBezTo>
                      <a:pt x="1462370" y="512853"/>
                      <a:pt x="1461926" y="512085"/>
                      <a:pt x="1461520" y="511290"/>
                    </a:cubicBezTo>
                    <a:cubicBezTo>
                      <a:pt x="1458108" y="505525"/>
                      <a:pt x="1454062" y="500165"/>
                      <a:pt x="1449432" y="495316"/>
                    </a:cubicBezTo>
                    <a:cubicBezTo>
                      <a:pt x="1447504" y="493157"/>
                      <a:pt x="1445525" y="490907"/>
                      <a:pt x="1443597" y="488522"/>
                    </a:cubicBezTo>
                    <a:cubicBezTo>
                      <a:pt x="1449483" y="489062"/>
                      <a:pt x="1457804" y="487352"/>
                      <a:pt x="1462915" y="490681"/>
                    </a:cubicBezTo>
                    <a:cubicBezTo>
                      <a:pt x="1471579" y="496506"/>
                      <a:pt x="1479811" y="502958"/>
                      <a:pt x="1487548" y="509985"/>
                    </a:cubicBezTo>
                    <a:cubicBezTo>
                      <a:pt x="1488043" y="510390"/>
                      <a:pt x="1488487" y="510795"/>
                      <a:pt x="1488981" y="511245"/>
                    </a:cubicBezTo>
                    <a:cubicBezTo>
                      <a:pt x="1491632" y="513585"/>
                      <a:pt x="1494283" y="516015"/>
                      <a:pt x="1496896" y="518399"/>
                    </a:cubicBezTo>
                    <a:cubicBezTo>
                      <a:pt x="1507272" y="527939"/>
                      <a:pt x="1518916" y="531089"/>
                      <a:pt x="1526590" y="523169"/>
                    </a:cubicBezTo>
                    <a:cubicBezTo>
                      <a:pt x="1541253" y="508006"/>
                      <a:pt x="1553011" y="490286"/>
                      <a:pt x="1561294" y="470884"/>
                    </a:cubicBezTo>
                    <a:cubicBezTo>
                      <a:pt x="1558909" y="469219"/>
                      <a:pt x="1556842" y="467735"/>
                      <a:pt x="1555002" y="466294"/>
                    </a:cubicBezTo>
                    <a:cubicBezTo>
                      <a:pt x="1549916" y="462510"/>
                      <a:pt x="1545642" y="457754"/>
                      <a:pt x="1542420" y="452300"/>
                    </a:cubicBezTo>
                    <a:cubicBezTo>
                      <a:pt x="1541202" y="450365"/>
                      <a:pt x="1539984" y="448109"/>
                      <a:pt x="1538640" y="445551"/>
                    </a:cubicBezTo>
                    <a:cubicBezTo>
                      <a:pt x="1552123" y="444561"/>
                      <a:pt x="1564262" y="443660"/>
                      <a:pt x="1577694" y="442630"/>
                    </a:cubicBezTo>
                    <a:cubicBezTo>
                      <a:pt x="1578100" y="443754"/>
                      <a:pt x="1578544" y="445014"/>
                      <a:pt x="1579039" y="446313"/>
                    </a:cubicBezTo>
                    <a:cubicBezTo>
                      <a:pt x="1580257" y="449675"/>
                      <a:pt x="1581728" y="452939"/>
                      <a:pt x="1583440" y="456077"/>
                    </a:cubicBezTo>
                    <a:cubicBezTo>
                      <a:pt x="1586726" y="461746"/>
                      <a:pt x="1590861" y="465526"/>
                      <a:pt x="1595845" y="461971"/>
                    </a:cubicBezTo>
                    <a:cubicBezTo>
                      <a:pt x="1606272" y="454593"/>
                      <a:pt x="1613464" y="464356"/>
                      <a:pt x="1623129" y="460713"/>
                    </a:cubicBezTo>
                    <a:cubicBezTo>
                      <a:pt x="1618855" y="453198"/>
                      <a:pt x="1616026" y="444919"/>
                      <a:pt x="1612297" y="437764"/>
                    </a:cubicBezTo>
                    <a:cubicBezTo>
                      <a:pt x="1611625" y="436550"/>
                      <a:pt x="1610990" y="435334"/>
                      <a:pt x="1610280" y="434208"/>
                    </a:cubicBezTo>
                    <a:cubicBezTo>
                      <a:pt x="1609126" y="432312"/>
                      <a:pt x="1607832" y="430507"/>
                      <a:pt x="1606411" y="428809"/>
                    </a:cubicBezTo>
                    <a:lnTo>
                      <a:pt x="1606361" y="428763"/>
                    </a:lnTo>
                    <a:cubicBezTo>
                      <a:pt x="1606094" y="428494"/>
                      <a:pt x="1605828" y="428179"/>
                      <a:pt x="1605562" y="427909"/>
                    </a:cubicBezTo>
                    <a:cubicBezTo>
                      <a:pt x="1602809" y="424919"/>
                      <a:pt x="1599410" y="422595"/>
                      <a:pt x="1595630" y="421114"/>
                    </a:cubicBezTo>
                    <a:cubicBezTo>
                      <a:pt x="1593727" y="420352"/>
                      <a:pt x="1591748" y="419779"/>
                      <a:pt x="1589732" y="419405"/>
                    </a:cubicBezTo>
                    <a:cubicBezTo>
                      <a:pt x="1588653" y="419180"/>
                      <a:pt x="1587537" y="419044"/>
                      <a:pt x="1586370" y="418909"/>
                    </a:cubicBezTo>
                    <a:cubicBezTo>
                      <a:pt x="1597241" y="406761"/>
                      <a:pt x="1597735" y="407750"/>
                      <a:pt x="1607172" y="415445"/>
                    </a:cubicBezTo>
                    <a:cubicBezTo>
                      <a:pt x="1612335" y="420107"/>
                      <a:pt x="1616521" y="425751"/>
                      <a:pt x="1619476" y="432049"/>
                    </a:cubicBezTo>
                    <a:cubicBezTo>
                      <a:pt x="1620288" y="433533"/>
                      <a:pt x="1621151" y="435108"/>
                      <a:pt x="1622000" y="436637"/>
                    </a:cubicBezTo>
                    <a:cubicBezTo>
                      <a:pt x="1625514" y="443815"/>
                      <a:pt x="1630727" y="450024"/>
                      <a:pt x="1637183" y="454726"/>
                    </a:cubicBezTo>
                    <a:cubicBezTo>
                      <a:pt x="1654358" y="438617"/>
                      <a:pt x="1671253" y="423409"/>
                      <a:pt x="1687387" y="407300"/>
                    </a:cubicBezTo>
                    <a:cubicBezTo>
                      <a:pt x="1694807" y="396099"/>
                      <a:pt x="1696330" y="381985"/>
                      <a:pt x="1691472" y="369454"/>
                    </a:cubicBezTo>
                    <a:cubicBezTo>
                      <a:pt x="1691370" y="369233"/>
                      <a:pt x="1691256" y="369021"/>
                      <a:pt x="1691116" y="368819"/>
                    </a:cubicBezTo>
                    <a:cubicBezTo>
                      <a:pt x="1690850" y="368269"/>
                      <a:pt x="1690533" y="367742"/>
                      <a:pt x="1690178" y="367244"/>
                    </a:cubicBezTo>
                    <a:cubicBezTo>
                      <a:pt x="1689823" y="366735"/>
                      <a:pt x="1689429" y="366254"/>
                      <a:pt x="1688998" y="365804"/>
                    </a:cubicBezTo>
                    <a:cubicBezTo>
                      <a:pt x="1677417" y="352533"/>
                      <a:pt x="1669211" y="336646"/>
                      <a:pt x="1665101" y="319504"/>
                    </a:cubicBezTo>
                    <a:cubicBezTo>
                      <a:pt x="1664962" y="319188"/>
                      <a:pt x="1664873" y="318869"/>
                      <a:pt x="1664733" y="318558"/>
                    </a:cubicBezTo>
                    <a:lnTo>
                      <a:pt x="1664733" y="318513"/>
                    </a:lnTo>
                    <a:cubicBezTo>
                      <a:pt x="1663795" y="315544"/>
                      <a:pt x="1662843" y="312619"/>
                      <a:pt x="1661816" y="309649"/>
                    </a:cubicBezTo>
                    <a:cubicBezTo>
                      <a:pt x="1661588" y="308885"/>
                      <a:pt x="1661321" y="308135"/>
                      <a:pt x="1661017" y="307400"/>
                    </a:cubicBezTo>
                    <a:cubicBezTo>
                      <a:pt x="1660205" y="304970"/>
                      <a:pt x="1659304" y="302585"/>
                      <a:pt x="1658353" y="300161"/>
                    </a:cubicBezTo>
                    <a:cubicBezTo>
                      <a:pt x="1671938" y="295750"/>
                      <a:pt x="1691028" y="301558"/>
                      <a:pt x="1694313" y="282026"/>
                    </a:cubicBezTo>
                    <a:cubicBezTo>
                      <a:pt x="1694465" y="279927"/>
                      <a:pt x="1693907" y="277838"/>
                      <a:pt x="1692740" y="276088"/>
                    </a:cubicBezTo>
                    <a:cubicBezTo>
                      <a:pt x="1690812" y="272848"/>
                      <a:pt x="1687704" y="269293"/>
                      <a:pt x="1685092" y="265603"/>
                    </a:cubicBezTo>
                    <a:cubicBezTo>
                      <a:pt x="1684521" y="264794"/>
                      <a:pt x="1683975" y="263938"/>
                      <a:pt x="1683480" y="263129"/>
                    </a:cubicBezTo>
                    <a:cubicBezTo>
                      <a:pt x="1685586" y="258898"/>
                      <a:pt x="1688465" y="253139"/>
                      <a:pt x="1692017" y="245895"/>
                    </a:cubicBezTo>
                    <a:cubicBezTo>
                      <a:pt x="1692334" y="245220"/>
                      <a:pt x="1692689" y="244498"/>
                      <a:pt x="1693057" y="243780"/>
                    </a:cubicBezTo>
                    <a:cubicBezTo>
                      <a:pt x="1685447" y="242738"/>
                      <a:pt x="1678153" y="240068"/>
                      <a:pt x="1671659" y="235951"/>
                    </a:cubicBezTo>
                    <a:cubicBezTo>
                      <a:pt x="1668259" y="233789"/>
                      <a:pt x="1665253" y="231066"/>
                      <a:pt x="1662767" y="227896"/>
                    </a:cubicBezTo>
                    <a:cubicBezTo>
                      <a:pt x="1660319" y="224931"/>
                      <a:pt x="1658404" y="221568"/>
                      <a:pt x="1657097" y="217952"/>
                    </a:cubicBezTo>
                    <a:cubicBezTo>
                      <a:pt x="1656958" y="217699"/>
                      <a:pt x="1656856" y="217426"/>
                      <a:pt x="1656793" y="217143"/>
                    </a:cubicBezTo>
                    <a:cubicBezTo>
                      <a:pt x="1655816" y="214611"/>
                      <a:pt x="1655119" y="211988"/>
                      <a:pt x="1654675" y="209314"/>
                    </a:cubicBezTo>
                    <a:cubicBezTo>
                      <a:pt x="1654497" y="208497"/>
                      <a:pt x="1654358" y="207670"/>
                      <a:pt x="1654269" y="206838"/>
                    </a:cubicBezTo>
                    <a:cubicBezTo>
                      <a:pt x="1643145" y="205613"/>
                      <a:pt x="1632262" y="202826"/>
                      <a:pt x="1621912" y="198559"/>
                    </a:cubicBezTo>
                    <a:cubicBezTo>
                      <a:pt x="1610952" y="190506"/>
                      <a:pt x="1596251" y="189745"/>
                      <a:pt x="1584519" y="196625"/>
                    </a:cubicBezTo>
                    <a:cubicBezTo>
                      <a:pt x="1583757" y="196993"/>
                      <a:pt x="1583022" y="197414"/>
                      <a:pt x="1582324" y="197884"/>
                    </a:cubicBezTo>
                    <a:cubicBezTo>
                      <a:pt x="1581335" y="198469"/>
                      <a:pt x="1580345" y="199145"/>
                      <a:pt x="1579356" y="199819"/>
                    </a:cubicBezTo>
                    <a:cubicBezTo>
                      <a:pt x="1579356" y="199999"/>
                      <a:pt x="1579305" y="200179"/>
                      <a:pt x="1579305" y="200359"/>
                    </a:cubicBezTo>
                    <a:cubicBezTo>
                      <a:pt x="1579178" y="201484"/>
                      <a:pt x="1579039" y="202564"/>
                      <a:pt x="1578950" y="203599"/>
                    </a:cubicBezTo>
                    <a:cubicBezTo>
                      <a:pt x="1578722" y="205444"/>
                      <a:pt x="1578544" y="207198"/>
                      <a:pt x="1578405" y="208863"/>
                    </a:cubicBezTo>
                    <a:lnTo>
                      <a:pt x="1578405" y="208909"/>
                    </a:lnTo>
                    <a:cubicBezTo>
                      <a:pt x="1578278" y="210433"/>
                      <a:pt x="1578138" y="211923"/>
                      <a:pt x="1578050" y="213318"/>
                    </a:cubicBezTo>
                    <a:cubicBezTo>
                      <a:pt x="1577821" y="216153"/>
                      <a:pt x="1577733" y="218628"/>
                      <a:pt x="1577733" y="220923"/>
                    </a:cubicBezTo>
                    <a:cubicBezTo>
                      <a:pt x="1577733" y="222636"/>
                      <a:pt x="1577821" y="224349"/>
                      <a:pt x="1578012" y="226052"/>
                    </a:cubicBezTo>
                    <a:cubicBezTo>
                      <a:pt x="1578265" y="228936"/>
                      <a:pt x="1578975" y="231761"/>
                      <a:pt x="1580117" y="234420"/>
                    </a:cubicBezTo>
                    <a:cubicBezTo>
                      <a:pt x="1582908" y="240093"/>
                      <a:pt x="1586713" y="245204"/>
                      <a:pt x="1591355" y="249495"/>
                    </a:cubicBezTo>
                    <a:cubicBezTo>
                      <a:pt x="1591533" y="249674"/>
                      <a:pt x="1591711" y="249899"/>
                      <a:pt x="1591888" y="250079"/>
                    </a:cubicBezTo>
                    <a:cubicBezTo>
                      <a:pt x="1593283" y="251520"/>
                      <a:pt x="1594767" y="253000"/>
                      <a:pt x="1596391" y="254623"/>
                    </a:cubicBezTo>
                    <a:cubicBezTo>
                      <a:pt x="1596251" y="255258"/>
                      <a:pt x="1596112" y="255885"/>
                      <a:pt x="1596023" y="256469"/>
                    </a:cubicBezTo>
                    <a:cubicBezTo>
                      <a:pt x="1595528" y="258854"/>
                      <a:pt x="1595084" y="261193"/>
                      <a:pt x="1594628" y="263534"/>
                    </a:cubicBezTo>
                    <a:cubicBezTo>
                      <a:pt x="1594539" y="263888"/>
                      <a:pt x="1594463" y="264249"/>
                      <a:pt x="1594412" y="264613"/>
                    </a:cubicBezTo>
                    <a:cubicBezTo>
                      <a:pt x="1594184" y="265648"/>
                      <a:pt x="1593955" y="266683"/>
                      <a:pt x="1593778" y="267718"/>
                    </a:cubicBezTo>
                    <a:cubicBezTo>
                      <a:pt x="1593093" y="271003"/>
                      <a:pt x="1592472" y="274287"/>
                      <a:pt x="1591799" y="277617"/>
                    </a:cubicBezTo>
                    <a:lnTo>
                      <a:pt x="1591520" y="278967"/>
                    </a:lnTo>
                    <a:cubicBezTo>
                      <a:pt x="1585863" y="279912"/>
                      <a:pt x="1579217" y="281081"/>
                      <a:pt x="1572202" y="282297"/>
                    </a:cubicBezTo>
                    <a:cubicBezTo>
                      <a:pt x="1566938" y="304030"/>
                      <a:pt x="1572963" y="328823"/>
                      <a:pt x="1551210" y="346596"/>
                    </a:cubicBezTo>
                    <a:cubicBezTo>
                      <a:pt x="1549421" y="335572"/>
                      <a:pt x="1548026" y="326843"/>
                      <a:pt x="1546263" y="316043"/>
                    </a:cubicBezTo>
                    <a:cubicBezTo>
                      <a:pt x="1535076" y="330848"/>
                      <a:pt x="1533592" y="341781"/>
                      <a:pt x="1543117" y="353121"/>
                    </a:cubicBezTo>
                    <a:cubicBezTo>
                      <a:pt x="1550601" y="360759"/>
                      <a:pt x="1551464" y="372702"/>
                      <a:pt x="1545147" y="381333"/>
                    </a:cubicBezTo>
                    <a:cubicBezTo>
                      <a:pt x="1544196" y="382678"/>
                      <a:pt x="1543168" y="383955"/>
                      <a:pt x="1542039" y="385158"/>
                    </a:cubicBezTo>
                    <a:cubicBezTo>
                      <a:pt x="1540390" y="386804"/>
                      <a:pt x="1538640" y="388338"/>
                      <a:pt x="1536788" y="389748"/>
                    </a:cubicBezTo>
                    <a:lnTo>
                      <a:pt x="1536788" y="389792"/>
                    </a:lnTo>
                    <a:cubicBezTo>
                      <a:pt x="1536471" y="390017"/>
                      <a:pt x="1536154" y="390287"/>
                      <a:pt x="1535799" y="390554"/>
                    </a:cubicBezTo>
                    <a:cubicBezTo>
                      <a:pt x="1535253" y="390915"/>
                      <a:pt x="1534758" y="391316"/>
                      <a:pt x="1534226" y="391679"/>
                    </a:cubicBezTo>
                    <a:cubicBezTo>
                      <a:pt x="1530408" y="394473"/>
                      <a:pt x="1526362" y="397034"/>
                      <a:pt x="1522772" y="399914"/>
                    </a:cubicBezTo>
                    <a:cubicBezTo>
                      <a:pt x="1522582" y="399509"/>
                      <a:pt x="1522404" y="399152"/>
                      <a:pt x="1522277" y="398744"/>
                    </a:cubicBezTo>
                    <a:cubicBezTo>
                      <a:pt x="1519994" y="390963"/>
                      <a:pt x="1516493" y="383597"/>
                      <a:pt x="1511889" y="376921"/>
                    </a:cubicBezTo>
                    <a:cubicBezTo>
                      <a:pt x="1496287" y="359967"/>
                      <a:pt x="1490326" y="336262"/>
                      <a:pt x="1496021" y="313929"/>
                    </a:cubicBezTo>
                    <a:cubicBezTo>
                      <a:pt x="1497645" y="314063"/>
                      <a:pt x="1499256" y="314153"/>
                      <a:pt x="1500930" y="314289"/>
                    </a:cubicBezTo>
                    <a:lnTo>
                      <a:pt x="1502947" y="314424"/>
                    </a:lnTo>
                    <a:cubicBezTo>
                      <a:pt x="1504431" y="314559"/>
                      <a:pt x="1505915" y="314649"/>
                      <a:pt x="1507437" y="314783"/>
                    </a:cubicBezTo>
                    <a:cubicBezTo>
                      <a:pt x="1512878" y="282882"/>
                      <a:pt x="1495932" y="262499"/>
                      <a:pt x="1474864" y="242250"/>
                    </a:cubicBezTo>
                    <a:cubicBezTo>
                      <a:pt x="1473418" y="240853"/>
                      <a:pt x="1471946" y="239456"/>
                      <a:pt x="1470450" y="238059"/>
                    </a:cubicBezTo>
                    <a:cubicBezTo>
                      <a:pt x="1463943" y="250163"/>
                      <a:pt x="1455850" y="258398"/>
                      <a:pt x="1456345" y="273831"/>
                    </a:cubicBezTo>
                    <a:cubicBezTo>
                      <a:pt x="1456446" y="277378"/>
                      <a:pt x="1456281" y="280928"/>
                      <a:pt x="1455850" y="284451"/>
                    </a:cubicBezTo>
                    <a:cubicBezTo>
                      <a:pt x="1455533" y="287252"/>
                      <a:pt x="1454975" y="290022"/>
                      <a:pt x="1454188" y="292730"/>
                    </a:cubicBezTo>
                    <a:cubicBezTo>
                      <a:pt x="1454188" y="292820"/>
                      <a:pt x="1454138" y="292909"/>
                      <a:pt x="1454138" y="292999"/>
                    </a:cubicBezTo>
                    <a:cubicBezTo>
                      <a:pt x="1451817" y="301497"/>
                      <a:pt x="1447555" y="309338"/>
                      <a:pt x="1441695" y="315902"/>
                    </a:cubicBezTo>
                    <a:cubicBezTo>
                      <a:pt x="1441251" y="316442"/>
                      <a:pt x="1440756" y="316982"/>
                      <a:pt x="1440261" y="317523"/>
                    </a:cubicBezTo>
                    <a:cubicBezTo>
                      <a:pt x="1439767" y="316622"/>
                      <a:pt x="1439272" y="315677"/>
                      <a:pt x="1438866" y="314729"/>
                    </a:cubicBezTo>
                    <a:cubicBezTo>
                      <a:pt x="1438777" y="314660"/>
                      <a:pt x="1438739" y="314562"/>
                      <a:pt x="1438727" y="314458"/>
                    </a:cubicBezTo>
                    <a:cubicBezTo>
                      <a:pt x="1429873" y="295605"/>
                      <a:pt x="1434591" y="273827"/>
                      <a:pt x="1428389" y="256278"/>
                    </a:cubicBezTo>
                    <a:cubicBezTo>
                      <a:pt x="1426131" y="249583"/>
                      <a:pt x="1421958" y="243700"/>
                      <a:pt x="1416390" y="239361"/>
                    </a:cubicBezTo>
                    <a:cubicBezTo>
                      <a:pt x="1415667" y="238775"/>
                      <a:pt x="1414956" y="238235"/>
                      <a:pt x="1414183" y="237696"/>
                    </a:cubicBezTo>
                    <a:cubicBezTo>
                      <a:pt x="1419903" y="232520"/>
                      <a:pt x="1423937" y="228787"/>
                      <a:pt x="1430913" y="222487"/>
                    </a:cubicBezTo>
                    <a:cubicBezTo>
                      <a:pt x="1431357" y="222082"/>
                      <a:pt x="1431801" y="221677"/>
                      <a:pt x="1432308" y="221228"/>
                    </a:cubicBezTo>
                    <a:cubicBezTo>
                      <a:pt x="1426309" y="221081"/>
                      <a:pt x="1420499" y="219051"/>
                      <a:pt x="1415717" y="215422"/>
                    </a:cubicBezTo>
                    <a:cubicBezTo>
                      <a:pt x="1413104" y="213630"/>
                      <a:pt x="1410073" y="212545"/>
                      <a:pt x="1406915" y="212273"/>
                    </a:cubicBezTo>
                    <a:cubicBezTo>
                      <a:pt x="1403224" y="212432"/>
                      <a:pt x="1399761" y="214070"/>
                      <a:pt x="1397300" y="216817"/>
                    </a:cubicBezTo>
                    <a:cubicBezTo>
                      <a:pt x="1396032" y="217988"/>
                      <a:pt x="1389829" y="214343"/>
                      <a:pt x="1386239" y="212407"/>
                    </a:cubicBezTo>
                    <a:cubicBezTo>
                      <a:pt x="1386100" y="212316"/>
                      <a:pt x="1385948" y="212240"/>
                      <a:pt x="1385783" y="212183"/>
                    </a:cubicBezTo>
                    <a:cubicBezTo>
                      <a:pt x="1383728" y="211057"/>
                      <a:pt x="1381660" y="209933"/>
                      <a:pt x="1379631" y="208762"/>
                    </a:cubicBezTo>
                    <a:cubicBezTo>
                      <a:pt x="1378870" y="208359"/>
                      <a:pt x="1378147" y="207908"/>
                      <a:pt x="1377386" y="207503"/>
                    </a:cubicBezTo>
                    <a:cubicBezTo>
                      <a:pt x="1376713" y="207099"/>
                      <a:pt x="1376079" y="206741"/>
                      <a:pt x="1375407" y="206333"/>
                    </a:cubicBezTo>
                    <a:cubicBezTo>
                      <a:pt x="1374557" y="205839"/>
                      <a:pt x="1373657" y="205344"/>
                      <a:pt x="1372807" y="204848"/>
                    </a:cubicBezTo>
                    <a:cubicBezTo>
                      <a:pt x="1371323" y="203949"/>
                      <a:pt x="1369889" y="203093"/>
                      <a:pt x="1368443" y="202283"/>
                    </a:cubicBezTo>
                    <a:cubicBezTo>
                      <a:pt x="1375813" y="193149"/>
                      <a:pt x="1382688" y="184645"/>
                      <a:pt x="1389423" y="176322"/>
                    </a:cubicBezTo>
                    <a:cubicBezTo>
                      <a:pt x="1389296" y="176186"/>
                      <a:pt x="1389157" y="176096"/>
                      <a:pt x="1389030" y="175961"/>
                    </a:cubicBezTo>
                    <a:cubicBezTo>
                      <a:pt x="1386239" y="173666"/>
                      <a:pt x="1383994" y="171866"/>
                      <a:pt x="1382066" y="170246"/>
                    </a:cubicBezTo>
                    <a:cubicBezTo>
                      <a:pt x="1380354" y="168849"/>
                      <a:pt x="1378870" y="167637"/>
                      <a:pt x="1377386" y="166377"/>
                    </a:cubicBezTo>
                    <a:cubicBezTo>
                      <a:pt x="1378020" y="164980"/>
                      <a:pt x="1378692" y="163583"/>
                      <a:pt x="1379314" y="162193"/>
                    </a:cubicBezTo>
                    <a:cubicBezTo>
                      <a:pt x="1380887" y="162372"/>
                      <a:pt x="1382459" y="162598"/>
                      <a:pt x="1384083" y="162777"/>
                    </a:cubicBezTo>
                    <a:cubicBezTo>
                      <a:pt x="1384933" y="162912"/>
                      <a:pt x="1385783" y="163002"/>
                      <a:pt x="1386645" y="163138"/>
                    </a:cubicBezTo>
                    <a:cubicBezTo>
                      <a:pt x="1391135" y="163722"/>
                      <a:pt x="1396120" y="164352"/>
                      <a:pt x="1402462" y="165162"/>
                    </a:cubicBezTo>
                    <a:cubicBezTo>
                      <a:pt x="1400661" y="162368"/>
                      <a:pt x="1398911" y="159672"/>
                      <a:pt x="1397249" y="157062"/>
                    </a:cubicBezTo>
                    <a:cubicBezTo>
                      <a:pt x="1396311" y="155665"/>
                      <a:pt x="1395410" y="154318"/>
                      <a:pt x="1394548" y="152968"/>
                    </a:cubicBezTo>
                    <a:cubicBezTo>
                      <a:pt x="1388041" y="143023"/>
                      <a:pt x="1381965" y="133890"/>
                      <a:pt x="1376396" y="124756"/>
                    </a:cubicBezTo>
                    <a:cubicBezTo>
                      <a:pt x="1376041" y="124216"/>
                      <a:pt x="1375673" y="123631"/>
                      <a:pt x="1375369" y="123091"/>
                    </a:cubicBezTo>
                    <a:cubicBezTo>
                      <a:pt x="1375052" y="122596"/>
                      <a:pt x="1374773" y="122101"/>
                      <a:pt x="1374468" y="121606"/>
                    </a:cubicBezTo>
                    <a:cubicBezTo>
                      <a:pt x="1374329" y="121426"/>
                      <a:pt x="1374240" y="121201"/>
                      <a:pt x="1374101" y="121021"/>
                    </a:cubicBezTo>
                    <a:cubicBezTo>
                      <a:pt x="1373568" y="120122"/>
                      <a:pt x="1373073" y="119267"/>
                      <a:pt x="1372579" y="118366"/>
                    </a:cubicBezTo>
                    <a:cubicBezTo>
                      <a:pt x="1371906" y="117287"/>
                      <a:pt x="1371285" y="116162"/>
                      <a:pt x="1370650" y="115082"/>
                    </a:cubicBezTo>
                    <a:cubicBezTo>
                      <a:pt x="1369560" y="113157"/>
                      <a:pt x="1368621" y="111157"/>
                      <a:pt x="1367822" y="109097"/>
                    </a:cubicBezTo>
                    <a:cubicBezTo>
                      <a:pt x="1365653" y="104261"/>
                      <a:pt x="1364892" y="98913"/>
                      <a:pt x="1365615" y="93664"/>
                    </a:cubicBezTo>
                    <a:cubicBezTo>
                      <a:pt x="1368177" y="79746"/>
                      <a:pt x="1364473" y="65406"/>
                      <a:pt x="1355506" y="54471"/>
                    </a:cubicBezTo>
                    <a:lnTo>
                      <a:pt x="1355468" y="54381"/>
                    </a:lnTo>
                    <a:cubicBezTo>
                      <a:pt x="1352182" y="49747"/>
                      <a:pt x="1348580" y="45247"/>
                      <a:pt x="1345219" y="40703"/>
                    </a:cubicBezTo>
                    <a:cubicBezTo>
                      <a:pt x="1342923" y="37644"/>
                      <a:pt x="1340716" y="34539"/>
                      <a:pt x="1338788" y="31343"/>
                    </a:cubicBezTo>
                    <a:cubicBezTo>
                      <a:pt x="1338699" y="31175"/>
                      <a:pt x="1338572" y="31023"/>
                      <a:pt x="1338433" y="30894"/>
                    </a:cubicBezTo>
                    <a:cubicBezTo>
                      <a:pt x="1334424" y="27437"/>
                      <a:pt x="1329478" y="25259"/>
                      <a:pt x="1324226" y="24639"/>
                    </a:cubicBezTo>
                    <a:cubicBezTo>
                      <a:pt x="1323909" y="24570"/>
                      <a:pt x="1323592" y="24480"/>
                      <a:pt x="1323288" y="24370"/>
                    </a:cubicBezTo>
                    <a:cubicBezTo>
                      <a:pt x="1322679" y="24247"/>
                      <a:pt x="1322070" y="24081"/>
                      <a:pt x="1321487" y="23875"/>
                    </a:cubicBezTo>
                    <a:cubicBezTo>
                      <a:pt x="1320053" y="23515"/>
                      <a:pt x="1318569" y="23064"/>
                      <a:pt x="1317174" y="22570"/>
                    </a:cubicBezTo>
                    <a:lnTo>
                      <a:pt x="1315956" y="22165"/>
                    </a:lnTo>
                    <a:cubicBezTo>
                      <a:pt x="1316045" y="21933"/>
                      <a:pt x="1316108" y="21691"/>
                      <a:pt x="1316147" y="21445"/>
                    </a:cubicBezTo>
                    <a:cubicBezTo>
                      <a:pt x="1317225" y="17666"/>
                      <a:pt x="1317757" y="13076"/>
                      <a:pt x="1318696" y="9206"/>
                    </a:cubicBezTo>
                    <a:cubicBezTo>
                      <a:pt x="1318823" y="8674"/>
                      <a:pt x="1318975" y="8148"/>
                      <a:pt x="1319153" y="7631"/>
                    </a:cubicBezTo>
                    <a:lnTo>
                      <a:pt x="1319153" y="7606"/>
                    </a:lnTo>
                    <a:cubicBezTo>
                      <a:pt x="1319597" y="5305"/>
                      <a:pt x="1320878" y="3252"/>
                      <a:pt x="1322742" y="1845"/>
                    </a:cubicBezTo>
                    <a:cubicBezTo>
                      <a:pt x="1323656" y="1293"/>
                      <a:pt x="1324531" y="677"/>
                      <a:pt x="1325355" y="1"/>
                    </a:cubicBezTo>
                    <a:lnTo>
                      <a:pt x="1305175" y="1"/>
                    </a:lnTo>
                    <a:cubicBezTo>
                      <a:pt x="1305035" y="2403"/>
                      <a:pt x="1304731" y="4793"/>
                      <a:pt x="1304274" y="7155"/>
                    </a:cubicBezTo>
                    <a:cubicBezTo>
                      <a:pt x="1301585" y="20705"/>
                      <a:pt x="1293569" y="32604"/>
                      <a:pt x="1282039" y="40186"/>
                    </a:cubicBezTo>
                    <a:cubicBezTo>
                      <a:pt x="1283104" y="41626"/>
                      <a:pt x="1284094" y="42975"/>
                      <a:pt x="1284994" y="44235"/>
                    </a:cubicBezTo>
                    <a:cubicBezTo>
                      <a:pt x="1287176" y="47100"/>
                      <a:pt x="1289078" y="50158"/>
                      <a:pt x="1290702" y="53370"/>
                    </a:cubicBezTo>
                    <a:lnTo>
                      <a:pt x="1290702" y="53415"/>
                    </a:lnTo>
                    <a:cubicBezTo>
                      <a:pt x="1293214" y="57302"/>
                      <a:pt x="1292224" y="62474"/>
                      <a:pt x="1288457" y="65158"/>
                    </a:cubicBezTo>
                    <a:cubicBezTo>
                      <a:pt x="1284056" y="63403"/>
                      <a:pt x="1279477" y="61559"/>
                      <a:pt x="1275024" y="59804"/>
                    </a:cubicBezTo>
                    <a:cubicBezTo>
                      <a:pt x="1264738" y="73494"/>
                      <a:pt x="1261072" y="91054"/>
                      <a:pt x="1265004" y="107725"/>
                    </a:cubicBezTo>
                    <a:cubicBezTo>
                      <a:pt x="1267147" y="114913"/>
                      <a:pt x="1270940" y="121505"/>
                      <a:pt x="1276052" y="126983"/>
                    </a:cubicBezTo>
                    <a:cubicBezTo>
                      <a:pt x="1275925" y="127208"/>
                      <a:pt x="1275747" y="127388"/>
                      <a:pt x="1275608" y="127618"/>
                    </a:cubicBezTo>
                    <a:cubicBezTo>
                      <a:pt x="1261452" y="147866"/>
                      <a:pt x="1259740" y="162490"/>
                      <a:pt x="1268010" y="176035"/>
                    </a:cubicBezTo>
                    <a:lnTo>
                      <a:pt x="1268061" y="176214"/>
                    </a:lnTo>
                    <a:cubicBezTo>
                      <a:pt x="1275164" y="186252"/>
                      <a:pt x="1284132" y="194823"/>
                      <a:pt x="1294482" y="201457"/>
                    </a:cubicBezTo>
                    <a:cubicBezTo>
                      <a:pt x="1300951" y="206092"/>
                      <a:pt x="1314612" y="204921"/>
                      <a:pt x="1317808" y="209601"/>
                    </a:cubicBezTo>
                    <a:lnTo>
                      <a:pt x="1317846" y="209646"/>
                    </a:lnTo>
                    <a:cubicBezTo>
                      <a:pt x="1317998" y="209804"/>
                      <a:pt x="1318125" y="209987"/>
                      <a:pt x="1318214" y="210186"/>
                    </a:cubicBezTo>
                    <a:cubicBezTo>
                      <a:pt x="1319457" y="213181"/>
                      <a:pt x="1321360" y="215857"/>
                      <a:pt x="1323783" y="218016"/>
                    </a:cubicBezTo>
                    <a:lnTo>
                      <a:pt x="1323833" y="218060"/>
                    </a:lnTo>
                    <a:cubicBezTo>
                      <a:pt x="1330797" y="223910"/>
                      <a:pt x="1340005" y="220040"/>
                      <a:pt x="1351561" y="216441"/>
                    </a:cubicBezTo>
                    <a:cubicBezTo>
                      <a:pt x="1350965" y="218510"/>
                      <a:pt x="1350381" y="220399"/>
                      <a:pt x="1349848" y="222200"/>
                    </a:cubicBezTo>
                    <a:cubicBezTo>
                      <a:pt x="1349176" y="224584"/>
                      <a:pt x="1348504" y="226744"/>
                      <a:pt x="1347921" y="228769"/>
                    </a:cubicBezTo>
                    <a:cubicBezTo>
                      <a:pt x="1347159" y="231288"/>
                      <a:pt x="1346475" y="233583"/>
                      <a:pt x="1345853" y="235699"/>
                    </a:cubicBezTo>
                    <a:cubicBezTo>
                      <a:pt x="1345358" y="237453"/>
                      <a:pt x="1344863" y="239074"/>
                      <a:pt x="1344407" y="240652"/>
                    </a:cubicBezTo>
                    <a:cubicBezTo>
                      <a:pt x="1343874" y="240382"/>
                      <a:pt x="1343329" y="240112"/>
                      <a:pt x="1342796" y="239890"/>
                    </a:cubicBezTo>
                    <a:cubicBezTo>
                      <a:pt x="1338661" y="237865"/>
                      <a:pt x="1335782" y="236515"/>
                      <a:pt x="1333765" y="235525"/>
                    </a:cubicBezTo>
                    <a:cubicBezTo>
                      <a:pt x="1332953" y="235164"/>
                      <a:pt x="1332319" y="234850"/>
                      <a:pt x="1331735" y="234580"/>
                    </a:cubicBezTo>
                    <a:lnTo>
                      <a:pt x="1330657" y="238089"/>
                    </a:lnTo>
                    <a:cubicBezTo>
                      <a:pt x="1329846" y="240745"/>
                      <a:pt x="1329084" y="243355"/>
                      <a:pt x="1328273" y="245874"/>
                    </a:cubicBezTo>
                    <a:cubicBezTo>
                      <a:pt x="1326116" y="252986"/>
                      <a:pt x="1324087" y="259688"/>
                      <a:pt x="1322108" y="266122"/>
                    </a:cubicBezTo>
                    <a:cubicBezTo>
                      <a:pt x="1321347" y="268687"/>
                      <a:pt x="1320586" y="271202"/>
                      <a:pt x="1319774" y="273727"/>
                    </a:cubicBezTo>
                    <a:cubicBezTo>
                      <a:pt x="1319647" y="274267"/>
                      <a:pt x="1319457" y="274852"/>
                      <a:pt x="1319279" y="275392"/>
                    </a:cubicBezTo>
                    <a:cubicBezTo>
                      <a:pt x="1319470" y="275478"/>
                      <a:pt x="1319673" y="275553"/>
                      <a:pt x="1319863" y="275617"/>
                    </a:cubicBezTo>
                    <a:cubicBezTo>
                      <a:pt x="1336492" y="282365"/>
                      <a:pt x="1329211" y="260587"/>
                      <a:pt x="1340982" y="260048"/>
                    </a:cubicBezTo>
                    <a:lnTo>
                      <a:pt x="1341794" y="260048"/>
                    </a:lnTo>
                    <a:cubicBezTo>
                      <a:pt x="1342251" y="260093"/>
                      <a:pt x="1342745" y="260138"/>
                      <a:pt x="1343278" y="260228"/>
                    </a:cubicBezTo>
                    <a:cubicBezTo>
                      <a:pt x="1343417" y="261442"/>
                      <a:pt x="1343506" y="262703"/>
                      <a:pt x="1343633" y="263917"/>
                    </a:cubicBezTo>
                    <a:cubicBezTo>
                      <a:pt x="1344394" y="271207"/>
                      <a:pt x="1345168" y="278766"/>
                      <a:pt x="1345980" y="286904"/>
                    </a:cubicBezTo>
                    <a:lnTo>
                      <a:pt x="1345980" y="286949"/>
                    </a:lnTo>
                    <a:cubicBezTo>
                      <a:pt x="1346157" y="288524"/>
                      <a:pt x="1346284" y="290144"/>
                      <a:pt x="1346475" y="291809"/>
                    </a:cubicBezTo>
                    <a:cubicBezTo>
                      <a:pt x="1346512" y="292393"/>
                      <a:pt x="1346601" y="292979"/>
                      <a:pt x="1346652" y="293563"/>
                    </a:cubicBezTo>
                    <a:cubicBezTo>
                      <a:pt x="1328805" y="302337"/>
                      <a:pt x="1325710" y="329110"/>
                      <a:pt x="1306697" y="334599"/>
                    </a:cubicBezTo>
                    <a:cubicBezTo>
                      <a:pt x="1304591" y="335223"/>
                      <a:pt x="1302422" y="335555"/>
                      <a:pt x="1300228" y="335590"/>
                    </a:cubicBezTo>
                    <a:cubicBezTo>
                      <a:pt x="1299048" y="335663"/>
                      <a:pt x="1297856" y="335649"/>
                      <a:pt x="1296676" y="335545"/>
                    </a:cubicBezTo>
                    <a:cubicBezTo>
                      <a:pt x="1291565" y="341747"/>
                      <a:pt x="1289560" y="349951"/>
                      <a:pt x="1291235" y="357817"/>
                    </a:cubicBezTo>
                    <a:cubicBezTo>
                      <a:pt x="1291894" y="361286"/>
                      <a:pt x="1292820" y="364699"/>
                      <a:pt x="1293975" y="368032"/>
                    </a:cubicBezTo>
                    <a:lnTo>
                      <a:pt x="1293975" y="368076"/>
                    </a:lnTo>
                    <a:cubicBezTo>
                      <a:pt x="1295636" y="372582"/>
                      <a:pt x="1296994" y="377197"/>
                      <a:pt x="1298021" y="381890"/>
                    </a:cubicBezTo>
                    <a:cubicBezTo>
                      <a:pt x="1298110" y="382135"/>
                      <a:pt x="1298160" y="382392"/>
                      <a:pt x="1298160" y="382652"/>
                    </a:cubicBezTo>
                    <a:cubicBezTo>
                      <a:pt x="1299467" y="388615"/>
                      <a:pt x="1298680" y="394848"/>
                      <a:pt x="1295915" y="400290"/>
                    </a:cubicBezTo>
                    <a:cubicBezTo>
                      <a:pt x="1295433" y="400270"/>
                      <a:pt x="1294964" y="400179"/>
                      <a:pt x="1294520" y="400019"/>
                    </a:cubicBezTo>
                    <a:cubicBezTo>
                      <a:pt x="1294127" y="399925"/>
                      <a:pt x="1293746" y="399790"/>
                      <a:pt x="1293391" y="399616"/>
                    </a:cubicBezTo>
                    <a:lnTo>
                      <a:pt x="1293353" y="399616"/>
                    </a:lnTo>
                    <a:cubicBezTo>
                      <a:pt x="1292034" y="398945"/>
                      <a:pt x="1290842" y="398080"/>
                      <a:pt x="1289802" y="397050"/>
                    </a:cubicBezTo>
                    <a:cubicBezTo>
                      <a:pt x="1288191" y="395412"/>
                      <a:pt x="1286478" y="393879"/>
                      <a:pt x="1284677" y="392460"/>
                    </a:cubicBezTo>
                    <a:cubicBezTo>
                      <a:pt x="1281849" y="390171"/>
                      <a:pt x="1277790" y="390285"/>
                      <a:pt x="1275100" y="392731"/>
                    </a:cubicBezTo>
                    <a:lnTo>
                      <a:pt x="1275050" y="392551"/>
                    </a:lnTo>
                    <a:cubicBezTo>
                      <a:pt x="1271054" y="383841"/>
                      <a:pt x="1268492" y="374542"/>
                      <a:pt x="1267465" y="365013"/>
                    </a:cubicBezTo>
                    <a:cubicBezTo>
                      <a:pt x="1269190" y="351301"/>
                      <a:pt x="1272107" y="337765"/>
                      <a:pt x="1276179" y="324562"/>
                    </a:cubicBezTo>
                    <a:cubicBezTo>
                      <a:pt x="1276585" y="323076"/>
                      <a:pt x="1276940" y="321502"/>
                      <a:pt x="1277308" y="319927"/>
                    </a:cubicBezTo>
                    <a:cubicBezTo>
                      <a:pt x="1269532" y="325147"/>
                      <a:pt x="1265258" y="328071"/>
                      <a:pt x="1262289" y="330051"/>
                    </a:cubicBezTo>
                    <a:cubicBezTo>
                      <a:pt x="1261795" y="330412"/>
                      <a:pt x="1261351" y="330727"/>
                      <a:pt x="1260894" y="330996"/>
                    </a:cubicBezTo>
                    <a:cubicBezTo>
                      <a:pt x="1258700" y="327891"/>
                      <a:pt x="1256632" y="324787"/>
                      <a:pt x="1254552" y="321725"/>
                    </a:cubicBezTo>
                    <a:cubicBezTo>
                      <a:pt x="1253702" y="320464"/>
                      <a:pt x="1252852" y="319160"/>
                      <a:pt x="1251990" y="317900"/>
                    </a:cubicBezTo>
                    <a:cubicBezTo>
                      <a:pt x="1249073" y="313625"/>
                      <a:pt x="1246104" y="309486"/>
                      <a:pt x="1242819" y="305571"/>
                    </a:cubicBezTo>
                    <a:cubicBezTo>
                      <a:pt x="1242375" y="304990"/>
                      <a:pt x="1241881" y="304449"/>
                      <a:pt x="1241348" y="303952"/>
                    </a:cubicBezTo>
                    <a:cubicBezTo>
                      <a:pt x="1237302" y="299901"/>
                      <a:pt x="1234105" y="299721"/>
                      <a:pt x="1231226" y="301207"/>
                    </a:cubicBezTo>
                    <a:cubicBezTo>
                      <a:pt x="1229171" y="302438"/>
                      <a:pt x="1227307" y="303969"/>
                      <a:pt x="1225708" y="305751"/>
                    </a:cubicBezTo>
                    <a:cubicBezTo>
                      <a:pt x="1222690" y="308720"/>
                      <a:pt x="1219683" y="311826"/>
                      <a:pt x="1215992" y="311735"/>
                    </a:cubicBezTo>
                    <a:cubicBezTo>
                      <a:pt x="1214369" y="311733"/>
                      <a:pt x="1212745" y="311883"/>
                      <a:pt x="1211147" y="312185"/>
                    </a:cubicBezTo>
                    <a:lnTo>
                      <a:pt x="1211147" y="312231"/>
                    </a:lnTo>
                    <a:cubicBezTo>
                      <a:pt x="1210652" y="312275"/>
                      <a:pt x="1210196" y="312365"/>
                      <a:pt x="1209840" y="312411"/>
                    </a:cubicBezTo>
                    <a:lnTo>
                      <a:pt x="1209701" y="312455"/>
                    </a:lnTo>
                    <a:cubicBezTo>
                      <a:pt x="1209663" y="312951"/>
                      <a:pt x="1209612" y="313445"/>
                      <a:pt x="1209574" y="313896"/>
                    </a:cubicBezTo>
                    <a:cubicBezTo>
                      <a:pt x="1209257" y="316690"/>
                      <a:pt x="1208940" y="319430"/>
                      <a:pt x="1208673" y="322129"/>
                    </a:cubicBezTo>
                    <a:cubicBezTo>
                      <a:pt x="1208217" y="326225"/>
                      <a:pt x="1207824" y="330274"/>
                      <a:pt x="1207418" y="334233"/>
                    </a:cubicBezTo>
                    <a:cubicBezTo>
                      <a:pt x="1206923" y="338463"/>
                      <a:pt x="1206466" y="342603"/>
                      <a:pt x="1206022" y="346697"/>
                    </a:cubicBezTo>
                    <a:cubicBezTo>
                      <a:pt x="1205832" y="348587"/>
                      <a:pt x="1205617" y="350432"/>
                      <a:pt x="1205439" y="352276"/>
                    </a:cubicBezTo>
                    <a:cubicBezTo>
                      <a:pt x="1197778" y="358219"/>
                      <a:pt x="1187351" y="359083"/>
                      <a:pt x="1178828" y="354481"/>
                    </a:cubicBezTo>
                    <a:cubicBezTo>
                      <a:pt x="1165306" y="347909"/>
                      <a:pt x="1149527" y="347909"/>
                      <a:pt x="1136006" y="354481"/>
                    </a:cubicBezTo>
                    <a:cubicBezTo>
                      <a:pt x="1128674" y="357901"/>
                      <a:pt x="1120658" y="359566"/>
                      <a:pt x="1112591" y="359341"/>
                    </a:cubicBezTo>
                    <a:cubicBezTo>
                      <a:pt x="1111259" y="359311"/>
                      <a:pt x="1109940" y="359190"/>
                      <a:pt x="1108633" y="358981"/>
                    </a:cubicBezTo>
                    <a:cubicBezTo>
                      <a:pt x="1098194" y="357460"/>
                      <a:pt x="1088453" y="352836"/>
                      <a:pt x="1080677" y="345708"/>
                    </a:cubicBezTo>
                    <a:cubicBezTo>
                      <a:pt x="1079244" y="344448"/>
                      <a:pt x="1077760" y="343188"/>
                      <a:pt x="1076276" y="342017"/>
                    </a:cubicBezTo>
                    <a:lnTo>
                      <a:pt x="1076187" y="341973"/>
                    </a:lnTo>
                    <a:cubicBezTo>
                      <a:pt x="1072572" y="338954"/>
                      <a:pt x="1068501" y="336524"/>
                      <a:pt x="1064137" y="334773"/>
                    </a:cubicBezTo>
                    <a:cubicBezTo>
                      <a:pt x="1059127" y="332878"/>
                      <a:pt x="1053673" y="332487"/>
                      <a:pt x="1048447" y="333648"/>
                    </a:cubicBezTo>
                    <a:cubicBezTo>
                      <a:pt x="1045339" y="334040"/>
                      <a:pt x="1042181" y="333511"/>
                      <a:pt x="1039378" y="332124"/>
                    </a:cubicBezTo>
                    <a:cubicBezTo>
                      <a:pt x="1037627" y="331347"/>
                      <a:pt x="1035978" y="330348"/>
                      <a:pt x="1034482" y="329153"/>
                    </a:cubicBezTo>
                    <a:cubicBezTo>
                      <a:pt x="1032325" y="327400"/>
                      <a:pt x="1030169" y="325644"/>
                      <a:pt x="1028051" y="323799"/>
                    </a:cubicBezTo>
                    <a:cubicBezTo>
                      <a:pt x="1027784" y="323601"/>
                      <a:pt x="1027531" y="323389"/>
                      <a:pt x="1027290" y="323164"/>
                    </a:cubicBezTo>
                    <a:cubicBezTo>
                      <a:pt x="1026072" y="322085"/>
                      <a:pt x="1024816" y="321005"/>
                      <a:pt x="1023599" y="319924"/>
                    </a:cubicBezTo>
                    <a:cubicBezTo>
                      <a:pt x="1021493" y="318035"/>
                      <a:pt x="1019375" y="316145"/>
                      <a:pt x="1017256" y="314209"/>
                    </a:cubicBezTo>
                    <a:cubicBezTo>
                      <a:pt x="1015646" y="312725"/>
                      <a:pt x="1013984" y="311194"/>
                      <a:pt x="1012310" y="309664"/>
                    </a:cubicBezTo>
                    <a:cubicBezTo>
                      <a:pt x="1011409" y="308855"/>
                      <a:pt x="1010521" y="307999"/>
                      <a:pt x="1009621" y="307144"/>
                    </a:cubicBezTo>
                    <a:cubicBezTo>
                      <a:pt x="1008048" y="305747"/>
                      <a:pt x="1006424" y="304265"/>
                      <a:pt x="1004813" y="302826"/>
                    </a:cubicBezTo>
                    <a:cubicBezTo>
                      <a:pt x="1004357" y="302421"/>
                      <a:pt x="1003951" y="302016"/>
                      <a:pt x="1003507" y="301611"/>
                    </a:cubicBezTo>
                    <a:cubicBezTo>
                      <a:pt x="984544" y="314165"/>
                      <a:pt x="966608" y="326044"/>
                      <a:pt x="945578" y="339993"/>
                    </a:cubicBezTo>
                    <a:lnTo>
                      <a:pt x="945312" y="340533"/>
                    </a:lnTo>
                    <a:cubicBezTo>
                      <a:pt x="945210" y="340766"/>
                      <a:pt x="945083" y="340992"/>
                      <a:pt x="944944" y="341208"/>
                    </a:cubicBezTo>
                    <a:lnTo>
                      <a:pt x="944944" y="341253"/>
                    </a:lnTo>
                    <a:cubicBezTo>
                      <a:pt x="943333" y="344538"/>
                      <a:pt x="940504" y="350162"/>
                      <a:pt x="939020" y="353132"/>
                    </a:cubicBezTo>
                    <a:cubicBezTo>
                      <a:pt x="939376" y="354302"/>
                      <a:pt x="939731" y="355472"/>
                      <a:pt x="940048" y="356641"/>
                    </a:cubicBezTo>
                    <a:cubicBezTo>
                      <a:pt x="941215" y="360467"/>
                      <a:pt x="942255" y="364110"/>
                      <a:pt x="943282" y="367576"/>
                    </a:cubicBezTo>
                    <a:cubicBezTo>
                      <a:pt x="945033" y="373560"/>
                      <a:pt x="946656" y="379049"/>
                      <a:pt x="948356" y="384403"/>
                    </a:cubicBezTo>
                    <a:lnTo>
                      <a:pt x="948762" y="385753"/>
                    </a:lnTo>
                    <a:cubicBezTo>
                      <a:pt x="949307" y="387374"/>
                      <a:pt x="949802" y="388949"/>
                      <a:pt x="950335" y="390524"/>
                    </a:cubicBezTo>
                    <a:cubicBezTo>
                      <a:pt x="955015" y="404472"/>
                      <a:pt x="956943" y="410187"/>
                      <a:pt x="953937" y="416352"/>
                    </a:cubicBezTo>
                    <a:cubicBezTo>
                      <a:pt x="953290" y="417642"/>
                      <a:pt x="952529" y="418862"/>
                      <a:pt x="951641" y="419995"/>
                    </a:cubicBezTo>
                    <a:cubicBezTo>
                      <a:pt x="951235" y="420612"/>
                      <a:pt x="950779" y="421198"/>
                      <a:pt x="950297" y="421750"/>
                    </a:cubicBezTo>
                    <a:cubicBezTo>
                      <a:pt x="949624" y="422561"/>
                      <a:pt x="948851" y="423415"/>
                      <a:pt x="948039" y="424360"/>
                    </a:cubicBezTo>
                    <a:cubicBezTo>
                      <a:pt x="946161" y="426430"/>
                      <a:pt x="943828" y="428815"/>
                      <a:pt x="941037" y="431599"/>
                    </a:cubicBezTo>
                    <a:cubicBezTo>
                      <a:pt x="940771" y="431914"/>
                      <a:pt x="940403" y="432275"/>
                      <a:pt x="940048" y="432634"/>
                    </a:cubicBezTo>
                    <a:cubicBezTo>
                      <a:pt x="938792" y="430295"/>
                      <a:pt x="937486" y="428000"/>
                      <a:pt x="936230" y="425705"/>
                    </a:cubicBezTo>
                    <a:cubicBezTo>
                      <a:pt x="936052" y="425344"/>
                      <a:pt x="935824" y="424943"/>
                      <a:pt x="935596" y="424580"/>
                    </a:cubicBezTo>
                    <a:cubicBezTo>
                      <a:pt x="933566" y="420800"/>
                      <a:pt x="931499" y="417111"/>
                      <a:pt x="929482" y="413466"/>
                    </a:cubicBezTo>
                    <a:cubicBezTo>
                      <a:pt x="928848" y="412296"/>
                      <a:pt x="928226" y="411171"/>
                      <a:pt x="927592" y="410002"/>
                    </a:cubicBezTo>
                    <a:cubicBezTo>
                      <a:pt x="927769" y="409833"/>
                      <a:pt x="927934" y="409652"/>
                      <a:pt x="928087" y="409462"/>
                    </a:cubicBezTo>
                    <a:cubicBezTo>
                      <a:pt x="939819" y="396547"/>
                      <a:pt x="940175" y="392317"/>
                      <a:pt x="927998" y="383993"/>
                    </a:cubicBezTo>
                    <a:cubicBezTo>
                      <a:pt x="927871" y="383902"/>
                      <a:pt x="927732" y="383827"/>
                      <a:pt x="927592" y="383768"/>
                    </a:cubicBezTo>
                    <a:cubicBezTo>
                      <a:pt x="927072" y="383403"/>
                      <a:pt x="926539" y="383073"/>
                      <a:pt x="925981" y="382779"/>
                    </a:cubicBezTo>
                    <a:cubicBezTo>
                      <a:pt x="923698" y="381602"/>
                      <a:pt x="921351" y="380550"/>
                      <a:pt x="918967" y="379630"/>
                    </a:cubicBezTo>
                    <a:cubicBezTo>
                      <a:pt x="916582" y="378738"/>
                      <a:pt x="914299" y="377576"/>
                      <a:pt x="912181" y="376165"/>
                    </a:cubicBezTo>
                    <a:cubicBezTo>
                      <a:pt x="907868" y="373197"/>
                      <a:pt x="905648" y="368017"/>
                      <a:pt x="906473" y="362847"/>
                    </a:cubicBezTo>
                    <a:cubicBezTo>
                      <a:pt x="906333" y="362208"/>
                      <a:pt x="905991" y="361635"/>
                      <a:pt x="905483" y="361226"/>
                    </a:cubicBezTo>
                    <a:cubicBezTo>
                      <a:pt x="904633" y="360326"/>
                      <a:pt x="903454" y="359561"/>
                      <a:pt x="902832" y="359651"/>
                    </a:cubicBezTo>
                    <a:cubicBezTo>
                      <a:pt x="902160" y="359753"/>
                      <a:pt x="901475" y="359812"/>
                      <a:pt x="900803" y="359832"/>
                    </a:cubicBezTo>
                    <a:cubicBezTo>
                      <a:pt x="900511" y="359867"/>
                      <a:pt x="900232" y="359882"/>
                      <a:pt x="899940" y="359876"/>
                    </a:cubicBezTo>
                    <a:cubicBezTo>
                      <a:pt x="897188" y="359886"/>
                      <a:pt x="894486" y="359089"/>
                      <a:pt x="892178" y="357581"/>
                    </a:cubicBezTo>
                    <a:cubicBezTo>
                      <a:pt x="889539" y="355775"/>
                      <a:pt x="887218" y="353556"/>
                      <a:pt x="885290" y="351011"/>
                    </a:cubicBezTo>
                    <a:cubicBezTo>
                      <a:pt x="884757" y="350337"/>
                      <a:pt x="884212" y="349707"/>
                      <a:pt x="883679" y="349033"/>
                    </a:cubicBezTo>
                    <a:cubicBezTo>
                      <a:pt x="881980" y="346744"/>
                      <a:pt x="880014" y="344660"/>
                      <a:pt x="877832" y="342822"/>
                    </a:cubicBezTo>
                    <a:cubicBezTo>
                      <a:pt x="876678" y="341927"/>
                      <a:pt x="875371" y="341255"/>
                      <a:pt x="873976" y="340842"/>
                    </a:cubicBezTo>
                    <a:cubicBezTo>
                      <a:pt x="824761" y="367346"/>
                      <a:pt x="777310" y="365226"/>
                      <a:pt x="726395" y="347097"/>
                    </a:cubicBezTo>
                    <a:cubicBezTo>
                      <a:pt x="725305" y="346738"/>
                      <a:pt x="724239" y="346335"/>
                      <a:pt x="723148" y="345928"/>
                    </a:cubicBezTo>
                    <a:cubicBezTo>
                      <a:pt x="726865" y="337460"/>
                      <a:pt x="731900" y="329639"/>
                      <a:pt x="738077" y="322754"/>
                    </a:cubicBezTo>
                    <a:cubicBezTo>
                      <a:pt x="739562" y="321635"/>
                      <a:pt x="741160" y="320657"/>
                      <a:pt x="742834" y="319833"/>
                    </a:cubicBezTo>
                    <a:cubicBezTo>
                      <a:pt x="742885" y="319787"/>
                      <a:pt x="742923" y="319787"/>
                      <a:pt x="743012" y="319787"/>
                    </a:cubicBezTo>
                    <a:cubicBezTo>
                      <a:pt x="749620" y="317096"/>
                      <a:pt x="756355" y="314739"/>
                      <a:pt x="763192" y="312723"/>
                    </a:cubicBezTo>
                    <a:cubicBezTo>
                      <a:pt x="761175" y="300463"/>
                      <a:pt x="755607" y="289070"/>
                      <a:pt x="747159" y="279962"/>
                    </a:cubicBezTo>
                    <a:cubicBezTo>
                      <a:pt x="740741" y="272226"/>
                      <a:pt x="732014" y="266753"/>
                      <a:pt x="722260" y="264348"/>
                    </a:cubicBezTo>
                    <a:cubicBezTo>
                      <a:pt x="720561" y="264021"/>
                      <a:pt x="718836" y="263855"/>
                      <a:pt x="717098" y="263854"/>
                    </a:cubicBezTo>
                    <a:cubicBezTo>
                      <a:pt x="716540" y="263853"/>
                      <a:pt x="715982" y="263897"/>
                      <a:pt x="715436" y="263988"/>
                    </a:cubicBezTo>
                    <a:cubicBezTo>
                      <a:pt x="714282" y="264122"/>
                      <a:pt x="713166" y="264489"/>
                      <a:pt x="712151" y="265068"/>
                    </a:cubicBezTo>
                    <a:cubicBezTo>
                      <a:pt x="711606" y="265383"/>
                      <a:pt x="711124" y="265703"/>
                      <a:pt x="710578" y="265968"/>
                    </a:cubicBezTo>
                    <a:cubicBezTo>
                      <a:pt x="708866" y="266964"/>
                      <a:pt x="707065" y="267778"/>
                      <a:pt x="705187" y="268398"/>
                    </a:cubicBezTo>
                    <a:cubicBezTo>
                      <a:pt x="692427" y="271098"/>
                      <a:pt x="679121" y="269251"/>
                      <a:pt x="667566" y="263178"/>
                    </a:cubicBezTo>
                    <a:cubicBezTo>
                      <a:pt x="647842" y="256114"/>
                      <a:pt x="631213" y="242255"/>
                      <a:pt x="611667" y="234425"/>
                    </a:cubicBezTo>
                    <a:cubicBezTo>
                      <a:pt x="605541" y="231898"/>
                      <a:pt x="599122" y="230175"/>
                      <a:pt x="592564" y="229296"/>
                    </a:cubicBezTo>
                    <a:cubicBezTo>
                      <a:pt x="587542" y="227622"/>
                      <a:pt x="583280" y="224227"/>
                      <a:pt x="580515" y="219712"/>
                    </a:cubicBezTo>
                    <a:cubicBezTo>
                      <a:pt x="579208" y="217910"/>
                      <a:pt x="577800" y="216183"/>
                      <a:pt x="576291" y="214538"/>
                    </a:cubicBezTo>
                    <a:cubicBezTo>
                      <a:pt x="559916" y="196506"/>
                      <a:pt x="534649" y="189518"/>
                      <a:pt x="511348" y="196584"/>
                    </a:cubicBezTo>
                    <a:cubicBezTo>
                      <a:pt x="503166" y="227496"/>
                      <a:pt x="498232" y="232672"/>
                      <a:pt x="473739" y="228172"/>
                    </a:cubicBezTo>
                    <a:cubicBezTo>
                      <a:pt x="472255" y="227901"/>
                      <a:pt x="470682" y="227586"/>
                      <a:pt x="469021" y="227227"/>
                    </a:cubicBezTo>
                    <a:cubicBezTo>
                      <a:pt x="473346" y="220888"/>
                      <a:pt x="474969" y="213079"/>
                      <a:pt x="473511" y="205539"/>
                    </a:cubicBezTo>
                    <a:cubicBezTo>
                      <a:pt x="473333" y="204593"/>
                      <a:pt x="473105" y="203604"/>
                      <a:pt x="472877" y="202659"/>
                    </a:cubicBezTo>
                    <a:cubicBezTo>
                      <a:pt x="471164" y="196586"/>
                      <a:pt x="469021" y="190646"/>
                      <a:pt x="466446" y="184885"/>
                    </a:cubicBezTo>
                    <a:cubicBezTo>
                      <a:pt x="466268" y="184436"/>
                      <a:pt x="466040" y="183986"/>
                      <a:pt x="465862" y="183488"/>
                    </a:cubicBezTo>
                    <a:cubicBezTo>
                      <a:pt x="465190" y="181778"/>
                      <a:pt x="464467" y="180024"/>
                      <a:pt x="463795" y="178224"/>
                    </a:cubicBezTo>
                    <a:cubicBezTo>
                      <a:pt x="463122" y="179348"/>
                      <a:pt x="462399" y="180429"/>
                      <a:pt x="461727" y="181508"/>
                    </a:cubicBezTo>
                    <a:cubicBezTo>
                      <a:pt x="458493" y="186638"/>
                      <a:pt x="455309" y="191408"/>
                      <a:pt x="452747" y="196132"/>
                    </a:cubicBezTo>
                    <a:cubicBezTo>
                      <a:pt x="452024" y="197437"/>
                      <a:pt x="451352" y="198742"/>
                      <a:pt x="450768" y="200046"/>
                    </a:cubicBezTo>
                    <a:cubicBezTo>
                      <a:pt x="449056" y="203512"/>
                      <a:pt x="447876" y="207212"/>
                      <a:pt x="447255" y="211026"/>
                    </a:cubicBezTo>
                    <a:cubicBezTo>
                      <a:pt x="447064" y="212307"/>
                      <a:pt x="446963" y="213600"/>
                      <a:pt x="446950" y="214895"/>
                    </a:cubicBezTo>
                    <a:cubicBezTo>
                      <a:pt x="446912" y="217745"/>
                      <a:pt x="447331" y="220584"/>
                      <a:pt x="448155" y="223309"/>
                    </a:cubicBezTo>
                    <a:cubicBezTo>
                      <a:pt x="448421" y="224289"/>
                      <a:pt x="448751" y="225251"/>
                      <a:pt x="449144" y="226189"/>
                    </a:cubicBezTo>
                    <a:cubicBezTo>
                      <a:pt x="449068" y="226277"/>
                      <a:pt x="448980" y="226353"/>
                      <a:pt x="448878" y="226414"/>
                    </a:cubicBezTo>
                    <a:cubicBezTo>
                      <a:pt x="444832" y="231172"/>
                      <a:pt x="438109" y="232612"/>
                      <a:pt x="432477" y="229923"/>
                    </a:cubicBezTo>
                    <a:cubicBezTo>
                      <a:pt x="429636" y="228402"/>
                      <a:pt x="427137" y="226302"/>
                      <a:pt x="425146" y="223760"/>
                    </a:cubicBezTo>
                    <a:cubicBezTo>
                      <a:pt x="416546" y="213011"/>
                      <a:pt x="409177" y="201328"/>
                      <a:pt x="403177" y="188933"/>
                    </a:cubicBezTo>
                    <a:cubicBezTo>
                      <a:pt x="398141" y="178900"/>
                      <a:pt x="396480" y="167289"/>
                      <a:pt x="391761" y="157120"/>
                    </a:cubicBezTo>
                    <a:cubicBezTo>
                      <a:pt x="388831" y="148797"/>
                      <a:pt x="382692" y="141991"/>
                      <a:pt x="374726" y="138222"/>
                    </a:cubicBezTo>
                    <a:cubicBezTo>
                      <a:pt x="371352" y="136913"/>
                      <a:pt x="367775" y="136214"/>
                      <a:pt x="364160" y="136153"/>
                    </a:cubicBezTo>
                    <a:cubicBezTo>
                      <a:pt x="365061" y="137907"/>
                      <a:pt x="365962" y="139709"/>
                      <a:pt x="366811" y="141417"/>
                    </a:cubicBezTo>
                    <a:lnTo>
                      <a:pt x="369196" y="146051"/>
                    </a:lnTo>
                    <a:cubicBezTo>
                      <a:pt x="370274" y="148166"/>
                      <a:pt x="371264" y="150146"/>
                      <a:pt x="372202" y="151946"/>
                    </a:cubicBezTo>
                    <a:cubicBezTo>
                      <a:pt x="372976" y="153470"/>
                      <a:pt x="373648" y="154826"/>
                      <a:pt x="374270" y="156041"/>
                    </a:cubicBezTo>
                    <a:cubicBezTo>
                      <a:pt x="373775" y="156760"/>
                      <a:pt x="373331" y="157480"/>
                      <a:pt x="372836" y="158156"/>
                    </a:cubicBezTo>
                    <a:cubicBezTo>
                      <a:pt x="362638" y="173269"/>
                      <a:pt x="352884" y="187628"/>
                      <a:pt x="342775" y="202612"/>
                    </a:cubicBezTo>
                    <a:cubicBezTo>
                      <a:pt x="341697" y="201892"/>
                      <a:pt x="340707" y="201306"/>
                      <a:pt x="339858" y="200767"/>
                    </a:cubicBezTo>
                    <a:cubicBezTo>
                      <a:pt x="338323" y="199861"/>
                      <a:pt x="336839" y="198870"/>
                      <a:pt x="335405" y="197797"/>
                    </a:cubicBezTo>
                    <a:cubicBezTo>
                      <a:pt x="334974" y="197447"/>
                      <a:pt x="334556" y="197071"/>
                      <a:pt x="334150" y="196672"/>
                    </a:cubicBezTo>
                    <a:cubicBezTo>
                      <a:pt x="332348" y="195052"/>
                      <a:pt x="330877" y="193522"/>
                      <a:pt x="330471" y="193116"/>
                    </a:cubicBezTo>
                    <a:cubicBezTo>
                      <a:pt x="304215" y="197030"/>
                      <a:pt x="296490" y="216469"/>
                      <a:pt x="288182" y="232397"/>
                    </a:cubicBezTo>
                    <a:cubicBezTo>
                      <a:pt x="287459" y="233747"/>
                      <a:pt x="286736" y="235097"/>
                      <a:pt x="286026" y="236401"/>
                    </a:cubicBezTo>
                    <a:cubicBezTo>
                      <a:pt x="284136" y="235592"/>
                      <a:pt x="282335" y="234782"/>
                      <a:pt x="280622" y="234062"/>
                    </a:cubicBezTo>
                    <a:cubicBezTo>
                      <a:pt x="280521" y="234025"/>
                      <a:pt x="280419" y="233981"/>
                      <a:pt x="280318" y="233928"/>
                    </a:cubicBezTo>
                    <a:cubicBezTo>
                      <a:pt x="278923" y="233342"/>
                      <a:pt x="277667" y="232802"/>
                      <a:pt x="276500" y="232307"/>
                    </a:cubicBezTo>
                    <a:cubicBezTo>
                      <a:pt x="276043" y="232128"/>
                      <a:pt x="275599" y="231902"/>
                      <a:pt x="275143" y="231723"/>
                    </a:cubicBezTo>
                    <a:cubicBezTo>
                      <a:pt x="272809" y="230732"/>
                      <a:pt x="271059" y="229968"/>
                      <a:pt x="270297" y="229653"/>
                    </a:cubicBezTo>
                    <a:cubicBezTo>
                      <a:pt x="268636" y="230642"/>
                      <a:pt x="266974" y="231633"/>
                      <a:pt x="265401" y="232622"/>
                    </a:cubicBezTo>
                    <a:cubicBezTo>
                      <a:pt x="259376" y="236267"/>
                      <a:pt x="253846" y="239552"/>
                      <a:pt x="248633" y="242702"/>
                    </a:cubicBezTo>
                    <a:cubicBezTo>
                      <a:pt x="247149" y="243601"/>
                      <a:pt x="245716" y="244456"/>
                      <a:pt x="244269" y="245356"/>
                    </a:cubicBezTo>
                    <a:cubicBezTo>
                      <a:pt x="241707" y="246880"/>
                      <a:pt x="239196" y="248416"/>
                      <a:pt x="236722" y="249900"/>
                    </a:cubicBezTo>
                    <a:cubicBezTo>
                      <a:pt x="234566" y="251206"/>
                      <a:pt x="232499" y="252466"/>
                      <a:pt x="230380" y="253726"/>
                    </a:cubicBezTo>
                    <a:cubicBezTo>
                      <a:pt x="234414" y="234145"/>
                      <a:pt x="249013" y="218442"/>
                      <a:pt x="268230" y="213004"/>
                    </a:cubicBezTo>
                    <a:cubicBezTo>
                      <a:pt x="290782" y="205265"/>
                      <a:pt x="304989" y="188256"/>
                      <a:pt x="322911" y="175433"/>
                    </a:cubicBezTo>
                    <a:cubicBezTo>
                      <a:pt x="324763" y="174083"/>
                      <a:pt x="324091" y="169268"/>
                      <a:pt x="324624" y="165758"/>
                    </a:cubicBezTo>
                    <a:cubicBezTo>
                      <a:pt x="323546" y="165938"/>
                      <a:pt x="322518" y="166118"/>
                      <a:pt x="321478" y="166299"/>
                    </a:cubicBezTo>
                    <a:cubicBezTo>
                      <a:pt x="315732" y="167244"/>
                      <a:pt x="310468" y="168008"/>
                      <a:pt x="305344" y="168999"/>
                    </a:cubicBezTo>
                    <a:cubicBezTo>
                      <a:pt x="303999" y="169268"/>
                      <a:pt x="302655" y="169539"/>
                      <a:pt x="301348" y="169853"/>
                    </a:cubicBezTo>
                    <a:cubicBezTo>
                      <a:pt x="301120" y="169893"/>
                      <a:pt x="300892" y="169953"/>
                      <a:pt x="300676" y="170033"/>
                    </a:cubicBezTo>
                    <a:lnTo>
                      <a:pt x="300587" y="170033"/>
                    </a:lnTo>
                    <a:cubicBezTo>
                      <a:pt x="295767" y="171113"/>
                      <a:pt x="288943" y="172065"/>
                      <a:pt x="287142" y="175387"/>
                    </a:cubicBezTo>
                    <a:cubicBezTo>
                      <a:pt x="283134" y="181695"/>
                      <a:pt x="276969" y="186330"/>
                      <a:pt x="269803" y="188436"/>
                    </a:cubicBezTo>
                    <a:cubicBezTo>
                      <a:pt x="256586" y="194331"/>
                      <a:pt x="239640" y="199550"/>
                      <a:pt x="232943" y="210440"/>
                    </a:cubicBezTo>
                    <a:cubicBezTo>
                      <a:pt x="225028" y="221007"/>
                      <a:pt x="214348" y="229168"/>
                      <a:pt x="202069" y="234018"/>
                    </a:cubicBezTo>
                    <a:cubicBezTo>
                      <a:pt x="199063" y="235727"/>
                      <a:pt x="195968" y="237574"/>
                      <a:pt x="192721" y="239777"/>
                    </a:cubicBezTo>
                    <a:cubicBezTo>
                      <a:pt x="196361" y="231362"/>
                      <a:pt x="199951" y="227043"/>
                      <a:pt x="199012" y="224479"/>
                    </a:cubicBezTo>
                    <a:cubicBezTo>
                      <a:pt x="196475" y="220168"/>
                      <a:pt x="193228" y="216319"/>
                      <a:pt x="189398" y="213094"/>
                    </a:cubicBezTo>
                    <a:cubicBezTo>
                      <a:pt x="189220" y="213938"/>
                      <a:pt x="188966" y="214766"/>
                      <a:pt x="188637" y="215568"/>
                    </a:cubicBezTo>
                    <a:cubicBezTo>
                      <a:pt x="185047" y="224792"/>
                      <a:pt x="175026" y="220068"/>
                      <a:pt x="168417" y="222858"/>
                    </a:cubicBezTo>
                    <a:cubicBezTo>
                      <a:pt x="161642" y="226160"/>
                      <a:pt x="156076" y="231512"/>
                      <a:pt x="152508" y="238157"/>
                    </a:cubicBezTo>
                    <a:cubicBezTo>
                      <a:pt x="151768" y="239349"/>
                      <a:pt x="151122" y="240599"/>
                      <a:pt x="150575" y="241892"/>
                    </a:cubicBezTo>
                    <a:cubicBezTo>
                      <a:pt x="149837" y="243446"/>
                      <a:pt x="149222" y="245057"/>
                      <a:pt x="148733" y="246706"/>
                    </a:cubicBezTo>
                    <a:cubicBezTo>
                      <a:pt x="148028" y="248864"/>
                      <a:pt x="147589" y="251100"/>
                      <a:pt x="147430" y="253366"/>
                    </a:cubicBezTo>
                    <a:cubicBezTo>
                      <a:pt x="147159" y="256004"/>
                      <a:pt x="147435" y="258668"/>
                      <a:pt x="148239" y="261194"/>
                    </a:cubicBezTo>
                    <a:cubicBezTo>
                      <a:pt x="148425" y="261749"/>
                      <a:pt x="148650" y="262292"/>
                      <a:pt x="148912" y="262815"/>
                    </a:cubicBezTo>
                    <a:cubicBezTo>
                      <a:pt x="150517" y="265877"/>
                      <a:pt x="152527" y="268706"/>
                      <a:pt x="154890" y="271229"/>
                    </a:cubicBezTo>
                    <a:cubicBezTo>
                      <a:pt x="156868" y="273569"/>
                      <a:pt x="159076" y="275863"/>
                      <a:pt x="161002" y="278248"/>
                    </a:cubicBezTo>
                    <a:cubicBezTo>
                      <a:pt x="161137" y="278428"/>
                      <a:pt x="161316" y="278609"/>
                      <a:pt x="161451" y="278788"/>
                    </a:cubicBezTo>
                    <a:cubicBezTo>
                      <a:pt x="161362" y="278788"/>
                      <a:pt x="161272" y="278743"/>
                      <a:pt x="161182" y="278743"/>
                    </a:cubicBezTo>
                    <a:cubicBezTo>
                      <a:pt x="149857" y="276584"/>
                      <a:pt x="141723" y="270107"/>
                      <a:pt x="133140" y="269294"/>
                    </a:cubicBezTo>
                    <a:cubicBezTo>
                      <a:pt x="118291" y="267918"/>
                      <a:pt x="103991" y="262997"/>
                      <a:pt x="91435" y="254943"/>
                    </a:cubicBezTo>
                    <a:cubicBezTo>
                      <a:pt x="90915" y="254369"/>
                      <a:pt x="90360" y="253828"/>
                      <a:pt x="89772" y="253323"/>
                    </a:cubicBezTo>
                    <a:cubicBezTo>
                      <a:pt x="87795" y="251433"/>
                      <a:pt x="85862" y="249588"/>
                      <a:pt x="83974" y="247878"/>
                    </a:cubicBezTo>
                    <a:cubicBezTo>
                      <a:pt x="82087" y="246169"/>
                      <a:pt x="80245" y="244549"/>
                      <a:pt x="78492" y="243019"/>
                    </a:cubicBezTo>
                    <a:cubicBezTo>
                      <a:pt x="77459" y="242119"/>
                      <a:pt x="76470" y="241264"/>
                      <a:pt x="75481" y="240454"/>
                    </a:cubicBezTo>
                    <a:cubicBezTo>
                      <a:pt x="74898" y="239960"/>
                      <a:pt x="74357" y="239465"/>
                      <a:pt x="73774" y="239014"/>
                    </a:cubicBezTo>
                    <a:cubicBezTo>
                      <a:pt x="72740" y="238205"/>
                      <a:pt x="71706" y="237395"/>
                      <a:pt x="70718" y="236630"/>
                    </a:cubicBezTo>
                    <a:cubicBezTo>
                      <a:pt x="66988" y="233660"/>
                      <a:pt x="63488" y="231140"/>
                      <a:pt x="60156" y="228981"/>
                    </a:cubicBezTo>
                    <a:cubicBezTo>
                      <a:pt x="60022" y="228891"/>
                      <a:pt x="59977" y="228801"/>
                      <a:pt x="59841" y="228710"/>
                    </a:cubicBezTo>
                    <a:cubicBezTo>
                      <a:pt x="50081" y="217492"/>
                      <a:pt x="35917" y="211101"/>
                      <a:pt x="21058" y="211207"/>
                    </a:cubicBezTo>
                    <a:lnTo>
                      <a:pt x="22991" y="214267"/>
                    </a:lnTo>
                    <a:cubicBezTo>
                      <a:pt x="20565" y="213817"/>
                      <a:pt x="18138" y="213412"/>
                      <a:pt x="15666" y="212917"/>
                    </a:cubicBezTo>
                    <a:cubicBezTo>
                      <a:pt x="14857" y="212782"/>
                      <a:pt x="14093" y="212647"/>
                      <a:pt x="13284" y="212467"/>
                    </a:cubicBezTo>
                    <a:cubicBezTo>
                      <a:pt x="12701" y="212377"/>
                      <a:pt x="12116" y="212242"/>
                      <a:pt x="11487" y="212106"/>
                    </a:cubicBezTo>
                    <a:cubicBezTo>
                      <a:pt x="10409" y="211882"/>
                      <a:pt x="9285" y="211657"/>
                      <a:pt x="8161" y="211386"/>
                    </a:cubicBezTo>
                    <a:cubicBezTo>
                      <a:pt x="8071" y="211386"/>
                      <a:pt x="7981" y="211342"/>
                      <a:pt x="7891" y="211342"/>
                    </a:cubicBezTo>
                    <a:cubicBezTo>
                      <a:pt x="6678" y="211071"/>
                      <a:pt x="5420" y="210756"/>
                      <a:pt x="4162" y="210397"/>
                    </a:cubicBezTo>
                    <a:lnTo>
                      <a:pt x="4162" y="211476"/>
                    </a:lnTo>
                    <a:cubicBezTo>
                      <a:pt x="16925" y="418098"/>
                      <a:pt x="-20420" y="661121"/>
                      <a:pt x="17554" y="850374"/>
                    </a:cubicBezTo>
                    <a:cubicBezTo>
                      <a:pt x="18812" y="849565"/>
                      <a:pt x="18678" y="846818"/>
                      <a:pt x="19980" y="846010"/>
                    </a:cubicBezTo>
                    <a:cubicBezTo>
                      <a:pt x="24156" y="847842"/>
                      <a:pt x="28235" y="849884"/>
                      <a:pt x="32204" y="852129"/>
                    </a:cubicBezTo>
                    <a:cubicBezTo>
                      <a:pt x="38691" y="844805"/>
                      <a:pt x="48502" y="841366"/>
                      <a:pt x="58134" y="843040"/>
                    </a:cubicBezTo>
                    <a:cubicBezTo>
                      <a:pt x="50719" y="875843"/>
                      <a:pt x="104378" y="889251"/>
                      <a:pt x="104917" y="924213"/>
                    </a:cubicBezTo>
                    <a:cubicBezTo>
                      <a:pt x="110472" y="918545"/>
                      <a:pt x="116851" y="913750"/>
                      <a:pt x="123837" y="909989"/>
                    </a:cubicBezTo>
                    <a:lnTo>
                      <a:pt x="127073" y="910304"/>
                    </a:lnTo>
                    <a:cubicBezTo>
                      <a:pt x="134083" y="909044"/>
                      <a:pt x="132781" y="898470"/>
                      <a:pt x="132869" y="893070"/>
                    </a:cubicBezTo>
                    <a:cubicBezTo>
                      <a:pt x="133770" y="893449"/>
                      <a:pt x="134726" y="893676"/>
                      <a:pt x="135701" y="893746"/>
                    </a:cubicBezTo>
                    <a:cubicBezTo>
                      <a:pt x="139116" y="882271"/>
                      <a:pt x="147251" y="882227"/>
                      <a:pt x="160777" y="874532"/>
                    </a:cubicBezTo>
                    <a:cubicBezTo>
                      <a:pt x="203033" y="927793"/>
                      <a:pt x="239107" y="985701"/>
                      <a:pt x="268268" y="1047136"/>
                    </a:cubicBezTo>
                    <a:lnTo>
                      <a:pt x="271325" y="1046597"/>
                    </a:lnTo>
                    <a:cubicBezTo>
                      <a:pt x="285214" y="1055056"/>
                      <a:pt x="298063" y="1063380"/>
                      <a:pt x="310291" y="1072425"/>
                    </a:cubicBezTo>
                    <a:lnTo>
                      <a:pt x="312992" y="1071614"/>
                    </a:lnTo>
                    <a:cubicBezTo>
                      <a:pt x="315999" y="1073460"/>
                      <a:pt x="316049" y="1078453"/>
                      <a:pt x="315732" y="1081647"/>
                    </a:cubicBezTo>
                    <a:cubicBezTo>
                      <a:pt x="314844" y="1087098"/>
                      <a:pt x="314312" y="1092597"/>
                      <a:pt x="314109" y="1098116"/>
                    </a:cubicBezTo>
                    <a:cubicBezTo>
                      <a:pt x="314071" y="1098489"/>
                      <a:pt x="314058" y="1098865"/>
                      <a:pt x="314071" y="1099241"/>
                    </a:cubicBezTo>
                    <a:cubicBezTo>
                      <a:pt x="313614" y="1113504"/>
                      <a:pt x="313525" y="1130873"/>
                      <a:pt x="318066" y="1120974"/>
                    </a:cubicBezTo>
                    <a:cubicBezTo>
                      <a:pt x="323952" y="1131368"/>
                      <a:pt x="301399" y="1133123"/>
                      <a:pt x="316582" y="1144281"/>
                    </a:cubicBezTo>
                    <a:cubicBezTo>
                      <a:pt x="293890" y="1138883"/>
                      <a:pt x="317483" y="1155261"/>
                      <a:pt x="314476" y="1154181"/>
                    </a:cubicBezTo>
                    <a:cubicBezTo>
                      <a:pt x="319690" y="1172900"/>
                      <a:pt x="308857" y="1145362"/>
                      <a:pt x="303822" y="1145497"/>
                    </a:cubicBezTo>
                    <a:cubicBezTo>
                      <a:pt x="303644" y="1149276"/>
                      <a:pt x="301615" y="1168039"/>
                      <a:pt x="309213" y="1156115"/>
                    </a:cubicBezTo>
                    <a:cubicBezTo>
                      <a:pt x="307500" y="1175824"/>
                      <a:pt x="315859" y="1160885"/>
                      <a:pt x="327769" y="1166148"/>
                    </a:cubicBezTo>
                    <a:cubicBezTo>
                      <a:pt x="331549" y="1162188"/>
                      <a:pt x="330471" y="1164888"/>
                      <a:pt x="327769" y="1166148"/>
                    </a:cubicBezTo>
                    <a:cubicBezTo>
                      <a:pt x="326247" y="1167035"/>
                      <a:pt x="324357" y="1166965"/>
                      <a:pt x="322911" y="1165969"/>
                    </a:cubicBezTo>
                    <a:cubicBezTo>
                      <a:pt x="314870" y="1162684"/>
                      <a:pt x="320121" y="1171503"/>
                      <a:pt x="322734" y="1175328"/>
                    </a:cubicBezTo>
                    <a:cubicBezTo>
                      <a:pt x="300714" y="1152695"/>
                      <a:pt x="324129" y="1199896"/>
                      <a:pt x="336446" y="1205205"/>
                    </a:cubicBezTo>
                    <a:cubicBezTo>
                      <a:pt x="342103" y="1181358"/>
                      <a:pt x="343764" y="1188822"/>
                      <a:pt x="356043" y="1174383"/>
                    </a:cubicBezTo>
                    <a:cubicBezTo>
                      <a:pt x="355408" y="1175733"/>
                      <a:pt x="352402" y="1180953"/>
                      <a:pt x="354191" y="1181087"/>
                    </a:cubicBezTo>
                    <a:cubicBezTo>
                      <a:pt x="366773" y="1185902"/>
                      <a:pt x="347189" y="1179378"/>
                      <a:pt x="351045" y="1189996"/>
                    </a:cubicBezTo>
                    <a:cubicBezTo>
                      <a:pt x="349561" y="1200975"/>
                      <a:pt x="357070" y="1200390"/>
                      <a:pt x="364351" y="1201426"/>
                    </a:cubicBezTo>
                    <a:cubicBezTo>
                      <a:pt x="355002" y="1207725"/>
                      <a:pt x="358871" y="1199717"/>
                      <a:pt x="345388" y="1197063"/>
                    </a:cubicBezTo>
                    <a:cubicBezTo>
                      <a:pt x="345401" y="1198857"/>
                      <a:pt x="345768" y="1200631"/>
                      <a:pt x="346466" y="1202282"/>
                    </a:cubicBezTo>
                    <a:cubicBezTo>
                      <a:pt x="346694" y="1203001"/>
                      <a:pt x="346961" y="1203767"/>
                      <a:pt x="347278" y="1204531"/>
                    </a:cubicBezTo>
                    <a:cubicBezTo>
                      <a:pt x="347493" y="1205166"/>
                      <a:pt x="347772" y="1205791"/>
                      <a:pt x="347988" y="1206421"/>
                    </a:cubicBezTo>
                    <a:cubicBezTo>
                      <a:pt x="348178" y="1206826"/>
                      <a:pt x="348356" y="1207231"/>
                      <a:pt x="348533" y="1207591"/>
                    </a:cubicBezTo>
                    <a:lnTo>
                      <a:pt x="348495" y="1207591"/>
                    </a:lnTo>
                    <a:cubicBezTo>
                      <a:pt x="346466" y="1207501"/>
                      <a:pt x="345388" y="1207637"/>
                      <a:pt x="345350" y="1207951"/>
                    </a:cubicBezTo>
                    <a:cubicBezTo>
                      <a:pt x="336141" y="1214700"/>
                      <a:pt x="339693" y="1223065"/>
                      <a:pt x="345756" y="1232564"/>
                    </a:cubicBezTo>
                    <a:cubicBezTo>
                      <a:pt x="347468" y="1226354"/>
                      <a:pt x="349168" y="1220100"/>
                      <a:pt x="350880" y="1213895"/>
                    </a:cubicBezTo>
                    <a:cubicBezTo>
                      <a:pt x="353354" y="1217586"/>
                      <a:pt x="355865" y="1221320"/>
                      <a:pt x="358427" y="1225055"/>
                    </a:cubicBezTo>
                    <a:cubicBezTo>
                      <a:pt x="359226" y="1227918"/>
                      <a:pt x="360774" y="1230514"/>
                      <a:pt x="362917" y="1232569"/>
                    </a:cubicBezTo>
                    <a:cubicBezTo>
                      <a:pt x="363070" y="1232685"/>
                      <a:pt x="363234" y="1232776"/>
                      <a:pt x="363412" y="1232838"/>
                    </a:cubicBezTo>
                    <a:cubicBezTo>
                      <a:pt x="363526" y="1232916"/>
                      <a:pt x="363640" y="1232977"/>
                      <a:pt x="363780" y="1233019"/>
                    </a:cubicBezTo>
                    <a:cubicBezTo>
                      <a:pt x="365175" y="1235043"/>
                      <a:pt x="366570" y="1237069"/>
                      <a:pt x="367966" y="1239139"/>
                    </a:cubicBezTo>
                    <a:cubicBezTo>
                      <a:pt x="366304" y="1244267"/>
                      <a:pt x="365175" y="1247912"/>
                      <a:pt x="364592" y="1250432"/>
                    </a:cubicBezTo>
                    <a:cubicBezTo>
                      <a:pt x="364503" y="1250658"/>
                      <a:pt x="364452" y="1250927"/>
                      <a:pt x="364363" y="1251152"/>
                    </a:cubicBezTo>
                    <a:cubicBezTo>
                      <a:pt x="363780" y="1253762"/>
                      <a:pt x="363729" y="1254980"/>
                      <a:pt x="364097" y="1255297"/>
                    </a:cubicBezTo>
                    <a:cubicBezTo>
                      <a:pt x="364275" y="1255424"/>
                      <a:pt x="364592" y="1255335"/>
                      <a:pt x="364909" y="1255018"/>
                    </a:cubicBezTo>
                    <a:cubicBezTo>
                      <a:pt x="365175" y="1254853"/>
                      <a:pt x="365416" y="1254637"/>
                      <a:pt x="365619" y="1254387"/>
                    </a:cubicBezTo>
                    <a:cubicBezTo>
                      <a:pt x="365873" y="1254135"/>
                      <a:pt x="366101" y="1253865"/>
                      <a:pt x="366304" y="1253576"/>
                    </a:cubicBezTo>
                    <a:cubicBezTo>
                      <a:pt x="366647" y="1253174"/>
                      <a:pt x="366976" y="1252755"/>
                      <a:pt x="367281" y="1252318"/>
                    </a:cubicBezTo>
                    <a:cubicBezTo>
                      <a:pt x="368321" y="1251012"/>
                      <a:pt x="369399" y="1249437"/>
                      <a:pt x="370477" y="1248087"/>
                    </a:cubicBezTo>
                    <a:cubicBezTo>
                      <a:pt x="370693" y="1247769"/>
                      <a:pt x="370934" y="1247468"/>
                      <a:pt x="371200" y="1247188"/>
                    </a:cubicBezTo>
                    <a:cubicBezTo>
                      <a:pt x="371555" y="1246673"/>
                      <a:pt x="371961" y="1246191"/>
                      <a:pt x="372405" y="1245748"/>
                    </a:cubicBezTo>
                    <a:cubicBezTo>
                      <a:pt x="372684" y="1246107"/>
                      <a:pt x="372951" y="1246510"/>
                      <a:pt x="373166" y="1246872"/>
                    </a:cubicBezTo>
                    <a:cubicBezTo>
                      <a:pt x="372659" y="1246976"/>
                      <a:pt x="372202" y="1247244"/>
                      <a:pt x="371860" y="1247634"/>
                    </a:cubicBezTo>
                    <a:cubicBezTo>
                      <a:pt x="371733" y="1247724"/>
                      <a:pt x="371682" y="1247859"/>
                      <a:pt x="371593" y="1247949"/>
                    </a:cubicBezTo>
                    <a:lnTo>
                      <a:pt x="371555" y="1248039"/>
                    </a:lnTo>
                    <a:cubicBezTo>
                      <a:pt x="371428" y="1248255"/>
                      <a:pt x="371327" y="1248481"/>
                      <a:pt x="371238" y="1248713"/>
                    </a:cubicBezTo>
                    <a:cubicBezTo>
                      <a:pt x="371200" y="1248783"/>
                      <a:pt x="371187" y="1248861"/>
                      <a:pt x="371187" y="1248938"/>
                    </a:cubicBezTo>
                    <a:cubicBezTo>
                      <a:pt x="370896" y="1250489"/>
                      <a:pt x="371276" y="1252092"/>
                      <a:pt x="372228" y="1253348"/>
                    </a:cubicBezTo>
                    <a:cubicBezTo>
                      <a:pt x="373217" y="1254611"/>
                      <a:pt x="374701" y="1254700"/>
                      <a:pt x="375728" y="1251504"/>
                    </a:cubicBezTo>
                    <a:cubicBezTo>
                      <a:pt x="375576" y="1252805"/>
                      <a:pt x="375602" y="1254125"/>
                      <a:pt x="375817" y="1255411"/>
                    </a:cubicBezTo>
                    <a:cubicBezTo>
                      <a:pt x="375919" y="1255805"/>
                      <a:pt x="376058" y="1256186"/>
                      <a:pt x="376223" y="1256542"/>
                    </a:cubicBezTo>
                    <a:cubicBezTo>
                      <a:pt x="376388" y="1256821"/>
                      <a:pt x="376578" y="1257075"/>
                      <a:pt x="376807" y="1257304"/>
                    </a:cubicBezTo>
                    <a:cubicBezTo>
                      <a:pt x="377377" y="1257799"/>
                      <a:pt x="378138" y="1258002"/>
                      <a:pt x="378874" y="1257850"/>
                    </a:cubicBezTo>
                    <a:cubicBezTo>
                      <a:pt x="370515" y="1266664"/>
                      <a:pt x="373306" y="1275795"/>
                      <a:pt x="377390" y="1286196"/>
                    </a:cubicBezTo>
                    <a:lnTo>
                      <a:pt x="377441" y="1286374"/>
                    </a:lnTo>
                    <a:cubicBezTo>
                      <a:pt x="377618" y="1287047"/>
                      <a:pt x="377847" y="1287631"/>
                      <a:pt x="378024" y="1288177"/>
                    </a:cubicBezTo>
                    <a:cubicBezTo>
                      <a:pt x="378215" y="1288660"/>
                      <a:pt x="378455" y="1289130"/>
                      <a:pt x="378747" y="1289574"/>
                    </a:cubicBezTo>
                    <a:lnTo>
                      <a:pt x="378836" y="1289701"/>
                    </a:lnTo>
                    <a:cubicBezTo>
                      <a:pt x="379242" y="1290743"/>
                      <a:pt x="379635" y="1291822"/>
                      <a:pt x="380092" y="1292902"/>
                    </a:cubicBezTo>
                    <a:cubicBezTo>
                      <a:pt x="380992" y="1295201"/>
                      <a:pt x="381753" y="1297258"/>
                      <a:pt x="382426" y="1299112"/>
                    </a:cubicBezTo>
                    <a:cubicBezTo>
                      <a:pt x="382311" y="1299493"/>
                      <a:pt x="382185" y="1299887"/>
                      <a:pt x="382071" y="1300281"/>
                    </a:cubicBezTo>
                    <a:cubicBezTo>
                      <a:pt x="382362" y="1300382"/>
                      <a:pt x="382667" y="1300458"/>
                      <a:pt x="382971" y="1300509"/>
                    </a:cubicBezTo>
                    <a:cubicBezTo>
                      <a:pt x="383326" y="1301449"/>
                      <a:pt x="383681" y="1302300"/>
                      <a:pt x="383999" y="1303163"/>
                    </a:cubicBezTo>
                    <a:cubicBezTo>
                      <a:pt x="372405" y="1305678"/>
                      <a:pt x="389072" y="1323407"/>
                      <a:pt x="416495" y="1319902"/>
                    </a:cubicBezTo>
                    <a:cubicBezTo>
                      <a:pt x="415633" y="1320613"/>
                      <a:pt x="416039" y="1321515"/>
                      <a:pt x="417256" y="1322467"/>
                    </a:cubicBezTo>
                    <a:cubicBezTo>
                      <a:pt x="417700" y="1322772"/>
                      <a:pt x="418246" y="1323141"/>
                      <a:pt x="418867" y="1323496"/>
                    </a:cubicBezTo>
                    <a:cubicBezTo>
                      <a:pt x="423370" y="1325795"/>
                      <a:pt x="428114" y="1327547"/>
                      <a:pt x="433023" y="1328716"/>
                    </a:cubicBezTo>
                    <a:cubicBezTo>
                      <a:pt x="433213" y="1328817"/>
                      <a:pt x="433403" y="1328944"/>
                      <a:pt x="433568" y="1329071"/>
                    </a:cubicBezTo>
                    <a:cubicBezTo>
                      <a:pt x="431590" y="1329973"/>
                      <a:pt x="429662" y="1330697"/>
                      <a:pt x="428127" y="1331281"/>
                    </a:cubicBezTo>
                    <a:cubicBezTo>
                      <a:pt x="427581" y="1331446"/>
                      <a:pt x="427036" y="1331637"/>
                      <a:pt x="426516" y="1331865"/>
                    </a:cubicBezTo>
                    <a:cubicBezTo>
                      <a:pt x="425476" y="1332221"/>
                      <a:pt x="424842" y="1332450"/>
                      <a:pt x="424842" y="1332589"/>
                    </a:cubicBezTo>
                    <a:cubicBezTo>
                      <a:pt x="427074" y="1332640"/>
                      <a:pt x="429306" y="1332462"/>
                      <a:pt x="431501" y="1332043"/>
                    </a:cubicBezTo>
                    <a:cubicBezTo>
                      <a:pt x="413654" y="1339968"/>
                      <a:pt x="430461" y="1337898"/>
                      <a:pt x="436752" y="1337492"/>
                    </a:cubicBezTo>
                    <a:cubicBezTo>
                      <a:pt x="437513" y="1339828"/>
                      <a:pt x="438109" y="1340730"/>
                      <a:pt x="438642" y="1340730"/>
                    </a:cubicBezTo>
                    <a:cubicBezTo>
                      <a:pt x="438756" y="1340730"/>
                      <a:pt x="438870" y="1340679"/>
                      <a:pt x="438959" y="1340590"/>
                    </a:cubicBezTo>
                    <a:cubicBezTo>
                      <a:pt x="439593" y="1340235"/>
                      <a:pt x="440088" y="1338711"/>
                      <a:pt x="440671" y="1336818"/>
                    </a:cubicBezTo>
                    <a:cubicBezTo>
                      <a:pt x="440798" y="1336463"/>
                      <a:pt x="440887" y="1336095"/>
                      <a:pt x="441027" y="1335739"/>
                    </a:cubicBezTo>
                    <a:cubicBezTo>
                      <a:pt x="441293" y="1334837"/>
                      <a:pt x="441610" y="1333936"/>
                      <a:pt x="441965" y="1333034"/>
                    </a:cubicBezTo>
                    <a:cubicBezTo>
                      <a:pt x="442549" y="1333212"/>
                      <a:pt x="443183" y="1333389"/>
                      <a:pt x="443817" y="1333580"/>
                    </a:cubicBezTo>
                    <a:cubicBezTo>
                      <a:pt x="442866" y="1337047"/>
                      <a:pt x="443728" y="1338889"/>
                      <a:pt x="445479" y="1339473"/>
                    </a:cubicBezTo>
                    <a:cubicBezTo>
                      <a:pt x="445694" y="1339549"/>
                      <a:pt x="445923" y="1339612"/>
                      <a:pt x="446151" y="1339651"/>
                    </a:cubicBezTo>
                    <a:cubicBezTo>
                      <a:pt x="446646" y="1339739"/>
                      <a:pt x="447140" y="1339739"/>
                      <a:pt x="447635" y="1339651"/>
                    </a:cubicBezTo>
                    <a:cubicBezTo>
                      <a:pt x="447863" y="1339600"/>
                      <a:pt x="448041" y="1339600"/>
                      <a:pt x="448218" y="1339562"/>
                    </a:cubicBezTo>
                    <a:cubicBezTo>
                      <a:pt x="450349" y="1339054"/>
                      <a:pt x="452354" y="1338063"/>
                      <a:pt x="454066" y="1336679"/>
                    </a:cubicBezTo>
                    <a:cubicBezTo>
                      <a:pt x="455854" y="1337365"/>
                      <a:pt x="457529" y="1338304"/>
                      <a:pt x="459051" y="1339473"/>
                    </a:cubicBezTo>
                    <a:lnTo>
                      <a:pt x="459089" y="1339473"/>
                    </a:lnTo>
                    <a:cubicBezTo>
                      <a:pt x="459051" y="1339739"/>
                      <a:pt x="459000" y="1340019"/>
                      <a:pt x="458962" y="1340235"/>
                    </a:cubicBezTo>
                    <a:cubicBezTo>
                      <a:pt x="458886" y="1340540"/>
                      <a:pt x="458822" y="1340832"/>
                      <a:pt x="458784" y="1341136"/>
                    </a:cubicBezTo>
                    <a:cubicBezTo>
                      <a:pt x="458645" y="1341835"/>
                      <a:pt x="458607" y="1342546"/>
                      <a:pt x="458683" y="1343257"/>
                    </a:cubicBezTo>
                    <a:cubicBezTo>
                      <a:pt x="458721" y="1343511"/>
                      <a:pt x="458772" y="1343765"/>
                      <a:pt x="458873" y="1344019"/>
                    </a:cubicBezTo>
                    <a:cubicBezTo>
                      <a:pt x="459064" y="1344451"/>
                      <a:pt x="459444" y="1344781"/>
                      <a:pt x="459901" y="1344908"/>
                    </a:cubicBezTo>
                    <a:cubicBezTo>
                      <a:pt x="460357" y="1345086"/>
                      <a:pt x="460865" y="1345112"/>
                      <a:pt x="461334" y="1345010"/>
                    </a:cubicBezTo>
                    <a:cubicBezTo>
                      <a:pt x="461537" y="1345035"/>
                      <a:pt x="461740" y="1345023"/>
                      <a:pt x="461917" y="1344959"/>
                    </a:cubicBezTo>
                    <a:cubicBezTo>
                      <a:pt x="462387" y="1344870"/>
                      <a:pt x="462831" y="1344743"/>
                      <a:pt x="463275" y="1344604"/>
                    </a:cubicBezTo>
                    <a:cubicBezTo>
                      <a:pt x="464378" y="1347105"/>
                      <a:pt x="464911" y="1349823"/>
                      <a:pt x="464848" y="1352566"/>
                    </a:cubicBezTo>
                    <a:cubicBezTo>
                      <a:pt x="464619" y="1356059"/>
                      <a:pt x="465659" y="1359526"/>
                      <a:pt x="467765" y="1362333"/>
                    </a:cubicBezTo>
                    <a:lnTo>
                      <a:pt x="467854" y="1362422"/>
                    </a:lnTo>
                    <a:cubicBezTo>
                      <a:pt x="468082" y="1362866"/>
                      <a:pt x="468298" y="1363323"/>
                      <a:pt x="468488" y="1363768"/>
                    </a:cubicBezTo>
                    <a:lnTo>
                      <a:pt x="468627" y="1363996"/>
                    </a:lnTo>
                    <a:cubicBezTo>
                      <a:pt x="469173" y="1364949"/>
                      <a:pt x="469820" y="1365838"/>
                      <a:pt x="470555" y="1366651"/>
                    </a:cubicBezTo>
                    <a:cubicBezTo>
                      <a:pt x="470961" y="1367057"/>
                      <a:pt x="471405" y="1367502"/>
                      <a:pt x="471811" y="1367857"/>
                    </a:cubicBezTo>
                    <a:cubicBezTo>
                      <a:pt x="472255" y="1368213"/>
                      <a:pt x="472724" y="1368518"/>
                      <a:pt x="473206" y="1368810"/>
                    </a:cubicBezTo>
                    <a:cubicBezTo>
                      <a:pt x="473523" y="1368987"/>
                      <a:pt x="473853" y="1369127"/>
                      <a:pt x="474196" y="1369254"/>
                    </a:cubicBezTo>
                    <a:cubicBezTo>
                      <a:pt x="474627" y="1369432"/>
                      <a:pt x="475084" y="1369572"/>
                      <a:pt x="475540" y="1369661"/>
                    </a:cubicBezTo>
                    <a:cubicBezTo>
                      <a:pt x="477050" y="1369978"/>
                      <a:pt x="478623" y="1369826"/>
                      <a:pt x="480043" y="1369216"/>
                    </a:cubicBezTo>
                    <a:cubicBezTo>
                      <a:pt x="480411" y="1369089"/>
                      <a:pt x="480779" y="1368924"/>
                      <a:pt x="481121" y="1368721"/>
                    </a:cubicBezTo>
                    <a:cubicBezTo>
                      <a:pt x="481679" y="1368403"/>
                      <a:pt x="482212" y="1368060"/>
                      <a:pt x="482732" y="1367679"/>
                    </a:cubicBezTo>
                    <a:cubicBezTo>
                      <a:pt x="483278" y="1367273"/>
                      <a:pt x="483810" y="1366778"/>
                      <a:pt x="484356" y="1366282"/>
                    </a:cubicBezTo>
                    <a:cubicBezTo>
                      <a:pt x="484749" y="1365914"/>
                      <a:pt x="485130" y="1365533"/>
                      <a:pt x="485472" y="1365114"/>
                    </a:cubicBezTo>
                    <a:cubicBezTo>
                      <a:pt x="485700" y="1365381"/>
                      <a:pt x="485878" y="1365609"/>
                      <a:pt x="486055" y="1365838"/>
                    </a:cubicBezTo>
                    <a:cubicBezTo>
                      <a:pt x="486233" y="1366067"/>
                      <a:pt x="486449" y="1366270"/>
                      <a:pt x="486690" y="1366422"/>
                    </a:cubicBezTo>
                    <a:cubicBezTo>
                      <a:pt x="486854" y="1366524"/>
                      <a:pt x="487045" y="1366600"/>
                      <a:pt x="487235" y="1366651"/>
                    </a:cubicBezTo>
                    <a:lnTo>
                      <a:pt x="487235" y="1366689"/>
                    </a:lnTo>
                    <a:cubicBezTo>
                      <a:pt x="489480" y="1370334"/>
                      <a:pt x="489620" y="1376049"/>
                      <a:pt x="494338" y="1377763"/>
                    </a:cubicBezTo>
                    <a:cubicBezTo>
                      <a:pt x="494059" y="1378055"/>
                      <a:pt x="493767" y="1378322"/>
                      <a:pt x="493438" y="1378563"/>
                    </a:cubicBezTo>
                    <a:cubicBezTo>
                      <a:pt x="493298" y="1378716"/>
                      <a:pt x="493133" y="1378817"/>
                      <a:pt x="492943" y="1378881"/>
                    </a:cubicBezTo>
                    <a:cubicBezTo>
                      <a:pt x="492803" y="1378970"/>
                      <a:pt x="492651" y="1379008"/>
                      <a:pt x="492499" y="1379021"/>
                    </a:cubicBezTo>
                    <a:cubicBezTo>
                      <a:pt x="492372" y="1379021"/>
                      <a:pt x="492245" y="1378982"/>
                      <a:pt x="492131" y="1378932"/>
                    </a:cubicBezTo>
                    <a:cubicBezTo>
                      <a:pt x="491979" y="1378830"/>
                      <a:pt x="491839" y="1378716"/>
                      <a:pt x="491725" y="1378563"/>
                    </a:cubicBezTo>
                    <a:cubicBezTo>
                      <a:pt x="490393" y="1376214"/>
                      <a:pt x="489214" y="1373788"/>
                      <a:pt x="488174" y="1371286"/>
                    </a:cubicBezTo>
                    <a:cubicBezTo>
                      <a:pt x="485688" y="1371909"/>
                      <a:pt x="484178" y="1374423"/>
                      <a:pt x="484800" y="1376912"/>
                    </a:cubicBezTo>
                    <a:cubicBezTo>
                      <a:pt x="484888" y="1377293"/>
                      <a:pt x="485028" y="1377649"/>
                      <a:pt x="485218" y="1377979"/>
                    </a:cubicBezTo>
                    <a:cubicBezTo>
                      <a:pt x="485434" y="1378386"/>
                      <a:pt x="485662" y="1378792"/>
                      <a:pt x="485929" y="1379198"/>
                    </a:cubicBezTo>
                    <a:cubicBezTo>
                      <a:pt x="486182" y="1379579"/>
                      <a:pt x="486461" y="1379922"/>
                      <a:pt x="486778" y="1380240"/>
                    </a:cubicBezTo>
                    <a:cubicBezTo>
                      <a:pt x="487045" y="1380557"/>
                      <a:pt x="487349" y="1380837"/>
                      <a:pt x="487679" y="1381091"/>
                    </a:cubicBezTo>
                    <a:cubicBezTo>
                      <a:pt x="488554" y="1381853"/>
                      <a:pt x="489518" y="1382500"/>
                      <a:pt x="490558" y="1383021"/>
                    </a:cubicBezTo>
                    <a:cubicBezTo>
                      <a:pt x="491281" y="1383351"/>
                      <a:pt x="492017" y="1383643"/>
                      <a:pt x="492765" y="1383885"/>
                    </a:cubicBezTo>
                    <a:cubicBezTo>
                      <a:pt x="496723" y="1385078"/>
                      <a:pt x="501023" y="1384215"/>
                      <a:pt x="504219" y="1381586"/>
                    </a:cubicBezTo>
                    <a:lnTo>
                      <a:pt x="504270" y="1381624"/>
                    </a:lnTo>
                    <a:cubicBezTo>
                      <a:pt x="505069" y="1383072"/>
                      <a:pt x="506020" y="1384774"/>
                      <a:pt x="507010" y="1386577"/>
                    </a:cubicBezTo>
                    <a:cubicBezTo>
                      <a:pt x="506896" y="1386933"/>
                      <a:pt x="506718" y="1387263"/>
                      <a:pt x="506515" y="1387568"/>
                    </a:cubicBezTo>
                    <a:cubicBezTo>
                      <a:pt x="506693" y="1387796"/>
                      <a:pt x="506870" y="1388025"/>
                      <a:pt x="507010" y="1388203"/>
                    </a:cubicBezTo>
                    <a:cubicBezTo>
                      <a:pt x="507441" y="1388634"/>
                      <a:pt x="507923" y="1389015"/>
                      <a:pt x="508443" y="1389333"/>
                    </a:cubicBezTo>
                    <a:lnTo>
                      <a:pt x="508494" y="1389422"/>
                    </a:lnTo>
                    <a:cubicBezTo>
                      <a:pt x="508900" y="1390095"/>
                      <a:pt x="509255" y="1390768"/>
                      <a:pt x="509610" y="1391441"/>
                    </a:cubicBezTo>
                    <a:lnTo>
                      <a:pt x="509661" y="1391492"/>
                    </a:lnTo>
                    <a:cubicBezTo>
                      <a:pt x="509077" y="1392038"/>
                      <a:pt x="508988" y="1393016"/>
                      <a:pt x="509026" y="1394464"/>
                    </a:cubicBezTo>
                    <a:cubicBezTo>
                      <a:pt x="509026" y="1395226"/>
                      <a:pt x="509115" y="1396127"/>
                      <a:pt x="509166" y="1397207"/>
                    </a:cubicBezTo>
                    <a:cubicBezTo>
                      <a:pt x="509610" y="1401576"/>
                      <a:pt x="517385" y="1393829"/>
                      <a:pt x="510777" y="1400992"/>
                    </a:cubicBezTo>
                    <a:cubicBezTo>
                      <a:pt x="516485" y="1403595"/>
                      <a:pt x="517614" y="1397931"/>
                      <a:pt x="520480" y="1403557"/>
                    </a:cubicBezTo>
                    <a:cubicBezTo>
                      <a:pt x="568934" y="1400674"/>
                      <a:pt x="626140" y="1400090"/>
                      <a:pt x="673908" y="1400534"/>
                    </a:cubicBezTo>
                    <a:cubicBezTo>
                      <a:pt x="725951" y="1400992"/>
                      <a:pt x="777995" y="1402655"/>
                      <a:pt x="829987" y="1404408"/>
                    </a:cubicBezTo>
                    <a:cubicBezTo>
                      <a:pt x="882246" y="1406160"/>
                      <a:pt x="934467" y="1408053"/>
                      <a:pt x="986738" y="1408904"/>
                    </a:cubicBezTo>
                    <a:cubicBezTo>
                      <a:pt x="1037158" y="1409716"/>
                      <a:pt x="1087578" y="1409628"/>
                      <a:pt x="1137921" y="1407291"/>
                    </a:cubicBezTo>
                    <a:cubicBezTo>
                      <a:pt x="1184599" y="1405106"/>
                      <a:pt x="1231124" y="1400293"/>
                      <a:pt x="1277270" y="1392889"/>
                    </a:cubicBezTo>
                    <a:cubicBezTo>
                      <a:pt x="1280669" y="1392610"/>
                      <a:pt x="1284030" y="1392063"/>
                      <a:pt x="1287341" y="1391263"/>
                    </a:cubicBezTo>
                    <a:cubicBezTo>
                      <a:pt x="1291653" y="1389320"/>
                      <a:pt x="1296245" y="1388050"/>
                      <a:pt x="1300951" y="1387530"/>
                    </a:cubicBezTo>
                    <a:cubicBezTo>
                      <a:pt x="1307128" y="1387098"/>
                      <a:pt x="1312937" y="1390514"/>
                      <a:pt x="1315563" y="1396127"/>
                    </a:cubicBezTo>
                    <a:cubicBezTo>
                      <a:pt x="1317453" y="1401487"/>
                      <a:pt x="1315157" y="1408091"/>
                      <a:pt x="1318392" y="1412777"/>
                    </a:cubicBezTo>
                    <a:cubicBezTo>
                      <a:pt x="1321360" y="1417006"/>
                      <a:pt x="1327334" y="1417451"/>
                      <a:pt x="1332458" y="1417946"/>
                    </a:cubicBezTo>
                    <a:cubicBezTo>
                      <a:pt x="1337634" y="1418492"/>
                      <a:pt x="1343697" y="1420384"/>
                      <a:pt x="1344914" y="1425414"/>
                    </a:cubicBezTo>
                    <a:cubicBezTo>
                      <a:pt x="1354224" y="1417819"/>
                      <a:pt x="1367733" y="1418352"/>
                      <a:pt x="1376409" y="1426684"/>
                    </a:cubicBezTo>
                    <a:cubicBezTo>
                      <a:pt x="1380113" y="1429008"/>
                      <a:pt x="1382751" y="1432691"/>
                      <a:pt x="1383779" y="1436933"/>
                    </a:cubicBezTo>
                    <a:cubicBezTo>
                      <a:pt x="1383601" y="1433110"/>
                      <a:pt x="1388992" y="1431408"/>
                      <a:pt x="1392455" y="1433021"/>
                    </a:cubicBezTo>
                    <a:cubicBezTo>
                      <a:pt x="1395626" y="1435155"/>
                      <a:pt x="1398543" y="1437631"/>
                      <a:pt x="1401169" y="1440400"/>
                    </a:cubicBezTo>
                    <a:cubicBezTo>
                      <a:pt x="1408754" y="1445708"/>
                      <a:pt x="1419193" y="1443854"/>
                      <a:pt x="1424482" y="1436272"/>
                    </a:cubicBezTo>
                    <a:cubicBezTo>
                      <a:pt x="1424546" y="1436183"/>
                      <a:pt x="1424609" y="1436082"/>
                      <a:pt x="1424672" y="1435993"/>
                    </a:cubicBezTo>
                    <a:cubicBezTo>
                      <a:pt x="1428402" y="1440628"/>
                      <a:pt x="1434059" y="1443295"/>
                      <a:pt x="1440008" y="1443232"/>
                    </a:cubicBezTo>
                    <a:cubicBezTo>
                      <a:pt x="1445982" y="1444045"/>
                      <a:pt x="1451956" y="1444895"/>
                      <a:pt x="1457930" y="1445708"/>
                    </a:cubicBezTo>
                    <a:cubicBezTo>
                      <a:pt x="1459097" y="1445848"/>
                      <a:pt x="1460226" y="1446026"/>
                      <a:pt x="1461393" y="1446115"/>
                    </a:cubicBezTo>
                    <a:cubicBezTo>
                      <a:pt x="1466518" y="1442012"/>
                      <a:pt x="1470348" y="1436513"/>
                      <a:pt x="1472403" y="1430278"/>
                    </a:cubicBezTo>
                    <a:cubicBezTo>
                      <a:pt x="1474965" y="1422899"/>
                      <a:pt x="1491226" y="1416498"/>
                      <a:pt x="1482652" y="1430189"/>
                    </a:cubicBezTo>
                    <a:cubicBezTo>
                      <a:pt x="1478022" y="1433516"/>
                      <a:pt x="1484263" y="1432386"/>
                      <a:pt x="1486787" y="1430049"/>
                    </a:cubicBezTo>
                    <a:cubicBezTo>
                      <a:pt x="1492812" y="1407100"/>
                      <a:pt x="1502020" y="1407189"/>
                      <a:pt x="1491683" y="1428017"/>
                    </a:cubicBezTo>
                    <a:cubicBezTo>
                      <a:pt x="1494106" y="1424918"/>
                      <a:pt x="1499230" y="1417717"/>
                      <a:pt x="1499230" y="1420232"/>
                    </a:cubicBezTo>
                    <a:cubicBezTo>
                      <a:pt x="1512079" y="1416409"/>
                      <a:pt x="1488893" y="1394997"/>
                      <a:pt x="1513348" y="1406465"/>
                    </a:cubicBezTo>
                    <a:cubicBezTo>
                      <a:pt x="1549028" y="1419381"/>
                      <a:pt x="1550639" y="1404306"/>
                      <a:pt x="1567763" y="1446521"/>
                    </a:cubicBezTo>
                    <a:cubicBezTo>
                      <a:pt x="1577923" y="1455195"/>
                      <a:pt x="1599854" y="1438863"/>
                      <a:pt x="1595668" y="1454751"/>
                    </a:cubicBezTo>
                    <a:cubicBezTo>
                      <a:pt x="1585825" y="1468924"/>
                      <a:pt x="1613464" y="1471172"/>
                      <a:pt x="1598585" y="1487999"/>
                    </a:cubicBezTo>
                    <a:cubicBezTo>
                      <a:pt x="1606449" y="1494616"/>
                      <a:pt x="1614948" y="1487186"/>
                      <a:pt x="1604877" y="1498985"/>
                    </a:cubicBezTo>
                    <a:cubicBezTo>
                      <a:pt x="1604877" y="1501728"/>
                      <a:pt x="1606817" y="1500737"/>
                      <a:pt x="1606906" y="1498578"/>
                    </a:cubicBezTo>
                    <a:cubicBezTo>
                      <a:pt x="1612969" y="1500191"/>
                      <a:pt x="1599308" y="1506313"/>
                      <a:pt x="1606944" y="1510008"/>
                    </a:cubicBezTo>
                    <a:cubicBezTo>
                      <a:pt x="1606652" y="1510148"/>
                      <a:pt x="1606361" y="1510275"/>
                      <a:pt x="1606044" y="1510364"/>
                    </a:cubicBezTo>
                    <a:cubicBezTo>
                      <a:pt x="1606183" y="1510542"/>
                      <a:pt x="1606272" y="1510720"/>
                      <a:pt x="1606411" y="1510910"/>
                    </a:cubicBezTo>
                    <a:cubicBezTo>
                      <a:pt x="1608111" y="1510186"/>
                      <a:pt x="1608695" y="1507621"/>
                      <a:pt x="1610952" y="1507989"/>
                    </a:cubicBezTo>
                    <a:lnTo>
                      <a:pt x="1612297" y="1508840"/>
                    </a:lnTo>
                    <a:cubicBezTo>
                      <a:pt x="1613007" y="1508434"/>
                      <a:pt x="1614631" y="1507494"/>
                      <a:pt x="1615354" y="1506998"/>
                    </a:cubicBezTo>
                    <a:cubicBezTo>
                      <a:pt x="1617916" y="1508611"/>
                      <a:pt x="1617421" y="1513920"/>
                      <a:pt x="1618182" y="1518835"/>
                    </a:cubicBezTo>
                    <a:cubicBezTo>
                      <a:pt x="1638363" y="1513336"/>
                      <a:pt x="1681540" y="1527560"/>
                      <a:pt x="1690355" y="1526163"/>
                    </a:cubicBezTo>
                    <a:cubicBezTo>
                      <a:pt x="1682846" y="1531065"/>
                      <a:pt x="1694846" y="1524677"/>
                      <a:pt x="1686804" y="1531382"/>
                    </a:cubicBezTo>
                    <a:cubicBezTo>
                      <a:pt x="1696317" y="1527953"/>
                      <a:pt x="1706921" y="1529452"/>
                      <a:pt x="1715115" y="1535383"/>
                    </a:cubicBezTo>
                    <a:cubicBezTo>
                      <a:pt x="1713580" y="1536196"/>
                      <a:pt x="1721584" y="1551728"/>
                      <a:pt x="1722535" y="1544527"/>
                    </a:cubicBezTo>
                    <a:cubicBezTo>
                      <a:pt x="1724374" y="1557570"/>
                      <a:pt x="1725630" y="1554738"/>
                      <a:pt x="1732556" y="1554065"/>
                    </a:cubicBezTo>
                    <a:cubicBezTo>
                      <a:pt x="1732771" y="1563691"/>
                      <a:pt x="1730983" y="1564809"/>
                      <a:pt x="1739164" y="1573140"/>
                    </a:cubicBezTo>
                    <a:cubicBezTo>
                      <a:pt x="1743743" y="1582944"/>
                      <a:pt x="1741270" y="1569140"/>
                      <a:pt x="1743692" y="1579033"/>
                    </a:cubicBezTo>
                    <a:cubicBezTo>
                      <a:pt x="1717500" y="1568149"/>
                      <a:pt x="1751519" y="1600991"/>
                      <a:pt x="1717994" y="1585243"/>
                    </a:cubicBezTo>
                    <a:cubicBezTo>
                      <a:pt x="1714392" y="1571159"/>
                      <a:pt x="1704726" y="1595860"/>
                      <a:pt x="1708912" y="1578131"/>
                    </a:cubicBezTo>
                    <a:cubicBezTo>
                      <a:pt x="1706794" y="1575883"/>
                      <a:pt x="1704105" y="1578080"/>
                      <a:pt x="1702393" y="1579617"/>
                    </a:cubicBezTo>
                    <a:cubicBezTo>
                      <a:pt x="1713086" y="1566028"/>
                      <a:pt x="1695480" y="1577814"/>
                      <a:pt x="1697446" y="1559640"/>
                    </a:cubicBezTo>
                    <a:cubicBezTo>
                      <a:pt x="1694528" y="1559729"/>
                      <a:pt x="1680994" y="1558560"/>
                      <a:pt x="1687387" y="1561304"/>
                    </a:cubicBezTo>
                    <a:cubicBezTo>
                      <a:pt x="1705767" y="1575617"/>
                      <a:pt x="1686804" y="1626950"/>
                      <a:pt x="1674399" y="1644323"/>
                    </a:cubicBezTo>
                    <a:cubicBezTo>
                      <a:pt x="1669680" y="1647194"/>
                      <a:pt x="1666712" y="1646216"/>
                      <a:pt x="1664683" y="1643155"/>
                    </a:cubicBezTo>
                    <a:cubicBezTo>
                      <a:pt x="1657859" y="1660834"/>
                      <a:pt x="1649043" y="1675057"/>
                      <a:pt x="1649182" y="1685624"/>
                    </a:cubicBezTo>
                    <a:cubicBezTo>
                      <a:pt x="1653863" y="1686488"/>
                      <a:pt x="1661499" y="1684367"/>
                      <a:pt x="1663300" y="1690082"/>
                    </a:cubicBezTo>
                    <a:cubicBezTo>
                      <a:pt x="1660510" y="1683465"/>
                      <a:pt x="1678711" y="1674511"/>
                      <a:pt x="1680690" y="1675959"/>
                    </a:cubicBezTo>
                    <a:cubicBezTo>
                      <a:pt x="1683024" y="1653366"/>
                      <a:pt x="1742119" y="1668352"/>
                      <a:pt x="1724730" y="1663754"/>
                    </a:cubicBezTo>
                    <a:cubicBezTo>
                      <a:pt x="1719110" y="1654090"/>
                      <a:pt x="1740052" y="1655665"/>
                      <a:pt x="1753307" y="1654128"/>
                    </a:cubicBezTo>
                    <a:cubicBezTo>
                      <a:pt x="1758102" y="1649239"/>
                      <a:pt x="1762160" y="1643676"/>
                      <a:pt x="1765357" y="1637618"/>
                    </a:cubicBezTo>
                    <a:cubicBezTo>
                      <a:pt x="1742310" y="1639193"/>
                      <a:pt x="1728864" y="1637758"/>
                      <a:pt x="1764101" y="1614720"/>
                    </a:cubicBezTo>
                    <a:cubicBezTo>
                      <a:pt x="1785132" y="1611837"/>
                      <a:pt x="1798564" y="1606351"/>
                      <a:pt x="1811197" y="1611164"/>
                    </a:cubicBezTo>
                    <a:cubicBezTo>
                      <a:pt x="1811553" y="1610846"/>
                      <a:pt x="1813443" y="1617108"/>
                      <a:pt x="1823742" y="1611519"/>
                    </a:cubicBezTo>
                    <a:cubicBezTo>
                      <a:pt x="1815295" y="1610669"/>
                      <a:pt x="1819734" y="1610884"/>
                      <a:pt x="1823691" y="1604865"/>
                    </a:cubicBezTo>
                    <a:cubicBezTo>
                      <a:pt x="1812453" y="1613323"/>
                      <a:pt x="1820723" y="1600089"/>
                      <a:pt x="1814204" y="1603607"/>
                    </a:cubicBezTo>
                    <a:cubicBezTo>
                      <a:pt x="1810386" y="1603417"/>
                      <a:pt x="1796725" y="1607341"/>
                      <a:pt x="1809942" y="1602299"/>
                    </a:cubicBezTo>
                    <a:cubicBezTo>
                      <a:pt x="1818440" y="1601944"/>
                      <a:pt x="1817540" y="1602248"/>
                      <a:pt x="1822651" y="1602248"/>
                    </a:cubicBezTo>
                    <a:cubicBezTo>
                      <a:pt x="1819151" y="1603061"/>
                      <a:pt x="1815383" y="1607557"/>
                      <a:pt x="1820495" y="1606211"/>
                    </a:cubicBezTo>
                    <a:cubicBezTo>
                      <a:pt x="1829437" y="1600839"/>
                      <a:pt x="1838900" y="1596381"/>
                      <a:pt x="1848730" y="1592889"/>
                    </a:cubicBezTo>
                    <a:cubicBezTo>
                      <a:pt x="1857914" y="1583567"/>
                      <a:pt x="1868416" y="1575629"/>
                      <a:pt x="1879908" y="1569355"/>
                    </a:cubicBezTo>
                    <a:lnTo>
                      <a:pt x="1883510" y="1569813"/>
                    </a:lnTo>
                    <a:lnTo>
                      <a:pt x="1884322" y="1569762"/>
                    </a:lnTo>
                    <a:lnTo>
                      <a:pt x="1884817" y="1569851"/>
                    </a:lnTo>
                    <a:cubicBezTo>
                      <a:pt x="1900925" y="1568784"/>
                      <a:pt x="1917111" y="1568898"/>
                      <a:pt x="1933207" y="1570219"/>
                    </a:cubicBezTo>
                    <a:cubicBezTo>
                      <a:pt x="1944901" y="1570397"/>
                      <a:pt x="1977475" y="1573597"/>
                      <a:pt x="1981381" y="1558027"/>
                    </a:cubicBezTo>
                    <a:cubicBezTo>
                      <a:pt x="1981470" y="1559246"/>
                      <a:pt x="1983056" y="1559869"/>
                      <a:pt x="1984223" y="1559551"/>
                    </a:cubicBezTo>
                    <a:cubicBezTo>
                      <a:pt x="1985351" y="1559043"/>
                      <a:pt x="1986392" y="1558332"/>
                      <a:pt x="1987279" y="1557443"/>
                    </a:cubicBezTo>
                    <a:cubicBezTo>
                      <a:pt x="1988180" y="1556567"/>
                      <a:pt x="1989474" y="1556236"/>
                      <a:pt x="1990691" y="1556579"/>
                    </a:cubicBezTo>
                    <a:cubicBezTo>
                      <a:pt x="1992036" y="1557176"/>
                      <a:pt x="1992353" y="1558840"/>
                      <a:pt x="1992531" y="1560275"/>
                    </a:cubicBezTo>
                    <a:cubicBezTo>
                      <a:pt x="1993533" y="1559449"/>
                      <a:pt x="1994065" y="1558192"/>
                      <a:pt x="1993964" y="1556897"/>
                    </a:cubicBezTo>
                    <a:cubicBezTo>
                      <a:pt x="1993875" y="1555601"/>
                      <a:pt x="1994243" y="1554306"/>
                      <a:pt x="1995004" y="1553252"/>
                    </a:cubicBezTo>
                    <a:cubicBezTo>
                      <a:pt x="1995905" y="1552350"/>
                      <a:pt x="1997972" y="1552757"/>
                      <a:pt x="1997883" y="1554014"/>
                    </a:cubicBezTo>
                    <a:cubicBezTo>
                      <a:pt x="2001283" y="1548210"/>
                      <a:pt x="2003921" y="1541974"/>
                      <a:pt x="2005697" y="1535472"/>
                    </a:cubicBezTo>
                    <a:cubicBezTo>
                      <a:pt x="2008487" y="1527915"/>
                      <a:pt x="2011265" y="1520359"/>
                      <a:pt x="2014322" y="1512891"/>
                    </a:cubicBezTo>
                    <a:cubicBezTo>
                      <a:pt x="2020233" y="1496876"/>
                      <a:pt x="2028947" y="1482043"/>
                      <a:pt x="2040071" y="1469102"/>
                    </a:cubicBezTo>
                    <a:cubicBezTo>
                      <a:pt x="2041999" y="1466993"/>
                      <a:pt x="2044295" y="1471946"/>
                      <a:pt x="2044612" y="1472924"/>
                    </a:cubicBezTo>
                    <a:cubicBezTo>
                      <a:pt x="2045424" y="1475591"/>
                      <a:pt x="2044384" y="1479008"/>
                      <a:pt x="2048164" y="1479770"/>
                    </a:cubicBezTo>
                    <a:cubicBezTo>
                      <a:pt x="2050282" y="1479960"/>
                      <a:pt x="2052413" y="1479503"/>
                      <a:pt x="2054277" y="1478462"/>
                    </a:cubicBezTo>
                    <a:lnTo>
                      <a:pt x="2063308" y="1474550"/>
                    </a:lnTo>
                    <a:cubicBezTo>
                      <a:pt x="2064412" y="1473978"/>
                      <a:pt x="2065617" y="1473648"/>
                      <a:pt x="2066860" y="1473610"/>
                    </a:cubicBezTo>
                    <a:cubicBezTo>
                      <a:pt x="2072340" y="1473699"/>
                      <a:pt x="2077236" y="1481751"/>
                      <a:pt x="2078910" y="1486209"/>
                    </a:cubicBezTo>
                    <a:cubicBezTo>
                      <a:pt x="2080876" y="1492279"/>
                      <a:pt x="2081663" y="1498680"/>
                      <a:pt x="2081244" y="1505055"/>
                    </a:cubicBezTo>
                    <a:cubicBezTo>
                      <a:pt x="2079278" y="1517463"/>
                      <a:pt x="2079493" y="1530112"/>
                      <a:pt x="2081878" y="1542444"/>
                    </a:cubicBezTo>
                    <a:cubicBezTo>
                      <a:pt x="2082106" y="1542317"/>
                      <a:pt x="2082144" y="1541860"/>
                      <a:pt x="2082461" y="1541860"/>
                    </a:cubicBezTo>
                    <a:cubicBezTo>
                      <a:pt x="2083717" y="1544095"/>
                      <a:pt x="2086153" y="1545403"/>
                      <a:pt x="2088715" y="1545200"/>
                    </a:cubicBezTo>
                    <a:lnTo>
                      <a:pt x="2089615" y="1545098"/>
                    </a:lnTo>
                    <a:cubicBezTo>
                      <a:pt x="2093205" y="1549429"/>
                      <a:pt x="2085696" y="1559005"/>
                      <a:pt x="2094017" y="1563602"/>
                    </a:cubicBezTo>
                    <a:cubicBezTo>
                      <a:pt x="2095273" y="1563323"/>
                      <a:pt x="2094867" y="1561799"/>
                      <a:pt x="2095856" y="1561532"/>
                    </a:cubicBezTo>
                    <a:cubicBezTo>
                      <a:pt x="2095945" y="1561570"/>
                      <a:pt x="2096706" y="1562066"/>
                      <a:pt x="2097924" y="1562929"/>
                    </a:cubicBezTo>
                    <a:cubicBezTo>
                      <a:pt x="2097289" y="1561304"/>
                      <a:pt x="2097378" y="1560224"/>
                      <a:pt x="2098862" y="1561532"/>
                    </a:cubicBezTo>
                    <a:cubicBezTo>
                      <a:pt x="2099268" y="1562701"/>
                      <a:pt x="2099585" y="1563602"/>
                      <a:pt x="2099814" y="1564225"/>
                    </a:cubicBezTo>
                    <a:cubicBezTo>
                      <a:pt x="2100169" y="1564453"/>
                      <a:pt x="2100524" y="1564720"/>
                      <a:pt x="2100930" y="1564987"/>
                    </a:cubicBezTo>
                    <a:cubicBezTo>
                      <a:pt x="2101323" y="1563933"/>
                      <a:pt x="2102376" y="1563259"/>
                      <a:pt x="2103492" y="1563374"/>
                    </a:cubicBezTo>
                    <a:cubicBezTo>
                      <a:pt x="2107767" y="1559589"/>
                      <a:pt x="2104037" y="1570930"/>
                      <a:pt x="2108756" y="1565444"/>
                    </a:cubicBezTo>
                    <a:cubicBezTo>
                      <a:pt x="2109390" y="1569851"/>
                      <a:pt x="2113563" y="1564682"/>
                      <a:pt x="2117521" y="1563501"/>
                    </a:cubicBezTo>
                    <a:cubicBezTo>
                      <a:pt x="2117292" y="1569673"/>
                      <a:pt x="2126057" y="1562421"/>
                      <a:pt x="2122645" y="1561520"/>
                    </a:cubicBezTo>
                    <a:cubicBezTo>
                      <a:pt x="2135456" y="1563412"/>
                      <a:pt x="2121605" y="1555360"/>
                      <a:pt x="2128746" y="1555538"/>
                    </a:cubicBezTo>
                    <a:cubicBezTo>
                      <a:pt x="2132260" y="1548121"/>
                      <a:pt x="2132348" y="1553925"/>
                      <a:pt x="2127579" y="1557201"/>
                    </a:cubicBezTo>
                    <a:cubicBezTo>
                      <a:pt x="2139984" y="1566739"/>
                      <a:pt x="2156169" y="1545378"/>
                      <a:pt x="2167496" y="1542622"/>
                    </a:cubicBezTo>
                    <a:cubicBezTo>
                      <a:pt x="2170135" y="1540412"/>
                      <a:pt x="2171289" y="1536882"/>
                      <a:pt x="2170452" y="1533541"/>
                    </a:cubicBezTo>
                    <a:cubicBezTo>
                      <a:pt x="2175361" y="1541326"/>
                      <a:pt x="2178227" y="1532373"/>
                      <a:pt x="2180523" y="1538533"/>
                    </a:cubicBezTo>
                    <a:cubicBezTo>
                      <a:pt x="2177644" y="1538888"/>
                      <a:pt x="2152796" y="1556033"/>
                      <a:pt x="2166418" y="1556706"/>
                    </a:cubicBezTo>
                    <a:cubicBezTo>
                      <a:pt x="2167623" y="1559322"/>
                      <a:pt x="2171530" y="1547931"/>
                      <a:pt x="2177149" y="1555004"/>
                    </a:cubicBezTo>
                    <a:cubicBezTo>
                      <a:pt x="2181284" y="1551360"/>
                      <a:pt x="2209785" y="1554014"/>
                      <a:pt x="2203215" y="1558014"/>
                    </a:cubicBezTo>
                    <a:cubicBezTo>
                      <a:pt x="2198497" y="1553557"/>
                      <a:pt x="2177517" y="1561342"/>
                      <a:pt x="2184924" y="1567920"/>
                    </a:cubicBezTo>
                    <a:cubicBezTo>
                      <a:pt x="2184430" y="1573673"/>
                      <a:pt x="2183618" y="1564771"/>
                      <a:pt x="2179495" y="1563780"/>
                    </a:cubicBezTo>
                    <a:cubicBezTo>
                      <a:pt x="2177200" y="1568225"/>
                      <a:pt x="2177517" y="1562510"/>
                      <a:pt x="2177733" y="1561888"/>
                    </a:cubicBezTo>
                    <a:cubicBezTo>
                      <a:pt x="2186637" y="1544692"/>
                      <a:pt x="2124484" y="1590412"/>
                      <a:pt x="2144703" y="1579833"/>
                    </a:cubicBezTo>
                    <a:cubicBezTo>
                      <a:pt x="2128746" y="1589193"/>
                      <a:pt x="2118320" y="1606249"/>
                      <a:pt x="2132031" y="1620968"/>
                    </a:cubicBezTo>
                    <a:cubicBezTo>
                      <a:pt x="2130192" y="1610173"/>
                      <a:pt x="2136928" y="1620206"/>
                      <a:pt x="2139401" y="1628664"/>
                    </a:cubicBezTo>
                    <a:cubicBezTo>
                      <a:pt x="2143498" y="1629655"/>
                      <a:pt x="2142724" y="1623165"/>
                      <a:pt x="2146326" y="1630138"/>
                    </a:cubicBezTo>
                    <a:cubicBezTo>
                      <a:pt x="2147176" y="1628207"/>
                      <a:pt x="2146098" y="1624473"/>
                      <a:pt x="2148432" y="1628842"/>
                    </a:cubicBezTo>
                    <a:cubicBezTo>
                      <a:pt x="2147037" y="1625870"/>
                      <a:pt x="2146682" y="1623800"/>
                      <a:pt x="2150144" y="1627267"/>
                    </a:cubicBezTo>
                    <a:cubicBezTo>
                      <a:pt x="2149903" y="1624702"/>
                      <a:pt x="2149865" y="1622137"/>
                      <a:pt x="2150005" y="1619571"/>
                    </a:cubicBezTo>
                    <a:cubicBezTo>
                      <a:pt x="2150867" y="1617501"/>
                      <a:pt x="2150905" y="1620206"/>
                      <a:pt x="2150550" y="1621324"/>
                    </a:cubicBezTo>
                    <a:cubicBezTo>
                      <a:pt x="2154102" y="1623940"/>
                      <a:pt x="2152796" y="1619304"/>
                      <a:pt x="2153062" y="1617057"/>
                    </a:cubicBezTo>
                    <a:cubicBezTo>
                      <a:pt x="2155446" y="1620155"/>
                      <a:pt x="2155586" y="1624029"/>
                      <a:pt x="2157336" y="1618936"/>
                    </a:cubicBezTo>
                    <a:cubicBezTo>
                      <a:pt x="2158541" y="1623750"/>
                      <a:pt x="2159759" y="1618263"/>
                      <a:pt x="2158681" y="1616015"/>
                    </a:cubicBezTo>
                    <a:cubicBezTo>
                      <a:pt x="2160571" y="1621197"/>
                      <a:pt x="2162232" y="1617057"/>
                      <a:pt x="2160748" y="1614402"/>
                    </a:cubicBezTo>
                    <a:cubicBezTo>
                      <a:pt x="2163488" y="1617095"/>
                      <a:pt x="2165924" y="1615660"/>
                      <a:pt x="2164160" y="1612243"/>
                    </a:cubicBezTo>
                    <a:cubicBezTo>
                      <a:pt x="2167928" y="1610567"/>
                      <a:pt x="2170858" y="1607455"/>
                      <a:pt x="2172304" y="1603607"/>
                    </a:cubicBezTo>
                    <a:cubicBezTo>
                      <a:pt x="2179800" y="1603468"/>
                      <a:pt x="2174143" y="1591771"/>
                      <a:pt x="2180028" y="1599239"/>
                    </a:cubicBezTo>
                    <a:cubicBezTo>
                      <a:pt x="2183897" y="1597041"/>
                      <a:pt x="2173382" y="1594603"/>
                      <a:pt x="2181690" y="1595238"/>
                    </a:cubicBezTo>
                    <a:cubicBezTo>
                      <a:pt x="2180434" y="1594832"/>
                      <a:pt x="2176071" y="1587491"/>
                      <a:pt x="2181741" y="1588215"/>
                    </a:cubicBezTo>
                    <a:cubicBezTo>
                      <a:pt x="2182274" y="1586412"/>
                      <a:pt x="2183935" y="1585523"/>
                      <a:pt x="2184797" y="1588215"/>
                    </a:cubicBezTo>
                    <a:cubicBezTo>
                      <a:pt x="2189110" y="1595505"/>
                      <a:pt x="2184075" y="1581065"/>
                      <a:pt x="2191355" y="1581865"/>
                    </a:cubicBezTo>
                    <a:cubicBezTo>
                      <a:pt x="2185102" y="1593701"/>
                      <a:pt x="2209151" y="1594819"/>
                      <a:pt x="2198268" y="1581052"/>
                    </a:cubicBezTo>
                    <a:cubicBezTo>
                      <a:pt x="2205777" y="1589968"/>
                      <a:pt x="2209418" y="1579122"/>
                      <a:pt x="2212563" y="1582182"/>
                    </a:cubicBezTo>
                    <a:cubicBezTo>
                      <a:pt x="2212069" y="1572467"/>
                      <a:pt x="2216026" y="1587402"/>
                      <a:pt x="2215214" y="1579071"/>
                    </a:cubicBezTo>
                    <a:cubicBezTo>
                      <a:pt x="2217015" y="1579033"/>
                      <a:pt x="2217332" y="1582043"/>
                      <a:pt x="2220389" y="1580201"/>
                    </a:cubicBezTo>
                    <a:cubicBezTo>
                      <a:pt x="2223129" y="1583618"/>
                      <a:pt x="2220339" y="1575477"/>
                      <a:pt x="2225425" y="1577687"/>
                    </a:cubicBezTo>
                    <a:cubicBezTo>
                      <a:pt x="2228875" y="1575883"/>
                      <a:pt x="2228748" y="1577458"/>
                      <a:pt x="2231399" y="1573724"/>
                    </a:cubicBezTo>
                    <a:cubicBezTo>
                      <a:pt x="2231894" y="1577496"/>
                      <a:pt x="2231171" y="1575210"/>
                      <a:pt x="2233556" y="1574486"/>
                    </a:cubicBezTo>
                    <a:cubicBezTo>
                      <a:pt x="2237919" y="1571692"/>
                      <a:pt x="2242739" y="1569660"/>
                      <a:pt x="2247800" y="1568505"/>
                    </a:cubicBezTo>
                    <a:cubicBezTo>
                      <a:pt x="2253914" y="1562739"/>
                      <a:pt x="2257554" y="1565711"/>
                      <a:pt x="2267118" y="1559818"/>
                    </a:cubicBezTo>
                    <a:cubicBezTo>
                      <a:pt x="2269503" y="1564085"/>
                      <a:pt x="2267613" y="1554636"/>
                      <a:pt x="2269858" y="1561215"/>
                    </a:cubicBezTo>
                    <a:cubicBezTo>
                      <a:pt x="2271659" y="1559411"/>
                      <a:pt x="2273904" y="1558776"/>
                      <a:pt x="2274094" y="1557163"/>
                    </a:cubicBezTo>
                    <a:cubicBezTo>
                      <a:pt x="2244109" y="1552617"/>
                      <a:pt x="2277722" y="1556757"/>
                      <a:pt x="2259926" y="1542266"/>
                    </a:cubicBezTo>
                    <a:cubicBezTo>
                      <a:pt x="2238363" y="1551309"/>
                      <a:pt x="2259026" y="1522061"/>
                      <a:pt x="2230905" y="1545289"/>
                    </a:cubicBezTo>
                    <a:cubicBezTo>
                      <a:pt x="2229510" y="1537771"/>
                      <a:pt x="2223573" y="1547537"/>
                      <a:pt x="2223675" y="1543028"/>
                    </a:cubicBezTo>
                    <a:cubicBezTo>
                      <a:pt x="2236524" y="1532906"/>
                      <a:pt x="2195009" y="1544197"/>
                      <a:pt x="2210014" y="1537275"/>
                    </a:cubicBezTo>
                    <a:cubicBezTo>
                      <a:pt x="2201211" y="1536653"/>
                      <a:pt x="2192814" y="1533376"/>
                      <a:pt x="2185914" y="1527865"/>
                    </a:cubicBezTo>
                    <a:cubicBezTo>
                      <a:pt x="2204750" y="1524131"/>
                      <a:pt x="2184125" y="1520626"/>
                      <a:pt x="2177377" y="1520219"/>
                    </a:cubicBezTo>
                    <a:cubicBezTo>
                      <a:pt x="2166824" y="1520041"/>
                      <a:pt x="2178544" y="1513285"/>
                      <a:pt x="2168220" y="1515990"/>
                    </a:cubicBezTo>
                    <a:cubicBezTo>
                      <a:pt x="2175893" y="1505906"/>
                      <a:pt x="2157210" y="1501055"/>
                      <a:pt x="2165518" y="1484850"/>
                    </a:cubicBezTo>
                    <a:cubicBezTo>
                      <a:pt x="2152352" y="1485434"/>
                      <a:pt x="2144754" y="1486615"/>
                      <a:pt x="2160571" y="1476303"/>
                    </a:cubicBezTo>
                    <a:cubicBezTo>
                      <a:pt x="2170680" y="1447550"/>
                      <a:pt x="2167890" y="1451157"/>
                      <a:pt x="2140847" y="1460821"/>
                    </a:cubicBezTo>
                    <a:cubicBezTo>
                      <a:pt x="2141113" y="1445162"/>
                      <a:pt x="2118599" y="1444400"/>
                      <a:pt x="2107411" y="1446381"/>
                    </a:cubicBezTo>
                    <a:cubicBezTo>
                      <a:pt x="2130421" y="1430544"/>
                      <a:pt x="2153785" y="1458357"/>
                      <a:pt x="2168803" y="1431891"/>
                    </a:cubicBezTo>
                    <a:cubicBezTo>
                      <a:pt x="2184303" y="1428068"/>
                      <a:pt x="2183846" y="1418175"/>
                      <a:pt x="2177555" y="1412587"/>
                    </a:cubicBezTo>
                    <a:cubicBezTo>
                      <a:pt x="2177923" y="1409932"/>
                      <a:pt x="2169602" y="1411825"/>
                      <a:pt x="2174650" y="1410694"/>
                    </a:cubicBezTo>
                    <a:cubicBezTo>
                      <a:pt x="2168537" y="1405348"/>
                      <a:pt x="2182286" y="1412218"/>
                      <a:pt x="2183402" y="1413844"/>
                    </a:cubicBezTo>
                    <a:cubicBezTo>
                      <a:pt x="2167813" y="1376328"/>
                      <a:pt x="2115948" y="1397105"/>
                      <a:pt x="2087599" y="1409526"/>
                    </a:cubicBezTo>
                    <a:cubicBezTo>
                      <a:pt x="2061977" y="1431713"/>
                      <a:pt x="2033754" y="1451550"/>
                      <a:pt x="2006572" y="1471629"/>
                    </a:cubicBezTo>
                    <a:cubicBezTo>
                      <a:pt x="2021489" y="1456097"/>
                      <a:pt x="2027729" y="1440933"/>
                      <a:pt x="2009718" y="1432703"/>
                    </a:cubicBezTo>
                    <a:cubicBezTo>
                      <a:pt x="2042925" y="1442470"/>
                      <a:pt x="2015958" y="1444984"/>
                      <a:pt x="2063283" y="1395632"/>
                    </a:cubicBezTo>
                    <a:cubicBezTo>
                      <a:pt x="2067558" y="1406338"/>
                      <a:pt x="2072860" y="1384558"/>
                      <a:pt x="2091734" y="1389333"/>
                    </a:cubicBezTo>
                    <a:cubicBezTo>
                      <a:pt x="2096541" y="1373064"/>
                      <a:pt x="2106143" y="1358637"/>
                      <a:pt x="2119284" y="1347931"/>
                    </a:cubicBezTo>
                    <a:cubicBezTo>
                      <a:pt x="2138285" y="1347702"/>
                      <a:pt x="2155497" y="1346483"/>
                      <a:pt x="2171276" y="1344908"/>
                    </a:cubicBezTo>
                    <a:cubicBezTo>
                      <a:pt x="2197875" y="1345988"/>
                      <a:pt x="2224436" y="1347118"/>
                      <a:pt x="2251047" y="1347474"/>
                    </a:cubicBezTo>
                    <a:cubicBezTo>
                      <a:pt x="2279980" y="1347931"/>
                      <a:pt x="2309242" y="1345899"/>
                      <a:pt x="2325871" y="1317057"/>
                    </a:cubicBezTo>
                    <a:cubicBezTo>
                      <a:pt x="2335980" y="1300573"/>
                      <a:pt x="2354056" y="1290679"/>
                      <a:pt x="2373373" y="1291048"/>
                    </a:cubicBezTo>
                    <a:cubicBezTo>
                      <a:pt x="2391385" y="1289790"/>
                      <a:pt x="2400695" y="1277459"/>
                      <a:pt x="2412555" y="1268378"/>
                    </a:cubicBezTo>
                    <a:cubicBezTo>
                      <a:pt x="2415967" y="1264327"/>
                      <a:pt x="2417603" y="1259082"/>
                      <a:pt x="2417083" y="1253814"/>
                    </a:cubicBezTo>
                    <a:close/>
                    <a:moveTo>
                      <a:pt x="1410289" y="484967"/>
                    </a:moveTo>
                    <a:cubicBezTo>
                      <a:pt x="1414690" y="485602"/>
                      <a:pt x="1419142" y="486273"/>
                      <a:pt x="1423543" y="486947"/>
                    </a:cubicBezTo>
                    <a:cubicBezTo>
                      <a:pt x="1423543" y="487533"/>
                      <a:pt x="1423543" y="488162"/>
                      <a:pt x="1423594" y="488792"/>
                    </a:cubicBezTo>
                    <a:cubicBezTo>
                      <a:pt x="1421793" y="489062"/>
                      <a:pt x="1419992" y="489286"/>
                      <a:pt x="1418242" y="489554"/>
                    </a:cubicBezTo>
                    <a:cubicBezTo>
                      <a:pt x="1415591" y="489915"/>
                      <a:pt x="1412940" y="490316"/>
                      <a:pt x="1410289" y="490680"/>
                    </a:cubicBezTo>
                    <a:close/>
                    <a:moveTo>
                      <a:pt x="1346157" y="613791"/>
                    </a:moveTo>
                    <a:cubicBezTo>
                      <a:pt x="1346475" y="613341"/>
                      <a:pt x="1346741" y="612890"/>
                      <a:pt x="1347007" y="612441"/>
                    </a:cubicBezTo>
                    <a:cubicBezTo>
                      <a:pt x="1347641" y="612730"/>
                      <a:pt x="1348263" y="613061"/>
                      <a:pt x="1348859" y="613431"/>
                    </a:cubicBezTo>
                    <a:lnTo>
                      <a:pt x="1348986" y="613520"/>
                    </a:lnTo>
                    <a:cubicBezTo>
                      <a:pt x="1354567" y="616581"/>
                      <a:pt x="1360224" y="619641"/>
                      <a:pt x="1365792" y="622700"/>
                    </a:cubicBezTo>
                    <a:cubicBezTo>
                      <a:pt x="1364676" y="622761"/>
                      <a:pt x="1363560" y="622926"/>
                      <a:pt x="1362469" y="623195"/>
                    </a:cubicBezTo>
                    <a:cubicBezTo>
                      <a:pt x="1360085" y="623689"/>
                      <a:pt x="1357522" y="624545"/>
                      <a:pt x="1355100" y="625175"/>
                    </a:cubicBezTo>
                    <a:cubicBezTo>
                      <a:pt x="1354783" y="625264"/>
                      <a:pt x="1354516" y="625310"/>
                      <a:pt x="1354199" y="625400"/>
                    </a:cubicBezTo>
                    <a:cubicBezTo>
                      <a:pt x="1351003" y="626722"/>
                      <a:pt x="1347324" y="626034"/>
                      <a:pt x="1344813" y="623645"/>
                    </a:cubicBezTo>
                    <a:cubicBezTo>
                      <a:pt x="1343823" y="622335"/>
                      <a:pt x="1343139" y="620810"/>
                      <a:pt x="1342834" y="619191"/>
                    </a:cubicBezTo>
                    <a:cubicBezTo>
                      <a:pt x="1343963" y="617390"/>
                      <a:pt x="1345079" y="615590"/>
                      <a:pt x="1346157" y="613791"/>
                    </a:cubicBezTo>
                    <a:close/>
                    <a:moveTo>
                      <a:pt x="237763" y="273082"/>
                    </a:moveTo>
                    <a:cubicBezTo>
                      <a:pt x="233856" y="274207"/>
                      <a:pt x="230127" y="275331"/>
                      <a:pt x="226220" y="276502"/>
                    </a:cubicBezTo>
                    <a:cubicBezTo>
                      <a:pt x="224508" y="276951"/>
                      <a:pt x="222757" y="277491"/>
                      <a:pt x="220969" y="278026"/>
                    </a:cubicBezTo>
                    <a:cubicBezTo>
                      <a:pt x="220423" y="278160"/>
                      <a:pt x="219840" y="278341"/>
                      <a:pt x="219256" y="278521"/>
                    </a:cubicBezTo>
                    <a:cubicBezTo>
                      <a:pt x="218216" y="278836"/>
                      <a:pt x="217138" y="279151"/>
                      <a:pt x="216022" y="279466"/>
                    </a:cubicBezTo>
                    <a:cubicBezTo>
                      <a:pt x="216605" y="267632"/>
                      <a:pt x="213954" y="256248"/>
                      <a:pt x="229949" y="254763"/>
                    </a:cubicBezTo>
                    <a:lnTo>
                      <a:pt x="232511" y="258272"/>
                    </a:lnTo>
                    <a:cubicBezTo>
                      <a:pt x="232714" y="258515"/>
                      <a:pt x="232917" y="258770"/>
                      <a:pt x="233095" y="259034"/>
                    </a:cubicBezTo>
                    <a:cubicBezTo>
                      <a:pt x="233412" y="259484"/>
                      <a:pt x="233729" y="259889"/>
                      <a:pt x="234084" y="260338"/>
                    </a:cubicBezTo>
                    <a:lnTo>
                      <a:pt x="234084" y="260384"/>
                    </a:lnTo>
                    <a:cubicBezTo>
                      <a:pt x="234718" y="261283"/>
                      <a:pt x="235391" y="262138"/>
                      <a:pt x="236012" y="263083"/>
                    </a:cubicBezTo>
                    <a:cubicBezTo>
                      <a:pt x="238042" y="265738"/>
                      <a:pt x="240109" y="268573"/>
                      <a:pt x="242392" y="271678"/>
                    </a:cubicBezTo>
                    <a:cubicBezTo>
                      <a:pt x="240819" y="272137"/>
                      <a:pt x="239247" y="272631"/>
                      <a:pt x="237763" y="273082"/>
                    </a:cubicBezTo>
                    <a:close/>
                    <a:moveTo>
                      <a:pt x="831243" y="752828"/>
                    </a:moveTo>
                    <a:cubicBezTo>
                      <a:pt x="820055" y="773121"/>
                      <a:pt x="804949" y="782526"/>
                      <a:pt x="788865" y="778431"/>
                    </a:cubicBezTo>
                    <a:cubicBezTo>
                      <a:pt x="771424" y="785631"/>
                      <a:pt x="789169" y="811233"/>
                      <a:pt x="764816" y="805249"/>
                    </a:cubicBezTo>
                    <a:cubicBezTo>
                      <a:pt x="731203" y="820764"/>
                      <a:pt x="691476" y="813531"/>
                      <a:pt x="665461" y="787160"/>
                    </a:cubicBezTo>
                    <a:cubicBezTo>
                      <a:pt x="709589" y="810468"/>
                      <a:pt x="674530" y="773077"/>
                      <a:pt x="708333" y="790805"/>
                    </a:cubicBezTo>
                    <a:cubicBezTo>
                      <a:pt x="711517" y="793415"/>
                      <a:pt x="718214" y="796115"/>
                      <a:pt x="712684" y="791615"/>
                    </a:cubicBezTo>
                    <a:cubicBezTo>
                      <a:pt x="713495" y="790355"/>
                      <a:pt x="720738" y="787926"/>
                      <a:pt x="716109" y="786125"/>
                    </a:cubicBezTo>
                    <a:cubicBezTo>
                      <a:pt x="715880" y="783920"/>
                      <a:pt x="710261" y="783966"/>
                      <a:pt x="712430" y="782076"/>
                    </a:cubicBezTo>
                    <a:cubicBezTo>
                      <a:pt x="725051" y="782481"/>
                      <a:pt x="716781" y="771097"/>
                      <a:pt x="727118" y="763534"/>
                    </a:cubicBezTo>
                    <a:cubicBezTo>
                      <a:pt x="726624" y="753454"/>
                      <a:pt x="764511" y="768798"/>
                      <a:pt x="747121" y="744410"/>
                    </a:cubicBezTo>
                    <a:cubicBezTo>
                      <a:pt x="727841" y="733836"/>
                      <a:pt x="741946" y="713993"/>
                      <a:pt x="721550" y="715252"/>
                    </a:cubicBezTo>
                    <a:cubicBezTo>
                      <a:pt x="719597" y="710199"/>
                      <a:pt x="716223" y="705823"/>
                      <a:pt x="711834" y="702654"/>
                    </a:cubicBezTo>
                    <a:cubicBezTo>
                      <a:pt x="718354" y="692305"/>
                      <a:pt x="738801" y="717457"/>
                      <a:pt x="750977" y="722902"/>
                    </a:cubicBezTo>
                    <a:cubicBezTo>
                      <a:pt x="756469" y="727537"/>
                      <a:pt x="763700" y="714758"/>
                      <a:pt x="763611" y="724567"/>
                    </a:cubicBezTo>
                    <a:cubicBezTo>
                      <a:pt x="779568" y="751070"/>
                      <a:pt x="810073" y="750221"/>
                      <a:pt x="836190" y="722227"/>
                    </a:cubicBezTo>
                    <a:cubicBezTo>
                      <a:pt x="858387" y="700269"/>
                      <a:pt x="873621" y="695049"/>
                      <a:pt x="890161" y="701439"/>
                    </a:cubicBezTo>
                    <a:cubicBezTo>
                      <a:pt x="884681" y="701034"/>
                      <a:pt x="871464" y="696895"/>
                      <a:pt x="871376" y="703734"/>
                    </a:cubicBezTo>
                    <a:cubicBezTo>
                      <a:pt x="912992" y="702608"/>
                      <a:pt x="879100" y="714758"/>
                      <a:pt x="862116" y="712283"/>
                    </a:cubicBezTo>
                    <a:cubicBezTo>
                      <a:pt x="861939" y="717547"/>
                      <a:pt x="870386" y="713499"/>
                      <a:pt x="874432" y="712823"/>
                    </a:cubicBezTo>
                    <a:cubicBezTo>
                      <a:pt x="853630" y="721597"/>
                      <a:pt x="877350" y="716153"/>
                      <a:pt x="887015" y="711114"/>
                    </a:cubicBezTo>
                    <a:cubicBezTo>
                      <a:pt x="884808" y="717053"/>
                      <a:pt x="873266" y="718448"/>
                      <a:pt x="869942" y="722047"/>
                    </a:cubicBezTo>
                    <a:cubicBezTo>
                      <a:pt x="887244" y="720523"/>
                      <a:pt x="864146" y="727806"/>
                      <a:pt x="864450" y="721102"/>
                    </a:cubicBezTo>
                    <a:cubicBezTo>
                      <a:pt x="857664" y="719978"/>
                      <a:pt x="841619" y="730821"/>
                      <a:pt x="848278" y="729066"/>
                    </a:cubicBezTo>
                    <a:cubicBezTo>
                      <a:pt x="828452" y="744504"/>
                      <a:pt x="849267" y="739285"/>
                      <a:pt x="831243" y="752828"/>
                    </a:cubicBezTo>
                    <a:close/>
                    <a:moveTo>
                      <a:pt x="906790" y="913692"/>
                    </a:moveTo>
                    <a:cubicBezTo>
                      <a:pt x="881840" y="911263"/>
                      <a:pt x="867735" y="937856"/>
                      <a:pt x="861939" y="943792"/>
                    </a:cubicBezTo>
                    <a:cubicBezTo>
                      <a:pt x="856675" y="952791"/>
                      <a:pt x="862573" y="937222"/>
                      <a:pt x="857119" y="937942"/>
                    </a:cubicBezTo>
                    <a:cubicBezTo>
                      <a:pt x="851867" y="947481"/>
                      <a:pt x="853389" y="944241"/>
                      <a:pt x="851462" y="939607"/>
                    </a:cubicBezTo>
                    <a:cubicBezTo>
                      <a:pt x="840008" y="929574"/>
                      <a:pt x="853618" y="924938"/>
                      <a:pt x="850028" y="934747"/>
                    </a:cubicBezTo>
                    <a:cubicBezTo>
                      <a:pt x="866200" y="920124"/>
                      <a:pt x="882563" y="900639"/>
                      <a:pt x="896579" y="885746"/>
                    </a:cubicBezTo>
                    <a:cubicBezTo>
                      <a:pt x="911990" y="879269"/>
                      <a:pt x="904938" y="896005"/>
                      <a:pt x="916582" y="889121"/>
                    </a:cubicBezTo>
                    <a:cubicBezTo>
                      <a:pt x="923457" y="892406"/>
                      <a:pt x="907145" y="897805"/>
                      <a:pt x="917115" y="898300"/>
                    </a:cubicBezTo>
                    <a:cubicBezTo>
                      <a:pt x="937435" y="887456"/>
                      <a:pt x="956842" y="898750"/>
                      <a:pt x="978151" y="902485"/>
                    </a:cubicBezTo>
                    <a:cubicBezTo>
                      <a:pt x="950246" y="902530"/>
                      <a:pt x="936712" y="908874"/>
                      <a:pt x="906790" y="913692"/>
                    </a:cubicBezTo>
                    <a:close/>
                    <a:moveTo>
                      <a:pt x="1216335" y="351603"/>
                    </a:moveTo>
                    <a:cubicBezTo>
                      <a:pt x="1216462" y="350022"/>
                      <a:pt x="1216728" y="348456"/>
                      <a:pt x="1217134" y="346923"/>
                    </a:cubicBezTo>
                    <a:cubicBezTo>
                      <a:pt x="1217895" y="340909"/>
                      <a:pt x="1223387" y="336649"/>
                      <a:pt x="1229387" y="337407"/>
                    </a:cubicBezTo>
                    <a:cubicBezTo>
                      <a:pt x="1230275" y="337519"/>
                      <a:pt x="1231137" y="337739"/>
                      <a:pt x="1231974" y="338060"/>
                    </a:cubicBezTo>
                    <a:cubicBezTo>
                      <a:pt x="1239090" y="339560"/>
                      <a:pt x="1244329" y="345637"/>
                      <a:pt x="1244785" y="352907"/>
                    </a:cubicBezTo>
                    <a:cubicBezTo>
                      <a:pt x="1244633" y="357919"/>
                      <a:pt x="1243263" y="362816"/>
                      <a:pt x="1240777" y="367172"/>
                    </a:cubicBezTo>
                    <a:cubicBezTo>
                      <a:pt x="1232646" y="362582"/>
                      <a:pt x="1225277" y="358398"/>
                      <a:pt x="1218757" y="354753"/>
                    </a:cubicBezTo>
                    <a:cubicBezTo>
                      <a:pt x="1217857" y="354257"/>
                      <a:pt x="1217058" y="353763"/>
                      <a:pt x="1216195" y="353313"/>
                    </a:cubicBezTo>
                    <a:cubicBezTo>
                      <a:pt x="1216246" y="352725"/>
                      <a:pt x="1216246" y="352139"/>
                      <a:pt x="1216335" y="351599"/>
                    </a:cubicBezTo>
                    <a:close/>
                    <a:moveTo>
                      <a:pt x="1272234" y="1332335"/>
                    </a:moveTo>
                    <a:cubicBezTo>
                      <a:pt x="1265676" y="1334444"/>
                      <a:pt x="1266754" y="1323522"/>
                      <a:pt x="1263837" y="1330532"/>
                    </a:cubicBezTo>
                    <a:cubicBezTo>
                      <a:pt x="1256949" y="1367832"/>
                      <a:pt x="1245191" y="1307634"/>
                      <a:pt x="1263241" y="1299887"/>
                    </a:cubicBezTo>
                    <a:cubicBezTo>
                      <a:pt x="1261845" y="1298909"/>
                      <a:pt x="1260412" y="1301830"/>
                      <a:pt x="1260780" y="1299137"/>
                    </a:cubicBezTo>
                    <a:cubicBezTo>
                      <a:pt x="1242489" y="1318162"/>
                      <a:pt x="1264103" y="1289092"/>
                      <a:pt x="1257863" y="1287835"/>
                    </a:cubicBezTo>
                    <a:cubicBezTo>
                      <a:pt x="1255833" y="1273166"/>
                      <a:pt x="1248337" y="1293816"/>
                      <a:pt x="1244608" y="1295582"/>
                    </a:cubicBezTo>
                    <a:cubicBezTo>
                      <a:pt x="1243974" y="1288381"/>
                      <a:pt x="1247398" y="1256021"/>
                      <a:pt x="1236287" y="1273750"/>
                    </a:cubicBezTo>
                    <a:cubicBezTo>
                      <a:pt x="1232203" y="1270194"/>
                      <a:pt x="1244608" y="1260530"/>
                      <a:pt x="1233319" y="1265025"/>
                    </a:cubicBezTo>
                    <a:cubicBezTo>
                      <a:pt x="1223298" y="1293600"/>
                      <a:pt x="1219620" y="1249140"/>
                      <a:pt x="1202674" y="1238296"/>
                    </a:cubicBezTo>
                    <a:cubicBezTo>
                      <a:pt x="1192920" y="1227182"/>
                      <a:pt x="1203257" y="1225922"/>
                      <a:pt x="1211439" y="1220838"/>
                    </a:cubicBezTo>
                    <a:cubicBezTo>
                      <a:pt x="1170088" y="1231322"/>
                      <a:pt x="1196205" y="1155908"/>
                      <a:pt x="1224148" y="1190645"/>
                    </a:cubicBezTo>
                    <a:cubicBezTo>
                      <a:pt x="1232609" y="1188846"/>
                      <a:pt x="1214711" y="1182186"/>
                      <a:pt x="1215028" y="1176697"/>
                    </a:cubicBezTo>
                    <a:cubicBezTo>
                      <a:pt x="1216297" y="1172242"/>
                      <a:pt x="1223032" y="1149609"/>
                      <a:pt x="1226089" y="1159148"/>
                    </a:cubicBezTo>
                    <a:cubicBezTo>
                      <a:pt x="1221548" y="1161443"/>
                      <a:pt x="1226939" y="1160813"/>
                      <a:pt x="1228829" y="1160139"/>
                    </a:cubicBezTo>
                    <a:cubicBezTo>
                      <a:pt x="1222677" y="1166932"/>
                      <a:pt x="1207342" y="1182816"/>
                      <a:pt x="1228512" y="1174627"/>
                    </a:cubicBezTo>
                    <a:cubicBezTo>
                      <a:pt x="1227928" y="1196944"/>
                      <a:pt x="1250709" y="1264441"/>
                      <a:pt x="1272640" y="1304624"/>
                    </a:cubicBezTo>
                    <a:cubicBezTo>
                      <a:pt x="1268530" y="1313362"/>
                      <a:pt x="1268378" y="1323471"/>
                      <a:pt x="1272234" y="1332335"/>
                    </a:cubicBezTo>
                    <a:close/>
                    <a:moveTo>
                      <a:pt x="1281087" y="417027"/>
                    </a:moveTo>
                    <a:lnTo>
                      <a:pt x="1281037" y="417027"/>
                    </a:lnTo>
                    <a:cubicBezTo>
                      <a:pt x="1280352" y="417261"/>
                      <a:pt x="1279654" y="417427"/>
                      <a:pt x="1278931" y="417523"/>
                    </a:cubicBezTo>
                    <a:cubicBezTo>
                      <a:pt x="1278310" y="417613"/>
                      <a:pt x="1277675" y="417657"/>
                      <a:pt x="1277041" y="417657"/>
                    </a:cubicBezTo>
                    <a:cubicBezTo>
                      <a:pt x="1274187" y="417610"/>
                      <a:pt x="1271511" y="416228"/>
                      <a:pt x="1269811" y="413922"/>
                    </a:cubicBezTo>
                    <a:cubicBezTo>
                      <a:pt x="1268429" y="412206"/>
                      <a:pt x="1267312" y="410296"/>
                      <a:pt x="1266488" y="408253"/>
                    </a:cubicBezTo>
                    <a:cubicBezTo>
                      <a:pt x="1267211" y="408389"/>
                      <a:pt x="1267921" y="408523"/>
                      <a:pt x="1268593" y="408658"/>
                    </a:cubicBezTo>
                    <a:cubicBezTo>
                      <a:pt x="1269405" y="408838"/>
                      <a:pt x="1270179" y="408973"/>
                      <a:pt x="1270889" y="409108"/>
                    </a:cubicBezTo>
                    <a:cubicBezTo>
                      <a:pt x="1274301" y="409783"/>
                      <a:pt x="1277498" y="410413"/>
                      <a:pt x="1280593" y="411043"/>
                    </a:cubicBezTo>
                    <a:cubicBezTo>
                      <a:pt x="1281138" y="411133"/>
                      <a:pt x="1281633" y="411223"/>
                      <a:pt x="1282178" y="411312"/>
                    </a:cubicBezTo>
                    <a:cubicBezTo>
                      <a:pt x="1285768" y="412032"/>
                      <a:pt x="1289231" y="412752"/>
                      <a:pt x="1292694" y="413428"/>
                    </a:cubicBezTo>
                    <a:cubicBezTo>
                      <a:pt x="1288723" y="414299"/>
                      <a:pt x="1284842" y="415502"/>
                      <a:pt x="1281087" y="417023"/>
                    </a:cubicBezTo>
                    <a:close/>
                    <a:moveTo>
                      <a:pt x="2019814" y="933176"/>
                    </a:moveTo>
                    <a:cubicBezTo>
                      <a:pt x="2018800" y="933136"/>
                      <a:pt x="2017836" y="932718"/>
                      <a:pt x="2017125" y="932006"/>
                    </a:cubicBezTo>
                    <a:cubicBezTo>
                      <a:pt x="2016339" y="931282"/>
                      <a:pt x="2015743" y="930389"/>
                      <a:pt x="2015362" y="929396"/>
                    </a:cubicBezTo>
                    <a:cubicBezTo>
                      <a:pt x="2015172" y="928987"/>
                      <a:pt x="2015007" y="928567"/>
                      <a:pt x="2014868" y="928136"/>
                    </a:cubicBezTo>
                    <a:cubicBezTo>
                      <a:pt x="2014018" y="925572"/>
                      <a:pt x="2018508" y="921297"/>
                      <a:pt x="2021971" y="915267"/>
                    </a:cubicBezTo>
                    <a:cubicBezTo>
                      <a:pt x="2022465" y="916078"/>
                      <a:pt x="2022922" y="916842"/>
                      <a:pt x="2023366" y="917608"/>
                    </a:cubicBezTo>
                    <a:cubicBezTo>
                      <a:pt x="2024317" y="919093"/>
                      <a:pt x="2025167" y="920529"/>
                      <a:pt x="2026030" y="921881"/>
                    </a:cubicBezTo>
                    <a:cubicBezTo>
                      <a:pt x="2027425" y="924267"/>
                      <a:pt x="2028719" y="926427"/>
                      <a:pt x="2030025" y="928541"/>
                    </a:cubicBezTo>
                    <a:cubicBezTo>
                      <a:pt x="2030431" y="929261"/>
                      <a:pt x="2030875" y="929938"/>
                      <a:pt x="2031281" y="930656"/>
                    </a:cubicBezTo>
                    <a:cubicBezTo>
                      <a:pt x="2027678" y="930383"/>
                      <a:pt x="2023366" y="933532"/>
                      <a:pt x="2019814" y="933172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04" name="Vrije vorm 503">
                <a:extLst>
                  <a:ext uri="{FF2B5EF4-FFF2-40B4-BE49-F238E27FC236}">
                    <a16:creationId xmlns:a16="http://schemas.microsoft.com/office/drawing/2014/main" id="{3C29BEC9-675A-2543-84C6-26BE9E33D3FA}"/>
                  </a:ext>
                </a:extLst>
              </p:cNvPr>
              <p:cNvSpPr/>
              <p:nvPr/>
            </p:nvSpPr>
            <p:spPr>
              <a:xfrm>
                <a:off x="2935056" y="1399987"/>
                <a:ext cx="812904" cy="747387"/>
              </a:xfrm>
              <a:custGeom>
                <a:avLst/>
                <a:gdLst>
                  <a:gd name="connsiteX0" fmla="*/ 807285 w 812904"/>
                  <a:gd name="connsiteY0" fmla="*/ 427456 h 747387"/>
                  <a:gd name="connsiteX1" fmla="*/ 803150 w 812904"/>
                  <a:gd name="connsiteY1" fmla="*/ 422821 h 747387"/>
                  <a:gd name="connsiteX2" fmla="*/ 799370 w 812904"/>
                  <a:gd name="connsiteY2" fmla="*/ 419402 h 747387"/>
                  <a:gd name="connsiteX3" fmla="*/ 794969 w 812904"/>
                  <a:gd name="connsiteY3" fmla="*/ 417422 h 747387"/>
                  <a:gd name="connsiteX4" fmla="*/ 787599 w 812904"/>
                  <a:gd name="connsiteY4" fmla="*/ 417693 h 747387"/>
                  <a:gd name="connsiteX5" fmla="*/ 785087 w 812904"/>
                  <a:gd name="connsiteY5" fmla="*/ 418097 h 747387"/>
                  <a:gd name="connsiteX6" fmla="*/ 779646 w 812904"/>
                  <a:gd name="connsiteY6" fmla="*/ 418817 h 747387"/>
                  <a:gd name="connsiteX7" fmla="*/ 778340 w 812904"/>
                  <a:gd name="connsiteY7" fmla="*/ 418951 h 747387"/>
                  <a:gd name="connsiteX8" fmla="*/ 770704 w 812904"/>
                  <a:gd name="connsiteY8" fmla="*/ 419627 h 747387"/>
                  <a:gd name="connsiteX9" fmla="*/ 769537 w 812904"/>
                  <a:gd name="connsiteY9" fmla="*/ 419717 h 747387"/>
                  <a:gd name="connsiteX10" fmla="*/ 769486 w 812904"/>
                  <a:gd name="connsiteY10" fmla="*/ 419762 h 747387"/>
                  <a:gd name="connsiteX11" fmla="*/ 758616 w 812904"/>
                  <a:gd name="connsiteY11" fmla="*/ 420397 h 747387"/>
                  <a:gd name="connsiteX12" fmla="*/ 752769 w 812904"/>
                  <a:gd name="connsiteY12" fmla="*/ 420802 h 747387"/>
                  <a:gd name="connsiteX13" fmla="*/ 764057 w 812904"/>
                  <a:gd name="connsiteY13" fmla="*/ 393535 h 747387"/>
                  <a:gd name="connsiteX14" fmla="*/ 763651 w 812904"/>
                  <a:gd name="connsiteY14" fmla="*/ 393579 h 747387"/>
                  <a:gd name="connsiteX15" fmla="*/ 761901 w 812904"/>
                  <a:gd name="connsiteY15" fmla="*/ 393804 h 747387"/>
                  <a:gd name="connsiteX16" fmla="*/ 759922 w 812904"/>
                  <a:gd name="connsiteY16" fmla="*/ 394029 h 747387"/>
                  <a:gd name="connsiteX17" fmla="*/ 725320 w 812904"/>
                  <a:gd name="connsiteY17" fmla="*/ 398394 h 747387"/>
                  <a:gd name="connsiteX18" fmla="*/ 724914 w 812904"/>
                  <a:gd name="connsiteY18" fmla="*/ 397539 h 747387"/>
                  <a:gd name="connsiteX19" fmla="*/ 722973 w 812904"/>
                  <a:gd name="connsiteY19" fmla="*/ 393624 h 747387"/>
                  <a:gd name="connsiteX20" fmla="*/ 725041 w 812904"/>
                  <a:gd name="connsiteY20" fmla="*/ 391870 h 747387"/>
                  <a:gd name="connsiteX21" fmla="*/ 725992 w 812904"/>
                  <a:gd name="connsiteY21" fmla="*/ 391060 h 747387"/>
                  <a:gd name="connsiteX22" fmla="*/ 735746 w 812904"/>
                  <a:gd name="connsiteY22" fmla="*/ 382871 h 747387"/>
                  <a:gd name="connsiteX23" fmla="*/ 735746 w 812904"/>
                  <a:gd name="connsiteY23" fmla="*/ 382150 h 747387"/>
                  <a:gd name="connsiteX24" fmla="*/ 735657 w 812904"/>
                  <a:gd name="connsiteY24" fmla="*/ 379091 h 747387"/>
                  <a:gd name="connsiteX25" fmla="*/ 721400 w 812904"/>
                  <a:gd name="connsiteY25" fmla="*/ 355693 h 747387"/>
                  <a:gd name="connsiteX26" fmla="*/ 710847 w 812904"/>
                  <a:gd name="connsiteY26" fmla="*/ 353937 h 747387"/>
                  <a:gd name="connsiteX27" fmla="*/ 707841 w 812904"/>
                  <a:gd name="connsiteY27" fmla="*/ 353937 h 747387"/>
                  <a:gd name="connsiteX28" fmla="*/ 709274 w 812904"/>
                  <a:gd name="connsiteY28" fmla="*/ 339854 h 747387"/>
                  <a:gd name="connsiteX29" fmla="*/ 709490 w 812904"/>
                  <a:gd name="connsiteY29" fmla="*/ 337830 h 747387"/>
                  <a:gd name="connsiteX30" fmla="*/ 685149 w 812904"/>
                  <a:gd name="connsiteY30" fmla="*/ 344180 h 747387"/>
                  <a:gd name="connsiteX31" fmla="*/ 684109 w 812904"/>
                  <a:gd name="connsiteY31" fmla="*/ 344451 h 747387"/>
                  <a:gd name="connsiteX32" fmla="*/ 679568 w 812904"/>
                  <a:gd name="connsiteY32" fmla="*/ 341255 h 747387"/>
                  <a:gd name="connsiteX33" fmla="*/ 676968 w 812904"/>
                  <a:gd name="connsiteY33" fmla="*/ 339590 h 747387"/>
                  <a:gd name="connsiteX34" fmla="*/ 667214 w 812904"/>
                  <a:gd name="connsiteY34" fmla="*/ 333471 h 747387"/>
                  <a:gd name="connsiteX35" fmla="*/ 660744 w 812904"/>
                  <a:gd name="connsiteY35" fmla="*/ 327847 h 747387"/>
                  <a:gd name="connsiteX36" fmla="*/ 658094 w 812904"/>
                  <a:gd name="connsiteY36" fmla="*/ 323122 h 747387"/>
                  <a:gd name="connsiteX37" fmla="*/ 655531 w 812904"/>
                  <a:gd name="connsiteY37" fmla="*/ 318892 h 747387"/>
                  <a:gd name="connsiteX38" fmla="*/ 650496 w 812904"/>
                  <a:gd name="connsiteY38" fmla="*/ 316418 h 747387"/>
                  <a:gd name="connsiteX39" fmla="*/ 642226 w 812904"/>
                  <a:gd name="connsiteY39" fmla="*/ 315112 h 747387"/>
                  <a:gd name="connsiteX40" fmla="*/ 637063 w 812904"/>
                  <a:gd name="connsiteY40" fmla="*/ 313223 h 747387"/>
                  <a:gd name="connsiteX41" fmla="*/ 635401 w 812904"/>
                  <a:gd name="connsiteY41" fmla="*/ 302919 h 747387"/>
                  <a:gd name="connsiteX42" fmla="*/ 632560 w 812904"/>
                  <a:gd name="connsiteY42" fmla="*/ 301434 h 747387"/>
                  <a:gd name="connsiteX43" fmla="*/ 611175 w 812904"/>
                  <a:gd name="connsiteY43" fmla="*/ 290365 h 747387"/>
                  <a:gd name="connsiteX44" fmla="*/ 606545 w 812904"/>
                  <a:gd name="connsiteY44" fmla="*/ 287936 h 747387"/>
                  <a:gd name="connsiteX45" fmla="*/ 611492 w 812904"/>
                  <a:gd name="connsiteY45" fmla="*/ 284425 h 747387"/>
                  <a:gd name="connsiteX46" fmla="*/ 613559 w 812904"/>
                  <a:gd name="connsiteY46" fmla="*/ 282985 h 747387"/>
                  <a:gd name="connsiteX47" fmla="*/ 599937 w 812904"/>
                  <a:gd name="connsiteY47" fmla="*/ 277450 h 747387"/>
                  <a:gd name="connsiteX48" fmla="*/ 599226 w 812904"/>
                  <a:gd name="connsiteY48" fmla="*/ 277181 h 747387"/>
                  <a:gd name="connsiteX49" fmla="*/ 590550 w 812904"/>
                  <a:gd name="connsiteY49" fmla="*/ 273625 h 747387"/>
                  <a:gd name="connsiteX50" fmla="*/ 615538 w 812904"/>
                  <a:gd name="connsiteY50" fmla="*/ 265346 h 747387"/>
                  <a:gd name="connsiteX51" fmla="*/ 615576 w 812904"/>
                  <a:gd name="connsiteY51" fmla="*/ 265346 h 747387"/>
                  <a:gd name="connsiteX52" fmla="*/ 624480 w 812904"/>
                  <a:gd name="connsiteY52" fmla="*/ 253422 h 747387"/>
                  <a:gd name="connsiteX53" fmla="*/ 624163 w 812904"/>
                  <a:gd name="connsiteY53" fmla="*/ 251532 h 747387"/>
                  <a:gd name="connsiteX54" fmla="*/ 610908 w 812904"/>
                  <a:gd name="connsiteY54" fmla="*/ 245773 h 747387"/>
                  <a:gd name="connsiteX55" fmla="*/ 604795 w 812904"/>
                  <a:gd name="connsiteY55" fmla="*/ 243117 h 747387"/>
                  <a:gd name="connsiteX56" fmla="*/ 627449 w 812904"/>
                  <a:gd name="connsiteY56" fmla="*/ 239068 h 747387"/>
                  <a:gd name="connsiteX57" fmla="*/ 660123 w 812904"/>
                  <a:gd name="connsiteY57" fmla="*/ 239923 h 747387"/>
                  <a:gd name="connsiteX58" fmla="*/ 661556 w 812904"/>
                  <a:gd name="connsiteY58" fmla="*/ 239338 h 747387"/>
                  <a:gd name="connsiteX59" fmla="*/ 651358 w 812904"/>
                  <a:gd name="connsiteY59" fmla="*/ 229169 h 747387"/>
                  <a:gd name="connsiteX60" fmla="*/ 647540 w 812904"/>
                  <a:gd name="connsiteY60" fmla="*/ 226424 h 747387"/>
                  <a:gd name="connsiteX61" fmla="*/ 640260 w 812904"/>
                  <a:gd name="connsiteY61" fmla="*/ 222645 h 747387"/>
                  <a:gd name="connsiteX62" fmla="*/ 605962 w 812904"/>
                  <a:gd name="connsiteY62" fmla="*/ 213421 h 747387"/>
                  <a:gd name="connsiteX63" fmla="*/ 603133 w 812904"/>
                  <a:gd name="connsiteY63" fmla="*/ 212701 h 747387"/>
                  <a:gd name="connsiteX64" fmla="*/ 603628 w 812904"/>
                  <a:gd name="connsiteY64" fmla="*/ 207211 h 747387"/>
                  <a:gd name="connsiteX65" fmla="*/ 646767 w 812904"/>
                  <a:gd name="connsiteY65" fmla="*/ 193982 h 747387"/>
                  <a:gd name="connsiteX66" fmla="*/ 640615 w 812904"/>
                  <a:gd name="connsiteY66" fmla="*/ 171079 h 747387"/>
                  <a:gd name="connsiteX67" fmla="*/ 625698 w 812904"/>
                  <a:gd name="connsiteY67" fmla="*/ 156456 h 747387"/>
                  <a:gd name="connsiteX68" fmla="*/ 625292 w 812904"/>
                  <a:gd name="connsiteY68" fmla="*/ 156230 h 747387"/>
                  <a:gd name="connsiteX69" fmla="*/ 622185 w 812904"/>
                  <a:gd name="connsiteY69" fmla="*/ 154706 h 747387"/>
                  <a:gd name="connsiteX70" fmla="*/ 618950 w 812904"/>
                  <a:gd name="connsiteY70" fmla="*/ 160285 h 747387"/>
                  <a:gd name="connsiteX71" fmla="*/ 598148 w 812904"/>
                  <a:gd name="connsiteY71" fmla="*/ 184542 h 747387"/>
                  <a:gd name="connsiteX72" fmla="*/ 592313 w 812904"/>
                  <a:gd name="connsiteY72" fmla="*/ 183373 h 747387"/>
                  <a:gd name="connsiteX73" fmla="*/ 604579 w 812904"/>
                  <a:gd name="connsiteY73" fmla="*/ 165689 h 747387"/>
                  <a:gd name="connsiteX74" fmla="*/ 606241 w 812904"/>
                  <a:gd name="connsiteY74" fmla="*/ 163349 h 747387"/>
                  <a:gd name="connsiteX75" fmla="*/ 579135 w 812904"/>
                  <a:gd name="connsiteY75" fmla="*/ 163349 h 747387"/>
                  <a:gd name="connsiteX76" fmla="*/ 599594 w 812904"/>
                  <a:gd name="connsiteY76" fmla="*/ 150522 h 747387"/>
                  <a:gd name="connsiteX77" fmla="*/ 618113 w 812904"/>
                  <a:gd name="connsiteY77" fmla="*/ 138102 h 747387"/>
                  <a:gd name="connsiteX78" fmla="*/ 621880 w 812904"/>
                  <a:gd name="connsiteY78" fmla="*/ 135492 h 747387"/>
                  <a:gd name="connsiteX79" fmla="*/ 586745 w 812904"/>
                  <a:gd name="connsiteY79" fmla="*/ 112364 h 747387"/>
                  <a:gd name="connsiteX80" fmla="*/ 567643 w 812904"/>
                  <a:gd name="connsiteY80" fmla="*/ 124154 h 747387"/>
                  <a:gd name="connsiteX81" fmla="*/ 554565 w 812904"/>
                  <a:gd name="connsiteY81" fmla="*/ 132208 h 747387"/>
                  <a:gd name="connsiteX82" fmla="*/ 571778 w 812904"/>
                  <a:gd name="connsiteY82" fmla="*/ 108675 h 747387"/>
                  <a:gd name="connsiteX83" fmla="*/ 573122 w 812904"/>
                  <a:gd name="connsiteY83" fmla="*/ 106830 h 747387"/>
                  <a:gd name="connsiteX84" fmla="*/ 549796 w 812904"/>
                  <a:gd name="connsiteY84" fmla="*/ 116190 h 747387"/>
                  <a:gd name="connsiteX85" fmla="*/ 545839 w 812904"/>
                  <a:gd name="connsiteY85" fmla="*/ 117764 h 747387"/>
                  <a:gd name="connsiteX86" fmla="*/ 548096 w 812904"/>
                  <a:gd name="connsiteY86" fmla="*/ 88787 h 747387"/>
                  <a:gd name="connsiteX87" fmla="*/ 544989 w 812904"/>
                  <a:gd name="connsiteY87" fmla="*/ 86133 h 747387"/>
                  <a:gd name="connsiteX88" fmla="*/ 522386 w 812904"/>
                  <a:gd name="connsiteY88" fmla="*/ 105210 h 747387"/>
                  <a:gd name="connsiteX89" fmla="*/ 523147 w 812904"/>
                  <a:gd name="connsiteY89" fmla="*/ 90586 h 747387"/>
                  <a:gd name="connsiteX90" fmla="*/ 517350 w 812904"/>
                  <a:gd name="connsiteY90" fmla="*/ 83972 h 747387"/>
                  <a:gd name="connsiteX91" fmla="*/ 534118 w 812904"/>
                  <a:gd name="connsiteY91" fmla="*/ 68449 h 747387"/>
                  <a:gd name="connsiteX92" fmla="*/ 534702 w 812904"/>
                  <a:gd name="connsiteY92" fmla="*/ 67458 h 747387"/>
                  <a:gd name="connsiteX93" fmla="*/ 493897 w 812904"/>
                  <a:gd name="connsiteY93" fmla="*/ 38121 h 747387"/>
                  <a:gd name="connsiteX94" fmla="*/ 480857 w 812904"/>
                  <a:gd name="connsiteY94" fmla="*/ 67864 h 747387"/>
                  <a:gd name="connsiteX95" fmla="*/ 477661 w 812904"/>
                  <a:gd name="connsiteY95" fmla="*/ 75198 h 747387"/>
                  <a:gd name="connsiteX96" fmla="*/ 475099 w 812904"/>
                  <a:gd name="connsiteY96" fmla="*/ 70969 h 747387"/>
                  <a:gd name="connsiteX97" fmla="*/ 471687 w 812904"/>
                  <a:gd name="connsiteY97" fmla="*/ 65974 h 747387"/>
                  <a:gd name="connsiteX98" fmla="*/ 462656 w 812904"/>
                  <a:gd name="connsiteY98" fmla="*/ 51350 h 747387"/>
                  <a:gd name="connsiteX99" fmla="*/ 461349 w 812904"/>
                  <a:gd name="connsiteY99" fmla="*/ 47841 h 747387"/>
                  <a:gd name="connsiteX100" fmla="*/ 461806 w 812904"/>
                  <a:gd name="connsiteY100" fmla="*/ 28087 h 747387"/>
                  <a:gd name="connsiteX101" fmla="*/ 463556 w 812904"/>
                  <a:gd name="connsiteY101" fmla="*/ 23588 h 747387"/>
                  <a:gd name="connsiteX102" fmla="*/ 448272 w 812904"/>
                  <a:gd name="connsiteY102" fmla="*/ 32224 h 747387"/>
                  <a:gd name="connsiteX103" fmla="*/ 448183 w 812904"/>
                  <a:gd name="connsiteY103" fmla="*/ 32268 h 747387"/>
                  <a:gd name="connsiteX104" fmla="*/ 447384 w 812904"/>
                  <a:gd name="connsiteY104" fmla="*/ 32673 h 747387"/>
                  <a:gd name="connsiteX105" fmla="*/ 447333 w 812904"/>
                  <a:gd name="connsiteY105" fmla="*/ 32718 h 747387"/>
                  <a:gd name="connsiteX106" fmla="*/ 435283 w 812904"/>
                  <a:gd name="connsiteY106" fmla="*/ 39558 h 747387"/>
                  <a:gd name="connsiteX107" fmla="*/ 435283 w 812904"/>
                  <a:gd name="connsiteY107" fmla="*/ 54671 h 747387"/>
                  <a:gd name="connsiteX108" fmla="*/ 434154 w 812904"/>
                  <a:gd name="connsiteY108" fmla="*/ 55120 h 747387"/>
                  <a:gd name="connsiteX109" fmla="*/ 432759 w 812904"/>
                  <a:gd name="connsiteY109" fmla="*/ 55616 h 747387"/>
                  <a:gd name="connsiteX110" fmla="*/ 431186 w 812904"/>
                  <a:gd name="connsiteY110" fmla="*/ 51792 h 747387"/>
                  <a:gd name="connsiteX111" fmla="*/ 430514 w 812904"/>
                  <a:gd name="connsiteY111" fmla="*/ 50081 h 747387"/>
                  <a:gd name="connsiteX112" fmla="*/ 428041 w 812904"/>
                  <a:gd name="connsiteY112" fmla="*/ 44097 h 747387"/>
                  <a:gd name="connsiteX113" fmla="*/ 427863 w 812904"/>
                  <a:gd name="connsiteY113" fmla="*/ 43872 h 747387"/>
                  <a:gd name="connsiteX114" fmla="*/ 426556 w 812904"/>
                  <a:gd name="connsiteY114" fmla="*/ 41892 h 747387"/>
                  <a:gd name="connsiteX115" fmla="*/ 424540 w 812904"/>
                  <a:gd name="connsiteY115" fmla="*/ 36177 h 747387"/>
                  <a:gd name="connsiteX116" fmla="*/ 424540 w 812904"/>
                  <a:gd name="connsiteY116" fmla="*/ 36088 h 747387"/>
                  <a:gd name="connsiteX117" fmla="*/ 437300 w 812904"/>
                  <a:gd name="connsiteY117" fmla="*/ 22184 h 747387"/>
                  <a:gd name="connsiteX118" fmla="*/ 449388 w 812904"/>
                  <a:gd name="connsiteY118" fmla="*/ 6166 h 747387"/>
                  <a:gd name="connsiteX119" fmla="*/ 448043 w 812904"/>
                  <a:gd name="connsiteY119" fmla="*/ 2116 h 747387"/>
                  <a:gd name="connsiteX120" fmla="*/ 446737 w 812904"/>
                  <a:gd name="connsiteY120" fmla="*/ 1 h 747387"/>
                  <a:gd name="connsiteX121" fmla="*/ 316902 w 812904"/>
                  <a:gd name="connsiteY121" fmla="*/ 1 h 747387"/>
                  <a:gd name="connsiteX122" fmla="*/ 315595 w 812904"/>
                  <a:gd name="connsiteY122" fmla="*/ 5490 h 747387"/>
                  <a:gd name="connsiteX123" fmla="*/ 315063 w 812904"/>
                  <a:gd name="connsiteY123" fmla="*/ 7741 h 747387"/>
                  <a:gd name="connsiteX124" fmla="*/ 309443 w 812904"/>
                  <a:gd name="connsiteY124" fmla="*/ 7380 h 747387"/>
                  <a:gd name="connsiteX125" fmla="*/ 309443 w 812904"/>
                  <a:gd name="connsiteY125" fmla="*/ 1 h 747387"/>
                  <a:gd name="connsiteX126" fmla="*/ 268233 w 812904"/>
                  <a:gd name="connsiteY126" fmla="*/ 1 h 747387"/>
                  <a:gd name="connsiteX127" fmla="*/ 267776 w 812904"/>
                  <a:gd name="connsiteY127" fmla="*/ 541 h 747387"/>
                  <a:gd name="connsiteX128" fmla="*/ 262829 w 812904"/>
                  <a:gd name="connsiteY128" fmla="*/ 6166 h 747387"/>
                  <a:gd name="connsiteX129" fmla="*/ 260495 w 812904"/>
                  <a:gd name="connsiteY129" fmla="*/ 8776 h 747387"/>
                  <a:gd name="connsiteX130" fmla="*/ 259556 w 812904"/>
                  <a:gd name="connsiteY130" fmla="*/ 4365 h 747387"/>
                  <a:gd name="connsiteX131" fmla="*/ 259201 w 812904"/>
                  <a:gd name="connsiteY131" fmla="*/ 1 h 747387"/>
                  <a:gd name="connsiteX132" fmla="*/ 123303 w 812904"/>
                  <a:gd name="connsiteY132" fmla="*/ 1 h 747387"/>
                  <a:gd name="connsiteX133" fmla="*/ 118128 w 812904"/>
                  <a:gd name="connsiteY133" fmla="*/ 4954 h 747387"/>
                  <a:gd name="connsiteX134" fmla="*/ 120513 w 812904"/>
                  <a:gd name="connsiteY134" fmla="*/ 6351 h 747387"/>
                  <a:gd name="connsiteX135" fmla="*/ 120550 w 812904"/>
                  <a:gd name="connsiteY135" fmla="*/ 6397 h 747387"/>
                  <a:gd name="connsiteX136" fmla="*/ 128871 w 812904"/>
                  <a:gd name="connsiteY136" fmla="*/ 18726 h 747387"/>
                  <a:gd name="connsiteX137" fmla="*/ 132334 w 812904"/>
                  <a:gd name="connsiteY137" fmla="*/ 26105 h 747387"/>
                  <a:gd name="connsiteX138" fmla="*/ 155204 w 812904"/>
                  <a:gd name="connsiteY138" fmla="*/ 32989 h 747387"/>
                  <a:gd name="connsiteX139" fmla="*/ 154392 w 812904"/>
                  <a:gd name="connsiteY139" fmla="*/ 38614 h 747387"/>
                  <a:gd name="connsiteX140" fmla="*/ 147339 w 812904"/>
                  <a:gd name="connsiteY140" fmla="*/ 88965 h 747387"/>
                  <a:gd name="connsiteX141" fmla="*/ 146401 w 812904"/>
                  <a:gd name="connsiteY141" fmla="*/ 95669 h 747387"/>
                  <a:gd name="connsiteX142" fmla="*/ 136241 w 812904"/>
                  <a:gd name="connsiteY142" fmla="*/ 82395 h 747387"/>
                  <a:gd name="connsiteX143" fmla="*/ 123785 w 812904"/>
                  <a:gd name="connsiteY143" fmla="*/ 81270 h 747387"/>
                  <a:gd name="connsiteX144" fmla="*/ 123747 w 812904"/>
                  <a:gd name="connsiteY144" fmla="*/ 81315 h 747387"/>
                  <a:gd name="connsiteX145" fmla="*/ 113764 w 812904"/>
                  <a:gd name="connsiteY145" fmla="*/ 86534 h 747387"/>
                  <a:gd name="connsiteX146" fmla="*/ 99216 w 812904"/>
                  <a:gd name="connsiteY146" fmla="*/ 93554 h 747387"/>
                  <a:gd name="connsiteX147" fmla="*/ 97770 w 812904"/>
                  <a:gd name="connsiteY147" fmla="*/ 90315 h 747387"/>
                  <a:gd name="connsiteX148" fmla="*/ 139792 w 812904"/>
                  <a:gd name="connsiteY148" fmla="*/ 64037 h 747387"/>
                  <a:gd name="connsiteX149" fmla="*/ 145589 w 812904"/>
                  <a:gd name="connsiteY149" fmla="*/ 60392 h 747387"/>
                  <a:gd name="connsiteX150" fmla="*/ 134846 w 812904"/>
                  <a:gd name="connsiteY150" fmla="*/ 52338 h 747387"/>
                  <a:gd name="connsiteX151" fmla="*/ 119028 w 812904"/>
                  <a:gd name="connsiteY151" fmla="*/ 34924 h 747387"/>
                  <a:gd name="connsiteX152" fmla="*/ 101727 w 812904"/>
                  <a:gd name="connsiteY152" fmla="*/ 7 h 747387"/>
                  <a:gd name="connsiteX153" fmla="*/ 2410 w 812904"/>
                  <a:gd name="connsiteY153" fmla="*/ 7 h 747387"/>
                  <a:gd name="connsiteX154" fmla="*/ -25 w 812904"/>
                  <a:gd name="connsiteY154" fmla="*/ 9952 h 747387"/>
                  <a:gd name="connsiteX155" fmla="*/ 1382 w 812904"/>
                  <a:gd name="connsiteY155" fmla="*/ 14905 h 747387"/>
                  <a:gd name="connsiteX156" fmla="*/ 1915 w 812904"/>
                  <a:gd name="connsiteY156" fmla="*/ 37043 h 747387"/>
                  <a:gd name="connsiteX157" fmla="*/ 5201 w 812904"/>
                  <a:gd name="connsiteY157" fmla="*/ 58821 h 747387"/>
                  <a:gd name="connsiteX158" fmla="*/ 21829 w 812904"/>
                  <a:gd name="connsiteY158" fmla="*/ 66561 h 747387"/>
                  <a:gd name="connsiteX159" fmla="*/ 42226 w 812904"/>
                  <a:gd name="connsiteY159" fmla="*/ 70475 h 747387"/>
                  <a:gd name="connsiteX160" fmla="*/ 72744 w 812904"/>
                  <a:gd name="connsiteY160" fmla="*/ 86313 h 747387"/>
                  <a:gd name="connsiteX161" fmla="*/ 77729 w 812904"/>
                  <a:gd name="connsiteY161" fmla="*/ 93827 h 747387"/>
                  <a:gd name="connsiteX162" fmla="*/ 41782 w 812904"/>
                  <a:gd name="connsiteY162" fmla="*/ 91938 h 747387"/>
                  <a:gd name="connsiteX163" fmla="*/ 29605 w 812904"/>
                  <a:gd name="connsiteY163" fmla="*/ 92613 h 747387"/>
                  <a:gd name="connsiteX164" fmla="*/ 23301 w 812904"/>
                  <a:gd name="connsiteY164" fmla="*/ 95627 h 747387"/>
                  <a:gd name="connsiteX165" fmla="*/ 22096 w 812904"/>
                  <a:gd name="connsiteY165" fmla="*/ 96662 h 747387"/>
                  <a:gd name="connsiteX166" fmla="*/ 20295 w 812904"/>
                  <a:gd name="connsiteY166" fmla="*/ 108632 h 747387"/>
                  <a:gd name="connsiteX167" fmla="*/ 23352 w 812904"/>
                  <a:gd name="connsiteY167" fmla="*/ 114211 h 747387"/>
                  <a:gd name="connsiteX168" fmla="*/ 32294 w 812904"/>
                  <a:gd name="connsiteY168" fmla="*/ 130095 h 747387"/>
                  <a:gd name="connsiteX169" fmla="*/ 79352 w 812904"/>
                  <a:gd name="connsiteY169" fmla="*/ 149083 h 747387"/>
                  <a:gd name="connsiteX170" fmla="*/ 83893 w 812904"/>
                  <a:gd name="connsiteY170" fmla="*/ 147013 h 747387"/>
                  <a:gd name="connsiteX171" fmla="*/ 89868 w 812904"/>
                  <a:gd name="connsiteY171" fmla="*/ 144808 h 747387"/>
                  <a:gd name="connsiteX172" fmla="*/ 98404 w 812904"/>
                  <a:gd name="connsiteY172" fmla="*/ 151873 h 747387"/>
                  <a:gd name="connsiteX173" fmla="*/ 99533 w 812904"/>
                  <a:gd name="connsiteY173" fmla="*/ 154347 h 747387"/>
                  <a:gd name="connsiteX174" fmla="*/ 100789 w 812904"/>
                  <a:gd name="connsiteY174" fmla="*/ 157268 h 747387"/>
                  <a:gd name="connsiteX175" fmla="*/ 119663 w 812904"/>
                  <a:gd name="connsiteY175" fmla="*/ 170676 h 747387"/>
                  <a:gd name="connsiteX176" fmla="*/ 195742 w 812904"/>
                  <a:gd name="connsiteY176" fmla="*/ 177336 h 747387"/>
                  <a:gd name="connsiteX177" fmla="*/ 204558 w 812904"/>
                  <a:gd name="connsiteY177" fmla="*/ 182241 h 747387"/>
                  <a:gd name="connsiteX178" fmla="*/ 231791 w 812904"/>
                  <a:gd name="connsiteY178" fmla="*/ 182286 h 747387"/>
                  <a:gd name="connsiteX179" fmla="*/ 232920 w 812904"/>
                  <a:gd name="connsiteY179" fmla="*/ 180935 h 747387"/>
                  <a:gd name="connsiteX180" fmla="*/ 236687 w 812904"/>
                  <a:gd name="connsiteY180" fmla="*/ 176167 h 747387"/>
                  <a:gd name="connsiteX181" fmla="*/ 237537 w 812904"/>
                  <a:gd name="connsiteY181" fmla="*/ 176167 h 747387"/>
                  <a:gd name="connsiteX182" fmla="*/ 237232 w 812904"/>
                  <a:gd name="connsiteY182" fmla="*/ 175806 h 747387"/>
                  <a:gd name="connsiteX183" fmla="*/ 239427 w 812904"/>
                  <a:gd name="connsiteY183" fmla="*/ 174321 h 747387"/>
                  <a:gd name="connsiteX184" fmla="*/ 242166 w 812904"/>
                  <a:gd name="connsiteY184" fmla="*/ 172341 h 747387"/>
                  <a:gd name="connsiteX185" fmla="*/ 248458 w 812904"/>
                  <a:gd name="connsiteY185" fmla="*/ 169822 h 747387"/>
                  <a:gd name="connsiteX186" fmla="*/ 285623 w 812904"/>
                  <a:gd name="connsiteY186" fmla="*/ 180576 h 747387"/>
                  <a:gd name="connsiteX187" fmla="*/ 319058 w 812904"/>
                  <a:gd name="connsiteY187" fmla="*/ 183230 h 747387"/>
                  <a:gd name="connsiteX188" fmla="*/ 316179 w 812904"/>
                  <a:gd name="connsiteY188" fmla="*/ 159158 h 747387"/>
                  <a:gd name="connsiteX189" fmla="*/ 299461 w 812904"/>
                  <a:gd name="connsiteY189" fmla="*/ 145929 h 747387"/>
                  <a:gd name="connsiteX190" fmla="*/ 295732 w 812904"/>
                  <a:gd name="connsiteY190" fmla="*/ 144130 h 747387"/>
                  <a:gd name="connsiteX191" fmla="*/ 314251 w 812904"/>
                  <a:gd name="connsiteY191" fmla="*/ 122621 h 747387"/>
                  <a:gd name="connsiteX192" fmla="*/ 315113 w 812904"/>
                  <a:gd name="connsiteY192" fmla="*/ 126761 h 747387"/>
                  <a:gd name="connsiteX193" fmla="*/ 317003 w 812904"/>
                  <a:gd name="connsiteY193" fmla="*/ 133600 h 747387"/>
                  <a:gd name="connsiteX194" fmla="*/ 350033 w 812904"/>
                  <a:gd name="connsiteY194" fmla="*/ 159203 h 747387"/>
                  <a:gd name="connsiteX195" fmla="*/ 350705 w 812904"/>
                  <a:gd name="connsiteY195" fmla="*/ 165862 h 747387"/>
                  <a:gd name="connsiteX196" fmla="*/ 352633 w 812904"/>
                  <a:gd name="connsiteY196" fmla="*/ 184671 h 747387"/>
                  <a:gd name="connsiteX197" fmla="*/ 352861 w 812904"/>
                  <a:gd name="connsiteY197" fmla="*/ 187010 h 747387"/>
                  <a:gd name="connsiteX198" fmla="*/ 366839 w 812904"/>
                  <a:gd name="connsiteY198" fmla="*/ 189575 h 747387"/>
                  <a:gd name="connsiteX199" fmla="*/ 368184 w 812904"/>
                  <a:gd name="connsiteY199" fmla="*/ 190295 h 747387"/>
                  <a:gd name="connsiteX200" fmla="*/ 375909 w 812904"/>
                  <a:gd name="connsiteY200" fmla="*/ 196910 h 747387"/>
                  <a:gd name="connsiteX201" fmla="*/ 377215 w 812904"/>
                  <a:gd name="connsiteY201" fmla="*/ 198665 h 747387"/>
                  <a:gd name="connsiteX202" fmla="*/ 381807 w 812904"/>
                  <a:gd name="connsiteY202" fmla="*/ 208968 h 747387"/>
                  <a:gd name="connsiteX203" fmla="*/ 382923 w 812904"/>
                  <a:gd name="connsiteY203" fmla="*/ 212433 h 747387"/>
                  <a:gd name="connsiteX204" fmla="*/ 383823 w 812904"/>
                  <a:gd name="connsiteY204" fmla="*/ 214549 h 747387"/>
                  <a:gd name="connsiteX205" fmla="*/ 396952 w 812904"/>
                  <a:gd name="connsiteY205" fmla="*/ 228002 h 747387"/>
                  <a:gd name="connsiteX206" fmla="*/ 409623 w 812904"/>
                  <a:gd name="connsiteY206" fmla="*/ 247260 h 747387"/>
                  <a:gd name="connsiteX207" fmla="*/ 409623 w 812904"/>
                  <a:gd name="connsiteY207" fmla="*/ 247304 h 747387"/>
                  <a:gd name="connsiteX208" fmla="*/ 409217 w 812904"/>
                  <a:gd name="connsiteY208" fmla="*/ 248520 h 747387"/>
                  <a:gd name="connsiteX209" fmla="*/ 387109 w 812904"/>
                  <a:gd name="connsiteY209" fmla="*/ 256215 h 747387"/>
                  <a:gd name="connsiteX210" fmla="*/ 382796 w 812904"/>
                  <a:gd name="connsiteY210" fmla="*/ 259049 h 747387"/>
                  <a:gd name="connsiteX211" fmla="*/ 382796 w 812904"/>
                  <a:gd name="connsiteY211" fmla="*/ 282807 h 747387"/>
                  <a:gd name="connsiteX212" fmla="*/ 382885 w 812904"/>
                  <a:gd name="connsiteY212" fmla="*/ 282762 h 747387"/>
                  <a:gd name="connsiteX213" fmla="*/ 414697 w 812904"/>
                  <a:gd name="connsiteY213" fmla="*/ 263818 h 747387"/>
                  <a:gd name="connsiteX214" fmla="*/ 416041 w 812904"/>
                  <a:gd name="connsiteY214" fmla="*/ 263009 h 747387"/>
                  <a:gd name="connsiteX215" fmla="*/ 429487 w 812904"/>
                  <a:gd name="connsiteY215" fmla="*/ 254999 h 747387"/>
                  <a:gd name="connsiteX216" fmla="*/ 432277 w 812904"/>
                  <a:gd name="connsiteY216" fmla="*/ 258869 h 747387"/>
                  <a:gd name="connsiteX217" fmla="*/ 434307 w 812904"/>
                  <a:gd name="connsiteY217" fmla="*/ 263459 h 747387"/>
                  <a:gd name="connsiteX218" fmla="*/ 435917 w 812904"/>
                  <a:gd name="connsiteY218" fmla="*/ 270523 h 747387"/>
                  <a:gd name="connsiteX219" fmla="*/ 436463 w 812904"/>
                  <a:gd name="connsiteY219" fmla="*/ 273718 h 747387"/>
                  <a:gd name="connsiteX220" fmla="*/ 437769 w 812904"/>
                  <a:gd name="connsiteY220" fmla="*/ 280737 h 747387"/>
                  <a:gd name="connsiteX221" fmla="*/ 437947 w 812904"/>
                  <a:gd name="connsiteY221" fmla="*/ 281372 h 747387"/>
                  <a:gd name="connsiteX222" fmla="*/ 451062 w 812904"/>
                  <a:gd name="connsiteY222" fmla="*/ 294691 h 747387"/>
                  <a:gd name="connsiteX223" fmla="*/ 453409 w 812904"/>
                  <a:gd name="connsiteY223" fmla="*/ 287356 h 747387"/>
                  <a:gd name="connsiteX224" fmla="*/ 454081 w 812904"/>
                  <a:gd name="connsiteY224" fmla="*/ 285197 h 747387"/>
                  <a:gd name="connsiteX225" fmla="*/ 455286 w 812904"/>
                  <a:gd name="connsiteY225" fmla="*/ 281328 h 747387"/>
                  <a:gd name="connsiteX226" fmla="*/ 458926 w 812904"/>
                  <a:gd name="connsiteY226" fmla="*/ 285872 h 747387"/>
                  <a:gd name="connsiteX227" fmla="*/ 461717 w 812904"/>
                  <a:gd name="connsiteY227" fmla="*/ 295051 h 747387"/>
                  <a:gd name="connsiteX228" fmla="*/ 460867 w 812904"/>
                  <a:gd name="connsiteY228" fmla="*/ 303600 h 747387"/>
                  <a:gd name="connsiteX229" fmla="*/ 460778 w 812904"/>
                  <a:gd name="connsiteY229" fmla="*/ 304051 h 747387"/>
                  <a:gd name="connsiteX230" fmla="*/ 460639 w 812904"/>
                  <a:gd name="connsiteY230" fmla="*/ 304679 h 747387"/>
                  <a:gd name="connsiteX231" fmla="*/ 460601 w 812904"/>
                  <a:gd name="connsiteY231" fmla="*/ 304995 h 747387"/>
                  <a:gd name="connsiteX232" fmla="*/ 474528 w 812904"/>
                  <a:gd name="connsiteY232" fmla="*/ 314625 h 747387"/>
                  <a:gd name="connsiteX233" fmla="*/ 475340 w 812904"/>
                  <a:gd name="connsiteY233" fmla="*/ 315260 h 747387"/>
                  <a:gd name="connsiteX234" fmla="*/ 483242 w 812904"/>
                  <a:gd name="connsiteY234" fmla="*/ 323718 h 747387"/>
                  <a:gd name="connsiteX235" fmla="*/ 483838 w 812904"/>
                  <a:gd name="connsiteY235" fmla="*/ 325242 h 747387"/>
                  <a:gd name="connsiteX236" fmla="*/ 488011 w 812904"/>
                  <a:gd name="connsiteY236" fmla="*/ 336626 h 747387"/>
                  <a:gd name="connsiteX237" fmla="*/ 495432 w 812904"/>
                  <a:gd name="connsiteY237" fmla="*/ 360069 h 747387"/>
                  <a:gd name="connsiteX238" fmla="*/ 503106 w 812904"/>
                  <a:gd name="connsiteY238" fmla="*/ 388009 h 747387"/>
                  <a:gd name="connsiteX239" fmla="*/ 500315 w 812904"/>
                  <a:gd name="connsiteY239" fmla="*/ 402407 h 747387"/>
                  <a:gd name="connsiteX240" fmla="*/ 463062 w 812904"/>
                  <a:gd name="connsiteY240" fmla="*/ 449744 h 747387"/>
                  <a:gd name="connsiteX241" fmla="*/ 453130 w 812904"/>
                  <a:gd name="connsiteY241" fmla="*/ 462162 h 747387"/>
                  <a:gd name="connsiteX242" fmla="*/ 443959 w 812904"/>
                  <a:gd name="connsiteY242" fmla="*/ 473681 h 747387"/>
                  <a:gd name="connsiteX243" fmla="*/ 453536 w 812904"/>
                  <a:gd name="connsiteY243" fmla="*/ 488889 h 747387"/>
                  <a:gd name="connsiteX244" fmla="*/ 466930 w 812904"/>
                  <a:gd name="connsiteY244" fmla="*/ 510713 h 747387"/>
                  <a:gd name="connsiteX245" fmla="*/ 466486 w 812904"/>
                  <a:gd name="connsiteY245" fmla="*/ 515617 h 747387"/>
                  <a:gd name="connsiteX246" fmla="*/ 447473 w 812904"/>
                  <a:gd name="connsiteY246" fmla="*/ 520476 h 747387"/>
                  <a:gd name="connsiteX247" fmla="*/ 436780 w 812904"/>
                  <a:gd name="connsiteY247" fmla="*/ 525556 h 747387"/>
                  <a:gd name="connsiteX248" fmla="*/ 436146 w 812904"/>
                  <a:gd name="connsiteY248" fmla="*/ 525781 h 747387"/>
                  <a:gd name="connsiteX249" fmla="*/ 379790 w 812904"/>
                  <a:gd name="connsiteY249" fmla="*/ 525019 h 747387"/>
                  <a:gd name="connsiteX250" fmla="*/ 364150 w 812904"/>
                  <a:gd name="connsiteY250" fmla="*/ 522544 h 747387"/>
                  <a:gd name="connsiteX251" fmla="*/ 363161 w 812904"/>
                  <a:gd name="connsiteY251" fmla="*/ 524029 h 747387"/>
                  <a:gd name="connsiteX252" fmla="*/ 361994 w 812904"/>
                  <a:gd name="connsiteY252" fmla="*/ 525828 h 747387"/>
                  <a:gd name="connsiteX253" fmla="*/ 359749 w 812904"/>
                  <a:gd name="connsiteY253" fmla="*/ 529429 h 747387"/>
                  <a:gd name="connsiteX254" fmla="*/ 358074 w 812904"/>
                  <a:gd name="connsiteY254" fmla="*/ 532223 h 747387"/>
                  <a:gd name="connsiteX255" fmla="*/ 349538 w 812904"/>
                  <a:gd name="connsiteY255" fmla="*/ 543697 h 747387"/>
                  <a:gd name="connsiteX256" fmla="*/ 338351 w 812904"/>
                  <a:gd name="connsiteY256" fmla="*/ 576859 h 747387"/>
                  <a:gd name="connsiteX257" fmla="*/ 339657 w 812904"/>
                  <a:gd name="connsiteY257" fmla="*/ 580458 h 747387"/>
                  <a:gd name="connsiteX258" fmla="*/ 376822 w 812904"/>
                  <a:gd name="connsiteY258" fmla="*/ 597873 h 747387"/>
                  <a:gd name="connsiteX259" fmla="*/ 405539 w 812904"/>
                  <a:gd name="connsiteY259" fmla="*/ 583204 h 747387"/>
                  <a:gd name="connsiteX260" fmla="*/ 405577 w 812904"/>
                  <a:gd name="connsiteY260" fmla="*/ 583158 h 747387"/>
                  <a:gd name="connsiteX261" fmla="*/ 407429 w 812904"/>
                  <a:gd name="connsiteY261" fmla="*/ 582169 h 747387"/>
                  <a:gd name="connsiteX262" fmla="*/ 411158 w 812904"/>
                  <a:gd name="connsiteY262" fmla="*/ 580144 h 747387"/>
                  <a:gd name="connsiteX263" fmla="*/ 421217 w 812904"/>
                  <a:gd name="connsiteY263" fmla="*/ 585004 h 747387"/>
                  <a:gd name="connsiteX264" fmla="*/ 432861 w 812904"/>
                  <a:gd name="connsiteY264" fmla="*/ 589233 h 747387"/>
                  <a:gd name="connsiteX265" fmla="*/ 439558 w 812904"/>
                  <a:gd name="connsiteY265" fmla="*/ 578614 h 747387"/>
                  <a:gd name="connsiteX266" fmla="*/ 440725 w 812904"/>
                  <a:gd name="connsiteY266" fmla="*/ 577579 h 747387"/>
                  <a:gd name="connsiteX267" fmla="*/ 453307 w 812904"/>
                  <a:gd name="connsiteY267" fmla="*/ 575060 h 747387"/>
                  <a:gd name="connsiteX268" fmla="*/ 454791 w 812904"/>
                  <a:gd name="connsiteY268" fmla="*/ 575194 h 747387"/>
                  <a:gd name="connsiteX269" fmla="*/ 474211 w 812904"/>
                  <a:gd name="connsiteY269" fmla="*/ 577714 h 747387"/>
                  <a:gd name="connsiteX270" fmla="*/ 475289 w 812904"/>
                  <a:gd name="connsiteY270" fmla="*/ 585094 h 747387"/>
                  <a:gd name="connsiteX271" fmla="*/ 475289 w 812904"/>
                  <a:gd name="connsiteY271" fmla="*/ 585138 h 747387"/>
                  <a:gd name="connsiteX272" fmla="*/ 475923 w 812904"/>
                  <a:gd name="connsiteY272" fmla="*/ 587704 h 747387"/>
                  <a:gd name="connsiteX273" fmla="*/ 494163 w 812904"/>
                  <a:gd name="connsiteY273" fmla="*/ 617356 h 747387"/>
                  <a:gd name="connsiteX274" fmla="*/ 494709 w 812904"/>
                  <a:gd name="connsiteY274" fmla="*/ 617896 h 747387"/>
                  <a:gd name="connsiteX275" fmla="*/ 505757 w 812904"/>
                  <a:gd name="connsiteY275" fmla="*/ 626626 h 747387"/>
                  <a:gd name="connsiteX276" fmla="*/ 508458 w 812904"/>
                  <a:gd name="connsiteY276" fmla="*/ 628425 h 747387"/>
                  <a:gd name="connsiteX277" fmla="*/ 515422 w 812904"/>
                  <a:gd name="connsiteY277" fmla="*/ 632925 h 747387"/>
                  <a:gd name="connsiteX278" fmla="*/ 517984 w 812904"/>
                  <a:gd name="connsiteY278" fmla="*/ 634449 h 747387"/>
                  <a:gd name="connsiteX279" fmla="*/ 522157 w 812904"/>
                  <a:gd name="connsiteY279" fmla="*/ 637014 h 747387"/>
                  <a:gd name="connsiteX280" fmla="*/ 522347 w 812904"/>
                  <a:gd name="connsiteY280" fmla="*/ 637104 h 747387"/>
                  <a:gd name="connsiteX281" fmla="*/ 522386 w 812904"/>
                  <a:gd name="connsiteY281" fmla="*/ 637104 h 747387"/>
                  <a:gd name="connsiteX282" fmla="*/ 524808 w 812904"/>
                  <a:gd name="connsiteY282" fmla="*/ 638543 h 747387"/>
                  <a:gd name="connsiteX283" fmla="*/ 524986 w 812904"/>
                  <a:gd name="connsiteY283" fmla="*/ 638633 h 747387"/>
                  <a:gd name="connsiteX284" fmla="*/ 525037 w 812904"/>
                  <a:gd name="connsiteY284" fmla="*/ 638679 h 747387"/>
                  <a:gd name="connsiteX285" fmla="*/ 526381 w 812904"/>
                  <a:gd name="connsiteY285" fmla="*/ 639398 h 747387"/>
                  <a:gd name="connsiteX286" fmla="*/ 526876 w 812904"/>
                  <a:gd name="connsiteY286" fmla="*/ 639714 h 747387"/>
                  <a:gd name="connsiteX287" fmla="*/ 532495 w 812904"/>
                  <a:gd name="connsiteY287" fmla="*/ 642998 h 747387"/>
                  <a:gd name="connsiteX288" fmla="*/ 530973 w 812904"/>
                  <a:gd name="connsiteY288" fmla="*/ 644934 h 747387"/>
                  <a:gd name="connsiteX289" fmla="*/ 528943 w 812904"/>
                  <a:gd name="connsiteY289" fmla="*/ 647318 h 747387"/>
                  <a:gd name="connsiteX290" fmla="*/ 528766 w 812904"/>
                  <a:gd name="connsiteY290" fmla="*/ 647542 h 747387"/>
                  <a:gd name="connsiteX291" fmla="*/ 521434 w 812904"/>
                  <a:gd name="connsiteY291" fmla="*/ 656317 h 747387"/>
                  <a:gd name="connsiteX292" fmla="*/ 519506 w 812904"/>
                  <a:gd name="connsiteY292" fmla="*/ 660232 h 747387"/>
                  <a:gd name="connsiteX293" fmla="*/ 520052 w 812904"/>
                  <a:gd name="connsiteY293" fmla="*/ 664732 h 747387"/>
                  <a:gd name="connsiteX294" fmla="*/ 522335 w 812904"/>
                  <a:gd name="connsiteY294" fmla="*/ 667071 h 747387"/>
                  <a:gd name="connsiteX295" fmla="*/ 522969 w 812904"/>
                  <a:gd name="connsiteY295" fmla="*/ 667476 h 747387"/>
                  <a:gd name="connsiteX296" fmla="*/ 523832 w 812904"/>
                  <a:gd name="connsiteY296" fmla="*/ 668016 h 747387"/>
                  <a:gd name="connsiteX297" fmla="*/ 540004 w 812904"/>
                  <a:gd name="connsiteY297" fmla="*/ 679760 h 747387"/>
                  <a:gd name="connsiteX298" fmla="*/ 541044 w 812904"/>
                  <a:gd name="connsiteY298" fmla="*/ 680615 h 747387"/>
                  <a:gd name="connsiteX299" fmla="*/ 576052 w 812904"/>
                  <a:gd name="connsiteY299" fmla="*/ 694159 h 747387"/>
                  <a:gd name="connsiteX300" fmla="*/ 580771 w 812904"/>
                  <a:gd name="connsiteY300" fmla="*/ 698928 h 747387"/>
                  <a:gd name="connsiteX301" fmla="*/ 583155 w 812904"/>
                  <a:gd name="connsiteY301" fmla="*/ 701493 h 747387"/>
                  <a:gd name="connsiteX302" fmla="*/ 584043 w 812904"/>
                  <a:gd name="connsiteY302" fmla="*/ 702483 h 747387"/>
                  <a:gd name="connsiteX303" fmla="*/ 585261 w 812904"/>
                  <a:gd name="connsiteY303" fmla="*/ 703788 h 747387"/>
                  <a:gd name="connsiteX304" fmla="*/ 606025 w 812904"/>
                  <a:gd name="connsiteY304" fmla="*/ 721877 h 747387"/>
                  <a:gd name="connsiteX305" fmla="*/ 679809 w 812904"/>
                  <a:gd name="connsiteY305" fmla="*/ 747389 h 747387"/>
                  <a:gd name="connsiteX306" fmla="*/ 673974 w 812904"/>
                  <a:gd name="connsiteY306" fmla="*/ 727231 h 747387"/>
                  <a:gd name="connsiteX307" fmla="*/ 672490 w 812904"/>
                  <a:gd name="connsiteY307" fmla="*/ 723271 h 747387"/>
                  <a:gd name="connsiteX308" fmla="*/ 672135 w 812904"/>
                  <a:gd name="connsiteY308" fmla="*/ 722461 h 747387"/>
                  <a:gd name="connsiteX309" fmla="*/ 662292 w 812904"/>
                  <a:gd name="connsiteY309" fmla="*/ 706533 h 747387"/>
                  <a:gd name="connsiteX310" fmla="*/ 650115 w 812904"/>
                  <a:gd name="connsiteY310" fmla="*/ 693889 h 747387"/>
                  <a:gd name="connsiteX311" fmla="*/ 637888 w 812904"/>
                  <a:gd name="connsiteY311" fmla="*/ 683180 h 747387"/>
                  <a:gd name="connsiteX312" fmla="*/ 635338 w 812904"/>
                  <a:gd name="connsiteY312" fmla="*/ 681021 h 747387"/>
                  <a:gd name="connsiteX313" fmla="*/ 631596 w 812904"/>
                  <a:gd name="connsiteY313" fmla="*/ 677691 h 747387"/>
                  <a:gd name="connsiteX314" fmla="*/ 628096 w 812904"/>
                  <a:gd name="connsiteY314" fmla="*/ 674587 h 747387"/>
                  <a:gd name="connsiteX315" fmla="*/ 604883 w 812904"/>
                  <a:gd name="connsiteY315" fmla="*/ 646181 h 747387"/>
                  <a:gd name="connsiteX316" fmla="*/ 597742 w 812904"/>
                  <a:gd name="connsiteY316" fmla="*/ 630704 h 747387"/>
                  <a:gd name="connsiteX317" fmla="*/ 615399 w 812904"/>
                  <a:gd name="connsiteY317" fmla="*/ 636102 h 747387"/>
                  <a:gd name="connsiteX318" fmla="*/ 632877 w 812904"/>
                  <a:gd name="connsiteY318" fmla="*/ 646181 h 747387"/>
                  <a:gd name="connsiteX319" fmla="*/ 632877 w 812904"/>
                  <a:gd name="connsiteY319" fmla="*/ 646224 h 747387"/>
                  <a:gd name="connsiteX320" fmla="*/ 638496 w 812904"/>
                  <a:gd name="connsiteY320" fmla="*/ 649284 h 747387"/>
                  <a:gd name="connsiteX321" fmla="*/ 651041 w 812904"/>
                  <a:gd name="connsiteY321" fmla="*/ 658417 h 747387"/>
                  <a:gd name="connsiteX322" fmla="*/ 654986 w 812904"/>
                  <a:gd name="connsiteY322" fmla="*/ 661973 h 747387"/>
                  <a:gd name="connsiteX323" fmla="*/ 655531 w 812904"/>
                  <a:gd name="connsiteY323" fmla="*/ 662469 h 747387"/>
                  <a:gd name="connsiteX324" fmla="*/ 665285 w 812904"/>
                  <a:gd name="connsiteY324" fmla="*/ 669708 h 747387"/>
                  <a:gd name="connsiteX325" fmla="*/ 665691 w 812904"/>
                  <a:gd name="connsiteY325" fmla="*/ 669978 h 747387"/>
                  <a:gd name="connsiteX326" fmla="*/ 675712 w 812904"/>
                  <a:gd name="connsiteY326" fmla="*/ 676233 h 747387"/>
                  <a:gd name="connsiteX327" fmla="*/ 678274 w 812904"/>
                  <a:gd name="connsiteY327" fmla="*/ 677757 h 747387"/>
                  <a:gd name="connsiteX328" fmla="*/ 687039 w 812904"/>
                  <a:gd name="connsiteY328" fmla="*/ 682977 h 747387"/>
                  <a:gd name="connsiteX329" fmla="*/ 687673 w 812904"/>
                  <a:gd name="connsiteY329" fmla="*/ 683382 h 747387"/>
                  <a:gd name="connsiteX330" fmla="*/ 690184 w 812904"/>
                  <a:gd name="connsiteY330" fmla="*/ 684866 h 747387"/>
                  <a:gd name="connsiteX331" fmla="*/ 691795 w 812904"/>
                  <a:gd name="connsiteY331" fmla="*/ 685901 h 747387"/>
                  <a:gd name="connsiteX332" fmla="*/ 696387 w 812904"/>
                  <a:gd name="connsiteY332" fmla="*/ 688736 h 747387"/>
                  <a:gd name="connsiteX333" fmla="*/ 713194 w 812904"/>
                  <a:gd name="connsiteY333" fmla="*/ 680592 h 747387"/>
                  <a:gd name="connsiteX334" fmla="*/ 711671 w 812904"/>
                  <a:gd name="connsiteY334" fmla="*/ 671368 h 747387"/>
                  <a:gd name="connsiteX335" fmla="*/ 711088 w 812904"/>
                  <a:gd name="connsiteY335" fmla="*/ 667949 h 747387"/>
                  <a:gd name="connsiteX336" fmla="*/ 709426 w 812904"/>
                  <a:gd name="connsiteY336" fmla="*/ 657869 h 747387"/>
                  <a:gd name="connsiteX337" fmla="*/ 709160 w 812904"/>
                  <a:gd name="connsiteY337" fmla="*/ 656345 h 747387"/>
                  <a:gd name="connsiteX338" fmla="*/ 706636 w 812904"/>
                  <a:gd name="connsiteY338" fmla="*/ 641135 h 747387"/>
                  <a:gd name="connsiteX339" fmla="*/ 708932 w 812904"/>
                  <a:gd name="connsiteY339" fmla="*/ 642890 h 747387"/>
                  <a:gd name="connsiteX340" fmla="*/ 711227 w 812904"/>
                  <a:gd name="connsiteY340" fmla="*/ 644600 h 747387"/>
                  <a:gd name="connsiteX341" fmla="*/ 722504 w 812904"/>
                  <a:gd name="connsiteY341" fmla="*/ 653194 h 747387"/>
                  <a:gd name="connsiteX342" fmla="*/ 722821 w 812904"/>
                  <a:gd name="connsiteY342" fmla="*/ 643796 h 747387"/>
                  <a:gd name="connsiteX343" fmla="*/ 715895 w 812904"/>
                  <a:gd name="connsiteY343" fmla="*/ 627732 h 747387"/>
                  <a:gd name="connsiteX344" fmla="*/ 710327 w 812904"/>
                  <a:gd name="connsiteY344" fmla="*/ 619767 h 747387"/>
                  <a:gd name="connsiteX345" fmla="*/ 708615 w 812904"/>
                  <a:gd name="connsiteY345" fmla="*/ 617158 h 747387"/>
                  <a:gd name="connsiteX346" fmla="*/ 707448 w 812904"/>
                  <a:gd name="connsiteY346" fmla="*/ 615088 h 747387"/>
                  <a:gd name="connsiteX347" fmla="*/ 701283 w 812904"/>
                  <a:gd name="connsiteY347" fmla="*/ 605279 h 747387"/>
                  <a:gd name="connsiteX348" fmla="*/ 698277 w 812904"/>
                  <a:gd name="connsiteY348" fmla="*/ 600150 h 747387"/>
                  <a:gd name="connsiteX349" fmla="*/ 697871 w 812904"/>
                  <a:gd name="connsiteY349" fmla="*/ 598170 h 747387"/>
                  <a:gd name="connsiteX350" fmla="*/ 701334 w 812904"/>
                  <a:gd name="connsiteY350" fmla="*/ 588451 h 747387"/>
                  <a:gd name="connsiteX351" fmla="*/ 693470 w 812904"/>
                  <a:gd name="connsiteY351" fmla="*/ 581431 h 747387"/>
                  <a:gd name="connsiteX352" fmla="*/ 693153 w 812904"/>
                  <a:gd name="connsiteY352" fmla="*/ 581026 h 747387"/>
                  <a:gd name="connsiteX353" fmla="*/ 688117 w 812904"/>
                  <a:gd name="connsiteY353" fmla="*/ 573512 h 747387"/>
                  <a:gd name="connsiteX354" fmla="*/ 683043 w 812904"/>
                  <a:gd name="connsiteY354" fmla="*/ 569417 h 747387"/>
                  <a:gd name="connsiteX355" fmla="*/ 682866 w 812904"/>
                  <a:gd name="connsiteY355" fmla="*/ 569327 h 747387"/>
                  <a:gd name="connsiteX356" fmla="*/ 681433 w 812904"/>
                  <a:gd name="connsiteY356" fmla="*/ 568472 h 747387"/>
                  <a:gd name="connsiteX357" fmla="*/ 676080 w 812904"/>
                  <a:gd name="connsiteY357" fmla="*/ 565142 h 747387"/>
                  <a:gd name="connsiteX358" fmla="*/ 664804 w 812904"/>
                  <a:gd name="connsiteY358" fmla="*/ 555964 h 747387"/>
                  <a:gd name="connsiteX359" fmla="*/ 661480 w 812904"/>
                  <a:gd name="connsiteY359" fmla="*/ 552498 h 747387"/>
                  <a:gd name="connsiteX360" fmla="*/ 658246 w 812904"/>
                  <a:gd name="connsiteY360" fmla="*/ 548674 h 747387"/>
                  <a:gd name="connsiteX361" fmla="*/ 655861 w 812904"/>
                  <a:gd name="connsiteY361" fmla="*/ 545525 h 747387"/>
                  <a:gd name="connsiteX362" fmla="*/ 651993 w 812904"/>
                  <a:gd name="connsiteY362" fmla="*/ 539495 h 747387"/>
                  <a:gd name="connsiteX363" fmla="*/ 647629 w 812904"/>
                  <a:gd name="connsiteY363" fmla="*/ 530901 h 747387"/>
                  <a:gd name="connsiteX364" fmla="*/ 644445 w 812904"/>
                  <a:gd name="connsiteY364" fmla="*/ 522351 h 747387"/>
                  <a:gd name="connsiteX365" fmla="*/ 643951 w 812904"/>
                  <a:gd name="connsiteY365" fmla="*/ 520732 h 747387"/>
                  <a:gd name="connsiteX366" fmla="*/ 642606 w 812904"/>
                  <a:gd name="connsiteY366" fmla="*/ 515558 h 747387"/>
                  <a:gd name="connsiteX367" fmla="*/ 641744 w 812904"/>
                  <a:gd name="connsiteY367" fmla="*/ 509708 h 747387"/>
                  <a:gd name="connsiteX368" fmla="*/ 641388 w 812904"/>
                  <a:gd name="connsiteY368" fmla="*/ 506378 h 747387"/>
                  <a:gd name="connsiteX369" fmla="*/ 631228 w 812904"/>
                  <a:gd name="connsiteY369" fmla="*/ 509299 h 747387"/>
                  <a:gd name="connsiteX370" fmla="*/ 627144 w 812904"/>
                  <a:gd name="connsiteY370" fmla="*/ 510469 h 747387"/>
                  <a:gd name="connsiteX371" fmla="*/ 623999 w 812904"/>
                  <a:gd name="connsiteY371" fmla="*/ 500974 h 747387"/>
                  <a:gd name="connsiteX372" fmla="*/ 622870 w 812904"/>
                  <a:gd name="connsiteY372" fmla="*/ 497825 h 747387"/>
                  <a:gd name="connsiteX373" fmla="*/ 622235 w 812904"/>
                  <a:gd name="connsiteY373" fmla="*/ 496115 h 747387"/>
                  <a:gd name="connsiteX374" fmla="*/ 620624 w 812904"/>
                  <a:gd name="connsiteY374" fmla="*/ 492155 h 747387"/>
                  <a:gd name="connsiteX375" fmla="*/ 619267 w 812904"/>
                  <a:gd name="connsiteY375" fmla="*/ 489096 h 747387"/>
                  <a:gd name="connsiteX376" fmla="*/ 614739 w 812904"/>
                  <a:gd name="connsiteY376" fmla="*/ 478881 h 747387"/>
                  <a:gd name="connsiteX377" fmla="*/ 644851 w 812904"/>
                  <a:gd name="connsiteY377" fmla="*/ 481222 h 747387"/>
                  <a:gd name="connsiteX378" fmla="*/ 631545 w 812904"/>
                  <a:gd name="connsiteY378" fmla="*/ 458903 h 747387"/>
                  <a:gd name="connsiteX379" fmla="*/ 630873 w 812904"/>
                  <a:gd name="connsiteY379" fmla="*/ 457868 h 747387"/>
                  <a:gd name="connsiteX380" fmla="*/ 629250 w 812904"/>
                  <a:gd name="connsiteY380" fmla="*/ 455123 h 747387"/>
                  <a:gd name="connsiteX381" fmla="*/ 629199 w 812904"/>
                  <a:gd name="connsiteY381" fmla="*/ 455033 h 747387"/>
                  <a:gd name="connsiteX382" fmla="*/ 627411 w 812904"/>
                  <a:gd name="connsiteY382" fmla="*/ 452018 h 747387"/>
                  <a:gd name="connsiteX383" fmla="*/ 628577 w 812904"/>
                  <a:gd name="connsiteY383" fmla="*/ 451974 h 747387"/>
                  <a:gd name="connsiteX384" fmla="*/ 631584 w 812904"/>
                  <a:gd name="connsiteY384" fmla="*/ 451839 h 747387"/>
                  <a:gd name="connsiteX385" fmla="*/ 643456 w 812904"/>
                  <a:gd name="connsiteY385" fmla="*/ 450399 h 747387"/>
                  <a:gd name="connsiteX386" fmla="*/ 645384 w 812904"/>
                  <a:gd name="connsiteY386" fmla="*/ 449049 h 747387"/>
                  <a:gd name="connsiteX387" fmla="*/ 647134 w 812904"/>
                  <a:gd name="connsiteY387" fmla="*/ 447564 h 747387"/>
                  <a:gd name="connsiteX388" fmla="*/ 654910 w 812904"/>
                  <a:gd name="connsiteY388" fmla="*/ 438970 h 747387"/>
                  <a:gd name="connsiteX389" fmla="*/ 657028 w 812904"/>
                  <a:gd name="connsiteY389" fmla="*/ 441625 h 747387"/>
                  <a:gd name="connsiteX390" fmla="*/ 661290 w 812904"/>
                  <a:gd name="connsiteY390" fmla="*/ 446979 h 747387"/>
                  <a:gd name="connsiteX391" fmla="*/ 669738 w 812904"/>
                  <a:gd name="connsiteY391" fmla="*/ 457599 h 747387"/>
                  <a:gd name="connsiteX392" fmla="*/ 670550 w 812904"/>
                  <a:gd name="connsiteY392" fmla="*/ 458588 h 747387"/>
                  <a:gd name="connsiteX393" fmla="*/ 684971 w 812904"/>
                  <a:gd name="connsiteY393" fmla="*/ 476677 h 747387"/>
                  <a:gd name="connsiteX394" fmla="*/ 689018 w 812904"/>
                  <a:gd name="connsiteY394" fmla="*/ 481757 h 747387"/>
                  <a:gd name="connsiteX395" fmla="*/ 691263 w 812904"/>
                  <a:gd name="connsiteY395" fmla="*/ 484551 h 747387"/>
                  <a:gd name="connsiteX396" fmla="*/ 716441 w 812904"/>
                  <a:gd name="connsiteY396" fmla="*/ 472133 h 747387"/>
                  <a:gd name="connsiteX397" fmla="*/ 717113 w 812904"/>
                  <a:gd name="connsiteY397" fmla="*/ 474697 h 747387"/>
                  <a:gd name="connsiteX398" fmla="*/ 699584 w 812904"/>
                  <a:gd name="connsiteY398" fmla="*/ 497014 h 747387"/>
                  <a:gd name="connsiteX399" fmla="*/ 699989 w 812904"/>
                  <a:gd name="connsiteY399" fmla="*/ 497825 h 747387"/>
                  <a:gd name="connsiteX400" fmla="*/ 706407 w 812904"/>
                  <a:gd name="connsiteY400" fmla="*/ 510424 h 747387"/>
                  <a:gd name="connsiteX401" fmla="*/ 707042 w 812904"/>
                  <a:gd name="connsiteY401" fmla="*/ 511414 h 747387"/>
                  <a:gd name="connsiteX402" fmla="*/ 711088 w 812904"/>
                  <a:gd name="connsiteY402" fmla="*/ 517764 h 747387"/>
                  <a:gd name="connsiteX403" fmla="*/ 711900 w 812904"/>
                  <a:gd name="connsiteY403" fmla="*/ 518888 h 747387"/>
                  <a:gd name="connsiteX404" fmla="*/ 717874 w 812904"/>
                  <a:gd name="connsiteY404" fmla="*/ 526312 h 747387"/>
                  <a:gd name="connsiteX405" fmla="*/ 719498 w 812904"/>
                  <a:gd name="connsiteY405" fmla="*/ 528112 h 747387"/>
                  <a:gd name="connsiteX406" fmla="*/ 728440 w 812904"/>
                  <a:gd name="connsiteY406" fmla="*/ 535897 h 747387"/>
                  <a:gd name="connsiteX407" fmla="*/ 729696 w 812904"/>
                  <a:gd name="connsiteY407" fmla="*/ 536796 h 747387"/>
                  <a:gd name="connsiteX408" fmla="*/ 737471 w 812904"/>
                  <a:gd name="connsiteY408" fmla="*/ 541386 h 747387"/>
                  <a:gd name="connsiteX409" fmla="*/ 737877 w 812904"/>
                  <a:gd name="connsiteY409" fmla="*/ 541566 h 747387"/>
                  <a:gd name="connsiteX410" fmla="*/ 744790 w 812904"/>
                  <a:gd name="connsiteY410" fmla="*/ 544581 h 747387"/>
                  <a:gd name="connsiteX411" fmla="*/ 745475 w 812904"/>
                  <a:gd name="connsiteY411" fmla="*/ 544761 h 747387"/>
                  <a:gd name="connsiteX412" fmla="*/ 752439 w 812904"/>
                  <a:gd name="connsiteY412" fmla="*/ 546830 h 747387"/>
                  <a:gd name="connsiteX413" fmla="*/ 752439 w 812904"/>
                  <a:gd name="connsiteY413" fmla="*/ 501609 h 747387"/>
                  <a:gd name="connsiteX414" fmla="*/ 757335 w 812904"/>
                  <a:gd name="connsiteY414" fmla="*/ 502600 h 747387"/>
                  <a:gd name="connsiteX415" fmla="*/ 758996 w 812904"/>
                  <a:gd name="connsiteY415" fmla="*/ 502779 h 747387"/>
                  <a:gd name="connsiteX416" fmla="*/ 775042 w 812904"/>
                  <a:gd name="connsiteY416" fmla="*/ 497380 h 747387"/>
                  <a:gd name="connsiteX417" fmla="*/ 775803 w 812904"/>
                  <a:gd name="connsiteY417" fmla="*/ 496660 h 747387"/>
                  <a:gd name="connsiteX418" fmla="*/ 782094 w 812904"/>
                  <a:gd name="connsiteY418" fmla="*/ 487841 h 747387"/>
                  <a:gd name="connsiteX419" fmla="*/ 784251 w 812904"/>
                  <a:gd name="connsiteY419" fmla="*/ 484331 h 747387"/>
                  <a:gd name="connsiteX420" fmla="*/ 789236 w 812904"/>
                  <a:gd name="connsiteY420" fmla="*/ 477042 h 747387"/>
                  <a:gd name="connsiteX421" fmla="*/ 790402 w 812904"/>
                  <a:gd name="connsiteY421" fmla="*/ 475781 h 747387"/>
                  <a:gd name="connsiteX422" fmla="*/ 782944 w 812904"/>
                  <a:gd name="connsiteY422" fmla="*/ 468717 h 747387"/>
                  <a:gd name="connsiteX423" fmla="*/ 781422 w 812904"/>
                  <a:gd name="connsiteY423" fmla="*/ 458773 h 747387"/>
                  <a:gd name="connsiteX424" fmla="*/ 784339 w 812904"/>
                  <a:gd name="connsiteY424" fmla="*/ 456029 h 747387"/>
                  <a:gd name="connsiteX425" fmla="*/ 785861 w 812904"/>
                  <a:gd name="connsiteY425" fmla="*/ 454994 h 747387"/>
                  <a:gd name="connsiteX426" fmla="*/ 798089 w 812904"/>
                  <a:gd name="connsiteY426" fmla="*/ 458414 h 747387"/>
                  <a:gd name="connsiteX427" fmla="*/ 799078 w 812904"/>
                  <a:gd name="connsiteY427" fmla="*/ 456749 h 747387"/>
                  <a:gd name="connsiteX428" fmla="*/ 799116 w 812904"/>
                  <a:gd name="connsiteY428" fmla="*/ 456749 h 747387"/>
                  <a:gd name="connsiteX429" fmla="*/ 799218 w 812904"/>
                  <a:gd name="connsiteY429" fmla="*/ 456569 h 747387"/>
                  <a:gd name="connsiteX430" fmla="*/ 805636 w 812904"/>
                  <a:gd name="connsiteY430" fmla="*/ 445949 h 747387"/>
                  <a:gd name="connsiteX431" fmla="*/ 806854 w 812904"/>
                  <a:gd name="connsiteY431" fmla="*/ 443970 h 747387"/>
                  <a:gd name="connsiteX432" fmla="*/ 812879 w 812904"/>
                  <a:gd name="connsiteY432" fmla="*/ 434071 h 747387"/>
                  <a:gd name="connsiteX433" fmla="*/ 807285 w 812904"/>
                  <a:gd name="connsiteY433" fmla="*/ 427456 h 747387"/>
                  <a:gd name="connsiteX434" fmla="*/ 507139 w 812904"/>
                  <a:gd name="connsiteY434" fmla="*/ 112170 h 747387"/>
                  <a:gd name="connsiteX435" fmla="*/ 504526 w 812904"/>
                  <a:gd name="connsiteY435" fmla="*/ 110459 h 747387"/>
                  <a:gd name="connsiteX436" fmla="*/ 502865 w 812904"/>
                  <a:gd name="connsiteY436" fmla="*/ 106950 h 747387"/>
                  <a:gd name="connsiteX437" fmla="*/ 502319 w 812904"/>
                  <a:gd name="connsiteY437" fmla="*/ 103890 h 747387"/>
                  <a:gd name="connsiteX438" fmla="*/ 511629 w 812904"/>
                  <a:gd name="connsiteY438" fmla="*/ 92192 h 747387"/>
                  <a:gd name="connsiteX439" fmla="*/ 512073 w 812904"/>
                  <a:gd name="connsiteY439" fmla="*/ 91696 h 747387"/>
                  <a:gd name="connsiteX440" fmla="*/ 514635 w 812904"/>
                  <a:gd name="connsiteY440" fmla="*/ 107039 h 747387"/>
                  <a:gd name="connsiteX441" fmla="*/ 507139 w 812904"/>
                  <a:gd name="connsiteY441" fmla="*/ 112170 h 747387"/>
                  <a:gd name="connsiteX442" fmla="*/ 542896 w 812904"/>
                  <a:gd name="connsiteY442" fmla="*/ 124498 h 747387"/>
                  <a:gd name="connsiteX443" fmla="*/ 538596 w 812904"/>
                  <a:gd name="connsiteY443" fmla="*/ 135613 h 747387"/>
                  <a:gd name="connsiteX444" fmla="*/ 530135 w 812904"/>
                  <a:gd name="connsiteY444" fmla="*/ 134307 h 747387"/>
                  <a:gd name="connsiteX445" fmla="*/ 529019 w 812904"/>
                  <a:gd name="connsiteY445" fmla="*/ 134127 h 747387"/>
                  <a:gd name="connsiteX446" fmla="*/ 528702 w 812904"/>
                  <a:gd name="connsiteY446" fmla="*/ 134083 h 747387"/>
                  <a:gd name="connsiteX447" fmla="*/ 525557 w 812904"/>
                  <a:gd name="connsiteY447" fmla="*/ 133543 h 747387"/>
                  <a:gd name="connsiteX448" fmla="*/ 518770 w 812904"/>
                  <a:gd name="connsiteY448" fmla="*/ 132508 h 747387"/>
                  <a:gd name="connsiteX449" fmla="*/ 545065 w 812904"/>
                  <a:gd name="connsiteY449" fmla="*/ 118919 h 747387"/>
                  <a:gd name="connsiteX450" fmla="*/ 542909 w 812904"/>
                  <a:gd name="connsiteY450" fmla="*/ 124498 h 747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</a:cxnLst>
                <a:rect l="l" t="t" r="r" b="b"/>
                <a:pathLst>
                  <a:path w="812904" h="747387">
                    <a:moveTo>
                      <a:pt x="807285" y="427456"/>
                    </a:moveTo>
                    <a:cubicBezTo>
                      <a:pt x="805712" y="425611"/>
                      <a:pt x="804368" y="424082"/>
                      <a:pt x="803150" y="422821"/>
                    </a:cubicBezTo>
                    <a:cubicBezTo>
                      <a:pt x="801996" y="421575"/>
                      <a:pt x="800727" y="420431"/>
                      <a:pt x="799370" y="419402"/>
                    </a:cubicBezTo>
                    <a:cubicBezTo>
                      <a:pt x="798101" y="418385"/>
                      <a:pt x="796579" y="417704"/>
                      <a:pt x="794969" y="417422"/>
                    </a:cubicBezTo>
                    <a:cubicBezTo>
                      <a:pt x="792520" y="417098"/>
                      <a:pt x="790022" y="417190"/>
                      <a:pt x="787599" y="417693"/>
                    </a:cubicBezTo>
                    <a:cubicBezTo>
                      <a:pt x="786838" y="417827"/>
                      <a:pt x="785988" y="417962"/>
                      <a:pt x="785087" y="418097"/>
                    </a:cubicBezTo>
                    <a:cubicBezTo>
                      <a:pt x="783286" y="418367"/>
                      <a:pt x="781485" y="418592"/>
                      <a:pt x="779646" y="418817"/>
                    </a:cubicBezTo>
                    <a:cubicBezTo>
                      <a:pt x="779240" y="418862"/>
                      <a:pt x="778796" y="418907"/>
                      <a:pt x="778340" y="418951"/>
                    </a:cubicBezTo>
                    <a:cubicBezTo>
                      <a:pt x="775778" y="419222"/>
                      <a:pt x="773228" y="419447"/>
                      <a:pt x="770704" y="419627"/>
                    </a:cubicBezTo>
                    <a:cubicBezTo>
                      <a:pt x="770323" y="419678"/>
                      <a:pt x="769930" y="419707"/>
                      <a:pt x="769537" y="419717"/>
                    </a:cubicBezTo>
                    <a:lnTo>
                      <a:pt x="769486" y="419762"/>
                    </a:lnTo>
                    <a:cubicBezTo>
                      <a:pt x="765808" y="419986"/>
                      <a:pt x="762167" y="420167"/>
                      <a:pt x="758616" y="420397"/>
                    </a:cubicBezTo>
                    <a:cubicBezTo>
                      <a:pt x="756637" y="420531"/>
                      <a:pt x="754709" y="420667"/>
                      <a:pt x="752769" y="420802"/>
                    </a:cubicBezTo>
                    <a:cubicBezTo>
                      <a:pt x="756015" y="412928"/>
                      <a:pt x="759745" y="403973"/>
                      <a:pt x="764057" y="393535"/>
                    </a:cubicBezTo>
                    <a:cubicBezTo>
                      <a:pt x="763918" y="393535"/>
                      <a:pt x="763791" y="393579"/>
                      <a:pt x="763651" y="393579"/>
                    </a:cubicBezTo>
                    <a:cubicBezTo>
                      <a:pt x="763068" y="393669"/>
                      <a:pt x="762484" y="393714"/>
                      <a:pt x="761901" y="393804"/>
                    </a:cubicBezTo>
                    <a:cubicBezTo>
                      <a:pt x="761216" y="393894"/>
                      <a:pt x="760544" y="393984"/>
                      <a:pt x="759922" y="394029"/>
                    </a:cubicBezTo>
                    <a:lnTo>
                      <a:pt x="725320" y="398394"/>
                    </a:lnTo>
                    <a:cubicBezTo>
                      <a:pt x="725180" y="398123"/>
                      <a:pt x="725041" y="397808"/>
                      <a:pt x="724914" y="397539"/>
                    </a:cubicBezTo>
                    <a:cubicBezTo>
                      <a:pt x="724241" y="396234"/>
                      <a:pt x="723607" y="394929"/>
                      <a:pt x="722973" y="393624"/>
                    </a:cubicBezTo>
                    <a:cubicBezTo>
                      <a:pt x="723658" y="393039"/>
                      <a:pt x="724368" y="392454"/>
                      <a:pt x="725041" y="391870"/>
                    </a:cubicBezTo>
                    <a:lnTo>
                      <a:pt x="725992" y="391060"/>
                    </a:lnTo>
                    <a:cubicBezTo>
                      <a:pt x="729759" y="387910"/>
                      <a:pt x="733273" y="384941"/>
                      <a:pt x="735746" y="382871"/>
                    </a:cubicBezTo>
                    <a:lnTo>
                      <a:pt x="735746" y="382150"/>
                    </a:lnTo>
                    <a:cubicBezTo>
                      <a:pt x="735746" y="381115"/>
                      <a:pt x="735746" y="380080"/>
                      <a:pt x="735657" y="379091"/>
                    </a:cubicBezTo>
                    <a:cubicBezTo>
                      <a:pt x="736457" y="369028"/>
                      <a:pt x="730711" y="359588"/>
                      <a:pt x="721400" y="355693"/>
                    </a:cubicBezTo>
                    <a:cubicBezTo>
                      <a:pt x="718014" y="354515"/>
                      <a:pt x="714437" y="353922"/>
                      <a:pt x="710847" y="353937"/>
                    </a:cubicBezTo>
                    <a:cubicBezTo>
                      <a:pt x="709896" y="353893"/>
                      <a:pt x="708868" y="353893"/>
                      <a:pt x="707841" y="353937"/>
                    </a:cubicBezTo>
                    <a:cubicBezTo>
                      <a:pt x="708374" y="348763"/>
                      <a:pt x="708868" y="343949"/>
                      <a:pt x="709274" y="339854"/>
                    </a:cubicBezTo>
                    <a:cubicBezTo>
                      <a:pt x="709363" y="339134"/>
                      <a:pt x="709452" y="338457"/>
                      <a:pt x="709490" y="337830"/>
                    </a:cubicBezTo>
                    <a:cubicBezTo>
                      <a:pt x="700915" y="340079"/>
                      <a:pt x="692468" y="342284"/>
                      <a:pt x="685149" y="344180"/>
                    </a:cubicBezTo>
                    <a:cubicBezTo>
                      <a:pt x="684781" y="344270"/>
                      <a:pt x="684464" y="344360"/>
                      <a:pt x="684109" y="344451"/>
                    </a:cubicBezTo>
                    <a:cubicBezTo>
                      <a:pt x="682676" y="343370"/>
                      <a:pt x="681141" y="342292"/>
                      <a:pt x="679568" y="341255"/>
                    </a:cubicBezTo>
                    <a:cubicBezTo>
                      <a:pt x="678718" y="340715"/>
                      <a:pt x="677818" y="340176"/>
                      <a:pt x="676968" y="339590"/>
                    </a:cubicBezTo>
                    <a:cubicBezTo>
                      <a:pt x="673644" y="337520"/>
                      <a:pt x="670220" y="335541"/>
                      <a:pt x="667214" y="333471"/>
                    </a:cubicBezTo>
                    <a:cubicBezTo>
                      <a:pt x="664829" y="331878"/>
                      <a:pt x="662647" y="329988"/>
                      <a:pt x="660744" y="327847"/>
                    </a:cubicBezTo>
                    <a:cubicBezTo>
                      <a:pt x="659527" y="326480"/>
                      <a:pt x="658626" y="324870"/>
                      <a:pt x="658094" y="323122"/>
                    </a:cubicBezTo>
                    <a:cubicBezTo>
                      <a:pt x="657662" y="321495"/>
                      <a:pt x="656774" y="320027"/>
                      <a:pt x="655531" y="318892"/>
                    </a:cubicBezTo>
                    <a:cubicBezTo>
                      <a:pt x="654073" y="317673"/>
                      <a:pt x="652348" y="316824"/>
                      <a:pt x="650496" y="316418"/>
                    </a:cubicBezTo>
                    <a:cubicBezTo>
                      <a:pt x="647794" y="315742"/>
                      <a:pt x="644877" y="315563"/>
                      <a:pt x="642226" y="315112"/>
                    </a:cubicBezTo>
                    <a:cubicBezTo>
                      <a:pt x="640374" y="314899"/>
                      <a:pt x="638611" y="314251"/>
                      <a:pt x="637063" y="313223"/>
                    </a:cubicBezTo>
                    <a:cubicBezTo>
                      <a:pt x="634856" y="311603"/>
                      <a:pt x="633918" y="308678"/>
                      <a:pt x="635401" y="302919"/>
                    </a:cubicBezTo>
                    <a:lnTo>
                      <a:pt x="632560" y="301434"/>
                    </a:lnTo>
                    <a:cubicBezTo>
                      <a:pt x="625457" y="297744"/>
                      <a:pt x="618354" y="294054"/>
                      <a:pt x="611175" y="290365"/>
                    </a:cubicBezTo>
                    <a:cubicBezTo>
                      <a:pt x="609653" y="289555"/>
                      <a:pt x="608118" y="288745"/>
                      <a:pt x="606545" y="287936"/>
                    </a:cubicBezTo>
                    <a:cubicBezTo>
                      <a:pt x="608384" y="286630"/>
                      <a:pt x="609957" y="285506"/>
                      <a:pt x="611492" y="284425"/>
                    </a:cubicBezTo>
                    <a:cubicBezTo>
                      <a:pt x="612164" y="283976"/>
                      <a:pt x="612836" y="283480"/>
                      <a:pt x="613559" y="282985"/>
                    </a:cubicBezTo>
                    <a:cubicBezTo>
                      <a:pt x="608930" y="281141"/>
                      <a:pt x="604528" y="279296"/>
                      <a:pt x="599937" y="277450"/>
                    </a:cubicBezTo>
                    <a:cubicBezTo>
                      <a:pt x="599721" y="277362"/>
                      <a:pt x="599493" y="277271"/>
                      <a:pt x="599226" y="277181"/>
                    </a:cubicBezTo>
                    <a:cubicBezTo>
                      <a:pt x="596436" y="276012"/>
                      <a:pt x="593556" y="274842"/>
                      <a:pt x="590550" y="273625"/>
                    </a:cubicBezTo>
                    <a:cubicBezTo>
                      <a:pt x="599404" y="272852"/>
                      <a:pt x="607966" y="270016"/>
                      <a:pt x="615538" y="265346"/>
                    </a:cubicBezTo>
                    <a:lnTo>
                      <a:pt x="615576" y="265346"/>
                    </a:lnTo>
                    <a:cubicBezTo>
                      <a:pt x="621106" y="261746"/>
                      <a:pt x="624620" y="257472"/>
                      <a:pt x="624480" y="253422"/>
                    </a:cubicBezTo>
                    <a:cubicBezTo>
                      <a:pt x="624468" y="252781"/>
                      <a:pt x="624366" y="252143"/>
                      <a:pt x="624163" y="251532"/>
                    </a:cubicBezTo>
                    <a:cubicBezTo>
                      <a:pt x="620257" y="249823"/>
                      <a:pt x="615804" y="247887"/>
                      <a:pt x="610908" y="245773"/>
                    </a:cubicBezTo>
                    <a:cubicBezTo>
                      <a:pt x="608930" y="244918"/>
                      <a:pt x="606913" y="244018"/>
                      <a:pt x="604795" y="243117"/>
                    </a:cubicBezTo>
                    <a:cubicBezTo>
                      <a:pt x="611898" y="231644"/>
                      <a:pt x="619762" y="234074"/>
                      <a:pt x="627449" y="239068"/>
                    </a:cubicBezTo>
                    <a:cubicBezTo>
                      <a:pt x="637406" y="245172"/>
                      <a:pt x="649861" y="245497"/>
                      <a:pt x="660123" y="239923"/>
                    </a:cubicBezTo>
                    <a:cubicBezTo>
                      <a:pt x="660618" y="239743"/>
                      <a:pt x="661062" y="239564"/>
                      <a:pt x="661556" y="239338"/>
                    </a:cubicBezTo>
                    <a:cubicBezTo>
                      <a:pt x="658487" y="235628"/>
                      <a:pt x="655075" y="232223"/>
                      <a:pt x="651358" y="229169"/>
                    </a:cubicBezTo>
                    <a:cubicBezTo>
                      <a:pt x="650141" y="228174"/>
                      <a:pt x="648859" y="227257"/>
                      <a:pt x="647540" y="226424"/>
                    </a:cubicBezTo>
                    <a:cubicBezTo>
                      <a:pt x="645270" y="224884"/>
                      <a:pt x="642822" y="223615"/>
                      <a:pt x="640260" y="222645"/>
                    </a:cubicBezTo>
                    <a:cubicBezTo>
                      <a:pt x="629009" y="218928"/>
                      <a:pt x="617555" y="215849"/>
                      <a:pt x="605962" y="213421"/>
                    </a:cubicBezTo>
                    <a:cubicBezTo>
                      <a:pt x="605023" y="213196"/>
                      <a:pt x="604072" y="212926"/>
                      <a:pt x="603133" y="212701"/>
                    </a:cubicBezTo>
                    <a:cubicBezTo>
                      <a:pt x="603311" y="210901"/>
                      <a:pt x="603450" y="209056"/>
                      <a:pt x="603628" y="207211"/>
                    </a:cubicBezTo>
                    <a:cubicBezTo>
                      <a:pt x="617555" y="202937"/>
                      <a:pt x="631495" y="198662"/>
                      <a:pt x="646767" y="193982"/>
                    </a:cubicBezTo>
                    <a:cubicBezTo>
                      <a:pt x="646335" y="186002"/>
                      <a:pt x="644242" y="178201"/>
                      <a:pt x="640615" y="171079"/>
                    </a:cubicBezTo>
                    <a:cubicBezTo>
                      <a:pt x="637177" y="164846"/>
                      <a:pt x="631989" y="159760"/>
                      <a:pt x="625698" y="156456"/>
                    </a:cubicBezTo>
                    <a:cubicBezTo>
                      <a:pt x="625571" y="156365"/>
                      <a:pt x="625432" y="156289"/>
                      <a:pt x="625292" y="156230"/>
                    </a:cubicBezTo>
                    <a:cubicBezTo>
                      <a:pt x="624303" y="155690"/>
                      <a:pt x="623263" y="155196"/>
                      <a:pt x="622185" y="154706"/>
                    </a:cubicBezTo>
                    <a:cubicBezTo>
                      <a:pt x="620967" y="156477"/>
                      <a:pt x="619876" y="158342"/>
                      <a:pt x="618950" y="160285"/>
                    </a:cubicBezTo>
                    <a:cubicBezTo>
                      <a:pt x="615272" y="170680"/>
                      <a:pt x="607851" y="179329"/>
                      <a:pt x="598148" y="184542"/>
                    </a:cubicBezTo>
                    <a:cubicBezTo>
                      <a:pt x="595586" y="185441"/>
                      <a:pt x="593518" y="185177"/>
                      <a:pt x="592313" y="183373"/>
                    </a:cubicBezTo>
                    <a:cubicBezTo>
                      <a:pt x="595992" y="178063"/>
                      <a:pt x="599632" y="172843"/>
                      <a:pt x="604579" y="165689"/>
                    </a:cubicBezTo>
                    <a:cubicBezTo>
                      <a:pt x="605112" y="164927"/>
                      <a:pt x="605708" y="164165"/>
                      <a:pt x="606241" y="163349"/>
                    </a:cubicBezTo>
                    <a:lnTo>
                      <a:pt x="579135" y="163349"/>
                    </a:lnTo>
                    <a:cubicBezTo>
                      <a:pt x="585388" y="158228"/>
                      <a:pt x="592263" y="153918"/>
                      <a:pt x="599594" y="150522"/>
                    </a:cubicBezTo>
                    <a:cubicBezTo>
                      <a:pt x="605251" y="147282"/>
                      <a:pt x="610515" y="143366"/>
                      <a:pt x="618113" y="138102"/>
                    </a:cubicBezTo>
                    <a:cubicBezTo>
                      <a:pt x="619318" y="137248"/>
                      <a:pt x="620586" y="136393"/>
                      <a:pt x="621880" y="135492"/>
                    </a:cubicBezTo>
                    <a:cubicBezTo>
                      <a:pt x="605746" y="124874"/>
                      <a:pt x="595954" y="118439"/>
                      <a:pt x="586745" y="112364"/>
                    </a:cubicBezTo>
                    <a:cubicBezTo>
                      <a:pt x="580365" y="116280"/>
                      <a:pt x="574606" y="119835"/>
                      <a:pt x="567643" y="124154"/>
                    </a:cubicBezTo>
                    <a:cubicBezTo>
                      <a:pt x="563736" y="126539"/>
                      <a:pt x="559461" y="129149"/>
                      <a:pt x="554565" y="132208"/>
                    </a:cubicBezTo>
                    <a:cubicBezTo>
                      <a:pt x="561884" y="122175"/>
                      <a:pt x="565892" y="116729"/>
                      <a:pt x="571778" y="108675"/>
                    </a:cubicBezTo>
                    <a:cubicBezTo>
                      <a:pt x="572222" y="108091"/>
                      <a:pt x="572678" y="107460"/>
                      <a:pt x="573122" y="106830"/>
                    </a:cubicBezTo>
                    <a:cubicBezTo>
                      <a:pt x="563152" y="110835"/>
                      <a:pt x="556227" y="113624"/>
                      <a:pt x="549796" y="116190"/>
                    </a:cubicBezTo>
                    <a:cubicBezTo>
                      <a:pt x="548451" y="116729"/>
                      <a:pt x="547145" y="117269"/>
                      <a:pt x="545839" y="117764"/>
                    </a:cubicBezTo>
                    <a:cubicBezTo>
                      <a:pt x="543416" y="108405"/>
                      <a:pt x="557356" y="98460"/>
                      <a:pt x="548096" y="88787"/>
                    </a:cubicBezTo>
                    <a:cubicBezTo>
                      <a:pt x="547170" y="87780"/>
                      <a:pt x="546130" y="86889"/>
                      <a:pt x="544989" y="86133"/>
                    </a:cubicBezTo>
                    <a:cubicBezTo>
                      <a:pt x="537175" y="92701"/>
                      <a:pt x="529806" y="98960"/>
                      <a:pt x="522386" y="105210"/>
                    </a:cubicBezTo>
                    <a:cubicBezTo>
                      <a:pt x="529311" y="98733"/>
                      <a:pt x="526838" y="94542"/>
                      <a:pt x="523147" y="90586"/>
                    </a:cubicBezTo>
                    <a:cubicBezTo>
                      <a:pt x="520990" y="88595"/>
                      <a:pt x="519037" y="86377"/>
                      <a:pt x="517350" y="83972"/>
                    </a:cubicBezTo>
                    <a:cubicBezTo>
                      <a:pt x="530567" y="85369"/>
                      <a:pt x="530516" y="74973"/>
                      <a:pt x="534118" y="68449"/>
                    </a:cubicBezTo>
                    <a:cubicBezTo>
                      <a:pt x="534283" y="68103"/>
                      <a:pt x="534473" y="67772"/>
                      <a:pt x="534702" y="67458"/>
                    </a:cubicBezTo>
                    <a:cubicBezTo>
                      <a:pt x="528322" y="50283"/>
                      <a:pt x="512187" y="38685"/>
                      <a:pt x="493897" y="38121"/>
                    </a:cubicBezTo>
                    <a:cubicBezTo>
                      <a:pt x="489584" y="48066"/>
                      <a:pt x="485234" y="57980"/>
                      <a:pt x="480857" y="67864"/>
                    </a:cubicBezTo>
                    <a:cubicBezTo>
                      <a:pt x="479830" y="70339"/>
                      <a:pt x="478739" y="72768"/>
                      <a:pt x="477661" y="75198"/>
                    </a:cubicBezTo>
                    <a:cubicBezTo>
                      <a:pt x="476887" y="73743"/>
                      <a:pt x="476037" y="72332"/>
                      <a:pt x="475099" y="70969"/>
                    </a:cubicBezTo>
                    <a:cubicBezTo>
                      <a:pt x="474033" y="69304"/>
                      <a:pt x="472854" y="67639"/>
                      <a:pt x="471687" y="65974"/>
                    </a:cubicBezTo>
                    <a:cubicBezTo>
                      <a:pt x="468199" y="61411"/>
                      <a:pt x="465180" y="56512"/>
                      <a:pt x="462656" y="51350"/>
                    </a:cubicBezTo>
                    <a:cubicBezTo>
                      <a:pt x="462148" y="50209"/>
                      <a:pt x="461717" y="49037"/>
                      <a:pt x="461349" y="47841"/>
                    </a:cubicBezTo>
                    <a:cubicBezTo>
                      <a:pt x="459282" y="41392"/>
                      <a:pt x="459447" y="34435"/>
                      <a:pt x="461806" y="28087"/>
                    </a:cubicBezTo>
                    <a:cubicBezTo>
                      <a:pt x="462288" y="26552"/>
                      <a:pt x="462884" y="25049"/>
                      <a:pt x="463556" y="23588"/>
                    </a:cubicBezTo>
                    <a:cubicBezTo>
                      <a:pt x="457531" y="26962"/>
                      <a:pt x="452635" y="29752"/>
                      <a:pt x="448272" y="32224"/>
                    </a:cubicBezTo>
                    <a:lnTo>
                      <a:pt x="448183" y="32268"/>
                    </a:lnTo>
                    <a:cubicBezTo>
                      <a:pt x="447917" y="32403"/>
                      <a:pt x="447599" y="32583"/>
                      <a:pt x="447384" y="32673"/>
                    </a:cubicBezTo>
                    <a:lnTo>
                      <a:pt x="447333" y="32718"/>
                    </a:lnTo>
                    <a:cubicBezTo>
                      <a:pt x="442970" y="35193"/>
                      <a:pt x="439114" y="37398"/>
                      <a:pt x="435283" y="39558"/>
                    </a:cubicBezTo>
                    <a:lnTo>
                      <a:pt x="435283" y="54671"/>
                    </a:lnTo>
                    <a:cubicBezTo>
                      <a:pt x="434903" y="54802"/>
                      <a:pt x="434522" y="54952"/>
                      <a:pt x="434154" y="55120"/>
                    </a:cubicBezTo>
                    <a:cubicBezTo>
                      <a:pt x="433710" y="55256"/>
                      <a:pt x="433266" y="55435"/>
                      <a:pt x="432759" y="55616"/>
                    </a:cubicBezTo>
                    <a:cubicBezTo>
                      <a:pt x="432226" y="54356"/>
                      <a:pt x="431732" y="53052"/>
                      <a:pt x="431186" y="51792"/>
                    </a:cubicBezTo>
                    <a:cubicBezTo>
                      <a:pt x="430971" y="51206"/>
                      <a:pt x="430742" y="50667"/>
                      <a:pt x="430514" y="50081"/>
                    </a:cubicBezTo>
                    <a:cubicBezTo>
                      <a:pt x="429664" y="48101"/>
                      <a:pt x="428852" y="46077"/>
                      <a:pt x="428041" y="44097"/>
                    </a:cubicBezTo>
                    <a:cubicBezTo>
                      <a:pt x="428002" y="44007"/>
                      <a:pt x="427914" y="43962"/>
                      <a:pt x="427863" y="43872"/>
                    </a:cubicBezTo>
                    <a:cubicBezTo>
                      <a:pt x="427394" y="43237"/>
                      <a:pt x="426962" y="42576"/>
                      <a:pt x="426556" y="41892"/>
                    </a:cubicBezTo>
                    <a:cubicBezTo>
                      <a:pt x="425427" y="40185"/>
                      <a:pt x="424730" y="38221"/>
                      <a:pt x="424540" y="36177"/>
                    </a:cubicBezTo>
                    <a:lnTo>
                      <a:pt x="424540" y="36088"/>
                    </a:lnTo>
                    <a:cubicBezTo>
                      <a:pt x="424096" y="29248"/>
                      <a:pt x="431998" y="25693"/>
                      <a:pt x="437300" y="22184"/>
                    </a:cubicBezTo>
                    <a:cubicBezTo>
                      <a:pt x="443959" y="17775"/>
                      <a:pt x="450466" y="13095"/>
                      <a:pt x="449388" y="6166"/>
                    </a:cubicBezTo>
                    <a:cubicBezTo>
                      <a:pt x="449160" y="4752"/>
                      <a:pt x="448703" y="3385"/>
                      <a:pt x="448043" y="2116"/>
                    </a:cubicBezTo>
                    <a:cubicBezTo>
                      <a:pt x="447676" y="1373"/>
                      <a:pt x="447232" y="666"/>
                      <a:pt x="446737" y="1"/>
                    </a:cubicBezTo>
                    <a:lnTo>
                      <a:pt x="316902" y="1"/>
                    </a:lnTo>
                    <a:cubicBezTo>
                      <a:pt x="316496" y="1845"/>
                      <a:pt x="316052" y="3646"/>
                      <a:pt x="315595" y="5490"/>
                    </a:cubicBezTo>
                    <a:cubicBezTo>
                      <a:pt x="315418" y="6252"/>
                      <a:pt x="315240" y="6975"/>
                      <a:pt x="315063" y="7741"/>
                    </a:cubicBezTo>
                    <a:cubicBezTo>
                      <a:pt x="313173" y="7606"/>
                      <a:pt x="311283" y="7516"/>
                      <a:pt x="309443" y="7380"/>
                    </a:cubicBezTo>
                    <a:lnTo>
                      <a:pt x="309443" y="1"/>
                    </a:lnTo>
                    <a:lnTo>
                      <a:pt x="268233" y="1"/>
                    </a:lnTo>
                    <a:cubicBezTo>
                      <a:pt x="268093" y="192"/>
                      <a:pt x="267941" y="372"/>
                      <a:pt x="267776" y="541"/>
                    </a:cubicBezTo>
                    <a:cubicBezTo>
                      <a:pt x="266165" y="2340"/>
                      <a:pt x="264541" y="4230"/>
                      <a:pt x="262829" y="6166"/>
                    </a:cubicBezTo>
                    <a:cubicBezTo>
                      <a:pt x="262068" y="7020"/>
                      <a:pt x="261269" y="7875"/>
                      <a:pt x="260495" y="8776"/>
                    </a:cubicBezTo>
                    <a:cubicBezTo>
                      <a:pt x="260076" y="7329"/>
                      <a:pt x="259772" y="5855"/>
                      <a:pt x="259556" y="4365"/>
                    </a:cubicBezTo>
                    <a:cubicBezTo>
                      <a:pt x="259341" y="2919"/>
                      <a:pt x="259227" y="1462"/>
                      <a:pt x="259201" y="1"/>
                    </a:cubicBezTo>
                    <a:lnTo>
                      <a:pt x="123303" y="1"/>
                    </a:lnTo>
                    <a:cubicBezTo>
                      <a:pt x="121870" y="1938"/>
                      <a:pt x="120119" y="3614"/>
                      <a:pt x="118128" y="4954"/>
                    </a:cubicBezTo>
                    <a:cubicBezTo>
                      <a:pt x="118965" y="5339"/>
                      <a:pt x="119764" y="5807"/>
                      <a:pt x="120513" y="6351"/>
                    </a:cubicBezTo>
                    <a:lnTo>
                      <a:pt x="120550" y="6397"/>
                    </a:lnTo>
                    <a:cubicBezTo>
                      <a:pt x="124406" y="9667"/>
                      <a:pt x="127273" y="13932"/>
                      <a:pt x="128871" y="18726"/>
                    </a:cubicBezTo>
                    <a:cubicBezTo>
                      <a:pt x="129988" y="21246"/>
                      <a:pt x="131028" y="23806"/>
                      <a:pt x="132334" y="26105"/>
                    </a:cubicBezTo>
                    <a:cubicBezTo>
                      <a:pt x="136013" y="32540"/>
                      <a:pt x="141543" y="36900"/>
                      <a:pt x="155204" y="32989"/>
                    </a:cubicBezTo>
                    <a:cubicBezTo>
                      <a:pt x="154937" y="34879"/>
                      <a:pt x="154658" y="36769"/>
                      <a:pt x="154392" y="38614"/>
                    </a:cubicBezTo>
                    <a:cubicBezTo>
                      <a:pt x="151919" y="56342"/>
                      <a:pt x="149673" y="72451"/>
                      <a:pt x="147339" y="88965"/>
                    </a:cubicBezTo>
                    <a:cubicBezTo>
                      <a:pt x="147022" y="91214"/>
                      <a:pt x="146705" y="93419"/>
                      <a:pt x="146401" y="95669"/>
                    </a:cubicBezTo>
                    <a:cubicBezTo>
                      <a:pt x="143610" y="90815"/>
                      <a:pt x="140198" y="86352"/>
                      <a:pt x="136241" y="82395"/>
                    </a:cubicBezTo>
                    <a:cubicBezTo>
                      <a:pt x="132791" y="79302"/>
                      <a:pt x="127730" y="78844"/>
                      <a:pt x="123785" y="81270"/>
                    </a:cubicBezTo>
                    <a:lnTo>
                      <a:pt x="123747" y="81315"/>
                    </a:lnTo>
                    <a:cubicBezTo>
                      <a:pt x="120309" y="82831"/>
                      <a:pt x="116974" y="84575"/>
                      <a:pt x="113764" y="86534"/>
                    </a:cubicBezTo>
                    <a:cubicBezTo>
                      <a:pt x="109147" y="89234"/>
                      <a:pt x="104061" y="91214"/>
                      <a:pt x="99216" y="93554"/>
                    </a:cubicBezTo>
                    <a:cubicBezTo>
                      <a:pt x="98759" y="92474"/>
                      <a:pt x="98264" y="91395"/>
                      <a:pt x="97770" y="90315"/>
                    </a:cubicBezTo>
                    <a:cubicBezTo>
                      <a:pt x="111392" y="81806"/>
                      <a:pt x="125053" y="73261"/>
                      <a:pt x="139792" y="64037"/>
                    </a:cubicBezTo>
                    <a:cubicBezTo>
                      <a:pt x="141682" y="62822"/>
                      <a:pt x="143610" y="61607"/>
                      <a:pt x="145589" y="60392"/>
                    </a:cubicBezTo>
                    <a:cubicBezTo>
                      <a:pt x="141835" y="57937"/>
                      <a:pt x="138258" y="55246"/>
                      <a:pt x="134846" y="52338"/>
                    </a:cubicBezTo>
                    <a:cubicBezTo>
                      <a:pt x="129277" y="46810"/>
                      <a:pt x="124001" y="40997"/>
                      <a:pt x="119028" y="34924"/>
                    </a:cubicBezTo>
                    <a:cubicBezTo>
                      <a:pt x="110454" y="24906"/>
                      <a:pt x="104505" y="12905"/>
                      <a:pt x="101727" y="7"/>
                    </a:cubicBezTo>
                    <a:lnTo>
                      <a:pt x="2410" y="7"/>
                    </a:lnTo>
                    <a:cubicBezTo>
                      <a:pt x="977" y="3138"/>
                      <a:pt x="152" y="6513"/>
                      <a:pt x="-25" y="9952"/>
                    </a:cubicBezTo>
                    <a:cubicBezTo>
                      <a:pt x="-63" y="11617"/>
                      <a:pt x="1281" y="13236"/>
                      <a:pt x="1382" y="14905"/>
                    </a:cubicBezTo>
                    <a:cubicBezTo>
                      <a:pt x="2118" y="22260"/>
                      <a:pt x="2296" y="29661"/>
                      <a:pt x="1915" y="37043"/>
                    </a:cubicBezTo>
                    <a:cubicBezTo>
                      <a:pt x="748" y="48021"/>
                      <a:pt x="1243" y="54456"/>
                      <a:pt x="5201" y="58821"/>
                    </a:cubicBezTo>
                    <a:cubicBezTo>
                      <a:pt x="9894" y="62936"/>
                      <a:pt x="15652" y="65621"/>
                      <a:pt x="21829" y="66561"/>
                    </a:cubicBezTo>
                    <a:cubicBezTo>
                      <a:pt x="28362" y="68994"/>
                      <a:pt x="35249" y="70317"/>
                      <a:pt x="42226" y="70475"/>
                    </a:cubicBezTo>
                    <a:cubicBezTo>
                      <a:pt x="54669" y="69031"/>
                      <a:pt x="66744" y="75298"/>
                      <a:pt x="72744" y="86313"/>
                    </a:cubicBezTo>
                    <a:cubicBezTo>
                      <a:pt x="74444" y="88698"/>
                      <a:pt x="76067" y="91218"/>
                      <a:pt x="77729" y="93827"/>
                    </a:cubicBezTo>
                    <a:cubicBezTo>
                      <a:pt x="61645" y="98642"/>
                      <a:pt x="61861" y="97877"/>
                      <a:pt x="41782" y="91938"/>
                    </a:cubicBezTo>
                    <a:cubicBezTo>
                      <a:pt x="37736" y="91006"/>
                      <a:pt x="33512" y="91240"/>
                      <a:pt x="29605" y="92613"/>
                    </a:cubicBezTo>
                    <a:cubicBezTo>
                      <a:pt x="27347" y="93259"/>
                      <a:pt x="25216" y="94278"/>
                      <a:pt x="23301" y="95627"/>
                    </a:cubicBezTo>
                    <a:cubicBezTo>
                      <a:pt x="22870" y="95936"/>
                      <a:pt x="22464" y="96283"/>
                      <a:pt x="22096" y="96662"/>
                    </a:cubicBezTo>
                    <a:cubicBezTo>
                      <a:pt x="18874" y="99790"/>
                      <a:pt x="18138" y="104692"/>
                      <a:pt x="20295" y="108632"/>
                    </a:cubicBezTo>
                    <a:cubicBezTo>
                      <a:pt x="21119" y="110592"/>
                      <a:pt x="22147" y="112461"/>
                      <a:pt x="23352" y="114211"/>
                    </a:cubicBezTo>
                    <a:cubicBezTo>
                      <a:pt x="26764" y="119206"/>
                      <a:pt x="28971" y="125054"/>
                      <a:pt x="32294" y="130095"/>
                    </a:cubicBezTo>
                    <a:cubicBezTo>
                      <a:pt x="40615" y="142738"/>
                      <a:pt x="68837" y="153942"/>
                      <a:pt x="79352" y="149083"/>
                    </a:cubicBezTo>
                    <a:cubicBezTo>
                      <a:pt x="81065" y="148321"/>
                      <a:pt x="82549" y="147598"/>
                      <a:pt x="83893" y="147013"/>
                    </a:cubicBezTo>
                    <a:cubicBezTo>
                      <a:pt x="85796" y="146065"/>
                      <a:pt x="87800" y="145326"/>
                      <a:pt x="89868" y="144808"/>
                    </a:cubicBezTo>
                    <a:cubicBezTo>
                      <a:pt x="94091" y="143773"/>
                      <a:pt x="95664" y="145753"/>
                      <a:pt x="98404" y="151873"/>
                    </a:cubicBezTo>
                    <a:cubicBezTo>
                      <a:pt x="98772" y="152635"/>
                      <a:pt x="99127" y="153448"/>
                      <a:pt x="99533" y="154347"/>
                    </a:cubicBezTo>
                    <a:cubicBezTo>
                      <a:pt x="99939" y="155337"/>
                      <a:pt x="100383" y="156282"/>
                      <a:pt x="100789" y="157268"/>
                    </a:cubicBezTo>
                    <a:cubicBezTo>
                      <a:pt x="104568" y="165547"/>
                      <a:pt x="109198" y="173016"/>
                      <a:pt x="119663" y="170676"/>
                    </a:cubicBezTo>
                    <a:cubicBezTo>
                      <a:pt x="145868" y="164873"/>
                      <a:pt x="169144" y="188630"/>
                      <a:pt x="195742" y="177336"/>
                    </a:cubicBezTo>
                    <a:cubicBezTo>
                      <a:pt x="197683" y="176526"/>
                      <a:pt x="201539" y="180576"/>
                      <a:pt x="204558" y="182241"/>
                    </a:cubicBezTo>
                    <a:cubicBezTo>
                      <a:pt x="220730" y="191195"/>
                      <a:pt x="223204" y="192500"/>
                      <a:pt x="231791" y="182286"/>
                    </a:cubicBezTo>
                    <a:cubicBezTo>
                      <a:pt x="232146" y="181836"/>
                      <a:pt x="232514" y="181431"/>
                      <a:pt x="232920" y="180935"/>
                    </a:cubicBezTo>
                    <a:cubicBezTo>
                      <a:pt x="234036" y="179539"/>
                      <a:pt x="235292" y="177966"/>
                      <a:pt x="236687" y="176167"/>
                    </a:cubicBezTo>
                    <a:lnTo>
                      <a:pt x="237537" y="176167"/>
                    </a:lnTo>
                    <a:cubicBezTo>
                      <a:pt x="237423" y="176059"/>
                      <a:pt x="237321" y="175937"/>
                      <a:pt x="237232" y="175806"/>
                    </a:cubicBezTo>
                    <a:cubicBezTo>
                      <a:pt x="237943" y="175356"/>
                      <a:pt x="238666" y="174861"/>
                      <a:pt x="239427" y="174321"/>
                    </a:cubicBezTo>
                    <a:cubicBezTo>
                      <a:pt x="240327" y="173647"/>
                      <a:pt x="241266" y="172971"/>
                      <a:pt x="242166" y="172341"/>
                    </a:cubicBezTo>
                    <a:cubicBezTo>
                      <a:pt x="243866" y="170731"/>
                      <a:pt x="246124" y="169829"/>
                      <a:pt x="248458" y="169822"/>
                    </a:cubicBezTo>
                    <a:cubicBezTo>
                      <a:pt x="261383" y="171192"/>
                      <a:pt x="273966" y="174832"/>
                      <a:pt x="285623" y="180576"/>
                    </a:cubicBezTo>
                    <a:cubicBezTo>
                      <a:pt x="295567" y="187186"/>
                      <a:pt x="308213" y="188190"/>
                      <a:pt x="319058" y="183230"/>
                    </a:cubicBezTo>
                    <a:cubicBezTo>
                      <a:pt x="321760" y="175180"/>
                      <a:pt x="320707" y="166343"/>
                      <a:pt x="316179" y="159158"/>
                    </a:cubicBezTo>
                    <a:cubicBezTo>
                      <a:pt x="311828" y="153394"/>
                      <a:pt x="306069" y="148841"/>
                      <a:pt x="299461" y="145929"/>
                    </a:cubicBezTo>
                    <a:cubicBezTo>
                      <a:pt x="298256" y="145294"/>
                      <a:pt x="297000" y="144714"/>
                      <a:pt x="295732" y="144130"/>
                    </a:cubicBezTo>
                    <a:cubicBezTo>
                      <a:pt x="302518" y="136256"/>
                      <a:pt x="307909" y="130001"/>
                      <a:pt x="314251" y="122621"/>
                    </a:cubicBezTo>
                    <a:cubicBezTo>
                      <a:pt x="314530" y="124018"/>
                      <a:pt x="314796" y="125415"/>
                      <a:pt x="315113" y="126761"/>
                    </a:cubicBezTo>
                    <a:cubicBezTo>
                      <a:pt x="315646" y="129146"/>
                      <a:pt x="316280" y="131440"/>
                      <a:pt x="317003" y="133600"/>
                    </a:cubicBezTo>
                    <a:cubicBezTo>
                      <a:pt x="320834" y="148711"/>
                      <a:pt x="334457" y="159267"/>
                      <a:pt x="350033" y="159203"/>
                    </a:cubicBezTo>
                    <a:cubicBezTo>
                      <a:pt x="350248" y="161498"/>
                      <a:pt x="350477" y="163703"/>
                      <a:pt x="350705" y="165862"/>
                    </a:cubicBezTo>
                    <a:cubicBezTo>
                      <a:pt x="351377" y="172339"/>
                      <a:pt x="351961" y="178371"/>
                      <a:pt x="352633" y="184671"/>
                    </a:cubicBezTo>
                    <a:cubicBezTo>
                      <a:pt x="352684" y="185433"/>
                      <a:pt x="352773" y="186245"/>
                      <a:pt x="352861" y="187010"/>
                    </a:cubicBezTo>
                    <a:cubicBezTo>
                      <a:pt x="357656" y="186667"/>
                      <a:pt x="362463" y="187550"/>
                      <a:pt x="366839" y="189575"/>
                    </a:cubicBezTo>
                    <a:cubicBezTo>
                      <a:pt x="367283" y="189800"/>
                      <a:pt x="367740" y="190025"/>
                      <a:pt x="368184" y="190295"/>
                    </a:cubicBezTo>
                    <a:cubicBezTo>
                      <a:pt x="371165" y="191973"/>
                      <a:pt x="373790" y="194220"/>
                      <a:pt x="375909" y="196910"/>
                    </a:cubicBezTo>
                    <a:cubicBezTo>
                      <a:pt x="376365" y="197495"/>
                      <a:pt x="376809" y="198079"/>
                      <a:pt x="377215" y="198665"/>
                    </a:cubicBezTo>
                    <a:cubicBezTo>
                      <a:pt x="379295" y="201827"/>
                      <a:pt x="380843" y="205307"/>
                      <a:pt x="381807" y="208968"/>
                    </a:cubicBezTo>
                    <a:cubicBezTo>
                      <a:pt x="382162" y="210228"/>
                      <a:pt x="382517" y="211353"/>
                      <a:pt x="382923" y="212433"/>
                    </a:cubicBezTo>
                    <a:cubicBezTo>
                      <a:pt x="383189" y="213153"/>
                      <a:pt x="383494" y="213859"/>
                      <a:pt x="383823" y="214549"/>
                    </a:cubicBezTo>
                    <a:cubicBezTo>
                      <a:pt x="386627" y="220340"/>
                      <a:pt x="391231" y="225060"/>
                      <a:pt x="396952" y="228002"/>
                    </a:cubicBezTo>
                    <a:cubicBezTo>
                      <a:pt x="403915" y="232320"/>
                      <a:pt x="412274" y="237406"/>
                      <a:pt x="409623" y="247260"/>
                    </a:cubicBezTo>
                    <a:lnTo>
                      <a:pt x="409623" y="247304"/>
                    </a:lnTo>
                    <a:lnTo>
                      <a:pt x="409217" y="248520"/>
                    </a:lnTo>
                    <a:cubicBezTo>
                      <a:pt x="405387" y="259315"/>
                      <a:pt x="395734" y="256889"/>
                      <a:pt x="387109" y="256215"/>
                    </a:cubicBezTo>
                    <a:cubicBezTo>
                      <a:pt x="385840" y="256079"/>
                      <a:pt x="384407" y="257924"/>
                      <a:pt x="382796" y="259049"/>
                    </a:cubicBezTo>
                    <a:lnTo>
                      <a:pt x="382796" y="282807"/>
                    </a:lnTo>
                    <a:lnTo>
                      <a:pt x="382885" y="282762"/>
                    </a:lnTo>
                    <a:cubicBezTo>
                      <a:pt x="394301" y="275967"/>
                      <a:pt x="404955" y="269623"/>
                      <a:pt x="414697" y="263818"/>
                    </a:cubicBezTo>
                    <a:cubicBezTo>
                      <a:pt x="415128" y="263516"/>
                      <a:pt x="415572" y="263245"/>
                      <a:pt x="416041" y="263009"/>
                    </a:cubicBezTo>
                    <a:cubicBezTo>
                      <a:pt x="420760" y="260173"/>
                      <a:pt x="425212" y="257519"/>
                      <a:pt x="429487" y="254999"/>
                    </a:cubicBezTo>
                    <a:cubicBezTo>
                      <a:pt x="430577" y="256164"/>
                      <a:pt x="431516" y="257464"/>
                      <a:pt x="432277" y="258869"/>
                    </a:cubicBezTo>
                    <a:cubicBezTo>
                      <a:pt x="433139" y="260307"/>
                      <a:pt x="433824" y="261848"/>
                      <a:pt x="434307" y="263459"/>
                    </a:cubicBezTo>
                    <a:cubicBezTo>
                      <a:pt x="435042" y="265763"/>
                      <a:pt x="435588" y="268126"/>
                      <a:pt x="435917" y="270523"/>
                    </a:cubicBezTo>
                    <a:cubicBezTo>
                      <a:pt x="436146" y="271603"/>
                      <a:pt x="436285" y="272682"/>
                      <a:pt x="436463" y="273718"/>
                    </a:cubicBezTo>
                    <a:cubicBezTo>
                      <a:pt x="436742" y="276083"/>
                      <a:pt x="437186" y="278427"/>
                      <a:pt x="437769" y="280737"/>
                    </a:cubicBezTo>
                    <a:cubicBezTo>
                      <a:pt x="437795" y="280956"/>
                      <a:pt x="437858" y="281169"/>
                      <a:pt x="437947" y="281372"/>
                    </a:cubicBezTo>
                    <a:cubicBezTo>
                      <a:pt x="439418" y="287956"/>
                      <a:pt x="444517" y="293124"/>
                      <a:pt x="451062" y="294691"/>
                    </a:cubicBezTo>
                    <a:cubicBezTo>
                      <a:pt x="451925" y="292036"/>
                      <a:pt x="452686" y="289611"/>
                      <a:pt x="453409" y="287356"/>
                    </a:cubicBezTo>
                    <a:cubicBezTo>
                      <a:pt x="453625" y="286594"/>
                      <a:pt x="453853" y="285916"/>
                      <a:pt x="454081" y="285197"/>
                    </a:cubicBezTo>
                    <a:cubicBezTo>
                      <a:pt x="454487" y="283892"/>
                      <a:pt x="454893" y="282588"/>
                      <a:pt x="455286" y="281328"/>
                    </a:cubicBezTo>
                    <a:cubicBezTo>
                      <a:pt x="456681" y="282692"/>
                      <a:pt x="457899" y="284217"/>
                      <a:pt x="458926" y="285872"/>
                    </a:cubicBezTo>
                    <a:cubicBezTo>
                      <a:pt x="460690" y="288615"/>
                      <a:pt x="461654" y="291793"/>
                      <a:pt x="461717" y="295051"/>
                    </a:cubicBezTo>
                    <a:cubicBezTo>
                      <a:pt x="461742" y="297923"/>
                      <a:pt x="461451" y="300789"/>
                      <a:pt x="460867" y="303600"/>
                    </a:cubicBezTo>
                    <a:cubicBezTo>
                      <a:pt x="460816" y="303745"/>
                      <a:pt x="460791" y="303897"/>
                      <a:pt x="460778" y="304051"/>
                    </a:cubicBezTo>
                    <a:cubicBezTo>
                      <a:pt x="460728" y="304275"/>
                      <a:pt x="460690" y="304500"/>
                      <a:pt x="460639" y="304679"/>
                    </a:cubicBezTo>
                    <a:cubicBezTo>
                      <a:pt x="460601" y="304781"/>
                      <a:pt x="460588" y="304888"/>
                      <a:pt x="460601" y="304995"/>
                    </a:cubicBezTo>
                    <a:cubicBezTo>
                      <a:pt x="465497" y="308865"/>
                      <a:pt x="470444" y="311834"/>
                      <a:pt x="474528" y="314625"/>
                    </a:cubicBezTo>
                    <a:cubicBezTo>
                      <a:pt x="474794" y="314849"/>
                      <a:pt x="475073" y="315030"/>
                      <a:pt x="475340" y="315260"/>
                    </a:cubicBezTo>
                    <a:cubicBezTo>
                      <a:pt x="478727" y="317264"/>
                      <a:pt x="481479" y="320199"/>
                      <a:pt x="483242" y="323718"/>
                    </a:cubicBezTo>
                    <a:cubicBezTo>
                      <a:pt x="483432" y="324213"/>
                      <a:pt x="483648" y="324753"/>
                      <a:pt x="483838" y="325242"/>
                    </a:cubicBezTo>
                    <a:cubicBezTo>
                      <a:pt x="485310" y="329021"/>
                      <a:pt x="486705" y="332801"/>
                      <a:pt x="488011" y="336626"/>
                    </a:cubicBezTo>
                    <a:cubicBezTo>
                      <a:pt x="490700" y="344365"/>
                      <a:pt x="493136" y="352195"/>
                      <a:pt x="495432" y="360069"/>
                    </a:cubicBezTo>
                    <a:cubicBezTo>
                      <a:pt x="498121" y="369340"/>
                      <a:pt x="500594" y="378697"/>
                      <a:pt x="503106" y="388009"/>
                    </a:cubicBezTo>
                    <a:cubicBezTo>
                      <a:pt x="504133" y="392989"/>
                      <a:pt x="503131" y="398170"/>
                      <a:pt x="500315" y="402407"/>
                    </a:cubicBezTo>
                    <a:cubicBezTo>
                      <a:pt x="488227" y="418201"/>
                      <a:pt x="475835" y="433776"/>
                      <a:pt x="463062" y="449744"/>
                    </a:cubicBezTo>
                    <a:cubicBezTo>
                      <a:pt x="459789" y="453838"/>
                      <a:pt x="456453" y="457977"/>
                      <a:pt x="453130" y="462162"/>
                    </a:cubicBezTo>
                    <a:cubicBezTo>
                      <a:pt x="450073" y="465987"/>
                      <a:pt x="447029" y="469811"/>
                      <a:pt x="443959" y="473681"/>
                    </a:cubicBezTo>
                    <a:cubicBezTo>
                      <a:pt x="445342" y="479692"/>
                      <a:pt x="448716" y="485056"/>
                      <a:pt x="453536" y="488889"/>
                    </a:cubicBezTo>
                    <a:cubicBezTo>
                      <a:pt x="460753" y="494064"/>
                      <a:pt x="465573" y="501931"/>
                      <a:pt x="466930" y="510713"/>
                    </a:cubicBezTo>
                    <a:cubicBezTo>
                      <a:pt x="466968" y="512360"/>
                      <a:pt x="466816" y="514006"/>
                      <a:pt x="466486" y="515617"/>
                    </a:cubicBezTo>
                    <a:cubicBezTo>
                      <a:pt x="459979" y="516523"/>
                      <a:pt x="453612" y="518152"/>
                      <a:pt x="447473" y="520476"/>
                    </a:cubicBezTo>
                    <a:cubicBezTo>
                      <a:pt x="443870" y="522277"/>
                      <a:pt x="440331" y="523987"/>
                      <a:pt x="436780" y="525556"/>
                    </a:cubicBezTo>
                    <a:cubicBezTo>
                      <a:pt x="436552" y="525603"/>
                      <a:pt x="436336" y="525678"/>
                      <a:pt x="436146" y="525781"/>
                    </a:cubicBezTo>
                    <a:cubicBezTo>
                      <a:pt x="418515" y="535393"/>
                      <a:pt x="397155" y="535103"/>
                      <a:pt x="379790" y="525019"/>
                    </a:cubicBezTo>
                    <a:cubicBezTo>
                      <a:pt x="374792" y="523157"/>
                      <a:pt x="369478" y="522315"/>
                      <a:pt x="364150" y="522544"/>
                    </a:cubicBezTo>
                    <a:cubicBezTo>
                      <a:pt x="363783" y="523039"/>
                      <a:pt x="363478" y="523535"/>
                      <a:pt x="363161" y="524029"/>
                    </a:cubicBezTo>
                    <a:cubicBezTo>
                      <a:pt x="362755" y="524664"/>
                      <a:pt x="362349" y="525244"/>
                      <a:pt x="361994" y="525828"/>
                    </a:cubicBezTo>
                    <a:cubicBezTo>
                      <a:pt x="361233" y="527044"/>
                      <a:pt x="360472" y="528259"/>
                      <a:pt x="359749" y="529429"/>
                    </a:cubicBezTo>
                    <a:cubicBezTo>
                      <a:pt x="359203" y="530373"/>
                      <a:pt x="358620" y="531318"/>
                      <a:pt x="358074" y="532223"/>
                    </a:cubicBezTo>
                    <a:cubicBezTo>
                      <a:pt x="355741" y="536397"/>
                      <a:pt x="352861" y="540254"/>
                      <a:pt x="349538" y="543697"/>
                    </a:cubicBezTo>
                    <a:cubicBezTo>
                      <a:pt x="340063" y="551887"/>
                      <a:pt x="335776" y="564590"/>
                      <a:pt x="338351" y="576859"/>
                    </a:cubicBezTo>
                    <a:cubicBezTo>
                      <a:pt x="338680" y="578095"/>
                      <a:pt x="339112" y="579300"/>
                      <a:pt x="339657" y="580458"/>
                    </a:cubicBezTo>
                    <a:cubicBezTo>
                      <a:pt x="346976" y="593697"/>
                      <a:pt x="361969" y="600723"/>
                      <a:pt x="376822" y="597873"/>
                    </a:cubicBezTo>
                    <a:cubicBezTo>
                      <a:pt x="386792" y="593804"/>
                      <a:pt x="396394" y="588896"/>
                      <a:pt x="405539" y="583204"/>
                    </a:cubicBezTo>
                    <a:lnTo>
                      <a:pt x="405577" y="583158"/>
                    </a:lnTo>
                    <a:cubicBezTo>
                      <a:pt x="406160" y="582844"/>
                      <a:pt x="406794" y="582523"/>
                      <a:pt x="407429" y="582169"/>
                    </a:cubicBezTo>
                    <a:cubicBezTo>
                      <a:pt x="408634" y="581494"/>
                      <a:pt x="409902" y="580819"/>
                      <a:pt x="411158" y="580144"/>
                    </a:cubicBezTo>
                    <a:cubicBezTo>
                      <a:pt x="413403" y="581269"/>
                      <a:pt x="417221" y="583294"/>
                      <a:pt x="421217" y="585004"/>
                    </a:cubicBezTo>
                    <a:cubicBezTo>
                      <a:pt x="425047" y="586623"/>
                      <a:pt x="429081" y="587883"/>
                      <a:pt x="432861" y="589233"/>
                    </a:cubicBezTo>
                    <a:cubicBezTo>
                      <a:pt x="434636" y="585424"/>
                      <a:pt x="436881" y="581857"/>
                      <a:pt x="439558" y="578614"/>
                    </a:cubicBezTo>
                    <a:cubicBezTo>
                      <a:pt x="439964" y="578254"/>
                      <a:pt x="440319" y="577894"/>
                      <a:pt x="440725" y="577579"/>
                    </a:cubicBezTo>
                    <a:cubicBezTo>
                      <a:pt x="444428" y="575117"/>
                      <a:pt x="448944" y="574213"/>
                      <a:pt x="453307" y="575060"/>
                    </a:cubicBezTo>
                    <a:cubicBezTo>
                      <a:pt x="453751" y="575104"/>
                      <a:pt x="454246" y="575149"/>
                      <a:pt x="454791" y="575194"/>
                    </a:cubicBezTo>
                    <a:cubicBezTo>
                      <a:pt x="459548" y="575599"/>
                      <a:pt x="465801" y="576500"/>
                      <a:pt x="474211" y="577714"/>
                    </a:cubicBezTo>
                    <a:cubicBezTo>
                      <a:pt x="474414" y="580193"/>
                      <a:pt x="474782" y="582658"/>
                      <a:pt x="475289" y="585094"/>
                    </a:cubicBezTo>
                    <a:lnTo>
                      <a:pt x="475289" y="585138"/>
                    </a:lnTo>
                    <a:cubicBezTo>
                      <a:pt x="475467" y="585993"/>
                      <a:pt x="475695" y="586848"/>
                      <a:pt x="475923" y="587704"/>
                    </a:cubicBezTo>
                    <a:cubicBezTo>
                      <a:pt x="478904" y="599194"/>
                      <a:pt x="485259" y="609524"/>
                      <a:pt x="494163" y="617356"/>
                    </a:cubicBezTo>
                    <a:cubicBezTo>
                      <a:pt x="494315" y="617558"/>
                      <a:pt x="494506" y="617739"/>
                      <a:pt x="494709" y="617896"/>
                    </a:cubicBezTo>
                    <a:cubicBezTo>
                      <a:pt x="498197" y="621034"/>
                      <a:pt x="501901" y="623950"/>
                      <a:pt x="505757" y="626626"/>
                    </a:cubicBezTo>
                    <a:cubicBezTo>
                      <a:pt x="506657" y="627260"/>
                      <a:pt x="507558" y="627884"/>
                      <a:pt x="508458" y="628425"/>
                    </a:cubicBezTo>
                    <a:cubicBezTo>
                      <a:pt x="510741" y="630000"/>
                      <a:pt x="513037" y="631485"/>
                      <a:pt x="515422" y="632925"/>
                    </a:cubicBezTo>
                    <a:cubicBezTo>
                      <a:pt x="516272" y="633464"/>
                      <a:pt x="517134" y="633960"/>
                      <a:pt x="517984" y="634449"/>
                    </a:cubicBezTo>
                    <a:lnTo>
                      <a:pt x="522157" y="637014"/>
                    </a:lnTo>
                    <a:cubicBezTo>
                      <a:pt x="522233" y="637015"/>
                      <a:pt x="522297" y="637048"/>
                      <a:pt x="522347" y="637104"/>
                    </a:cubicBezTo>
                    <a:lnTo>
                      <a:pt x="522386" y="637104"/>
                    </a:lnTo>
                    <a:cubicBezTo>
                      <a:pt x="523197" y="637598"/>
                      <a:pt x="524009" y="638049"/>
                      <a:pt x="524808" y="638543"/>
                    </a:cubicBezTo>
                    <a:cubicBezTo>
                      <a:pt x="524884" y="638544"/>
                      <a:pt x="524948" y="638577"/>
                      <a:pt x="524986" y="638633"/>
                    </a:cubicBezTo>
                    <a:lnTo>
                      <a:pt x="525037" y="638679"/>
                    </a:lnTo>
                    <a:cubicBezTo>
                      <a:pt x="525480" y="638904"/>
                      <a:pt x="525937" y="639173"/>
                      <a:pt x="526381" y="639398"/>
                    </a:cubicBezTo>
                    <a:cubicBezTo>
                      <a:pt x="526546" y="639520"/>
                      <a:pt x="526711" y="639625"/>
                      <a:pt x="526876" y="639714"/>
                    </a:cubicBezTo>
                    <a:cubicBezTo>
                      <a:pt x="528766" y="640794"/>
                      <a:pt x="530605" y="641919"/>
                      <a:pt x="532495" y="642998"/>
                    </a:cubicBezTo>
                    <a:cubicBezTo>
                      <a:pt x="532000" y="643633"/>
                      <a:pt x="531505" y="644303"/>
                      <a:pt x="530973" y="644934"/>
                    </a:cubicBezTo>
                    <a:cubicBezTo>
                      <a:pt x="530339" y="645743"/>
                      <a:pt x="529666" y="646507"/>
                      <a:pt x="528943" y="647318"/>
                    </a:cubicBezTo>
                    <a:cubicBezTo>
                      <a:pt x="528867" y="647371"/>
                      <a:pt x="528804" y="647450"/>
                      <a:pt x="528766" y="647542"/>
                    </a:cubicBezTo>
                    <a:cubicBezTo>
                      <a:pt x="526127" y="650300"/>
                      <a:pt x="523679" y="653231"/>
                      <a:pt x="521434" y="656317"/>
                    </a:cubicBezTo>
                    <a:cubicBezTo>
                      <a:pt x="520572" y="657494"/>
                      <a:pt x="519912" y="658821"/>
                      <a:pt x="519506" y="660232"/>
                    </a:cubicBezTo>
                    <a:cubicBezTo>
                      <a:pt x="518999" y="661737"/>
                      <a:pt x="519202" y="663389"/>
                      <a:pt x="520052" y="664732"/>
                    </a:cubicBezTo>
                    <a:cubicBezTo>
                      <a:pt x="520635" y="665670"/>
                      <a:pt x="521409" y="666469"/>
                      <a:pt x="522335" y="667071"/>
                    </a:cubicBezTo>
                    <a:cubicBezTo>
                      <a:pt x="522525" y="667248"/>
                      <a:pt x="522741" y="667385"/>
                      <a:pt x="522969" y="667476"/>
                    </a:cubicBezTo>
                    <a:cubicBezTo>
                      <a:pt x="523235" y="667682"/>
                      <a:pt x="523527" y="667862"/>
                      <a:pt x="523832" y="668016"/>
                    </a:cubicBezTo>
                    <a:cubicBezTo>
                      <a:pt x="529577" y="671415"/>
                      <a:pt x="534993" y="675347"/>
                      <a:pt x="540004" y="679760"/>
                    </a:cubicBezTo>
                    <a:cubicBezTo>
                      <a:pt x="540372" y="680030"/>
                      <a:pt x="540676" y="680345"/>
                      <a:pt x="541044" y="680615"/>
                    </a:cubicBezTo>
                    <a:cubicBezTo>
                      <a:pt x="551737" y="689389"/>
                      <a:pt x="562201" y="697533"/>
                      <a:pt x="576052" y="694159"/>
                    </a:cubicBezTo>
                    <a:cubicBezTo>
                      <a:pt x="577714" y="695734"/>
                      <a:pt x="579287" y="697309"/>
                      <a:pt x="580771" y="698928"/>
                    </a:cubicBezTo>
                    <a:cubicBezTo>
                      <a:pt x="581570" y="699784"/>
                      <a:pt x="582382" y="700639"/>
                      <a:pt x="583155" y="701493"/>
                    </a:cubicBezTo>
                    <a:cubicBezTo>
                      <a:pt x="583473" y="701801"/>
                      <a:pt x="583777" y="702131"/>
                      <a:pt x="584043" y="702483"/>
                    </a:cubicBezTo>
                    <a:cubicBezTo>
                      <a:pt x="584500" y="702932"/>
                      <a:pt x="584906" y="703383"/>
                      <a:pt x="585261" y="703788"/>
                    </a:cubicBezTo>
                    <a:cubicBezTo>
                      <a:pt x="590918" y="711133"/>
                      <a:pt x="597983" y="717281"/>
                      <a:pt x="606025" y="721877"/>
                    </a:cubicBezTo>
                    <a:cubicBezTo>
                      <a:pt x="628489" y="731956"/>
                      <a:pt x="652627" y="738300"/>
                      <a:pt x="679809" y="747389"/>
                    </a:cubicBezTo>
                    <a:cubicBezTo>
                      <a:pt x="677564" y="739874"/>
                      <a:pt x="676131" y="733306"/>
                      <a:pt x="673974" y="727231"/>
                    </a:cubicBezTo>
                    <a:cubicBezTo>
                      <a:pt x="673530" y="725881"/>
                      <a:pt x="673036" y="724576"/>
                      <a:pt x="672490" y="723271"/>
                    </a:cubicBezTo>
                    <a:cubicBezTo>
                      <a:pt x="672363" y="723001"/>
                      <a:pt x="672275" y="722732"/>
                      <a:pt x="672135" y="722461"/>
                    </a:cubicBezTo>
                    <a:cubicBezTo>
                      <a:pt x="669598" y="716723"/>
                      <a:pt x="666288" y="711362"/>
                      <a:pt x="662292" y="706533"/>
                    </a:cubicBezTo>
                    <a:cubicBezTo>
                      <a:pt x="658576" y="702005"/>
                      <a:pt x="654504" y="697777"/>
                      <a:pt x="650115" y="693889"/>
                    </a:cubicBezTo>
                    <a:cubicBezTo>
                      <a:pt x="646158" y="690199"/>
                      <a:pt x="641985" y="686689"/>
                      <a:pt x="637888" y="683180"/>
                    </a:cubicBezTo>
                    <a:lnTo>
                      <a:pt x="635338" y="681021"/>
                    </a:lnTo>
                    <a:cubicBezTo>
                      <a:pt x="634070" y="679941"/>
                      <a:pt x="632814" y="678816"/>
                      <a:pt x="631596" y="677691"/>
                    </a:cubicBezTo>
                    <a:cubicBezTo>
                      <a:pt x="630429" y="676702"/>
                      <a:pt x="629262" y="675668"/>
                      <a:pt x="628096" y="674587"/>
                    </a:cubicBezTo>
                    <a:cubicBezTo>
                      <a:pt x="618887" y="666432"/>
                      <a:pt x="611048" y="656840"/>
                      <a:pt x="604883" y="646181"/>
                    </a:cubicBezTo>
                    <a:cubicBezTo>
                      <a:pt x="602093" y="641219"/>
                      <a:pt x="599708" y="636044"/>
                      <a:pt x="597742" y="630704"/>
                    </a:cubicBezTo>
                    <a:cubicBezTo>
                      <a:pt x="603843" y="631699"/>
                      <a:pt x="609780" y="633515"/>
                      <a:pt x="615399" y="636102"/>
                    </a:cubicBezTo>
                    <a:cubicBezTo>
                      <a:pt x="620967" y="639902"/>
                      <a:pt x="626802" y="643271"/>
                      <a:pt x="632877" y="646181"/>
                    </a:cubicBezTo>
                    <a:lnTo>
                      <a:pt x="632877" y="646224"/>
                    </a:lnTo>
                    <a:cubicBezTo>
                      <a:pt x="634767" y="647213"/>
                      <a:pt x="636657" y="648204"/>
                      <a:pt x="638496" y="649284"/>
                    </a:cubicBezTo>
                    <a:cubicBezTo>
                      <a:pt x="643037" y="651791"/>
                      <a:pt x="647261" y="654859"/>
                      <a:pt x="651041" y="658417"/>
                    </a:cubicBezTo>
                    <a:cubicBezTo>
                      <a:pt x="652297" y="659633"/>
                      <a:pt x="653641" y="660848"/>
                      <a:pt x="654986" y="661973"/>
                    </a:cubicBezTo>
                    <a:cubicBezTo>
                      <a:pt x="655176" y="662126"/>
                      <a:pt x="655366" y="662291"/>
                      <a:pt x="655531" y="662469"/>
                    </a:cubicBezTo>
                    <a:cubicBezTo>
                      <a:pt x="658626" y="665034"/>
                      <a:pt x="661912" y="667422"/>
                      <a:pt x="665285" y="669708"/>
                    </a:cubicBezTo>
                    <a:cubicBezTo>
                      <a:pt x="665438" y="669766"/>
                      <a:pt x="665577" y="669859"/>
                      <a:pt x="665691" y="669978"/>
                    </a:cubicBezTo>
                    <a:cubicBezTo>
                      <a:pt x="668964" y="672137"/>
                      <a:pt x="672300" y="674207"/>
                      <a:pt x="675712" y="676233"/>
                    </a:cubicBezTo>
                    <a:cubicBezTo>
                      <a:pt x="676562" y="676773"/>
                      <a:pt x="677412" y="677268"/>
                      <a:pt x="678274" y="677757"/>
                    </a:cubicBezTo>
                    <a:cubicBezTo>
                      <a:pt x="681191" y="679512"/>
                      <a:pt x="684109" y="681222"/>
                      <a:pt x="687039" y="682977"/>
                    </a:cubicBezTo>
                    <a:cubicBezTo>
                      <a:pt x="687255" y="683111"/>
                      <a:pt x="687483" y="683247"/>
                      <a:pt x="687673" y="683382"/>
                    </a:cubicBezTo>
                    <a:cubicBezTo>
                      <a:pt x="688523" y="683831"/>
                      <a:pt x="689373" y="684371"/>
                      <a:pt x="690184" y="684866"/>
                    </a:cubicBezTo>
                    <a:cubicBezTo>
                      <a:pt x="690717" y="685181"/>
                      <a:pt x="691263" y="685542"/>
                      <a:pt x="691795" y="685901"/>
                    </a:cubicBezTo>
                    <a:cubicBezTo>
                      <a:pt x="693368" y="686802"/>
                      <a:pt x="694852" y="687747"/>
                      <a:pt x="696387" y="688736"/>
                    </a:cubicBezTo>
                    <a:cubicBezTo>
                      <a:pt x="702805" y="685632"/>
                      <a:pt x="708703" y="682796"/>
                      <a:pt x="713194" y="680592"/>
                    </a:cubicBezTo>
                    <a:cubicBezTo>
                      <a:pt x="712648" y="677442"/>
                      <a:pt x="712153" y="674383"/>
                      <a:pt x="711671" y="671368"/>
                    </a:cubicBezTo>
                    <a:cubicBezTo>
                      <a:pt x="711494" y="670198"/>
                      <a:pt x="711266" y="669073"/>
                      <a:pt x="711088" y="667949"/>
                    </a:cubicBezTo>
                    <a:cubicBezTo>
                      <a:pt x="710543" y="664619"/>
                      <a:pt x="710010" y="661289"/>
                      <a:pt x="709426" y="657869"/>
                    </a:cubicBezTo>
                    <a:cubicBezTo>
                      <a:pt x="709338" y="657373"/>
                      <a:pt x="709249" y="656834"/>
                      <a:pt x="709160" y="656345"/>
                    </a:cubicBezTo>
                    <a:cubicBezTo>
                      <a:pt x="708399" y="651575"/>
                      <a:pt x="707537" y="646580"/>
                      <a:pt x="706636" y="641135"/>
                    </a:cubicBezTo>
                    <a:cubicBezTo>
                      <a:pt x="707448" y="641765"/>
                      <a:pt x="708209" y="642351"/>
                      <a:pt x="708932" y="642890"/>
                    </a:cubicBezTo>
                    <a:cubicBezTo>
                      <a:pt x="709743" y="643525"/>
                      <a:pt x="710505" y="644106"/>
                      <a:pt x="711227" y="644600"/>
                    </a:cubicBezTo>
                    <a:cubicBezTo>
                      <a:pt x="715756" y="648110"/>
                      <a:pt x="718775" y="650359"/>
                      <a:pt x="722504" y="653194"/>
                    </a:cubicBezTo>
                    <a:cubicBezTo>
                      <a:pt x="723138" y="650101"/>
                      <a:pt x="723240" y="646924"/>
                      <a:pt x="722821" y="643796"/>
                    </a:cubicBezTo>
                    <a:cubicBezTo>
                      <a:pt x="721870" y="637949"/>
                      <a:pt x="719498" y="632428"/>
                      <a:pt x="715895" y="627732"/>
                    </a:cubicBezTo>
                    <a:cubicBezTo>
                      <a:pt x="714094" y="625032"/>
                      <a:pt x="712115" y="622423"/>
                      <a:pt x="710327" y="619767"/>
                    </a:cubicBezTo>
                    <a:cubicBezTo>
                      <a:pt x="709743" y="618913"/>
                      <a:pt x="709160" y="618012"/>
                      <a:pt x="708615" y="617158"/>
                    </a:cubicBezTo>
                    <a:cubicBezTo>
                      <a:pt x="708209" y="616483"/>
                      <a:pt x="707803" y="615808"/>
                      <a:pt x="707448" y="615088"/>
                    </a:cubicBezTo>
                    <a:cubicBezTo>
                      <a:pt x="705926" y="612253"/>
                      <a:pt x="703363" y="608519"/>
                      <a:pt x="701283" y="605279"/>
                    </a:cubicBezTo>
                    <a:cubicBezTo>
                      <a:pt x="700180" y="603637"/>
                      <a:pt x="699165" y="601924"/>
                      <a:pt x="698277" y="600150"/>
                    </a:cubicBezTo>
                    <a:cubicBezTo>
                      <a:pt x="697782" y="599115"/>
                      <a:pt x="697605" y="598439"/>
                      <a:pt x="697871" y="598170"/>
                    </a:cubicBezTo>
                    <a:cubicBezTo>
                      <a:pt x="702640" y="593580"/>
                      <a:pt x="702869" y="590700"/>
                      <a:pt x="701334" y="588451"/>
                    </a:cubicBezTo>
                    <a:cubicBezTo>
                      <a:pt x="699584" y="585885"/>
                      <a:pt x="695588" y="584133"/>
                      <a:pt x="693470" y="581431"/>
                    </a:cubicBezTo>
                    <a:cubicBezTo>
                      <a:pt x="693356" y="581307"/>
                      <a:pt x="693242" y="581172"/>
                      <a:pt x="693153" y="581026"/>
                    </a:cubicBezTo>
                    <a:cubicBezTo>
                      <a:pt x="691618" y="578429"/>
                      <a:pt x="689944" y="575921"/>
                      <a:pt x="688117" y="573512"/>
                    </a:cubicBezTo>
                    <a:cubicBezTo>
                      <a:pt x="686696" y="571852"/>
                      <a:pt x="684971" y="570465"/>
                      <a:pt x="683043" y="569417"/>
                    </a:cubicBezTo>
                    <a:lnTo>
                      <a:pt x="682866" y="569327"/>
                    </a:lnTo>
                    <a:cubicBezTo>
                      <a:pt x="682371" y="569058"/>
                      <a:pt x="681927" y="568787"/>
                      <a:pt x="681433" y="568472"/>
                    </a:cubicBezTo>
                    <a:cubicBezTo>
                      <a:pt x="679593" y="567437"/>
                      <a:pt x="677792" y="566313"/>
                      <a:pt x="676080" y="565142"/>
                    </a:cubicBezTo>
                    <a:cubicBezTo>
                      <a:pt x="672046" y="562445"/>
                      <a:pt x="668266" y="559371"/>
                      <a:pt x="664804" y="555964"/>
                    </a:cubicBezTo>
                    <a:cubicBezTo>
                      <a:pt x="663637" y="554839"/>
                      <a:pt x="662508" y="553714"/>
                      <a:pt x="661480" y="552498"/>
                    </a:cubicBezTo>
                    <a:cubicBezTo>
                      <a:pt x="660326" y="551288"/>
                      <a:pt x="659248" y="550011"/>
                      <a:pt x="658246" y="548674"/>
                    </a:cubicBezTo>
                    <a:cubicBezTo>
                      <a:pt x="657396" y="547666"/>
                      <a:pt x="656597" y="546614"/>
                      <a:pt x="655861" y="545525"/>
                    </a:cubicBezTo>
                    <a:cubicBezTo>
                      <a:pt x="654466" y="543587"/>
                      <a:pt x="653172" y="541574"/>
                      <a:pt x="651993" y="539495"/>
                    </a:cubicBezTo>
                    <a:cubicBezTo>
                      <a:pt x="650356" y="536729"/>
                      <a:pt x="648898" y="533857"/>
                      <a:pt x="647629" y="530901"/>
                    </a:cubicBezTo>
                    <a:cubicBezTo>
                      <a:pt x="646399" y="528118"/>
                      <a:pt x="645333" y="525263"/>
                      <a:pt x="644445" y="522351"/>
                    </a:cubicBezTo>
                    <a:cubicBezTo>
                      <a:pt x="644268" y="521811"/>
                      <a:pt x="644128" y="521271"/>
                      <a:pt x="643951" y="520732"/>
                    </a:cubicBezTo>
                    <a:cubicBezTo>
                      <a:pt x="643456" y="519022"/>
                      <a:pt x="643012" y="517312"/>
                      <a:pt x="642606" y="515558"/>
                    </a:cubicBezTo>
                    <a:cubicBezTo>
                      <a:pt x="642213" y="513625"/>
                      <a:pt x="641934" y="511671"/>
                      <a:pt x="641744" y="509708"/>
                    </a:cubicBezTo>
                    <a:cubicBezTo>
                      <a:pt x="641655" y="508627"/>
                      <a:pt x="641528" y="507549"/>
                      <a:pt x="641388" y="506378"/>
                    </a:cubicBezTo>
                    <a:cubicBezTo>
                      <a:pt x="637254" y="507548"/>
                      <a:pt x="634019" y="508493"/>
                      <a:pt x="631228" y="509299"/>
                    </a:cubicBezTo>
                    <a:cubicBezTo>
                      <a:pt x="629795" y="509704"/>
                      <a:pt x="628438" y="510108"/>
                      <a:pt x="627144" y="510469"/>
                    </a:cubicBezTo>
                    <a:cubicBezTo>
                      <a:pt x="626015" y="507229"/>
                      <a:pt x="625026" y="504035"/>
                      <a:pt x="623999" y="500974"/>
                    </a:cubicBezTo>
                    <a:cubicBezTo>
                      <a:pt x="623643" y="499895"/>
                      <a:pt x="623275" y="498860"/>
                      <a:pt x="622870" y="497825"/>
                    </a:cubicBezTo>
                    <a:cubicBezTo>
                      <a:pt x="622692" y="497240"/>
                      <a:pt x="622464" y="496699"/>
                      <a:pt x="622235" y="496115"/>
                    </a:cubicBezTo>
                    <a:cubicBezTo>
                      <a:pt x="621703" y="494810"/>
                      <a:pt x="621157" y="493505"/>
                      <a:pt x="620624" y="492155"/>
                    </a:cubicBezTo>
                    <a:cubicBezTo>
                      <a:pt x="620168" y="491165"/>
                      <a:pt x="619724" y="490131"/>
                      <a:pt x="619267" y="489096"/>
                    </a:cubicBezTo>
                    <a:cubicBezTo>
                      <a:pt x="617974" y="486081"/>
                      <a:pt x="616477" y="482797"/>
                      <a:pt x="614739" y="478881"/>
                    </a:cubicBezTo>
                    <a:cubicBezTo>
                      <a:pt x="631723" y="485316"/>
                      <a:pt x="631723" y="485316"/>
                      <a:pt x="644851" y="481222"/>
                    </a:cubicBezTo>
                    <a:cubicBezTo>
                      <a:pt x="640539" y="473983"/>
                      <a:pt x="636213" y="466777"/>
                      <a:pt x="631545" y="458903"/>
                    </a:cubicBezTo>
                    <a:cubicBezTo>
                      <a:pt x="631317" y="458544"/>
                      <a:pt x="631089" y="458183"/>
                      <a:pt x="630873" y="457868"/>
                    </a:cubicBezTo>
                    <a:cubicBezTo>
                      <a:pt x="630379" y="456969"/>
                      <a:pt x="629833" y="456068"/>
                      <a:pt x="629250" y="455123"/>
                    </a:cubicBezTo>
                    <a:lnTo>
                      <a:pt x="629199" y="455033"/>
                    </a:lnTo>
                    <a:cubicBezTo>
                      <a:pt x="628616" y="454044"/>
                      <a:pt x="628032" y="453053"/>
                      <a:pt x="627411" y="452018"/>
                    </a:cubicBezTo>
                    <a:cubicBezTo>
                      <a:pt x="627791" y="451981"/>
                      <a:pt x="628184" y="451966"/>
                      <a:pt x="628577" y="451974"/>
                    </a:cubicBezTo>
                    <a:cubicBezTo>
                      <a:pt x="629605" y="451884"/>
                      <a:pt x="630645" y="451839"/>
                      <a:pt x="631584" y="451839"/>
                    </a:cubicBezTo>
                    <a:cubicBezTo>
                      <a:pt x="635605" y="452256"/>
                      <a:pt x="639651" y="451763"/>
                      <a:pt x="643456" y="450399"/>
                    </a:cubicBezTo>
                    <a:cubicBezTo>
                      <a:pt x="644128" y="450002"/>
                      <a:pt x="644775" y="449549"/>
                      <a:pt x="645384" y="449049"/>
                    </a:cubicBezTo>
                    <a:cubicBezTo>
                      <a:pt x="646006" y="448603"/>
                      <a:pt x="646589" y="448107"/>
                      <a:pt x="647134" y="447564"/>
                    </a:cubicBezTo>
                    <a:cubicBezTo>
                      <a:pt x="650014" y="444910"/>
                      <a:pt x="652398" y="441580"/>
                      <a:pt x="654910" y="438970"/>
                    </a:cubicBezTo>
                    <a:cubicBezTo>
                      <a:pt x="655633" y="439869"/>
                      <a:pt x="656343" y="440770"/>
                      <a:pt x="657028" y="441625"/>
                    </a:cubicBezTo>
                    <a:cubicBezTo>
                      <a:pt x="658461" y="443424"/>
                      <a:pt x="659895" y="445225"/>
                      <a:pt x="661290" y="446979"/>
                    </a:cubicBezTo>
                    <a:cubicBezTo>
                      <a:pt x="664169" y="450579"/>
                      <a:pt x="666998" y="454091"/>
                      <a:pt x="669738" y="457599"/>
                    </a:cubicBezTo>
                    <a:cubicBezTo>
                      <a:pt x="670017" y="457914"/>
                      <a:pt x="670283" y="458273"/>
                      <a:pt x="670550" y="458588"/>
                    </a:cubicBezTo>
                    <a:cubicBezTo>
                      <a:pt x="675407" y="464662"/>
                      <a:pt x="680164" y="470653"/>
                      <a:pt x="684971" y="476677"/>
                    </a:cubicBezTo>
                    <a:cubicBezTo>
                      <a:pt x="686328" y="478342"/>
                      <a:pt x="687673" y="480051"/>
                      <a:pt x="689018" y="481757"/>
                    </a:cubicBezTo>
                    <a:cubicBezTo>
                      <a:pt x="689779" y="482701"/>
                      <a:pt x="690502" y="483601"/>
                      <a:pt x="691263" y="484551"/>
                    </a:cubicBezTo>
                    <a:cubicBezTo>
                      <a:pt x="700484" y="480007"/>
                      <a:pt x="708475" y="476042"/>
                      <a:pt x="716441" y="472133"/>
                    </a:cubicBezTo>
                    <a:cubicBezTo>
                      <a:pt x="716745" y="473077"/>
                      <a:pt x="716936" y="473932"/>
                      <a:pt x="717113" y="474697"/>
                    </a:cubicBezTo>
                    <a:cubicBezTo>
                      <a:pt x="719219" y="487566"/>
                      <a:pt x="699228" y="482751"/>
                      <a:pt x="699584" y="497014"/>
                    </a:cubicBezTo>
                    <a:cubicBezTo>
                      <a:pt x="699698" y="497292"/>
                      <a:pt x="699837" y="497563"/>
                      <a:pt x="699989" y="497825"/>
                    </a:cubicBezTo>
                    <a:cubicBezTo>
                      <a:pt x="701917" y="502131"/>
                      <a:pt x="704061" y="506336"/>
                      <a:pt x="706407" y="510424"/>
                    </a:cubicBezTo>
                    <a:cubicBezTo>
                      <a:pt x="706598" y="510774"/>
                      <a:pt x="706801" y="511105"/>
                      <a:pt x="707042" y="511414"/>
                    </a:cubicBezTo>
                    <a:cubicBezTo>
                      <a:pt x="708272" y="513603"/>
                      <a:pt x="709630" y="515723"/>
                      <a:pt x="711088" y="517764"/>
                    </a:cubicBezTo>
                    <a:cubicBezTo>
                      <a:pt x="711329" y="518159"/>
                      <a:pt x="711596" y="518535"/>
                      <a:pt x="711900" y="518888"/>
                    </a:cubicBezTo>
                    <a:cubicBezTo>
                      <a:pt x="713714" y="521502"/>
                      <a:pt x="715705" y="523984"/>
                      <a:pt x="717874" y="526312"/>
                    </a:cubicBezTo>
                    <a:cubicBezTo>
                      <a:pt x="718381" y="526944"/>
                      <a:pt x="718914" y="527545"/>
                      <a:pt x="719498" y="528112"/>
                    </a:cubicBezTo>
                    <a:cubicBezTo>
                      <a:pt x="722225" y="530987"/>
                      <a:pt x="725218" y="533594"/>
                      <a:pt x="728440" y="535897"/>
                    </a:cubicBezTo>
                    <a:cubicBezTo>
                      <a:pt x="728833" y="536222"/>
                      <a:pt x="729264" y="536523"/>
                      <a:pt x="729696" y="536796"/>
                    </a:cubicBezTo>
                    <a:cubicBezTo>
                      <a:pt x="732169" y="538519"/>
                      <a:pt x="734770" y="540053"/>
                      <a:pt x="737471" y="541386"/>
                    </a:cubicBezTo>
                    <a:cubicBezTo>
                      <a:pt x="737598" y="541464"/>
                      <a:pt x="737737" y="541525"/>
                      <a:pt x="737877" y="541566"/>
                    </a:cubicBezTo>
                    <a:cubicBezTo>
                      <a:pt x="740122" y="542705"/>
                      <a:pt x="742431" y="543712"/>
                      <a:pt x="744790" y="544581"/>
                    </a:cubicBezTo>
                    <a:cubicBezTo>
                      <a:pt x="745018" y="544625"/>
                      <a:pt x="745247" y="544716"/>
                      <a:pt x="745475" y="544761"/>
                    </a:cubicBezTo>
                    <a:cubicBezTo>
                      <a:pt x="747745" y="545584"/>
                      <a:pt x="750079" y="546275"/>
                      <a:pt x="752439" y="546830"/>
                    </a:cubicBezTo>
                    <a:lnTo>
                      <a:pt x="752439" y="501609"/>
                    </a:lnTo>
                    <a:cubicBezTo>
                      <a:pt x="754049" y="502047"/>
                      <a:pt x="755686" y="502379"/>
                      <a:pt x="757335" y="502600"/>
                    </a:cubicBezTo>
                    <a:cubicBezTo>
                      <a:pt x="757880" y="502704"/>
                      <a:pt x="758438" y="502764"/>
                      <a:pt x="758996" y="502779"/>
                    </a:cubicBezTo>
                    <a:cubicBezTo>
                      <a:pt x="764895" y="503608"/>
                      <a:pt x="770843" y="501608"/>
                      <a:pt x="775042" y="497380"/>
                    </a:cubicBezTo>
                    <a:cubicBezTo>
                      <a:pt x="775308" y="497155"/>
                      <a:pt x="775536" y="496885"/>
                      <a:pt x="775803" y="496660"/>
                    </a:cubicBezTo>
                    <a:cubicBezTo>
                      <a:pt x="778213" y="493955"/>
                      <a:pt x="780319" y="490998"/>
                      <a:pt x="782094" y="487841"/>
                    </a:cubicBezTo>
                    <a:lnTo>
                      <a:pt x="784251" y="484331"/>
                    </a:lnTo>
                    <a:cubicBezTo>
                      <a:pt x="785709" y="481768"/>
                      <a:pt x="787371" y="479330"/>
                      <a:pt x="789236" y="477042"/>
                    </a:cubicBezTo>
                    <a:cubicBezTo>
                      <a:pt x="789641" y="476592"/>
                      <a:pt x="789997" y="476186"/>
                      <a:pt x="790402" y="475781"/>
                    </a:cubicBezTo>
                    <a:cubicBezTo>
                      <a:pt x="788170" y="473171"/>
                      <a:pt x="785671" y="470804"/>
                      <a:pt x="782944" y="468717"/>
                    </a:cubicBezTo>
                    <a:cubicBezTo>
                      <a:pt x="779849" y="465883"/>
                      <a:pt x="777870" y="462823"/>
                      <a:pt x="781422" y="458773"/>
                    </a:cubicBezTo>
                    <a:cubicBezTo>
                      <a:pt x="782285" y="457751"/>
                      <a:pt x="783274" y="456830"/>
                      <a:pt x="784339" y="456029"/>
                    </a:cubicBezTo>
                    <a:cubicBezTo>
                      <a:pt x="784796" y="455714"/>
                      <a:pt x="785329" y="455353"/>
                      <a:pt x="785861" y="454994"/>
                    </a:cubicBezTo>
                    <a:cubicBezTo>
                      <a:pt x="790808" y="456391"/>
                      <a:pt x="795527" y="457694"/>
                      <a:pt x="798089" y="458414"/>
                    </a:cubicBezTo>
                    <a:cubicBezTo>
                      <a:pt x="798444" y="457873"/>
                      <a:pt x="798761" y="457289"/>
                      <a:pt x="799078" y="456749"/>
                    </a:cubicBezTo>
                    <a:lnTo>
                      <a:pt x="799116" y="456749"/>
                    </a:lnTo>
                    <a:lnTo>
                      <a:pt x="799218" y="456569"/>
                    </a:lnTo>
                    <a:cubicBezTo>
                      <a:pt x="801501" y="452789"/>
                      <a:pt x="803619" y="449279"/>
                      <a:pt x="805636" y="445949"/>
                    </a:cubicBezTo>
                    <a:cubicBezTo>
                      <a:pt x="806042" y="445275"/>
                      <a:pt x="806448" y="444600"/>
                      <a:pt x="806854" y="443970"/>
                    </a:cubicBezTo>
                    <a:cubicBezTo>
                      <a:pt x="808921" y="440550"/>
                      <a:pt x="810900" y="437310"/>
                      <a:pt x="812879" y="434071"/>
                    </a:cubicBezTo>
                    <a:cubicBezTo>
                      <a:pt x="810748" y="431505"/>
                      <a:pt x="808909" y="429301"/>
                      <a:pt x="807285" y="427456"/>
                    </a:cubicBezTo>
                    <a:close/>
                    <a:moveTo>
                      <a:pt x="507139" y="112170"/>
                    </a:moveTo>
                    <a:cubicBezTo>
                      <a:pt x="506086" y="111944"/>
                      <a:pt x="505148" y="111334"/>
                      <a:pt x="504526" y="110459"/>
                    </a:cubicBezTo>
                    <a:cubicBezTo>
                      <a:pt x="503765" y="109402"/>
                      <a:pt x="503194" y="108213"/>
                      <a:pt x="502865" y="106950"/>
                    </a:cubicBezTo>
                    <a:cubicBezTo>
                      <a:pt x="502585" y="105950"/>
                      <a:pt x="502408" y="104925"/>
                      <a:pt x="502319" y="103890"/>
                    </a:cubicBezTo>
                    <a:cubicBezTo>
                      <a:pt x="502053" y="100246"/>
                      <a:pt x="508116" y="96152"/>
                      <a:pt x="511629" y="92192"/>
                    </a:cubicBezTo>
                    <a:cubicBezTo>
                      <a:pt x="511794" y="92038"/>
                      <a:pt x="511934" y="91872"/>
                      <a:pt x="512073" y="91696"/>
                    </a:cubicBezTo>
                    <a:cubicBezTo>
                      <a:pt x="509511" y="97366"/>
                      <a:pt x="505198" y="103350"/>
                      <a:pt x="514635" y="107039"/>
                    </a:cubicBezTo>
                    <a:cubicBezTo>
                      <a:pt x="511718" y="111224"/>
                      <a:pt x="509156" y="112570"/>
                      <a:pt x="507139" y="112170"/>
                    </a:cubicBezTo>
                    <a:close/>
                    <a:moveTo>
                      <a:pt x="542896" y="124498"/>
                    </a:moveTo>
                    <a:cubicBezTo>
                      <a:pt x="541424" y="128277"/>
                      <a:pt x="539991" y="132013"/>
                      <a:pt x="538596" y="135613"/>
                    </a:cubicBezTo>
                    <a:cubicBezTo>
                      <a:pt x="535755" y="135162"/>
                      <a:pt x="533066" y="134757"/>
                      <a:pt x="530135" y="134307"/>
                    </a:cubicBezTo>
                    <a:cubicBezTo>
                      <a:pt x="529768" y="134222"/>
                      <a:pt x="529400" y="134161"/>
                      <a:pt x="529019" y="134127"/>
                    </a:cubicBezTo>
                    <a:cubicBezTo>
                      <a:pt x="528930" y="134127"/>
                      <a:pt x="528842" y="134083"/>
                      <a:pt x="528702" y="134083"/>
                    </a:cubicBezTo>
                    <a:cubicBezTo>
                      <a:pt x="527713" y="133902"/>
                      <a:pt x="526685" y="133768"/>
                      <a:pt x="525557" y="133543"/>
                    </a:cubicBezTo>
                    <a:cubicBezTo>
                      <a:pt x="523540" y="133272"/>
                      <a:pt x="521282" y="132908"/>
                      <a:pt x="518770" y="132508"/>
                    </a:cubicBezTo>
                    <a:cubicBezTo>
                      <a:pt x="529019" y="127242"/>
                      <a:pt x="537061" y="123059"/>
                      <a:pt x="545065" y="118919"/>
                    </a:cubicBezTo>
                    <a:cubicBezTo>
                      <a:pt x="544342" y="120809"/>
                      <a:pt x="543619" y="122654"/>
                      <a:pt x="542909" y="124498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05" name="Vrije vorm 504">
                <a:extLst>
                  <a:ext uri="{FF2B5EF4-FFF2-40B4-BE49-F238E27FC236}">
                    <a16:creationId xmlns:a16="http://schemas.microsoft.com/office/drawing/2014/main" id="{51592EBA-5123-D049-B654-BB577A1BAA28}"/>
                  </a:ext>
                </a:extLst>
              </p:cNvPr>
              <p:cNvSpPr/>
              <p:nvPr/>
            </p:nvSpPr>
            <p:spPr>
              <a:xfrm>
                <a:off x="2109709" y="1399984"/>
                <a:ext cx="513431" cy="296908"/>
              </a:xfrm>
              <a:custGeom>
                <a:avLst/>
                <a:gdLst>
                  <a:gd name="connsiteX0" fmla="*/ 465231 w 513431"/>
                  <a:gd name="connsiteY0" fmla="*/ 213143 h 296908"/>
                  <a:gd name="connsiteX1" fmla="*/ 442222 w 513431"/>
                  <a:gd name="connsiteY1" fmla="*/ 203829 h 296908"/>
                  <a:gd name="connsiteX2" fmla="*/ 457684 w 513431"/>
                  <a:gd name="connsiteY2" fmla="*/ 232581 h 296908"/>
                  <a:gd name="connsiteX3" fmla="*/ 479881 w 513431"/>
                  <a:gd name="connsiteY3" fmla="*/ 220297 h 296908"/>
                  <a:gd name="connsiteX4" fmla="*/ 488329 w 513431"/>
                  <a:gd name="connsiteY4" fmla="*/ 244554 h 296908"/>
                  <a:gd name="connsiteX5" fmla="*/ 485044 w 513431"/>
                  <a:gd name="connsiteY5" fmla="*/ 257693 h 296908"/>
                  <a:gd name="connsiteX6" fmla="*/ 441905 w 513431"/>
                  <a:gd name="connsiteY6" fmla="*/ 272181 h 296908"/>
                  <a:gd name="connsiteX7" fmla="*/ 404651 w 513431"/>
                  <a:gd name="connsiteY7" fmla="*/ 267276 h 296908"/>
                  <a:gd name="connsiteX8" fmla="*/ 400110 w 513431"/>
                  <a:gd name="connsiteY8" fmla="*/ 265208 h 296908"/>
                  <a:gd name="connsiteX9" fmla="*/ 364696 w 513431"/>
                  <a:gd name="connsiteY9" fmla="*/ 242844 h 296908"/>
                  <a:gd name="connsiteX10" fmla="*/ 358988 w 513431"/>
                  <a:gd name="connsiteY10" fmla="*/ 220436 h 296908"/>
                  <a:gd name="connsiteX11" fmla="*/ 343437 w 513431"/>
                  <a:gd name="connsiteY11" fmla="*/ 236409 h 296908"/>
                  <a:gd name="connsiteX12" fmla="*/ 311981 w 513431"/>
                  <a:gd name="connsiteY12" fmla="*/ 263138 h 296908"/>
                  <a:gd name="connsiteX13" fmla="*/ 298003 w 513431"/>
                  <a:gd name="connsiteY13" fmla="*/ 267862 h 296908"/>
                  <a:gd name="connsiteX14" fmla="*/ 251312 w 513431"/>
                  <a:gd name="connsiteY14" fmla="*/ 287750 h 296908"/>
                  <a:gd name="connsiteX15" fmla="*/ 192039 w 513431"/>
                  <a:gd name="connsiteY15" fmla="*/ 296259 h 296908"/>
                  <a:gd name="connsiteX16" fmla="*/ 155990 w 513431"/>
                  <a:gd name="connsiteY16" fmla="*/ 266112 h 296908"/>
                  <a:gd name="connsiteX17" fmla="*/ 155952 w 513431"/>
                  <a:gd name="connsiteY17" fmla="*/ 240510 h 296908"/>
                  <a:gd name="connsiteX18" fmla="*/ 123823 w 513431"/>
                  <a:gd name="connsiteY18" fmla="*/ 237405 h 296908"/>
                  <a:gd name="connsiteX19" fmla="*/ 48099 w 513431"/>
                  <a:gd name="connsiteY19" fmla="*/ 175085 h 296908"/>
                  <a:gd name="connsiteX20" fmla="*/ 75953 w 513431"/>
                  <a:gd name="connsiteY20" fmla="*/ 164332 h 296908"/>
                  <a:gd name="connsiteX21" fmla="*/ 170958 w 513431"/>
                  <a:gd name="connsiteY21" fmla="*/ 157942 h 296908"/>
                  <a:gd name="connsiteX22" fmla="*/ 214325 w 513431"/>
                  <a:gd name="connsiteY22" fmla="*/ 154610 h 296908"/>
                  <a:gd name="connsiteX23" fmla="*/ 160671 w 513431"/>
                  <a:gd name="connsiteY23" fmla="*/ 122123 h 296908"/>
                  <a:gd name="connsiteX24" fmla="*/ 130609 w 513431"/>
                  <a:gd name="connsiteY24" fmla="*/ 121853 h 296908"/>
                  <a:gd name="connsiteX25" fmla="*/ 50889 w 513431"/>
                  <a:gd name="connsiteY25" fmla="*/ 124103 h 296908"/>
                  <a:gd name="connsiteX26" fmla="*/ 19521 w 513431"/>
                  <a:gd name="connsiteY26" fmla="*/ 94405 h 296908"/>
                  <a:gd name="connsiteX27" fmla="*/ 100091 w 513431"/>
                  <a:gd name="connsiteY27" fmla="*/ 44414 h 296908"/>
                  <a:gd name="connsiteX28" fmla="*/ 25990 w 513431"/>
                  <a:gd name="connsiteY28" fmla="*/ 58274 h 296908"/>
                  <a:gd name="connsiteX29" fmla="*/ 23745 w 513431"/>
                  <a:gd name="connsiteY29" fmla="*/ 53099 h 296908"/>
                  <a:gd name="connsiteX30" fmla="*/ 40907 w 513431"/>
                  <a:gd name="connsiteY30" fmla="*/ 37575 h 296908"/>
                  <a:gd name="connsiteX31" fmla="*/ 1357 w 513431"/>
                  <a:gd name="connsiteY31" fmla="*/ 32986 h 296908"/>
                  <a:gd name="connsiteX32" fmla="*/ 7383 w 513431"/>
                  <a:gd name="connsiteY32" fmla="*/ 4 h 296908"/>
                  <a:gd name="connsiteX33" fmla="*/ 303672 w 513431"/>
                  <a:gd name="connsiteY33" fmla="*/ 4 h 296908"/>
                  <a:gd name="connsiteX34" fmla="*/ 309824 w 513431"/>
                  <a:gd name="connsiteY34" fmla="*/ 27944 h 296908"/>
                  <a:gd name="connsiteX35" fmla="*/ 316927 w 513431"/>
                  <a:gd name="connsiteY35" fmla="*/ 36403 h 296908"/>
                  <a:gd name="connsiteX36" fmla="*/ 329383 w 513431"/>
                  <a:gd name="connsiteY36" fmla="*/ 24118 h 296908"/>
                  <a:gd name="connsiteX37" fmla="*/ 333518 w 513431"/>
                  <a:gd name="connsiteY37" fmla="*/ 10710 h 296908"/>
                  <a:gd name="connsiteX38" fmla="*/ 328128 w 513431"/>
                  <a:gd name="connsiteY38" fmla="*/ 1 h 296908"/>
                  <a:gd name="connsiteX39" fmla="*/ 403941 w 513431"/>
                  <a:gd name="connsiteY39" fmla="*/ 1 h 296908"/>
                  <a:gd name="connsiteX40" fmla="*/ 412249 w 513431"/>
                  <a:gd name="connsiteY40" fmla="*/ 30778 h 296908"/>
                  <a:gd name="connsiteX41" fmla="*/ 414545 w 513431"/>
                  <a:gd name="connsiteY41" fmla="*/ 91478 h 296908"/>
                  <a:gd name="connsiteX42" fmla="*/ 513405 w 513431"/>
                  <a:gd name="connsiteY42" fmla="*/ 173505 h 296908"/>
                  <a:gd name="connsiteX43" fmla="*/ 513405 w 513431"/>
                  <a:gd name="connsiteY43" fmla="*/ 203427 h 296908"/>
                  <a:gd name="connsiteX44" fmla="*/ 475480 w 513431"/>
                  <a:gd name="connsiteY44" fmla="*/ 189389 h 296908"/>
                  <a:gd name="connsiteX45" fmla="*/ 465231 w 513431"/>
                  <a:gd name="connsiteY45" fmla="*/ 213143 h 296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513431" h="296908">
                    <a:moveTo>
                      <a:pt x="465231" y="213143"/>
                    </a:moveTo>
                    <a:cubicBezTo>
                      <a:pt x="459079" y="210669"/>
                      <a:pt x="451786" y="207698"/>
                      <a:pt x="442222" y="203829"/>
                    </a:cubicBezTo>
                    <a:cubicBezTo>
                      <a:pt x="448145" y="214853"/>
                      <a:pt x="452876" y="223582"/>
                      <a:pt x="457684" y="232581"/>
                    </a:cubicBezTo>
                    <a:cubicBezTo>
                      <a:pt x="464685" y="228712"/>
                      <a:pt x="471789" y="224796"/>
                      <a:pt x="479881" y="220297"/>
                    </a:cubicBezTo>
                    <a:cubicBezTo>
                      <a:pt x="485627" y="228441"/>
                      <a:pt x="473717" y="241671"/>
                      <a:pt x="488329" y="244554"/>
                    </a:cubicBezTo>
                    <a:cubicBezTo>
                      <a:pt x="487339" y="249053"/>
                      <a:pt x="487783" y="256028"/>
                      <a:pt x="485044" y="257693"/>
                    </a:cubicBezTo>
                    <a:cubicBezTo>
                      <a:pt x="472879" y="267572"/>
                      <a:pt x="457557" y="272717"/>
                      <a:pt x="441905" y="272181"/>
                    </a:cubicBezTo>
                    <a:cubicBezTo>
                      <a:pt x="429500" y="270472"/>
                      <a:pt x="417056" y="268987"/>
                      <a:pt x="404651" y="267276"/>
                    </a:cubicBezTo>
                    <a:cubicBezTo>
                      <a:pt x="403028" y="267052"/>
                      <a:pt x="400148" y="265972"/>
                      <a:pt x="400110" y="265208"/>
                    </a:cubicBezTo>
                    <a:cubicBezTo>
                      <a:pt x="399438" y="240279"/>
                      <a:pt x="377723" y="248874"/>
                      <a:pt x="364696" y="242844"/>
                    </a:cubicBezTo>
                    <a:cubicBezTo>
                      <a:pt x="362946" y="236005"/>
                      <a:pt x="361106" y="228806"/>
                      <a:pt x="358988" y="220436"/>
                    </a:cubicBezTo>
                    <a:cubicBezTo>
                      <a:pt x="350820" y="221680"/>
                      <a:pt x="344465" y="228202"/>
                      <a:pt x="343437" y="236409"/>
                    </a:cubicBezTo>
                    <a:cubicBezTo>
                      <a:pt x="339987" y="251288"/>
                      <a:pt x="327202" y="262147"/>
                      <a:pt x="311981" y="263138"/>
                    </a:cubicBezTo>
                    <a:cubicBezTo>
                      <a:pt x="306945" y="263211"/>
                      <a:pt x="302049" y="264863"/>
                      <a:pt x="298003" y="267862"/>
                    </a:cubicBezTo>
                    <a:cubicBezTo>
                      <a:pt x="285623" y="280336"/>
                      <a:pt x="268867" y="287472"/>
                      <a:pt x="251312" y="287750"/>
                    </a:cubicBezTo>
                    <a:cubicBezTo>
                      <a:pt x="231499" y="290089"/>
                      <a:pt x="211814" y="293510"/>
                      <a:pt x="192039" y="296259"/>
                    </a:cubicBezTo>
                    <a:cubicBezTo>
                      <a:pt x="168218" y="299589"/>
                      <a:pt x="157069" y="290230"/>
                      <a:pt x="155990" y="266112"/>
                    </a:cubicBezTo>
                    <a:cubicBezTo>
                      <a:pt x="155673" y="258508"/>
                      <a:pt x="155952" y="250904"/>
                      <a:pt x="155952" y="240510"/>
                    </a:cubicBezTo>
                    <a:cubicBezTo>
                      <a:pt x="145387" y="238306"/>
                      <a:pt x="134605" y="237265"/>
                      <a:pt x="123823" y="237405"/>
                    </a:cubicBezTo>
                    <a:cubicBezTo>
                      <a:pt x="87953" y="242400"/>
                      <a:pt x="66161" y="225571"/>
                      <a:pt x="48099" y="175085"/>
                    </a:cubicBezTo>
                    <a:cubicBezTo>
                      <a:pt x="57308" y="171485"/>
                      <a:pt x="66466" y="167435"/>
                      <a:pt x="75953" y="164332"/>
                    </a:cubicBezTo>
                    <a:cubicBezTo>
                      <a:pt x="106484" y="153721"/>
                      <a:pt x="139285" y="151515"/>
                      <a:pt x="170958" y="157942"/>
                    </a:cubicBezTo>
                    <a:cubicBezTo>
                      <a:pt x="185494" y="158791"/>
                      <a:pt x="200081" y="157670"/>
                      <a:pt x="214325" y="154610"/>
                    </a:cubicBezTo>
                    <a:cubicBezTo>
                      <a:pt x="199764" y="134587"/>
                      <a:pt x="179405" y="129142"/>
                      <a:pt x="160671" y="122123"/>
                    </a:cubicBezTo>
                    <a:cubicBezTo>
                      <a:pt x="150917" y="118952"/>
                      <a:pt x="140427" y="118858"/>
                      <a:pt x="130609" y="121853"/>
                    </a:cubicBezTo>
                    <a:cubicBezTo>
                      <a:pt x="103998" y="129907"/>
                      <a:pt x="77349" y="125536"/>
                      <a:pt x="50889" y="124103"/>
                    </a:cubicBezTo>
                    <a:cubicBezTo>
                      <a:pt x="34616" y="123157"/>
                      <a:pt x="28553" y="107319"/>
                      <a:pt x="19521" y="94405"/>
                    </a:cubicBezTo>
                    <a:cubicBezTo>
                      <a:pt x="40780" y="68353"/>
                      <a:pt x="80596" y="73841"/>
                      <a:pt x="100091" y="44414"/>
                    </a:cubicBezTo>
                    <a:cubicBezTo>
                      <a:pt x="74609" y="49184"/>
                      <a:pt x="50306" y="53728"/>
                      <a:pt x="25990" y="58274"/>
                    </a:cubicBezTo>
                    <a:cubicBezTo>
                      <a:pt x="25229" y="56563"/>
                      <a:pt x="24506" y="54808"/>
                      <a:pt x="23745" y="53099"/>
                    </a:cubicBezTo>
                    <a:cubicBezTo>
                      <a:pt x="28413" y="48869"/>
                      <a:pt x="33093" y="44590"/>
                      <a:pt x="40907" y="37575"/>
                    </a:cubicBezTo>
                    <a:cubicBezTo>
                      <a:pt x="25724" y="35820"/>
                      <a:pt x="13851" y="34426"/>
                      <a:pt x="1357" y="32986"/>
                    </a:cubicBezTo>
                    <a:cubicBezTo>
                      <a:pt x="-1763" y="21648"/>
                      <a:pt x="457" y="9501"/>
                      <a:pt x="7383" y="4"/>
                    </a:cubicBezTo>
                    <a:lnTo>
                      <a:pt x="303672" y="4"/>
                    </a:lnTo>
                    <a:cubicBezTo>
                      <a:pt x="305651" y="9318"/>
                      <a:pt x="307668" y="18632"/>
                      <a:pt x="309824" y="27944"/>
                    </a:cubicBezTo>
                    <a:cubicBezTo>
                      <a:pt x="310509" y="30913"/>
                      <a:pt x="314099" y="33163"/>
                      <a:pt x="316927" y="36403"/>
                    </a:cubicBezTo>
                    <a:cubicBezTo>
                      <a:pt x="321481" y="32737"/>
                      <a:pt x="325654" y="28621"/>
                      <a:pt x="329383" y="24118"/>
                    </a:cubicBezTo>
                    <a:cubicBezTo>
                      <a:pt x="331945" y="20294"/>
                      <a:pt x="335180" y="13500"/>
                      <a:pt x="333518" y="10710"/>
                    </a:cubicBezTo>
                    <a:cubicBezTo>
                      <a:pt x="331476" y="7267"/>
                      <a:pt x="329675" y="3689"/>
                      <a:pt x="328128" y="1"/>
                    </a:cubicBezTo>
                    <a:lnTo>
                      <a:pt x="403941" y="1"/>
                    </a:lnTo>
                    <a:cubicBezTo>
                      <a:pt x="407251" y="10103"/>
                      <a:pt x="410029" y="20377"/>
                      <a:pt x="412249" y="30778"/>
                    </a:cubicBezTo>
                    <a:cubicBezTo>
                      <a:pt x="414507" y="50927"/>
                      <a:pt x="415281" y="71216"/>
                      <a:pt x="414545" y="91478"/>
                    </a:cubicBezTo>
                    <a:cubicBezTo>
                      <a:pt x="428244" y="130805"/>
                      <a:pt x="475974" y="141558"/>
                      <a:pt x="513405" y="173505"/>
                    </a:cubicBezTo>
                    <a:lnTo>
                      <a:pt x="513405" y="203427"/>
                    </a:lnTo>
                    <a:cubicBezTo>
                      <a:pt x="499973" y="198434"/>
                      <a:pt x="489052" y="194384"/>
                      <a:pt x="475480" y="189389"/>
                    </a:cubicBezTo>
                    <a:cubicBezTo>
                      <a:pt x="472829" y="195551"/>
                      <a:pt x="469404" y="203469"/>
                      <a:pt x="465231" y="213143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06" name="Vrije vorm 505">
                <a:extLst>
                  <a:ext uri="{FF2B5EF4-FFF2-40B4-BE49-F238E27FC236}">
                    <a16:creationId xmlns:a16="http://schemas.microsoft.com/office/drawing/2014/main" id="{2E2D627B-0E11-0D47-B598-F13278996F28}"/>
                  </a:ext>
                </a:extLst>
              </p:cNvPr>
              <p:cNvSpPr/>
              <p:nvPr/>
            </p:nvSpPr>
            <p:spPr>
              <a:xfrm>
                <a:off x="1925180" y="1399981"/>
                <a:ext cx="148303" cy="87293"/>
              </a:xfrm>
              <a:custGeom>
                <a:avLst/>
                <a:gdLst>
                  <a:gd name="connsiteX0" fmla="*/ 148277 w 148303"/>
                  <a:gd name="connsiteY0" fmla="*/ 1 h 87293"/>
                  <a:gd name="connsiteX1" fmla="*/ 145842 w 148303"/>
                  <a:gd name="connsiteY1" fmla="*/ 26234 h 87293"/>
                  <a:gd name="connsiteX2" fmla="*/ 111823 w 148303"/>
                  <a:gd name="connsiteY2" fmla="*/ 53412 h 87293"/>
                  <a:gd name="connsiteX3" fmla="*/ 71563 w 148303"/>
                  <a:gd name="connsiteY3" fmla="*/ 87295 h 87293"/>
                  <a:gd name="connsiteX4" fmla="*/ 43747 w 148303"/>
                  <a:gd name="connsiteY4" fmla="*/ 32354 h 87293"/>
                  <a:gd name="connsiteX5" fmla="*/ -26 w 148303"/>
                  <a:gd name="connsiteY5" fmla="*/ 2 h 87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8303" h="87293">
                    <a:moveTo>
                      <a:pt x="148277" y="1"/>
                    </a:moveTo>
                    <a:cubicBezTo>
                      <a:pt x="146527" y="8633"/>
                      <a:pt x="145715" y="17428"/>
                      <a:pt x="145842" y="26234"/>
                    </a:cubicBezTo>
                    <a:cubicBezTo>
                      <a:pt x="145170" y="49856"/>
                      <a:pt x="135327" y="56785"/>
                      <a:pt x="111823" y="53412"/>
                    </a:cubicBezTo>
                    <a:cubicBezTo>
                      <a:pt x="97312" y="65604"/>
                      <a:pt x="85630" y="75461"/>
                      <a:pt x="71563" y="87295"/>
                    </a:cubicBezTo>
                    <a:cubicBezTo>
                      <a:pt x="64359" y="68002"/>
                      <a:pt x="55023" y="49575"/>
                      <a:pt x="43747" y="32354"/>
                    </a:cubicBezTo>
                    <a:cubicBezTo>
                      <a:pt x="30644" y="19680"/>
                      <a:pt x="15931" y="8801"/>
                      <a:pt x="-26" y="2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07" name="Vrije vorm 506">
                <a:extLst>
                  <a:ext uri="{FF2B5EF4-FFF2-40B4-BE49-F238E27FC236}">
                    <a16:creationId xmlns:a16="http://schemas.microsoft.com/office/drawing/2014/main" id="{368F3DF1-5422-2E48-9959-E901C610B703}"/>
                  </a:ext>
                </a:extLst>
              </p:cNvPr>
              <p:cNvSpPr/>
              <p:nvPr/>
            </p:nvSpPr>
            <p:spPr>
              <a:xfrm>
                <a:off x="2642598" y="1399977"/>
                <a:ext cx="103502" cy="65382"/>
              </a:xfrm>
              <a:custGeom>
                <a:avLst/>
                <a:gdLst>
                  <a:gd name="connsiteX0" fmla="*/ 103477 w 103502"/>
                  <a:gd name="connsiteY0" fmla="*/ 5 h 65382"/>
                  <a:gd name="connsiteX1" fmla="*/ 62266 w 103502"/>
                  <a:gd name="connsiteY1" fmla="*/ 35237 h 65382"/>
                  <a:gd name="connsiteX2" fmla="*/ 53539 w 103502"/>
                  <a:gd name="connsiteY2" fmla="*/ 65383 h 65382"/>
                  <a:gd name="connsiteX3" fmla="*/ 27258 w 103502"/>
                  <a:gd name="connsiteY3" fmla="*/ 47880 h 65382"/>
                  <a:gd name="connsiteX4" fmla="*/ -26 w 103502"/>
                  <a:gd name="connsiteY4" fmla="*/ 1 h 653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3502" h="65382">
                    <a:moveTo>
                      <a:pt x="103477" y="5"/>
                    </a:moveTo>
                    <a:cubicBezTo>
                      <a:pt x="96145" y="27318"/>
                      <a:pt x="89271" y="38431"/>
                      <a:pt x="62266" y="35237"/>
                    </a:cubicBezTo>
                    <a:cubicBezTo>
                      <a:pt x="59387" y="45091"/>
                      <a:pt x="56558" y="55035"/>
                      <a:pt x="53539" y="65383"/>
                    </a:cubicBezTo>
                    <a:cubicBezTo>
                      <a:pt x="42060" y="65359"/>
                      <a:pt x="31710" y="58468"/>
                      <a:pt x="27258" y="47880"/>
                    </a:cubicBezTo>
                    <a:cubicBezTo>
                      <a:pt x="19064" y="31420"/>
                      <a:pt x="9956" y="15435"/>
                      <a:pt x="-26" y="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08" name="Vrije vorm 507">
                <a:extLst>
                  <a:ext uri="{FF2B5EF4-FFF2-40B4-BE49-F238E27FC236}">
                    <a16:creationId xmlns:a16="http://schemas.microsoft.com/office/drawing/2014/main" id="{02611F91-CE38-9346-8E91-BF89AC72EA81}"/>
                  </a:ext>
                </a:extLst>
              </p:cNvPr>
              <p:cNvSpPr/>
              <p:nvPr/>
            </p:nvSpPr>
            <p:spPr>
              <a:xfrm>
                <a:off x="3017346" y="1890502"/>
                <a:ext cx="188631" cy="182584"/>
              </a:xfrm>
              <a:custGeom>
                <a:avLst/>
                <a:gdLst>
                  <a:gd name="connsiteX0" fmla="*/ 149437 w 188631"/>
                  <a:gd name="connsiteY0" fmla="*/ 124340 h 182584"/>
                  <a:gd name="connsiteX1" fmla="*/ 139493 w 188631"/>
                  <a:gd name="connsiteY1" fmla="*/ 80449 h 182584"/>
                  <a:gd name="connsiteX2" fmla="*/ 71848 w 188631"/>
                  <a:gd name="connsiteY2" fmla="*/ 33473 h 182584"/>
                  <a:gd name="connsiteX3" fmla="*/ 60876 w 188631"/>
                  <a:gd name="connsiteY3" fmla="*/ 47757 h 182584"/>
                  <a:gd name="connsiteX4" fmla="*/ 53037 w 188631"/>
                  <a:gd name="connsiteY4" fmla="*/ 319 h 182584"/>
                  <a:gd name="connsiteX5" fmla="*/ 53151 w 188631"/>
                  <a:gd name="connsiteY5" fmla="*/ 237 h 182584"/>
                  <a:gd name="connsiteX6" fmla="*/ 52999 w 188631"/>
                  <a:gd name="connsiteY6" fmla="*/ 60 h 182584"/>
                  <a:gd name="connsiteX7" fmla="*/ 52986 w 188631"/>
                  <a:gd name="connsiteY7" fmla="*/ 1 h 182584"/>
                  <a:gd name="connsiteX8" fmla="*/ 52961 w 188631"/>
                  <a:gd name="connsiteY8" fmla="*/ 382 h 182584"/>
                  <a:gd name="connsiteX9" fmla="*/ 29952 w 188631"/>
                  <a:gd name="connsiteY9" fmla="*/ 24938 h 182584"/>
                  <a:gd name="connsiteX10" fmla="*/ 21986 w 188631"/>
                  <a:gd name="connsiteY10" fmla="*/ 122278 h 182584"/>
                  <a:gd name="connsiteX11" fmla="*/ 93 w 188631"/>
                  <a:gd name="connsiteY11" fmla="*/ 151286 h 182584"/>
                  <a:gd name="connsiteX12" fmla="*/ 41660 w 188631"/>
                  <a:gd name="connsiteY12" fmla="*/ 143563 h 182584"/>
                  <a:gd name="connsiteX13" fmla="*/ 45960 w 188631"/>
                  <a:gd name="connsiteY13" fmla="*/ 182585 h 182584"/>
                  <a:gd name="connsiteX14" fmla="*/ 97305 w 188631"/>
                  <a:gd name="connsiteY14" fmla="*/ 129167 h 182584"/>
                  <a:gd name="connsiteX15" fmla="*/ 119223 w 188631"/>
                  <a:gd name="connsiteY15" fmla="*/ 122717 h 182584"/>
                  <a:gd name="connsiteX16" fmla="*/ 139632 w 188631"/>
                  <a:gd name="connsiteY16" fmla="*/ 145132 h 182584"/>
                  <a:gd name="connsiteX17" fmla="*/ 174577 w 188631"/>
                  <a:gd name="connsiteY17" fmla="*/ 158404 h 182584"/>
                  <a:gd name="connsiteX18" fmla="*/ 188606 w 188631"/>
                  <a:gd name="connsiteY18" fmla="*/ 142603 h 182584"/>
                  <a:gd name="connsiteX19" fmla="*/ 149437 w 188631"/>
                  <a:gd name="connsiteY19" fmla="*/ 124340 h 182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88631" h="182584">
                    <a:moveTo>
                      <a:pt x="149437" y="124340"/>
                    </a:moveTo>
                    <a:cubicBezTo>
                      <a:pt x="155247" y="109040"/>
                      <a:pt x="151327" y="91745"/>
                      <a:pt x="139493" y="80449"/>
                    </a:cubicBezTo>
                    <a:cubicBezTo>
                      <a:pt x="117067" y="64625"/>
                      <a:pt x="94413" y="49116"/>
                      <a:pt x="71848" y="33473"/>
                    </a:cubicBezTo>
                    <a:lnTo>
                      <a:pt x="60876" y="47757"/>
                    </a:lnTo>
                    <a:cubicBezTo>
                      <a:pt x="57781" y="29009"/>
                      <a:pt x="55409" y="14648"/>
                      <a:pt x="53037" y="319"/>
                    </a:cubicBezTo>
                    <a:lnTo>
                      <a:pt x="53151" y="237"/>
                    </a:lnTo>
                    <a:lnTo>
                      <a:pt x="52999" y="60"/>
                    </a:lnTo>
                    <a:lnTo>
                      <a:pt x="52986" y="1"/>
                    </a:lnTo>
                    <a:lnTo>
                      <a:pt x="52961" y="382"/>
                    </a:lnTo>
                    <a:cubicBezTo>
                      <a:pt x="35457" y="4160"/>
                      <a:pt x="31779" y="7032"/>
                      <a:pt x="29952" y="24938"/>
                    </a:cubicBezTo>
                    <a:cubicBezTo>
                      <a:pt x="26730" y="56517"/>
                      <a:pt x="24714" y="88218"/>
                      <a:pt x="21986" y="122278"/>
                    </a:cubicBezTo>
                    <a:cubicBezTo>
                      <a:pt x="14756" y="129048"/>
                      <a:pt x="-1581" y="132482"/>
                      <a:pt x="93" y="151286"/>
                    </a:cubicBezTo>
                    <a:lnTo>
                      <a:pt x="41660" y="143563"/>
                    </a:lnTo>
                    <a:cubicBezTo>
                      <a:pt x="43106" y="156607"/>
                      <a:pt x="44361" y="168009"/>
                      <a:pt x="45960" y="182585"/>
                    </a:cubicBezTo>
                    <a:cubicBezTo>
                      <a:pt x="68994" y="171629"/>
                      <a:pt x="87259" y="152636"/>
                      <a:pt x="97305" y="129167"/>
                    </a:cubicBezTo>
                    <a:cubicBezTo>
                      <a:pt x="104725" y="115506"/>
                      <a:pt x="104598" y="117482"/>
                      <a:pt x="119223" y="122717"/>
                    </a:cubicBezTo>
                    <a:cubicBezTo>
                      <a:pt x="132237" y="127377"/>
                      <a:pt x="130563" y="140674"/>
                      <a:pt x="139632" y="145132"/>
                    </a:cubicBezTo>
                    <a:cubicBezTo>
                      <a:pt x="150312" y="150381"/>
                      <a:pt x="161931" y="153712"/>
                      <a:pt x="174577" y="158404"/>
                    </a:cubicBezTo>
                    <a:lnTo>
                      <a:pt x="188606" y="142603"/>
                    </a:lnTo>
                    <a:cubicBezTo>
                      <a:pt x="184217" y="111925"/>
                      <a:pt x="163276" y="127964"/>
                      <a:pt x="149437" y="12434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09" name="Vrije vorm 508">
                <a:extLst>
                  <a:ext uri="{FF2B5EF4-FFF2-40B4-BE49-F238E27FC236}">
                    <a16:creationId xmlns:a16="http://schemas.microsoft.com/office/drawing/2014/main" id="{F71084E8-E77F-6545-B692-6DFC2078DDD7}"/>
                  </a:ext>
                </a:extLst>
              </p:cNvPr>
              <p:cNvSpPr/>
              <p:nvPr/>
            </p:nvSpPr>
            <p:spPr>
              <a:xfrm>
                <a:off x="3808071" y="2689688"/>
                <a:ext cx="170729" cy="199193"/>
              </a:xfrm>
              <a:custGeom>
                <a:avLst/>
                <a:gdLst>
                  <a:gd name="connsiteX0" fmla="*/ 101650 w 170729"/>
                  <a:gd name="connsiteY0" fmla="*/ 1696 h 199193"/>
                  <a:gd name="connsiteX1" fmla="*/ 72413 w 170729"/>
                  <a:gd name="connsiteY1" fmla="*/ 12593 h 199193"/>
                  <a:gd name="connsiteX2" fmla="*/ 33054 w 170729"/>
                  <a:gd name="connsiteY2" fmla="*/ 93466 h 199193"/>
                  <a:gd name="connsiteX3" fmla="*/ 34005 w 170729"/>
                  <a:gd name="connsiteY3" fmla="*/ 106382 h 199193"/>
                  <a:gd name="connsiteX4" fmla="*/ 19698 w 170729"/>
                  <a:gd name="connsiteY4" fmla="*/ 132443 h 199193"/>
                  <a:gd name="connsiteX5" fmla="*/ -26 w 170729"/>
                  <a:gd name="connsiteY5" fmla="*/ 160840 h 199193"/>
                  <a:gd name="connsiteX6" fmla="*/ 42757 w 170729"/>
                  <a:gd name="connsiteY6" fmla="*/ 167533 h 199193"/>
                  <a:gd name="connsiteX7" fmla="*/ 86188 w 170729"/>
                  <a:gd name="connsiteY7" fmla="*/ 165793 h 199193"/>
                  <a:gd name="connsiteX8" fmla="*/ 129619 w 170729"/>
                  <a:gd name="connsiteY8" fmla="*/ 169971 h 199193"/>
                  <a:gd name="connsiteX9" fmla="*/ 99823 w 170729"/>
                  <a:gd name="connsiteY9" fmla="*/ 198025 h 199193"/>
                  <a:gd name="connsiteX10" fmla="*/ 126042 w 170729"/>
                  <a:gd name="connsiteY10" fmla="*/ 178975 h 199193"/>
                  <a:gd name="connsiteX11" fmla="*/ 151435 w 170729"/>
                  <a:gd name="connsiteY11" fmla="*/ 158490 h 199193"/>
                  <a:gd name="connsiteX12" fmla="*/ 170703 w 170729"/>
                  <a:gd name="connsiteY12" fmla="*/ 131566 h 199193"/>
                  <a:gd name="connsiteX13" fmla="*/ 154454 w 170729"/>
                  <a:gd name="connsiteY13" fmla="*/ 135948 h 199193"/>
                  <a:gd name="connsiteX14" fmla="*/ 164145 w 170729"/>
                  <a:gd name="connsiteY14" fmla="*/ 94863 h 199193"/>
                  <a:gd name="connsiteX15" fmla="*/ 139386 w 170729"/>
                  <a:gd name="connsiteY15" fmla="*/ 95257 h 199193"/>
                  <a:gd name="connsiteX16" fmla="*/ 93215 w 170729"/>
                  <a:gd name="connsiteY16" fmla="*/ 86494 h 199193"/>
                  <a:gd name="connsiteX17" fmla="*/ 98289 w 170729"/>
                  <a:gd name="connsiteY17" fmla="*/ 70581 h 199193"/>
                  <a:gd name="connsiteX18" fmla="*/ 70155 w 170729"/>
                  <a:gd name="connsiteY18" fmla="*/ 77223 h 199193"/>
                  <a:gd name="connsiteX19" fmla="*/ 72451 w 170729"/>
                  <a:gd name="connsiteY19" fmla="*/ 64485 h 199193"/>
                  <a:gd name="connsiteX20" fmla="*/ 94915 w 170729"/>
                  <a:gd name="connsiteY20" fmla="*/ 6738 h 199193"/>
                  <a:gd name="connsiteX21" fmla="*/ 101650 w 170729"/>
                  <a:gd name="connsiteY21" fmla="*/ 1696 h 199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70729" h="199193">
                    <a:moveTo>
                      <a:pt x="101650" y="1696"/>
                    </a:moveTo>
                    <a:cubicBezTo>
                      <a:pt x="90564" y="-2800"/>
                      <a:pt x="77867" y="1925"/>
                      <a:pt x="72413" y="12593"/>
                    </a:cubicBezTo>
                    <a:cubicBezTo>
                      <a:pt x="58486" y="39136"/>
                      <a:pt x="45649" y="66250"/>
                      <a:pt x="33054" y="93466"/>
                    </a:cubicBezTo>
                    <a:cubicBezTo>
                      <a:pt x="31418" y="97010"/>
                      <a:pt x="35134" y="105938"/>
                      <a:pt x="34005" y="106382"/>
                    </a:cubicBezTo>
                    <a:cubicBezTo>
                      <a:pt x="21435" y="111348"/>
                      <a:pt x="20053" y="119209"/>
                      <a:pt x="19698" y="132443"/>
                    </a:cubicBezTo>
                    <a:cubicBezTo>
                      <a:pt x="19444" y="142018"/>
                      <a:pt x="6658" y="151150"/>
                      <a:pt x="-26" y="160840"/>
                    </a:cubicBezTo>
                    <a:lnTo>
                      <a:pt x="42757" y="167533"/>
                    </a:lnTo>
                    <a:cubicBezTo>
                      <a:pt x="57243" y="167177"/>
                      <a:pt x="71728" y="165564"/>
                      <a:pt x="86188" y="165793"/>
                    </a:cubicBezTo>
                    <a:cubicBezTo>
                      <a:pt x="98441" y="165996"/>
                      <a:pt x="110669" y="168053"/>
                      <a:pt x="129619" y="169971"/>
                    </a:cubicBezTo>
                    <a:lnTo>
                      <a:pt x="99823" y="198025"/>
                    </a:lnTo>
                    <a:cubicBezTo>
                      <a:pt x="116897" y="204096"/>
                      <a:pt x="116795" y="184830"/>
                      <a:pt x="126042" y="178975"/>
                    </a:cubicBezTo>
                    <a:cubicBezTo>
                      <a:pt x="135327" y="173222"/>
                      <a:pt x="143850" y="166339"/>
                      <a:pt x="151435" y="158490"/>
                    </a:cubicBezTo>
                    <a:cubicBezTo>
                      <a:pt x="158475" y="149969"/>
                      <a:pt x="164906" y="140977"/>
                      <a:pt x="170703" y="131566"/>
                    </a:cubicBezTo>
                    <a:lnTo>
                      <a:pt x="154454" y="135948"/>
                    </a:lnTo>
                    <a:cubicBezTo>
                      <a:pt x="141682" y="120060"/>
                      <a:pt x="156180" y="110345"/>
                      <a:pt x="164145" y="94863"/>
                    </a:cubicBezTo>
                    <a:cubicBezTo>
                      <a:pt x="155926" y="93733"/>
                      <a:pt x="147580" y="93860"/>
                      <a:pt x="139386" y="95257"/>
                    </a:cubicBezTo>
                    <a:cubicBezTo>
                      <a:pt x="123619" y="101734"/>
                      <a:pt x="105519" y="98292"/>
                      <a:pt x="93215" y="86494"/>
                    </a:cubicBezTo>
                    <a:lnTo>
                      <a:pt x="98289" y="70581"/>
                    </a:lnTo>
                    <a:cubicBezTo>
                      <a:pt x="85681" y="55392"/>
                      <a:pt x="81381" y="78633"/>
                      <a:pt x="70155" y="77223"/>
                    </a:cubicBezTo>
                    <a:cubicBezTo>
                      <a:pt x="70434" y="72905"/>
                      <a:pt x="71195" y="68638"/>
                      <a:pt x="72451" y="64485"/>
                    </a:cubicBezTo>
                    <a:cubicBezTo>
                      <a:pt x="80696" y="45562"/>
                      <a:pt x="98822" y="30512"/>
                      <a:pt x="94915" y="6738"/>
                    </a:cubicBezTo>
                    <a:cubicBezTo>
                      <a:pt x="94788" y="5963"/>
                      <a:pt x="97540" y="4706"/>
                      <a:pt x="101650" y="1696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10" name="Vrije vorm 509">
                <a:extLst>
                  <a:ext uri="{FF2B5EF4-FFF2-40B4-BE49-F238E27FC236}">
                    <a16:creationId xmlns:a16="http://schemas.microsoft.com/office/drawing/2014/main" id="{2E516BE9-7B07-674D-AE60-FC269CF35DE7}"/>
                  </a:ext>
                </a:extLst>
              </p:cNvPr>
              <p:cNvSpPr/>
              <p:nvPr/>
            </p:nvSpPr>
            <p:spPr>
              <a:xfrm>
                <a:off x="2664808" y="1588792"/>
                <a:ext cx="114982" cy="110666"/>
              </a:xfrm>
              <a:custGeom>
                <a:avLst/>
                <a:gdLst>
                  <a:gd name="connsiteX0" fmla="*/ 44686 w 114982"/>
                  <a:gd name="connsiteY0" fmla="*/ 1 h 110666"/>
                  <a:gd name="connsiteX1" fmla="*/ 35680 w 114982"/>
                  <a:gd name="connsiteY1" fmla="*/ 21881 h 110666"/>
                  <a:gd name="connsiteX2" fmla="*/ -26 w 114982"/>
                  <a:gd name="connsiteY2" fmla="*/ 62217 h 110666"/>
                  <a:gd name="connsiteX3" fmla="*/ 3005 w 114982"/>
                  <a:gd name="connsiteY3" fmla="*/ 73279 h 110666"/>
                  <a:gd name="connsiteX4" fmla="*/ 88040 w 114982"/>
                  <a:gd name="connsiteY4" fmla="*/ 110668 h 110666"/>
                  <a:gd name="connsiteX5" fmla="*/ 114956 w 114982"/>
                  <a:gd name="connsiteY5" fmla="*/ 86835 h 110666"/>
                  <a:gd name="connsiteX6" fmla="*/ 96589 w 114982"/>
                  <a:gd name="connsiteY6" fmla="*/ 61879 h 110666"/>
                  <a:gd name="connsiteX7" fmla="*/ 44686 w 114982"/>
                  <a:gd name="connsiteY7" fmla="*/ 1 h 1106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4982" h="110666">
                    <a:moveTo>
                      <a:pt x="44686" y="1"/>
                    </a:moveTo>
                    <a:cubicBezTo>
                      <a:pt x="40195" y="6590"/>
                      <a:pt x="37126" y="14041"/>
                      <a:pt x="35680" y="21881"/>
                    </a:cubicBezTo>
                    <a:cubicBezTo>
                      <a:pt x="32103" y="42342"/>
                      <a:pt x="26344" y="60670"/>
                      <a:pt x="-26" y="62217"/>
                    </a:cubicBezTo>
                    <a:cubicBezTo>
                      <a:pt x="1255" y="67227"/>
                      <a:pt x="1344" y="72758"/>
                      <a:pt x="3005" y="73279"/>
                    </a:cubicBezTo>
                    <a:cubicBezTo>
                      <a:pt x="33067" y="82763"/>
                      <a:pt x="56241" y="108496"/>
                      <a:pt x="88040" y="110668"/>
                    </a:cubicBezTo>
                    <a:lnTo>
                      <a:pt x="114956" y="86835"/>
                    </a:lnTo>
                    <a:cubicBezTo>
                      <a:pt x="108424" y="78311"/>
                      <a:pt x="98568" y="70960"/>
                      <a:pt x="96589" y="61879"/>
                    </a:cubicBezTo>
                    <a:cubicBezTo>
                      <a:pt x="89994" y="31630"/>
                      <a:pt x="60389" y="22851"/>
                      <a:pt x="44686" y="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11" name="Vrije vorm 510">
                <a:extLst>
                  <a:ext uri="{FF2B5EF4-FFF2-40B4-BE49-F238E27FC236}">
                    <a16:creationId xmlns:a16="http://schemas.microsoft.com/office/drawing/2014/main" id="{CCD739D5-A317-A942-B01C-099D70AE4642}"/>
                  </a:ext>
                </a:extLst>
              </p:cNvPr>
              <p:cNvSpPr/>
              <p:nvPr/>
            </p:nvSpPr>
            <p:spPr>
              <a:xfrm>
                <a:off x="3297559" y="1712501"/>
                <a:ext cx="61742" cy="79305"/>
              </a:xfrm>
              <a:custGeom>
                <a:avLst/>
                <a:gdLst>
                  <a:gd name="connsiteX0" fmla="*/ 13013 w 61742"/>
                  <a:gd name="connsiteY0" fmla="*/ 11003 h 79305"/>
                  <a:gd name="connsiteX1" fmla="*/ 8890 w 61742"/>
                  <a:gd name="connsiteY1" fmla="*/ 79307 h 79305"/>
                  <a:gd name="connsiteX2" fmla="*/ 28196 w 61742"/>
                  <a:gd name="connsiteY2" fmla="*/ 78323 h 79305"/>
                  <a:gd name="connsiteX3" fmla="*/ 61466 w 61742"/>
                  <a:gd name="connsiteY3" fmla="*/ 38572 h 79305"/>
                  <a:gd name="connsiteX4" fmla="*/ 61352 w 61742"/>
                  <a:gd name="connsiteY4" fmla="*/ 11315 h 79305"/>
                  <a:gd name="connsiteX5" fmla="*/ 13013 w 61742"/>
                  <a:gd name="connsiteY5" fmla="*/ 11003 h 793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1742" h="79305">
                    <a:moveTo>
                      <a:pt x="13013" y="11003"/>
                    </a:moveTo>
                    <a:cubicBezTo>
                      <a:pt x="164" y="31808"/>
                      <a:pt x="-6534" y="53738"/>
                      <a:pt x="8890" y="79307"/>
                    </a:cubicBezTo>
                    <a:cubicBezTo>
                      <a:pt x="16184" y="78958"/>
                      <a:pt x="22221" y="79006"/>
                      <a:pt x="28196" y="78323"/>
                    </a:cubicBezTo>
                    <a:cubicBezTo>
                      <a:pt x="53792" y="75393"/>
                      <a:pt x="63445" y="63454"/>
                      <a:pt x="61466" y="38572"/>
                    </a:cubicBezTo>
                    <a:cubicBezTo>
                      <a:pt x="60743" y="29344"/>
                      <a:pt x="61352" y="20010"/>
                      <a:pt x="61352" y="11315"/>
                    </a:cubicBezTo>
                    <a:cubicBezTo>
                      <a:pt x="38546" y="-3513"/>
                      <a:pt x="22221" y="-3919"/>
                      <a:pt x="13013" y="11003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12" name="Vrije vorm 511">
                <a:extLst>
                  <a:ext uri="{FF2B5EF4-FFF2-40B4-BE49-F238E27FC236}">
                    <a16:creationId xmlns:a16="http://schemas.microsoft.com/office/drawing/2014/main" id="{14F616F3-C488-C247-9CCD-5E2A59C66029}"/>
                  </a:ext>
                </a:extLst>
              </p:cNvPr>
              <p:cNvSpPr/>
              <p:nvPr/>
            </p:nvSpPr>
            <p:spPr>
              <a:xfrm>
                <a:off x="2404503" y="1667326"/>
                <a:ext cx="88548" cy="58556"/>
              </a:xfrm>
              <a:custGeom>
                <a:avLst/>
                <a:gdLst>
                  <a:gd name="connsiteX0" fmla="*/ 63319 w 88548"/>
                  <a:gd name="connsiteY0" fmla="*/ 2993 h 58556"/>
                  <a:gd name="connsiteX1" fmla="*/ 17871 w 88548"/>
                  <a:gd name="connsiteY1" fmla="*/ 21961 h 58556"/>
                  <a:gd name="connsiteX2" fmla="*/ -26 w 88548"/>
                  <a:gd name="connsiteY2" fmla="*/ 42309 h 58556"/>
                  <a:gd name="connsiteX3" fmla="*/ 21309 w 88548"/>
                  <a:gd name="connsiteY3" fmla="*/ 58557 h 58556"/>
                  <a:gd name="connsiteX4" fmla="*/ 53324 w 88548"/>
                  <a:gd name="connsiteY4" fmla="*/ 38872 h 58556"/>
                  <a:gd name="connsiteX5" fmla="*/ 88522 w 88548"/>
                  <a:gd name="connsiteY5" fmla="*/ 13142 h 58556"/>
                  <a:gd name="connsiteX6" fmla="*/ 69661 w 88548"/>
                  <a:gd name="connsiteY6" fmla="*/ 288 h 58556"/>
                  <a:gd name="connsiteX7" fmla="*/ 63319 w 88548"/>
                  <a:gd name="connsiteY7" fmla="*/ 2993 h 585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8548" h="58556">
                    <a:moveTo>
                      <a:pt x="63319" y="2993"/>
                    </a:moveTo>
                    <a:cubicBezTo>
                      <a:pt x="48364" y="9770"/>
                      <a:pt x="32217" y="14169"/>
                      <a:pt x="17871" y="21961"/>
                    </a:cubicBezTo>
                    <a:cubicBezTo>
                      <a:pt x="10603" y="25898"/>
                      <a:pt x="6138" y="35023"/>
                      <a:pt x="-26" y="42309"/>
                    </a:cubicBezTo>
                    <a:lnTo>
                      <a:pt x="21309" y="58557"/>
                    </a:lnTo>
                    <a:cubicBezTo>
                      <a:pt x="22298" y="32247"/>
                      <a:pt x="43519" y="49235"/>
                      <a:pt x="53324" y="38872"/>
                    </a:cubicBezTo>
                    <a:cubicBezTo>
                      <a:pt x="64270" y="29265"/>
                      <a:pt x="76054" y="20654"/>
                      <a:pt x="88522" y="13142"/>
                    </a:cubicBezTo>
                    <a:cubicBezTo>
                      <a:pt x="86861" y="4376"/>
                      <a:pt x="78413" y="-1378"/>
                      <a:pt x="69661" y="288"/>
                    </a:cubicBezTo>
                    <a:cubicBezTo>
                      <a:pt x="67378" y="723"/>
                      <a:pt x="65221" y="1646"/>
                      <a:pt x="63319" y="2993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13" name="Vrije vorm 512">
                <a:extLst>
                  <a:ext uri="{FF2B5EF4-FFF2-40B4-BE49-F238E27FC236}">
                    <a16:creationId xmlns:a16="http://schemas.microsoft.com/office/drawing/2014/main" id="{FBB49881-4C94-C440-987E-ABAC849C0C9B}"/>
                  </a:ext>
                </a:extLst>
              </p:cNvPr>
              <p:cNvSpPr/>
              <p:nvPr/>
            </p:nvSpPr>
            <p:spPr>
              <a:xfrm>
                <a:off x="3111272" y="2082335"/>
                <a:ext cx="51593" cy="44168"/>
              </a:xfrm>
              <a:custGeom>
                <a:avLst/>
                <a:gdLst>
                  <a:gd name="connsiteX0" fmla="*/ 2378 w 51593"/>
                  <a:gd name="connsiteY0" fmla="*/ 25712 h 44168"/>
                  <a:gd name="connsiteX1" fmla="*/ 14808 w 51593"/>
                  <a:gd name="connsiteY1" fmla="*/ 44158 h 44168"/>
                  <a:gd name="connsiteX2" fmla="*/ 51567 w 51593"/>
                  <a:gd name="connsiteY2" fmla="*/ 1 h 44168"/>
                  <a:gd name="connsiteX3" fmla="*/ 11142 w 51593"/>
                  <a:gd name="connsiteY3" fmla="*/ 8017 h 44168"/>
                  <a:gd name="connsiteX4" fmla="*/ 2378 w 51593"/>
                  <a:gd name="connsiteY4" fmla="*/ 25712 h 44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593" h="44168">
                    <a:moveTo>
                      <a:pt x="2378" y="25712"/>
                    </a:moveTo>
                    <a:cubicBezTo>
                      <a:pt x="-3254" y="38176"/>
                      <a:pt x="1058" y="44487"/>
                      <a:pt x="14808" y="44158"/>
                    </a:cubicBezTo>
                    <a:cubicBezTo>
                      <a:pt x="28938" y="43820"/>
                      <a:pt x="47102" y="23762"/>
                      <a:pt x="51567" y="1"/>
                    </a:cubicBezTo>
                    <a:lnTo>
                      <a:pt x="11142" y="8017"/>
                    </a:lnTo>
                    <a:cubicBezTo>
                      <a:pt x="7680" y="14972"/>
                      <a:pt x="4851" y="20264"/>
                      <a:pt x="2378" y="25712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14" name="Vrije vorm 513">
                <a:extLst>
                  <a:ext uri="{FF2B5EF4-FFF2-40B4-BE49-F238E27FC236}">
                    <a16:creationId xmlns:a16="http://schemas.microsoft.com/office/drawing/2014/main" id="{EF34457C-7384-484E-B3D4-B6C772D42A05}"/>
                  </a:ext>
                </a:extLst>
              </p:cNvPr>
              <p:cNvSpPr/>
              <p:nvPr/>
            </p:nvSpPr>
            <p:spPr>
              <a:xfrm>
                <a:off x="3665235" y="2761118"/>
                <a:ext cx="75483" cy="33710"/>
              </a:xfrm>
              <a:custGeom>
                <a:avLst/>
                <a:gdLst>
                  <a:gd name="connsiteX0" fmla="*/ 75458 w 75483"/>
                  <a:gd name="connsiteY0" fmla="*/ 33059 h 33710"/>
                  <a:gd name="connsiteX1" fmla="*/ -26 w 75483"/>
                  <a:gd name="connsiteY1" fmla="*/ 1 h 33710"/>
                  <a:gd name="connsiteX2" fmla="*/ 75458 w 75483"/>
                  <a:gd name="connsiteY2" fmla="*/ 33059 h 337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5483" h="33710">
                    <a:moveTo>
                      <a:pt x="75458" y="33059"/>
                    </a:moveTo>
                    <a:cubicBezTo>
                      <a:pt x="54808" y="13730"/>
                      <a:pt x="28171" y="2071"/>
                      <a:pt x="-26" y="1"/>
                    </a:cubicBezTo>
                    <a:cubicBezTo>
                      <a:pt x="20497" y="19686"/>
                      <a:pt x="39904" y="37365"/>
                      <a:pt x="75458" y="33059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15" name="Vrije vorm 514">
                <a:extLst>
                  <a:ext uri="{FF2B5EF4-FFF2-40B4-BE49-F238E27FC236}">
                    <a16:creationId xmlns:a16="http://schemas.microsoft.com/office/drawing/2014/main" id="{11F39896-5AC6-DA4F-8C26-8526594BD8D2}"/>
                  </a:ext>
                </a:extLst>
              </p:cNvPr>
              <p:cNvSpPr/>
              <p:nvPr/>
            </p:nvSpPr>
            <p:spPr>
              <a:xfrm>
                <a:off x="3956946" y="2847224"/>
                <a:ext cx="37557" cy="50380"/>
              </a:xfrm>
              <a:custGeom>
                <a:avLst/>
                <a:gdLst>
                  <a:gd name="connsiteX0" fmla="*/ 37 w 37557"/>
                  <a:gd name="connsiteY0" fmla="*/ 39384 h 50380"/>
                  <a:gd name="connsiteX1" fmla="*/ 26990 w 37557"/>
                  <a:gd name="connsiteY1" fmla="*/ 50382 h 50380"/>
                  <a:gd name="connsiteX2" fmla="*/ 37531 w 37557"/>
                  <a:gd name="connsiteY2" fmla="*/ 15813 h 50380"/>
                  <a:gd name="connsiteX3" fmla="*/ 22640 w 37557"/>
                  <a:gd name="connsiteY3" fmla="*/ 15813 h 50380"/>
                  <a:gd name="connsiteX4" fmla="*/ 24517 w 37557"/>
                  <a:gd name="connsiteY4" fmla="*/ 1 h 50380"/>
                  <a:gd name="connsiteX5" fmla="*/ 37 w 37557"/>
                  <a:gd name="connsiteY5" fmla="*/ 39384 h 503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7557" h="50380">
                    <a:moveTo>
                      <a:pt x="37" y="39384"/>
                    </a:moveTo>
                    <a:cubicBezTo>
                      <a:pt x="9512" y="41695"/>
                      <a:pt x="18594" y="45404"/>
                      <a:pt x="26990" y="50382"/>
                    </a:cubicBezTo>
                    <a:lnTo>
                      <a:pt x="37531" y="15813"/>
                    </a:lnTo>
                    <a:lnTo>
                      <a:pt x="22640" y="15813"/>
                    </a:lnTo>
                    <a:cubicBezTo>
                      <a:pt x="23363" y="9742"/>
                      <a:pt x="23946" y="4878"/>
                      <a:pt x="24517" y="1"/>
                    </a:cubicBezTo>
                    <a:cubicBezTo>
                      <a:pt x="14928" y="12307"/>
                      <a:pt x="-1156" y="20829"/>
                      <a:pt x="37" y="39384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16" name="Vrije vorm 515">
                <a:extLst>
                  <a:ext uri="{FF2B5EF4-FFF2-40B4-BE49-F238E27FC236}">
                    <a16:creationId xmlns:a16="http://schemas.microsoft.com/office/drawing/2014/main" id="{EC6132C4-CF25-004E-BBEB-9D2CC919F9C2}"/>
                  </a:ext>
                </a:extLst>
              </p:cNvPr>
              <p:cNvSpPr/>
              <p:nvPr/>
            </p:nvSpPr>
            <p:spPr>
              <a:xfrm>
                <a:off x="3212774" y="2119194"/>
                <a:ext cx="25422" cy="43142"/>
              </a:xfrm>
              <a:custGeom>
                <a:avLst/>
                <a:gdLst>
                  <a:gd name="connsiteX0" fmla="*/ 5330 w 25422"/>
                  <a:gd name="connsiteY0" fmla="*/ 5951 h 43142"/>
                  <a:gd name="connsiteX1" fmla="*/ 14462 w 25422"/>
                  <a:gd name="connsiteY1" fmla="*/ 43143 h 43142"/>
                  <a:gd name="connsiteX2" fmla="*/ 25396 w 25422"/>
                  <a:gd name="connsiteY2" fmla="*/ 14361 h 43142"/>
                  <a:gd name="connsiteX3" fmla="*/ 17735 w 25422"/>
                  <a:gd name="connsiteY3" fmla="*/ 291 h 43142"/>
                  <a:gd name="connsiteX4" fmla="*/ 5330 w 25422"/>
                  <a:gd name="connsiteY4" fmla="*/ 5951 h 431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422" h="43142">
                    <a:moveTo>
                      <a:pt x="5330" y="5951"/>
                    </a:moveTo>
                    <a:cubicBezTo>
                      <a:pt x="-4171" y="17649"/>
                      <a:pt x="-975" y="30697"/>
                      <a:pt x="14462" y="43143"/>
                    </a:cubicBezTo>
                    <a:cubicBezTo>
                      <a:pt x="18965" y="33896"/>
                      <a:pt x="22618" y="24263"/>
                      <a:pt x="25396" y="14361"/>
                    </a:cubicBezTo>
                    <a:cubicBezTo>
                      <a:pt x="25079" y="8761"/>
                      <a:pt x="22263" y="3599"/>
                      <a:pt x="17735" y="291"/>
                    </a:cubicBezTo>
                    <a:cubicBezTo>
                      <a:pt x="16010" y="-1067"/>
                      <a:pt x="8057" y="2604"/>
                      <a:pt x="5330" y="595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17" name="Vrije vorm 516">
                <a:extLst>
                  <a:ext uri="{FF2B5EF4-FFF2-40B4-BE49-F238E27FC236}">
                    <a16:creationId xmlns:a16="http://schemas.microsoft.com/office/drawing/2014/main" id="{D6D8FC13-C342-0C47-97DF-9D930565584F}"/>
                  </a:ext>
                </a:extLst>
              </p:cNvPr>
              <p:cNvSpPr/>
              <p:nvPr/>
            </p:nvSpPr>
            <p:spPr>
              <a:xfrm>
                <a:off x="3371076" y="1732068"/>
                <a:ext cx="34295" cy="20763"/>
              </a:xfrm>
              <a:custGeom>
                <a:avLst/>
                <a:gdLst>
                  <a:gd name="connsiteX0" fmla="*/ 34145 w 34295"/>
                  <a:gd name="connsiteY0" fmla="*/ 20742 h 20763"/>
                  <a:gd name="connsiteX1" fmla="*/ 13292 w 34295"/>
                  <a:gd name="connsiteY1" fmla="*/ 422 h 20763"/>
                  <a:gd name="connsiteX2" fmla="*/ -26 w 34295"/>
                  <a:gd name="connsiteY2" fmla="*/ 3216 h 20763"/>
                  <a:gd name="connsiteX3" fmla="*/ 6595 w 34295"/>
                  <a:gd name="connsiteY3" fmla="*/ 18090 h 20763"/>
                  <a:gd name="connsiteX4" fmla="*/ 34145 w 34295"/>
                  <a:gd name="connsiteY4" fmla="*/ 20742 h 20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295" h="20763">
                    <a:moveTo>
                      <a:pt x="34145" y="20742"/>
                    </a:moveTo>
                    <a:cubicBezTo>
                      <a:pt x="35756" y="1964"/>
                      <a:pt x="21309" y="4359"/>
                      <a:pt x="13292" y="422"/>
                    </a:cubicBezTo>
                    <a:cubicBezTo>
                      <a:pt x="10096" y="-1157"/>
                      <a:pt x="4489" y="2139"/>
                      <a:pt x="-26" y="3216"/>
                    </a:cubicBezTo>
                    <a:cubicBezTo>
                      <a:pt x="2118" y="8399"/>
                      <a:pt x="3145" y="16981"/>
                      <a:pt x="6595" y="18090"/>
                    </a:cubicBezTo>
                    <a:cubicBezTo>
                      <a:pt x="15651" y="20032"/>
                      <a:pt x="24898" y="20922"/>
                      <a:pt x="34145" y="20742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18" name="Vrije vorm 517">
                <a:extLst>
                  <a:ext uri="{FF2B5EF4-FFF2-40B4-BE49-F238E27FC236}">
                    <a16:creationId xmlns:a16="http://schemas.microsoft.com/office/drawing/2014/main" id="{ECA580B3-55BC-A740-B79A-7F496B1E4BF2}"/>
                  </a:ext>
                </a:extLst>
              </p:cNvPr>
              <p:cNvSpPr/>
              <p:nvPr/>
            </p:nvSpPr>
            <p:spPr>
              <a:xfrm>
                <a:off x="3240986" y="1630994"/>
                <a:ext cx="22845" cy="39923"/>
              </a:xfrm>
              <a:custGeom>
                <a:avLst/>
                <a:gdLst>
                  <a:gd name="connsiteX0" fmla="*/ 51 w 22845"/>
                  <a:gd name="connsiteY0" fmla="*/ 39925 h 39923"/>
                  <a:gd name="connsiteX1" fmla="*/ 22819 w 22845"/>
                  <a:gd name="connsiteY1" fmla="*/ 1 h 39923"/>
                  <a:gd name="connsiteX2" fmla="*/ 51 w 22845"/>
                  <a:gd name="connsiteY2" fmla="*/ 39925 h 39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2845" h="39923">
                    <a:moveTo>
                      <a:pt x="51" y="39925"/>
                    </a:moveTo>
                    <a:cubicBezTo>
                      <a:pt x="13280" y="30753"/>
                      <a:pt x="21652" y="16073"/>
                      <a:pt x="22819" y="1"/>
                    </a:cubicBezTo>
                    <a:cubicBezTo>
                      <a:pt x="17276" y="13246"/>
                      <a:pt x="-1370" y="19280"/>
                      <a:pt x="51" y="39925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19" name="Vrije vorm 518">
                <a:extLst>
                  <a:ext uri="{FF2B5EF4-FFF2-40B4-BE49-F238E27FC236}">
                    <a16:creationId xmlns:a16="http://schemas.microsoft.com/office/drawing/2014/main" id="{E3D82885-4B46-EA41-A6D7-FCE96A0E97EA}"/>
                  </a:ext>
                </a:extLst>
              </p:cNvPr>
              <p:cNvSpPr/>
              <p:nvPr/>
            </p:nvSpPr>
            <p:spPr>
              <a:xfrm>
                <a:off x="3263793" y="2049584"/>
                <a:ext cx="22438" cy="25440"/>
              </a:xfrm>
              <a:custGeom>
                <a:avLst/>
                <a:gdLst>
                  <a:gd name="connsiteX0" fmla="*/ 22184 w 22438"/>
                  <a:gd name="connsiteY0" fmla="*/ 9742 h 25440"/>
                  <a:gd name="connsiteX1" fmla="*/ 4160 w 22438"/>
                  <a:gd name="connsiteY1" fmla="*/ 1 h 25440"/>
                  <a:gd name="connsiteX2" fmla="*/ -26 w 22438"/>
                  <a:gd name="connsiteY2" fmla="*/ 6632 h 25440"/>
                  <a:gd name="connsiteX3" fmla="*/ 17022 w 22438"/>
                  <a:gd name="connsiteY3" fmla="*/ 25442 h 25440"/>
                  <a:gd name="connsiteX4" fmla="*/ 22184 w 22438"/>
                  <a:gd name="connsiteY4" fmla="*/ 9742 h 25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438" h="25440">
                    <a:moveTo>
                      <a:pt x="22184" y="9742"/>
                    </a:moveTo>
                    <a:cubicBezTo>
                      <a:pt x="16527" y="5875"/>
                      <a:pt x="10489" y="2611"/>
                      <a:pt x="4160" y="1"/>
                    </a:cubicBezTo>
                    <a:lnTo>
                      <a:pt x="-26" y="6632"/>
                    </a:lnTo>
                    <a:cubicBezTo>
                      <a:pt x="4870" y="12024"/>
                      <a:pt x="9741" y="17417"/>
                      <a:pt x="17022" y="25442"/>
                    </a:cubicBezTo>
                    <a:cubicBezTo>
                      <a:pt x="19647" y="17796"/>
                      <a:pt x="23376" y="10707"/>
                      <a:pt x="22184" y="9742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0" name="Vrije vorm 519">
                <a:extLst>
                  <a:ext uri="{FF2B5EF4-FFF2-40B4-BE49-F238E27FC236}">
                    <a16:creationId xmlns:a16="http://schemas.microsoft.com/office/drawing/2014/main" id="{10F92D65-E7AC-084D-BB39-46C33B491FAD}"/>
                  </a:ext>
                </a:extLst>
              </p:cNvPr>
              <p:cNvSpPr/>
              <p:nvPr/>
            </p:nvSpPr>
            <p:spPr>
              <a:xfrm>
                <a:off x="3207260" y="1596859"/>
                <a:ext cx="31443" cy="11700"/>
              </a:xfrm>
              <a:custGeom>
                <a:avLst/>
                <a:gdLst>
                  <a:gd name="connsiteX0" fmla="*/ -26 w 31443"/>
                  <a:gd name="connsiteY0" fmla="*/ 3109 h 11700"/>
                  <a:gd name="connsiteX1" fmla="*/ 31418 w 31443"/>
                  <a:gd name="connsiteY1" fmla="*/ 1 h 11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443" h="11700">
                    <a:moveTo>
                      <a:pt x="-26" y="3109"/>
                    </a:moveTo>
                    <a:cubicBezTo>
                      <a:pt x="12290" y="15056"/>
                      <a:pt x="13039" y="15021"/>
                      <a:pt x="31418" y="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1" name="Vrije vorm 520">
                <a:extLst>
                  <a:ext uri="{FF2B5EF4-FFF2-40B4-BE49-F238E27FC236}">
                    <a16:creationId xmlns:a16="http://schemas.microsoft.com/office/drawing/2014/main" id="{A0981959-4190-BD41-BFEB-62C9D6A81345}"/>
                  </a:ext>
                </a:extLst>
              </p:cNvPr>
              <p:cNvSpPr/>
              <p:nvPr/>
            </p:nvSpPr>
            <p:spPr>
              <a:xfrm>
                <a:off x="3296087" y="1626372"/>
                <a:ext cx="18379" cy="23161"/>
              </a:xfrm>
              <a:custGeom>
                <a:avLst/>
                <a:gdLst>
                  <a:gd name="connsiteX0" fmla="*/ -26 w 18379"/>
                  <a:gd name="connsiteY0" fmla="*/ 7206 h 23161"/>
                  <a:gd name="connsiteX1" fmla="*/ 4261 w 18379"/>
                  <a:gd name="connsiteY1" fmla="*/ 23163 h 23161"/>
                  <a:gd name="connsiteX2" fmla="*/ 18353 w 18379"/>
                  <a:gd name="connsiteY2" fmla="*/ 3286 h 23161"/>
                  <a:gd name="connsiteX3" fmla="*/ -26 w 18379"/>
                  <a:gd name="connsiteY3" fmla="*/ 7206 h 231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379" h="23161">
                    <a:moveTo>
                      <a:pt x="-26" y="7206"/>
                    </a:moveTo>
                    <a:cubicBezTo>
                      <a:pt x="532" y="12722"/>
                      <a:pt x="1978" y="18111"/>
                      <a:pt x="4261" y="23163"/>
                    </a:cubicBezTo>
                    <a:lnTo>
                      <a:pt x="18353" y="3286"/>
                    </a:lnTo>
                    <a:cubicBezTo>
                      <a:pt x="8878" y="1068"/>
                      <a:pt x="1610" y="-4515"/>
                      <a:pt x="-26" y="7206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2" name="Vrije vorm 521">
                <a:extLst>
                  <a:ext uri="{FF2B5EF4-FFF2-40B4-BE49-F238E27FC236}">
                    <a16:creationId xmlns:a16="http://schemas.microsoft.com/office/drawing/2014/main" id="{EE8129CF-2489-1C4D-8FAF-F97B7B0D480D}"/>
                  </a:ext>
                </a:extLst>
              </p:cNvPr>
              <p:cNvSpPr/>
              <p:nvPr/>
            </p:nvSpPr>
            <p:spPr>
              <a:xfrm>
                <a:off x="3070524" y="1884523"/>
                <a:ext cx="17783" cy="23216"/>
              </a:xfrm>
              <a:custGeom>
                <a:avLst/>
                <a:gdLst>
                  <a:gd name="connsiteX0" fmla="*/ 17757 w 17783"/>
                  <a:gd name="connsiteY0" fmla="*/ 20354 h 23216"/>
                  <a:gd name="connsiteX1" fmla="*/ 8257 w 17783"/>
                  <a:gd name="connsiteY1" fmla="*/ 1 h 23216"/>
                  <a:gd name="connsiteX2" fmla="*/ -26 w 17783"/>
                  <a:gd name="connsiteY2" fmla="*/ 6217 h 23216"/>
                  <a:gd name="connsiteX3" fmla="*/ 14447 w 17783"/>
                  <a:gd name="connsiteY3" fmla="*/ 23218 h 23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783" h="23216">
                    <a:moveTo>
                      <a:pt x="17757" y="20354"/>
                    </a:moveTo>
                    <a:lnTo>
                      <a:pt x="8257" y="1"/>
                    </a:lnTo>
                    <a:lnTo>
                      <a:pt x="-26" y="6217"/>
                    </a:lnTo>
                    <a:cubicBezTo>
                      <a:pt x="4807" y="11921"/>
                      <a:pt x="9627" y="17570"/>
                      <a:pt x="14447" y="23218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3" name="Vrije vorm 522">
                <a:extLst>
                  <a:ext uri="{FF2B5EF4-FFF2-40B4-BE49-F238E27FC236}">
                    <a16:creationId xmlns:a16="http://schemas.microsoft.com/office/drawing/2014/main" id="{334C0C77-D42A-DA4E-9D30-D7C63739C72D}"/>
                  </a:ext>
                </a:extLst>
              </p:cNvPr>
              <p:cNvSpPr/>
              <p:nvPr/>
            </p:nvSpPr>
            <p:spPr>
              <a:xfrm>
                <a:off x="3352554" y="1682652"/>
                <a:ext cx="16302" cy="22701"/>
              </a:xfrm>
              <a:custGeom>
                <a:avLst/>
                <a:gdLst>
                  <a:gd name="connsiteX0" fmla="*/ 3389 w 16302"/>
                  <a:gd name="connsiteY0" fmla="*/ 1 h 22701"/>
                  <a:gd name="connsiteX1" fmla="*/ 16276 w 16302"/>
                  <a:gd name="connsiteY1" fmla="*/ 22702 h 22701"/>
                  <a:gd name="connsiteX2" fmla="*/ 3389 w 16302"/>
                  <a:gd name="connsiteY2" fmla="*/ 1 h 22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302" h="22701">
                    <a:moveTo>
                      <a:pt x="3389" y="1"/>
                    </a:moveTo>
                    <a:cubicBezTo>
                      <a:pt x="-3524" y="13186"/>
                      <a:pt x="-289" y="18336"/>
                      <a:pt x="16276" y="22702"/>
                    </a:cubicBezTo>
                    <a:cubicBezTo>
                      <a:pt x="10480" y="12495"/>
                      <a:pt x="7677" y="7549"/>
                      <a:pt x="3389" y="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4" name="Vrije vorm 523">
                <a:extLst>
                  <a:ext uri="{FF2B5EF4-FFF2-40B4-BE49-F238E27FC236}">
                    <a16:creationId xmlns:a16="http://schemas.microsoft.com/office/drawing/2014/main" id="{3F9B28E0-7EDA-D241-A71F-EEC763E7170E}"/>
                  </a:ext>
                </a:extLst>
              </p:cNvPr>
              <p:cNvSpPr/>
              <p:nvPr/>
            </p:nvSpPr>
            <p:spPr>
              <a:xfrm>
                <a:off x="3172606" y="1576080"/>
                <a:ext cx="16210" cy="18001"/>
              </a:xfrm>
              <a:custGeom>
                <a:avLst/>
                <a:gdLst>
                  <a:gd name="connsiteX0" fmla="*/ -26 w 16210"/>
                  <a:gd name="connsiteY0" fmla="*/ 52 h 18001"/>
                  <a:gd name="connsiteX1" fmla="*/ 16184 w 16210"/>
                  <a:gd name="connsiteY1" fmla="*/ 18002 h 18001"/>
                  <a:gd name="connsiteX2" fmla="*/ -26 w 16210"/>
                  <a:gd name="connsiteY2" fmla="*/ 52 h 18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210" h="18001">
                    <a:moveTo>
                      <a:pt x="-26" y="52"/>
                    </a:moveTo>
                    <a:cubicBezTo>
                      <a:pt x="5377" y="6035"/>
                      <a:pt x="10781" y="12018"/>
                      <a:pt x="16184" y="18002"/>
                    </a:cubicBezTo>
                    <a:cubicBezTo>
                      <a:pt x="14954" y="7165"/>
                      <a:pt x="11060" y="-710"/>
                      <a:pt x="-26" y="52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5" name="Vrije vorm 524">
                <a:extLst>
                  <a:ext uri="{FF2B5EF4-FFF2-40B4-BE49-F238E27FC236}">
                    <a16:creationId xmlns:a16="http://schemas.microsoft.com/office/drawing/2014/main" id="{A7A5D0A2-288D-5A4F-9B3F-B091F03EB447}"/>
                  </a:ext>
                </a:extLst>
              </p:cNvPr>
              <p:cNvSpPr/>
              <p:nvPr/>
            </p:nvSpPr>
            <p:spPr>
              <a:xfrm>
                <a:off x="3100725" y="1880292"/>
                <a:ext cx="11808" cy="14983"/>
              </a:xfrm>
              <a:custGeom>
                <a:avLst/>
                <a:gdLst>
                  <a:gd name="connsiteX0" fmla="*/ 4185 w 11808"/>
                  <a:gd name="connsiteY0" fmla="*/ 1 h 14983"/>
                  <a:gd name="connsiteX1" fmla="*/ -26 w 11808"/>
                  <a:gd name="connsiteY1" fmla="*/ 2183 h 14983"/>
                  <a:gd name="connsiteX2" fmla="*/ 4997 w 11808"/>
                  <a:gd name="connsiteY2" fmla="*/ 14985 h 14983"/>
                  <a:gd name="connsiteX3" fmla="*/ 11783 w 11808"/>
                  <a:gd name="connsiteY3" fmla="*/ 12009 h 14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8" h="14983">
                    <a:moveTo>
                      <a:pt x="4185" y="1"/>
                    </a:moveTo>
                    <a:lnTo>
                      <a:pt x="-26" y="2183"/>
                    </a:lnTo>
                    <a:lnTo>
                      <a:pt x="4997" y="14985"/>
                    </a:lnTo>
                    <a:lnTo>
                      <a:pt x="11783" y="12009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6" name="Vrije vorm 525">
                <a:extLst>
                  <a:ext uri="{FF2B5EF4-FFF2-40B4-BE49-F238E27FC236}">
                    <a16:creationId xmlns:a16="http://schemas.microsoft.com/office/drawing/2014/main" id="{E444574C-F224-1F4D-B243-897390BFF4DA}"/>
                  </a:ext>
                </a:extLst>
              </p:cNvPr>
              <p:cNvSpPr/>
              <p:nvPr/>
            </p:nvSpPr>
            <p:spPr>
              <a:xfrm>
                <a:off x="2591319" y="1676983"/>
                <a:ext cx="9637" cy="13251"/>
              </a:xfrm>
              <a:custGeom>
                <a:avLst/>
                <a:gdLst>
                  <a:gd name="connsiteX0" fmla="*/ 6693 w 9637"/>
                  <a:gd name="connsiteY0" fmla="*/ 1 h 13251"/>
                  <a:gd name="connsiteX1" fmla="*/ -4 w 9637"/>
                  <a:gd name="connsiteY1" fmla="*/ 6286 h 13251"/>
                  <a:gd name="connsiteX2" fmla="*/ 5704 w 9637"/>
                  <a:gd name="connsiteY2" fmla="*/ 13252 h 13251"/>
                  <a:gd name="connsiteX3" fmla="*/ 9598 w 9637"/>
                  <a:gd name="connsiteY3" fmla="*/ 3539 h 13251"/>
                  <a:gd name="connsiteX4" fmla="*/ 6693 w 9637"/>
                  <a:gd name="connsiteY4" fmla="*/ 1 h 132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637" h="13251">
                    <a:moveTo>
                      <a:pt x="6693" y="1"/>
                    </a:moveTo>
                    <a:cubicBezTo>
                      <a:pt x="4258" y="1863"/>
                      <a:pt x="2012" y="3970"/>
                      <a:pt x="-4" y="6286"/>
                    </a:cubicBezTo>
                    <a:cubicBezTo>
                      <a:pt x="-309" y="6702"/>
                      <a:pt x="2634" y="9558"/>
                      <a:pt x="5704" y="13252"/>
                    </a:cubicBezTo>
                    <a:cubicBezTo>
                      <a:pt x="7289" y="10132"/>
                      <a:pt x="8583" y="6883"/>
                      <a:pt x="9598" y="3539"/>
                    </a:cubicBezTo>
                    <a:cubicBezTo>
                      <a:pt x="9801" y="2598"/>
                      <a:pt x="7733" y="1194"/>
                      <a:pt x="6693" y="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7" name="Vrije vorm 526">
                <a:extLst>
                  <a:ext uri="{FF2B5EF4-FFF2-40B4-BE49-F238E27FC236}">
                    <a16:creationId xmlns:a16="http://schemas.microsoft.com/office/drawing/2014/main" id="{BB3C7E8A-DE8C-AC46-B66F-ADDD587E17EB}"/>
                  </a:ext>
                </a:extLst>
              </p:cNvPr>
              <p:cNvSpPr/>
              <p:nvPr/>
            </p:nvSpPr>
            <p:spPr>
              <a:xfrm>
                <a:off x="2636205" y="1663146"/>
                <a:ext cx="7496" cy="11764"/>
              </a:xfrm>
              <a:custGeom>
                <a:avLst/>
                <a:gdLst>
                  <a:gd name="connsiteX0" fmla="*/ -26 w 7496"/>
                  <a:gd name="connsiteY0" fmla="*/ 1465 h 11764"/>
                  <a:gd name="connsiteX1" fmla="*/ 1420 w 7496"/>
                  <a:gd name="connsiteY1" fmla="*/ 11765 h 11764"/>
                  <a:gd name="connsiteX2" fmla="*/ 7470 w 7496"/>
                  <a:gd name="connsiteY2" fmla="*/ 11130 h 11764"/>
                  <a:gd name="connsiteX3" fmla="*/ 5885 w 7496"/>
                  <a:gd name="connsiteY3" fmla="*/ 1 h 11764"/>
                  <a:gd name="connsiteX4" fmla="*/ -26 w 7496"/>
                  <a:gd name="connsiteY4" fmla="*/ 1465 h 117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96" h="11764">
                    <a:moveTo>
                      <a:pt x="-26" y="1465"/>
                    </a:moveTo>
                    <a:cubicBezTo>
                      <a:pt x="202" y="4930"/>
                      <a:pt x="684" y="8373"/>
                      <a:pt x="1420" y="11765"/>
                    </a:cubicBezTo>
                    <a:lnTo>
                      <a:pt x="7470" y="11130"/>
                    </a:lnTo>
                    <a:lnTo>
                      <a:pt x="5885" y="1"/>
                    </a:lnTo>
                    <a:cubicBezTo>
                      <a:pt x="3817" y="493"/>
                      <a:pt x="-26" y="1010"/>
                      <a:pt x="-26" y="1465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8" name="Vrije vorm 527">
                <a:extLst>
                  <a:ext uri="{FF2B5EF4-FFF2-40B4-BE49-F238E27FC236}">
                    <a16:creationId xmlns:a16="http://schemas.microsoft.com/office/drawing/2014/main" id="{2A1C4CEF-4658-EB4E-8BF7-F98E2E6B8047}"/>
                  </a:ext>
                </a:extLst>
              </p:cNvPr>
              <p:cNvSpPr/>
              <p:nvPr/>
            </p:nvSpPr>
            <p:spPr>
              <a:xfrm>
                <a:off x="3294552" y="2039096"/>
                <a:ext cx="18506" cy="16869"/>
              </a:xfrm>
              <a:custGeom>
                <a:avLst/>
                <a:gdLst>
                  <a:gd name="connsiteX0" fmla="*/ -26 w 18506"/>
                  <a:gd name="connsiteY0" fmla="*/ 6434 h 16869"/>
                  <a:gd name="connsiteX1" fmla="*/ 11415 w 18506"/>
                  <a:gd name="connsiteY1" fmla="*/ 16871 h 16869"/>
                  <a:gd name="connsiteX2" fmla="*/ 18480 w 18506"/>
                  <a:gd name="connsiteY2" fmla="*/ 9497 h 16869"/>
                  <a:gd name="connsiteX3" fmla="*/ 5872 w 18506"/>
                  <a:gd name="connsiteY3" fmla="*/ 1 h 16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506" h="16869">
                    <a:moveTo>
                      <a:pt x="-26" y="6434"/>
                    </a:moveTo>
                    <a:lnTo>
                      <a:pt x="11415" y="16871"/>
                    </a:lnTo>
                    <a:lnTo>
                      <a:pt x="18480" y="9497"/>
                    </a:lnTo>
                    <a:lnTo>
                      <a:pt x="5872" y="1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360" name="Graphic 5">
              <a:extLst>
                <a:ext uri="{FF2B5EF4-FFF2-40B4-BE49-F238E27FC236}">
                  <a16:creationId xmlns:a16="http://schemas.microsoft.com/office/drawing/2014/main" id="{62F9DC89-9510-F24D-ADE0-B97A512AC897}"/>
                </a:ext>
              </a:extLst>
            </p:cNvPr>
            <p:cNvGrpSpPr/>
            <p:nvPr/>
          </p:nvGrpSpPr>
          <p:grpSpPr>
            <a:xfrm>
              <a:off x="3908416" y="1399976"/>
              <a:ext cx="966623" cy="857076"/>
              <a:chOff x="3908416" y="1399976"/>
              <a:chExt cx="966623" cy="857076"/>
            </a:xfrm>
            <a:solidFill>
              <a:schemeClr val="bg2"/>
            </a:solidFill>
          </p:grpSpPr>
          <p:sp>
            <p:nvSpPr>
              <p:cNvPr id="459" name="Vrije vorm 458">
                <a:extLst>
                  <a:ext uri="{FF2B5EF4-FFF2-40B4-BE49-F238E27FC236}">
                    <a16:creationId xmlns:a16="http://schemas.microsoft.com/office/drawing/2014/main" id="{E4C3BC48-23CB-BE4B-A9E1-10AF137A05C5}"/>
                  </a:ext>
                </a:extLst>
              </p:cNvPr>
              <p:cNvSpPr/>
              <p:nvPr/>
            </p:nvSpPr>
            <p:spPr>
              <a:xfrm>
                <a:off x="4746599" y="1491506"/>
                <a:ext cx="977" cy="683"/>
              </a:xfrm>
              <a:custGeom>
                <a:avLst/>
                <a:gdLst>
                  <a:gd name="connsiteX0" fmla="*/ 37 w 977"/>
                  <a:gd name="connsiteY0" fmla="*/ 683 h 683"/>
                  <a:gd name="connsiteX1" fmla="*/ 951 w 977"/>
                  <a:gd name="connsiteY1" fmla="*/ 1 h 683"/>
                  <a:gd name="connsiteX2" fmla="*/ 405 w 977"/>
                  <a:gd name="connsiteY2" fmla="*/ 176 h 683"/>
                  <a:gd name="connsiteX3" fmla="*/ -26 w 977"/>
                  <a:gd name="connsiteY3" fmla="*/ 684 h 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7" h="683">
                    <a:moveTo>
                      <a:pt x="37" y="683"/>
                    </a:moveTo>
                    <a:cubicBezTo>
                      <a:pt x="342" y="456"/>
                      <a:pt x="646" y="214"/>
                      <a:pt x="951" y="1"/>
                    </a:cubicBezTo>
                    <a:lnTo>
                      <a:pt x="405" y="176"/>
                    </a:lnTo>
                    <a:lnTo>
                      <a:pt x="-26" y="684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60" name="Vrije vorm 459">
                <a:extLst>
                  <a:ext uri="{FF2B5EF4-FFF2-40B4-BE49-F238E27FC236}">
                    <a16:creationId xmlns:a16="http://schemas.microsoft.com/office/drawing/2014/main" id="{DC50C765-3ED2-7540-A786-3A1A2E7328E1}"/>
                  </a:ext>
                </a:extLst>
              </p:cNvPr>
              <p:cNvSpPr/>
              <p:nvPr/>
            </p:nvSpPr>
            <p:spPr>
              <a:xfrm>
                <a:off x="3908416" y="1399976"/>
                <a:ext cx="966623" cy="857076"/>
              </a:xfrm>
              <a:custGeom>
                <a:avLst/>
                <a:gdLst>
                  <a:gd name="connsiteX0" fmla="*/ 877161 w 966623"/>
                  <a:gd name="connsiteY0" fmla="*/ 152992 h 857076"/>
                  <a:gd name="connsiteX1" fmla="*/ 866557 w 966623"/>
                  <a:gd name="connsiteY1" fmla="*/ 150337 h 857076"/>
                  <a:gd name="connsiteX2" fmla="*/ 861699 w 966623"/>
                  <a:gd name="connsiteY2" fmla="*/ 149752 h 857076"/>
                  <a:gd name="connsiteX3" fmla="*/ 845565 w 966623"/>
                  <a:gd name="connsiteY3" fmla="*/ 154832 h 857076"/>
                  <a:gd name="connsiteX4" fmla="*/ 834149 w 966623"/>
                  <a:gd name="connsiteY4" fmla="*/ 160052 h 857076"/>
                  <a:gd name="connsiteX5" fmla="*/ 807500 w 966623"/>
                  <a:gd name="connsiteY5" fmla="*/ 179715 h 857076"/>
                  <a:gd name="connsiteX6" fmla="*/ 801031 w 966623"/>
                  <a:gd name="connsiteY6" fmla="*/ 178140 h 857076"/>
                  <a:gd name="connsiteX7" fmla="*/ 800270 w 966623"/>
                  <a:gd name="connsiteY7" fmla="*/ 178004 h 857076"/>
                  <a:gd name="connsiteX8" fmla="*/ 777261 w 966623"/>
                  <a:gd name="connsiteY8" fmla="*/ 172471 h 857076"/>
                  <a:gd name="connsiteX9" fmla="*/ 777223 w 966623"/>
                  <a:gd name="connsiteY9" fmla="*/ 172471 h 857076"/>
                  <a:gd name="connsiteX10" fmla="*/ 775282 w 966623"/>
                  <a:gd name="connsiteY10" fmla="*/ 171976 h 857076"/>
                  <a:gd name="connsiteX11" fmla="*/ 831600 w 966623"/>
                  <a:gd name="connsiteY11" fmla="*/ 146778 h 857076"/>
                  <a:gd name="connsiteX12" fmla="*/ 832044 w 966623"/>
                  <a:gd name="connsiteY12" fmla="*/ 146553 h 857076"/>
                  <a:gd name="connsiteX13" fmla="*/ 831016 w 966623"/>
                  <a:gd name="connsiteY13" fmla="*/ 141108 h 857076"/>
                  <a:gd name="connsiteX14" fmla="*/ 818878 w 966623"/>
                  <a:gd name="connsiteY14" fmla="*/ 140298 h 857076"/>
                  <a:gd name="connsiteX15" fmla="*/ 818827 w 966623"/>
                  <a:gd name="connsiteY15" fmla="*/ 140298 h 857076"/>
                  <a:gd name="connsiteX16" fmla="*/ 806967 w 966623"/>
                  <a:gd name="connsiteY16" fmla="*/ 139489 h 857076"/>
                  <a:gd name="connsiteX17" fmla="*/ 801716 w 966623"/>
                  <a:gd name="connsiteY17" fmla="*/ 142368 h 857076"/>
                  <a:gd name="connsiteX18" fmla="*/ 790300 w 966623"/>
                  <a:gd name="connsiteY18" fmla="*/ 144527 h 857076"/>
                  <a:gd name="connsiteX19" fmla="*/ 784719 w 966623"/>
                  <a:gd name="connsiteY19" fmla="*/ 143942 h 857076"/>
                  <a:gd name="connsiteX20" fmla="*/ 774432 w 966623"/>
                  <a:gd name="connsiteY20" fmla="*/ 140792 h 857076"/>
                  <a:gd name="connsiteX21" fmla="*/ 773798 w 966623"/>
                  <a:gd name="connsiteY21" fmla="*/ 140522 h 857076"/>
                  <a:gd name="connsiteX22" fmla="*/ 768813 w 966623"/>
                  <a:gd name="connsiteY22" fmla="*/ 138407 h 857076"/>
                  <a:gd name="connsiteX23" fmla="*/ 765579 w 966623"/>
                  <a:gd name="connsiteY23" fmla="*/ 136922 h 857076"/>
                  <a:gd name="connsiteX24" fmla="*/ 786609 w 966623"/>
                  <a:gd name="connsiteY24" fmla="*/ 105245 h 857076"/>
                  <a:gd name="connsiteX25" fmla="*/ 784630 w 966623"/>
                  <a:gd name="connsiteY25" fmla="*/ 98631 h 857076"/>
                  <a:gd name="connsiteX26" fmla="*/ 784453 w 966623"/>
                  <a:gd name="connsiteY26" fmla="*/ 98181 h 857076"/>
                  <a:gd name="connsiteX27" fmla="*/ 794828 w 966623"/>
                  <a:gd name="connsiteY27" fmla="*/ 83737 h 857076"/>
                  <a:gd name="connsiteX28" fmla="*/ 838601 w 966623"/>
                  <a:gd name="connsiteY28" fmla="*/ 91701 h 857076"/>
                  <a:gd name="connsiteX29" fmla="*/ 858148 w 966623"/>
                  <a:gd name="connsiteY29" fmla="*/ 68393 h 857076"/>
                  <a:gd name="connsiteX30" fmla="*/ 859721 w 966623"/>
                  <a:gd name="connsiteY30" fmla="*/ 66549 h 857076"/>
                  <a:gd name="connsiteX31" fmla="*/ 836940 w 966623"/>
                  <a:gd name="connsiteY31" fmla="*/ 49463 h 857076"/>
                  <a:gd name="connsiteX32" fmla="*/ 809935 w 966623"/>
                  <a:gd name="connsiteY32" fmla="*/ 45729 h 857076"/>
                  <a:gd name="connsiteX33" fmla="*/ 802020 w 966623"/>
                  <a:gd name="connsiteY33" fmla="*/ 40554 h 857076"/>
                  <a:gd name="connsiteX34" fmla="*/ 797175 w 966623"/>
                  <a:gd name="connsiteY34" fmla="*/ 40329 h 857076"/>
                  <a:gd name="connsiteX35" fmla="*/ 781447 w 966623"/>
                  <a:gd name="connsiteY35" fmla="*/ 42533 h 857076"/>
                  <a:gd name="connsiteX36" fmla="*/ 803327 w 966623"/>
                  <a:gd name="connsiteY36" fmla="*/ 31420 h 857076"/>
                  <a:gd name="connsiteX37" fmla="*/ 804988 w 966623"/>
                  <a:gd name="connsiteY37" fmla="*/ 30609 h 857076"/>
                  <a:gd name="connsiteX38" fmla="*/ 805344 w 966623"/>
                  <a:gd name="connsiteY38" fmla="*/ 30429 h 857076"/>
                  <a:gd name="connsiteX39" fmla="*/ 804456 w 966623"/>
                  <a:gd name="connsiteY39" fmla="*/ 29620 h 857076"/>
                  <a:gd name="connsiteX40" fmla="*/ 792900 w 966623"/>
                  <a:gd name="connsiteY40" fmla="*/ 19451 h 857076"/>
                  <a:gd name="connsiteX41" fmla="*/ 788994 w 966623"/>
                  <a:gd name="connsiteY41" fmla="*/ 16031 h 857076"/>
                  <a:gd name="connsiteX42" fmla="*/ 788182 w 966623"/>
                  <a:gd name="connsiteY42" fmla="*/ 15355 h 857076"/>
                  <a:gd name="connsiteX43" fmla="*/ 774876 w 966623"/>
                  <a:gd name="connsiteY43" fmla="*/ 4151 h 857076"/>
                  <a:gd name="connsiteX44" fmla="*/ 781891 w 966623"/>
                  <a:gd name="connsiteY44" fmla="*/ 5007 h 857076"/>
                  <a:gd name="connsiteX45" fmla="*/ 817076 w 966623"/>
                  <a:gd name="connsiteY45" fmla="*/ 36415 h 857076"/>
                  <a:gd name="connsiteX46" fmla="*/ 858871 w 966623"/>
                  <a:gd name="connsiteY46" fmla="*/ 49958 h 857076"/>
                  <a:gd name="connsiteX47" fmla="*/ 887905 w 966623"/>
                  <a:gd name="connsiteY47" fmla="*/ 76501 h 857076"/>
                  <a:gd name="connsiteX48" fmla="*/ 895998 w 966623"/>
                  <a:gd name="connsiteY48" fmla="*/ 103138 h 857076"/>
                  <a:gd name="connsiteX49" fmla="*/ 896036 w 966623"/>
                  <a:gd name="connsiteY49" fmla="*/ 103184 h 857076"/>
                  <a:gd name="connsiteX50" fmla="*/ 896480 w 966623"/>
                  <a:gd name="connsiteY50" fmla="*/ 105613 h 857076"/>
                  <a:gd name="connsiteX51" fmla="*/ 906145 w 966623"/>
                  <a:gd name="connsiteY51" fmla="*/ 127481 h 857076"/>
                  <a:gd name="connsiteX52" fmla="*/ 915861 w 966623"/>
                  <a:gd name="connsiteY52" fmla="*/ 135040 h 857076"/>
                  <a:gd name="connsiteX53" fmla="*/ 937932 w 966623"/>
                  <a:gd name="connsiteY53" fmla="*/ 139584 h 857076"/>
                  <a:gd name="connsiteX54" fmla="*/ 939048 w 966623"/>
                  <a:gd name="connsiteY54" fmla="*/ 139765 h 857076"/>
                  <a:gd name="connsiteX55" fmla="*/ 939187 w 966623"/>
                  <a:gd name="connsiteY55" fmla="*/ 137560 h 857076"/>
                  <a:gd name="connsiteX56" fmla="*/ 940354 w 966623"/>
                  <a:gd name="connsiteY56" fmla="*/ 120911 h 857076"/>
                  <a:gd name="connsiteX57" fmla="*/ 940443 w 966623"/>
                  <a:gd name="connsiteY57" fmla="*/ 119561 h 857076"/>
                  <a:gd name="connsiteX58" fmla="*/ 941026 w 966623"/>
                  <a:gd name="connsiteY58" fmla="*/ 111597 h 857076"/>
                  <a:gd name="connsiteX59" fmla="*/ 943855 w 966623"/>
                  <a:gd name="connsiteY59" fmla="*/ 111552 h 857076"/>
                  <a:gd name="connsiteX60" fmla="*/ 944667 w 966623"/>
                  <a:gd name="connsiteY60" fmla="*/ 111552 h 857076"/>
                  <a:gd name="connsiteX61" fmla="*/ 946062 w 966623"/>
                  <a:gd name="connsiteY61" fmla="*/ 119607 h 857076"/>
                  <a:gd name="connsiteX62" fmla="*/ 949068 w 966623"/>
                  <a:gd name="connsiteY62" fmla="*/ 136659 h 857076"/>
                  <a:gd name="connsiteX63" fmla="*/ 966598 w 966623"/>
                  <a:gd name="connsiteY63" fmla="*/ 137830 h 857076"/>
                  <a:gd name="connsiteX64" fmla="*/ 966280 w 966623"/>
                  <a:gd name="connsiteY64" fmla="*/ 133241 h 857076"/>
                  <a:gd name="connsiteX65" fmla="*/ 965976 w 966623"/>
                  <a:gd name="connsiteY65" fmla="*/ 129325 h 857076"/>
                  <a:gd name="connsiteX66" fmla="*/ 965570 w 966623"/>
                  <a:gd name="connsiteY66" fmla="*/ 123161 h 857076"/>
                  <a:gd name="connsiteX67" fmla="*/ 965519 w 966623"/>
                  <a:gd name="connsiteY67" fmla="*/ 122801 h 857076"/>
                  <a:gd name="connsiteX68" fmla="*/ 965075 w 966623"/>
                  <a:gd name="connsiteY68" fmla="*/ 116187 h 857076"/>
                  <a:gd name="connsiteX69" fmla="*/ 964809 w 966623"/>
                  <a:gd name="connsiteY69" fmla="*/ 112857 h 857076"/>
                  <a:gd name="connsiteX70" fmla="*/ 963820 w 966623"/>
                  <a:gd name="connsiteY70" fmla="*/ 99043 h 857076"/>
                  <a:gd name="connsiteX71" fmla="*/ 963718 w 966623"/>
                  <a:gd name="connsiteY71" fmla="*/ 98098 h 857076"/>
                  <a:gd name="connsiteX72" fmla="*/ 963325 w 966623"/>
                  <a:gd name="connsiteY72" fmla="*/ 92429 h 857076"/>
                  <a:gd name="connsiteX73" fmla="*/ 963008 w 966623"/>
                  <a:gd name="connsiteY73" fmla="*/ 88020 h 857076"/>
                  <a:gd name="connsiteX74" fmla="*/ 960484 w 966623"/>
                  <a:gd name="connsiteY74" fmla="*/ 53193 h 857076"/>
                  <a:gd name="connsiteX75" fmla="*/ 960395 w 966623"/>
                  <a:gd name="connsiteY75" fmla="*/ 51708 h 857076"/>
                  <a:gd name="connsiteX76" fmla="*/ 955055 w 966623"/>
                  <a:gd name="connsiteY76" fmla="*/ 49457 h 857076"/>
                  <a:gd name="connsiteX77" fmla="*/ 945567 w 966623"/>
                  <a:gd name="connsiteY77" fmla="*/ 65161 h 857076"/>
                  <a:gd name="connsiteX78" fmla="*/ 943677 w 966623"/>
                  <a:gd name="connsiteY78" fmla="*/ 57197 h 857076"/>
                  <a:gd name="connsiteX79" fmla="*/ 943677 w 966623"/>
                  <a:gd name="connsiteY79" fmla="*/ 57105 h 857076"/>
                  <a:gd name="connsiteX80" fmla="*/ 942333 w 966623"/>
                  <a:gd name="connsiteY80" fmla="*/ 44012 h 857076"/>
                  <a:gd name="connsiteX81" fmla="*/ 940938 w 966623"/>
                  <a:gd name="connsiteY81" fmla="*/ 39422 h 857076"/>
                  <a:gd name="connsiteX82" fmla="*/ 936574 w 966623"/>
                  <a:gd name="connsiteY82" fmla="*/ 34023 h 857076"/>
                  <a:gd name="connsiteX83" fmla="*/ 931500 w 966623"/>
                  <a:gd name="connsiteY83" fmla="*/ 31818 h 857076"/>
                  <a:gd name="connsiteX84" fmla="*/ 928444 w 966623"/>
                  <a:gd name="connsiteY84" fmla="*/ 31183 h 857076"/>
                  <a:gd name="connsiteX85" fmla="*/ 939542 w 966623"/>
                  <a:gd name="connsiteY85" fmla="*/ 11970 h 857076"/>
                  <a:gd name="connsiteX86" fmla="*/ 937081 w 966623"/>
                  <a:gd name="connsiteY86" fmla="*/ 9765 h 857076"/>
                  <a:gd name="connsiteX87" fmla="*/ 926071 w 966623"/>
                  <a:gd name="connsiteY87" fmla="*/ 1 h 857076"/>
                  <a:gd name="connsiteX88" fmla="*/ 9145 w 966623"/>
                  <a:gd name="connsiteY88" fmla="*/ 1 h 857076"/>
                  <a:gd name="connsiteX89" fmla="*/ 6950 w 966623"/>
                  <a:gd name="connsiteY89" fmla="*/ 3421 h 857076"/>
                  <a:gd name="connsiteX90" fmla="*/ 9906 w 966623"/>
                  <a:gd name="connsiteY90" fmla="*/ 5265 h 857076"/>
                  <a:gd name="connsiteX91" fmla="*/ 19127 w 966623"/>
                  <a:gd name="connsiteY91" fmla="*/ 10890 h 857076"/>
                  <a:gd name="connsiteX92" fmla="*/ 16692 w 966623"/>
                  <a:gd name="connsiteY92" fmla="*/ 13410 h 857076"/>
                  <a:gd name="connsiteX93" fmla="*/ -26 w 966623"/>
                  <a:gd name="connsiteY93" fmla="*/ 31048 h 857076"/>
                  <a:gd name="connsiteX94" fmla="*/ 253 w 966623"/>
                  <a:gd name="connsiteY94" fmla="*/ 31904 h 857076"/>
                  <a:gd name="connsiteX95" fmla="*/ 2942 w 966623"/>
                  <a:gd name="connsiteY95" fmla="*/ 39687 h 857076"/>
                  <a:gd name="connsiteX96" fmla="*/ 3614 w 966623"/>
                  <a:gd name="connsiteY96" fmla="*/ 41577 h 857076"/>
                  <a:gd name="connsiteX97" fmla="*/ 4248 w 966623"/>
                  <a:gd name="connsiteY97" fmla="*/ 43196 h 857076"/>
                  <a:gd name="connsiteX98" fmla="*/ 7394 w 966623"/>
                  <a:gd name="connsiteY98" fmla="*/ 51252 h 857076"/>
                  <a:gd name="connsiteX99" fmla="*/ 28437 w 966623"/>
                  <a:gd name="connsiteY99" fmla="*/ 59261 h 857076"/>
                  <a:gd name="connsiteX100" fmla="*/ 51345 w 966623"/>
                  <a:gd name="connsiteY100" fmla="*/ 46016 h 857076"/>
                  <a:gd name="connsiteX101" fmla="*/ 51624 w 966623"/>
                  <a:gd name="connsiteY101" fmla="*/ 44817 h 857076"/>
                  <a:gd name="connsiteX102" fmla="*/ 51890 w 966623"/>
                  <a:gd name="connsiteY102" fmla="*/ 42702 h 857076"/>
                  <a:gd name="connsiteX103" fmla="*/ 52474 w 966623"/>
                  <a:gd name="connsiteY103" fmla="*/ 38742 h 857076"/>
                  <a:gd name="connsiteX104" fmla="*/ 66858 w 966623"/>
                  <a:gd name="connsiteY104" fmla="*/ 18720 h 857076"/>
                  <a:gd name="connsiteX105" fmla="*/ 66858 w 966623"/>
                  <a:gd name="connsiteY105" fmla="*/ 18679 h 857076"/>
                  <a:gd name="connsiteX106" fmla="*/ 69775 w 966623"/>
                  <a:gd name="connsiteY106" fmla="*/ 17824 h 857076"/>
                  <a:gd name="connsiteX107" fmla="*/ 79834 w 966623"/>
                  <a:gd name="connsiteY107" fmla="*/ 16205 h 857076"/>
                  <a:gd name="connsiteX108" fmla="*/ 79795 w 966623"/>
                  <a:gd name="connsiteY108" fmla="*/ 16384 h 857076"/>
                  <a:gd name="connsiteX109" fmla="*/ 76561 w 966623"/>
                  <a:gd name="connsiteY109" fmla="*/ 28894 h 857076"/>
                  <a:gd name="connsiteX110" fmla="*/ 76244 w 966623"/>
                  <a:gd name="connsiteY110" fmla="*/ 30108 h 857076"/>
                  <a:gd name="connsiteX111" fmla="*/ 114081 w 966623"/>
                  <a:gd name="connsiteY111" fmla="*/ 35283 h 857076"/>
                  <a:gd name="connsiteX112" fmla="*/ 117404 w 966623"/>
                  <a:gd name="connsiteY112" fmla="*/ 35778 h 857076"/>
                  <a:gd name="connsiteX113" fmla="*/ 108056 w 966623"/>
                  <a:gd name="connsiteY113" fmla="*/ 39063 h 857076"/>
                  <a:gd name="connsiteX114" fmla="*/ 98987 w 966623"/>
                  <a:gd name="connsiteY114" fmla="*/ 41943 h 857076"/>
                  <a:gd name="connsiteX115" fmla="*/ 87787 w 966623"/>
                  <a:gd name="connsiteY115" fmla="*/ 48962 h 857076"/>
                  <a:gd name="connsiteX116" fmla="*/ 78261 w 966623"/>
                  <a:gd name="connsiteY116" fmla="*/ 76094 h 857076"/>
                  <a:gd name="connsiteX117" fmla="*/ 97820 w 966623"/>
                  <a:gd name="connsiteY117" fmla="*/ 72269 h 857076"/>
                  <a:gd name="connsiteX118" fmla="*/ 98124 w 966623"/>
                  <a:gd name="connsiteY118" fmla="*/ 72225 h 857076"/>
                  <a:gd name="connsiteX119" fmla="*/ 105811 w 966623"/>
                  <a:gd name="connsiteY119" fmla="*/ 75419 h 857076"/>
                  <a:gd name="connsiteX120" fmla="*/ 111252 w 966623"/>
                  <a:gd name="connsiteY120" fmla="*/ 77669 h 857076"/>
                  <a:gd name="connsiteX121" fmla="*/ 122313 w 966623"/>
                  <a:gd name="connsiteY121" fmla="*/ 82574 h 857076"/>
                  <a:gd name="connsiteX122" fmla="*/ 126080 w 966623"/>
                  <a:gd name="connsiteY122" fmla="*/ 85724 h 857076"/>
                  <a:gd name="connsiteX123" fmla="*/ 126752 w 966623"/>
                  <a:gd name="connsiteY123" fmla="*/ 86713 h 857076"/>
                  <a:gd name="connsiteX124" fmla="*/ 129188 w 966623"/>
                  <a:gd name="connsiteY124" fmla="*/ 95668 h 857076"/>
                  <a:gd name="connsiteX125" fmla="*/ 129492 w 966623"/>
                  <a:gd name="connsiteY125" fmla="*/ 100572 h 857076"/>
                  <a:gd name="connsiteX126" fmla="*/ 129771 w 966623"/>
                  <a:gd name="connsiteY126" fmla="*/ 101607 h 857076"/>
                  <a:gd name="connsiteX127" fmla="*/ 142215 w 966623"/>
                  <a:gd name="connsiteY127" fmla="*/ 116005 h 857076"/>
                  <a:gd name="connsiteX128" fmla="*/ 142760 w 966623"/>
                  <a:gd name="connsiteY128" fmla="*/ 121496 h 857076"/>
                  <a:gd name="connsiteX129" fmla="*/ 142849 w 966623"/>
                  <a:gd name="connsiteY129" fmla="*/ 126310 h 857076"/>
                  <a:gd name="connsiteX130" fmla="*/ 142849 w 966623"/>
                  <a:gd name="connsiteY130" fmla="*/ 128694 h 857076"/>
                  <a:gd name="connsiteX131" fmla="*/ 145500 w 966623"/>
                  <a:gd name="connsiteY131" fmla="*/ 142688 h 857076"/>
                  <a:gd name="connsiteX132" fmla="*/ 150713 w 966623"/>
                  <a:gd name="connsiteY132" fmla="*/ 149258 h 857076"/>
                  <a:gd name="connsiteX133" fmla="*/ 145005 w 966623"/>
                  <a:gd name="connsiteY133" fmla="*/ 149033 h 857076"/>
                  <a:gd name="connsiteX134" fmla="*/ 122808 w 966623"/>
                  <a:gd name="connsiteY134" fmla="*/ 144080 h 857076"/>
                  <a:gd name="connsiteX135" fmla="*/ 112914 w 966623"/>
                  <a:gd name="connsiteY135" fmla="*/ 137512 h 857076"/>
                  <a:gd name="connsiteX136" fmla="*/ 110542 w 966623"/>
                  <a:gd name="connsiteY136" fmla="*/ 135081 h 857076"/>
                  <a:gd name="connsiteX137" fmla="*/ 52791 w 966623"/>
                  <a:gd name="connsiteY137" fmla="*/ 110558 h 857076"/>
                  <a:gd name="connsiteX138" fmla="*/ 33245 w 966623"/>
                  <a:gd name="connsiteY138" fmla="*/ 116767 h 857076"/>
                  <a:gd name="connsiteX139" fmla="*/ 35528 w 966623"/>
                  <a:gd name="connsiteY139" fmla="*/ 121223 h 857076"/>
                  <a:gd name="connsiteX140" fmla="*/ 44204 w 966623"/>
                  <a:gd name="connsiteY140" fmla="*/ 134272 h 857076"/>
                  <a:gd name="connsiteX141" fmla="*/ 54947 w 966623"/>
                  <a:gd name="connsiteY141" fmla="*/ 143496 h 857076"/>
                  <a:gd name="connsiteX142" fmla="*/ 69052 w 966623"/>
                  <a:gd name="connsiteY142" fmla="*/ 148265 h 857076"/>
                  <a:gd name="connsiteX143" fmla="*/ 91706 w 966623"/>
                  <a:gd name="connsiteY143" fmla="*/ 164239 h 857076"/>
                  <a:gd name="connsiteX144" fmla="*/ 119205 w 966623"/>
                  <a:gd name="connsiteY144" fmla="*/ 175796 h 857076"/>
                  <a:gd name="connsiteX145" fmla="*/ 152019 w 966623"/>
                  <a:gd name="connsiteY145" fmla="*/ 174399 h 857076"/>
                  <a:gd name="connsiteX146" fmla="*/ 152819 w 966623"/>
                  <a:gd name="connsiteY146" fmla="*/ 179799 h 857076"/>
                  <a:gd name="connsiteX147" fmla="*/ 153364 w 966623"/>
                  <a:gd name="connsiteY147" fmla="*/ 183444 h 857076"/>
                  <a:gd name="connsiteX148" fmla="*/ 154264 w 966623"/>
                  <a:gd name="connsiteY148" fmla="*/ 192715 h 857076"/>
                  <a:gd name="connsiteX149" fmla="*/ 152108 w 966623"/>
                  <a:gd name="connsiteY149" fmla="*/ 193350 h 857076"/>
                  <a:gd name="connsiteX150" fmla="*/ 145766 w 966623"/>
                  <a:gd name="connsiteY150" fmla="*/ 194295 h 857076"/>
                  <a:gd name="connsiteX151" fmla="*/ 145855 w 966623"/>
                  <a:gd name="connsiteY151" fmla="*/ 194340 h 857076"/>
                  <a:gd name="connsiteX152" fmla="*/ 144371 w 966623"/>
                  <a:gd name="connsiteY152" fmla="*/ 203474 h 857076"/>
                  <a:gd name="connsiteX153" fmla="*/ 143470 w 966623"/>
                  <a:gd name="connsiteY153" fmla="*/ 206128 h 857076"/>
                  <a:gd name="connsiteX154" fmla="*/ 146616 w 966623"/>
                  <a:gd name="connsiteY154" fmla="*/ 218277 h 857076"/>
                  <a:gd name="connsiteX155" fmla="*/ 144815 w 966623"/>
                  <a:gd name="connsiteY155" fmla="*/ 223407 h 857076"/>
                  <a:gd name="connsiteX156" fmla="*/ 143293 w 966623"/>
                  <a:gd name="connsiteY156" fmla="*/ 226017 h 857076"/>
                  <a:gd name="connsiteX157" fmla="*/ 137813 w 966623"/>
                  <a:gd name="connsiteY157" fmla="*/ 234881 h 857076"/>
                  <a:gd name="connsiteX158" fmla="*/ 137813 w 966623"/>
                  <a:gd name="connsiteY158" fmla="*/ 234926 h 857076"/>
                  <a:gd name="connsiteX159" fmla="*/ 134807 w 966623"/>
                  <a:gd name="connsiteY159" fmla="*/ 240006 h 857076"/>
                  <a:gd name="connsiteX160" fmla="*/ 138308 w 966623"/>
                  <a:gd name="connsiteY160" fmla="*/ 239916 h 857076"/>
                  <a:gd name="connsiteX161" fmla="*/ 149863 w 966623"/>
                  <a:gd name="connsiteY161" fmla="*/ 238700 h 857076"/>
                  <a:gd name="connsiteX162" fmla="*/ 151702 w 966623"/>
                  <a:gd name="connsiteY162" fmla="*/ 239241 h 857076"/>
                  <a:gd name="connsiteX163" fmla="*/ 156598 w 966623"/>
                  <a:gd name="connsiteY163" fmla="*/ 248239 h 857076"/>
                  <a:gd name="connsiteX164" fmla="*/ 156738 w 966623"/>
                  <a:gd name="connsiteY164" fmla="*/ 249636 h 857076"/>
                  <a:gd name="connsiteX165" fmla="*/ 142265 w 966623"/>
                  <a:gd name="connsiteY165" fmla="*/ 253775 h 857076"/>
                  <a:gd name="connsiteX166" fmla="*/ 133767 w 966623"/>
                  <a:gd name="connsiteY166" fmla="*/ 256250 h 857076"/>
                  <a:gd name="connsiteX167" fmla="*/ 132460 w 966623"/>
                  <a:gd name="connsiteY167" fmla="*/ 256610 h 857076"/>
                  <a:gd name="connsiteX168" fmla="*/ 132917 w 966623"/>
                  <a:gd name="connsiteY168" fmla="*/ 260210 h 857076"/>
                  <a:gd name="connsiteX169" fmla="*/ 135783 w 966623"/>
                  <a:gd name="connsiteY169" fmla="*/ 282933 h 857076"/>
                  <a:gd name="connsiteX170" fmla="*/ 136152 w 966623"/>
                  <a:gd name="connsiteY170" fmla="*/ 285677 h 857076"/>
                  <a:gd name="connsiteX171" fmla="*/ 134756 w 966623"/>
                  <a:gd name="connsiteY171" fmla="*/ 288197 h 857076"/>
                  <a:gd name="connsiteX172" fmla="*/ 134705 w 966623"/>
                  <a:gd name="connsiteY172" fmla="*/ 288287 h 857076"/>
                  <a:gd name="connsiteX173" fmla="*/ 86214 w 966623"/>
                  <a:gd name="connsiteY173" fmla="*/ 308226 h 857076"/>
                  <a:gd name="connsiteX174" fmla="*/ 86759 w 966623"/>
                  <a:gd name="connsiteY174" fmla="*/ 309396 h 857076"/>
                  <a:gd name="connsiteX175" fmla="*/ 90488 w 966623"/>
                  <a:gd name="connsiteY175" fmla="*/ 314931 h 857076"/>
                  <a:gd name="connsiteX176" fmla="*/ 90577 w 966623"/>
                  <a:gd name="connsiteY176" fmla="*/ 315021 h 857076"/>
                  <a:gd name="connsiteX177" fmla="*/ 107066 w 966623"/>
                  <a:gd name="connsiteY177" fmla="*/ 317135 h 857076"/>
                  <a:gd name="connsiteX178" fmla="*/ 119193 w 966623"/>
                  <a:gd name="connsiteY178" fmla="*/ 310251 h 857076"/>
                  <a:gd name="connsiteX179" fmla="*/ 120233 w 966623"/>
                  <a:gd name="connsiteY179" fmla="*/ 309575 h 857076"/>
                  <a:gd name="connsiteX180" fmla="*/ 131559 w 966623"/>
                  <a:gd name="connsiteY180" fmla="*/ 302287 h 857076"/>
                  <a:gd name="connsiteX181" fmla="*/ 130659 w 966623"/>
                  <a:gd name="connsiteY181" fmla="*/ 308136 h 857076"/>
                  <a:gd name="connsiteX182" fmla="*/ 130798 w 966623"/>
                  <a:gd name="connsiteY182" fmla="*/ 313715 h 857076"/>
                  <a:gd name="connsiteX183" fmla="*/ 134845 w 966623"/>
                  <a:gd name="connsiteY183" fmla="*/ 324604 h 857076"/>
                  <a:gd name="connsiteX184" fmla="*/ 136278 w 966623"/>
                  <a:gd name="connsiteY184" fmla="*/ 326674 h 857076"/>
                  <a:gd name="connsiteX185" fmla="*/ 155064 w 966623"/>
                  <a:gd name="connsiteY185" fmla="*/ 344988 h 857076"/>
                  <a:gd name="connsiteX186" fmla="*/ 154708 w 966623"/>
                  <a:gd name="connsiteY186" fmla="*/ 345213 h 857076"/>
                  <a:gd name="connsiteX187" fmla="*/ 153529 w 966623"/>
                  <a:gd name="connsiteY187" fmla="*/ 346067 h 857076"/>
                  <a:gd name="connsiteX188" fmla="*/ 147554 w 966623"/>
                  <a:gd name="connsiteY188" fmla="*/ 350252 h 857076"/>
                  <a:gd name="connsiteX189" fmla="*/ 145221 w 966623"/>
                  <a:gd name="connsiteY189" fmla="*/ 351872 h 857076"/>
                  <a:gd name="connsiteX190" fmla="*/ 137851 w 966623"/>
                  <a:gd name="connsiteY190" fmla="*/ 357046 h 857076"/>
                  <a:gd name="connsiteX191" fmla="*/ 137889 w 966623"/>
                  <a:gd name="connsiteY191" fmla="*/ 357137 h 857076"/>
                  <a:gd name="connsiteX192" fmla="*/ 138701 w 966623"/>
                  <a:gd name="connsiteY192" fmla="*/ 359341 h 857076"/>
                  <a:gd name="connsiteX193" fmla="*/ 141491 w 966623"/>
                  <a:gd name="connsiteY193" fmla="*/ 367081 h 857076"/>
                  <a:gd name="connsiteX194" fmla="*/ 142392 w 966623"/>
                  <a:gd name="connsiteY194" fmla="*/ 369600 h 857076"/>
                  <a:gd name="connsiteX195" fmla="*/ 107878 w 966623"/>
                  <a:gd name="connsiteY195" fmla="*/ 361636 h 857076"/>
                  <a:gd name="connsiteX196" fmla="*/ 102716 w 966623"/>
                  <a:gd name="connsiteY196" fmla="*/ 359341 h 857076"/>
                  <a:gd name="connsiteX197" fmla="*/ 102259 w 966623"/>
                  <a:gd name="connsiteY197" fmla="*/ 359207 h 857076"/>
                  <a:gd name="connsiteX198" fmla="*/ 85415 w 966623"/>
                  <a:gd name="connsiteY198" fmla="*/ 359296 h 857076"/>
                  <a:gd name="connsiteX199" fmla="*/ 71247 w 966623"/>
                  <a:gd name="connsiteY199" fmla="*/ 368116 h 857076"/>
                  <a:gd name="connsiteX200" fmla="*/ 70536 w 966623"/>
                  <a:gd name="connsiteY200" fmla="*/ 368206 h 857076"/>
                  <a:gd name="connsiteX201" fmla="*/ 70486 w 966623"/>
                  <a:gd name="connsiteY201" fmla="*/ 368655 h 857076"/>
                  <a:gd name="connsiteX202" fmla="*/ 63078 w 966623"/>
                  <a:gd name="connsiteY202" fmla="*/ 373515 h 857076"/>
                  <a:gd name="connsiteX203" fmla="*/ 55569 w 966623"/>
                  <a:gd name="connsiteY203" fmla="*/ 389623 h 857076"/>
                  <a:gd name="connsiteX204" fmla="*/ 56964 w 966623"/>
                  <a:gd name="connsiteY204" fmla="*/ 389848 h 857076"/>
                  <a:gd name="connsiteX205" fmla="*/ 71931 w 966623"/>
                  <a:gd name="connsiteY205" fmla="*/ 391964 h 857076"/>
                  <a:gd name="connsiteX206" fmla="*/ 66541 w 966623"/>
                  <a:gd name="connsiteY206" fmla="*/ 394528 h 857076"/>
                  <a:gd name="connsiteX207" fmla="*/ 56292 w 966623"/>
                  <a:gd name="connsiteY207" fmla="*/ 399433 h 857076"/>
                  <a:gd name="connsiteX208" fmla="*/ 57776 w 966623"/>
                  <a:gd name="connsiteY208" fmla="*/ 404292 h 857076"/>
                  <a:gd name="connsiteX209" fmla="*/ 71703 w 966623"/>
                  <a:gd name="connsiteY209" fmla="*/ 415676 h 857076"/>
                  <a:gd name="connsiteX210" fmla="*/ 72109 w 966623"/>
                  <a:gd name="connsiteY210" fmla="*/ 415766 h 857076"/>
                  <a:gd name="connsiteX211" fmla="*/ 72248 w 966623"/>
                  <a:gd name="connsiteY211" fmla="*/ 415766 h 857076"/>
                  <a:gd name="connsiteX212" fmla="*/ 93317 w 966623"/>
                  <a:gd name="connsiteY212" fmla="*/ 417746 h 857076"/>
                  <a:gd name="connsiteX213" fmla="*/ 94179 w 966623"/>
                  <a:gd name="connsiteY213" fmla="*/ 417971 h 857076"/>
                  <a:gd name="connsiteX214" fmla="*/ 94446 w 966623"/>
                  <a:gd name="connsiteY214" fmla="*/ 418015 h 857076"/>
                  <a:gd name="connsiteX215" fmla="*/ 94040 w 966623"/>
                  <a:gd name="connsiteY215" fmla="*/ 418777 h 857076"/>
                  <a:gd name="connsiteX216" fmla="*/ 94040 w 966623"/>
                  <a:gd name="connsiteY216" fmla="*/ 418822 h 857076"/>
                  <a:gd name="connsiteX217" fmla="*/ 89955 w 966623"/>
                  <a:gd name="connsiteY217" fmla="*/ 426607 h 857076"/>
                  <a:gd name="connsiteX218" fmla="*/ 88472 w 966623"/>
                  <a:gd name="connsiteY218" fmla="*/ 428902 h 857076"/>
                  <a:gd name="connsiteX219" fmla="*/ 86632 w 966623"/>
                  <a:gd name="connsiteY219" fmla="*/ 430565 h 857076"/>
                  <a:gd name="connsiteX220" fmla="*/ 82180 w 966623"/>
                  <a:gd name="connsiteY220" fmla="*/ 432996 h 857076"/>
                  <a:gd name="connsiteX221" fmla="*/ 81051 w 966623"/>
                  <a:gd name="connsiteY221" fmla="*/ 433631 h 857076"/>
                  <a:gd name="connsiteX222" fmla="*/ 77145 w 966623"/>
                  <a:gd name="connsiteY222" fmla="*/ 435836 h 857076"/>
                  <a:gd name="connsiteX223" fmla="*/ 72020 w 966623"/>
                  <a:gd name="connsiteY223" fmla="*/ 439300 h 857076"/>
                  <a:gd name="connsiteX224" fmla="*/ 68430 w 966623"/>
                  <a:gd name="connsiteY224" fmla="*/ 442406 h 857076"/>
                  <a:gd name="connsiteX225" fmla="*/ 62088 w 966623"/>
                  <a:gd name="connsiteY225" fmla="*/ 454419 h 857076"/>
                  <a:gd name="connsiteX226" fmla="*/ 63661 w 966623"/>
                  <a:gd name="connsiteY226" fmla="*/ 464858 h 857076"/>
                  <a:gd name="connsiteX227" fmla="*/ 65995 w 966623"/>
                  <a:gd name="connsiteY227" fmla="*/ 470078 h 857076"/>
                  <a:gd name="connsiteX228" fmla="*/ 70042 w 966623"/>
                  <a:gd name="connsiteY228" fmla="*/ 476962 h 857076"/>
                  <a:gd name="connsiteX229" fmla="*/ 71792 w 966623"/>
                  <a:gd name="connsiteY229" fmla="*/ 479572 h 857076"/>
                  <a:gd name="connsiteX230" fmla="*/ 72198 w 966623"/>
                  <a:gd name="connsiteY230" fmla="*/ 480112 h 857076"/>
                  <a:gd name="connsiteX231" fmla="*/ 76777 w 966623"/>
                  <a:gd name="connsiteY231" fmla="*/ 486771 h 857076"/>
                  <a:gd name="connsiteX232" fmla="*/ 77627 w 966623"/>
                  <a:gd name="connsiteY232" fmla="*/ 487986 h 857076"/>
                  <a:gd name="connsiteX233" fmla="*/ 81229 w 966623"/>
                  <a:gd name="connsiteY233" fmla="*/ 493296 h 857076"/>
                  <a:gd name="connsiteX234" fmla="*/ 82929 w 966623"/>
                  <a:gd name="connsiteY234" fmla="*/ 495860 h 857076"/>
                  <a:gd name="connsiteX235" fmla="*/ 87343 w 966623"/>
                  <a:gd name="connsiteY235" fmla="*/ 502835 h 857076"/>
                  <a:gd name="connsiteX236" fmla="*/ 88104 w 966623"/>
                  <a:gd name="connsiteY236" fmla="*/ 504185 h 857076"/>
                  <a:gd name="connsiteX237" fmla="*/ 90755 w 966623"/>
                  <a:gd name="connsiteY237" fmla="*/ 508863 h 857076"/>
                  <a:gd name="connsiteX238" fmla="*/ 90843 w 966623"/>
                  <a:gd name="connsiteY238" fmla="*/ 509044 h 857076"/>
                  <a:gd name="connsiteX239" fmla="*/ 92645 w 966623"/>
                  <a:gd name="connsiteY239" fmla="*/ 512418 h 857076"/>
                  <a:gd name="connsiteX240" fmla="*/ 93139 w 966623"/>
                  <a:gd name="connsiteY240" fmla="*/ 513499 h 857076"/>
                  <a:gd name="connsiteX241" fmla="*/ 97718 w 966623"/>
                  <a:gd name="connsiteY241" fmla="*/ 524432 h 857076"/>
                  <a:gd name="connsiteX242" fmla="*/ 98885 w 966623"/>
                  <a:gd name="connsiteY242" fmla="*/ 528033 h 857076"/>
                  <a:gd name="connsiteX243" fmla="*/ 100319 w 966623"/>
                  <a:gd name="connsiteY243" fmla="*/ 533702 h 857076"/>
                  <a:gd name="connsiteX244" fmla="*/ 101587 w 966623"/>
                  <a:gd name="connsiteY244" fmla="*/ 542338 h 857076"/>
                  <a:gd name="connsiteX245" fmla="*/ 101676 w 966623"/>
                  <a:gd name="connsiteY245" fmla="*/ 543100 h 857076"/>
                  <a:gd name="connsiteX246" fmla="*/ 121260 w 966623"/>
                  <a:gd name="connsiteY246" fmla="*/ 554978 h 857076"/>
                  <a:gd name="connsiteX247" fmla="*/ 117810 w 966623"/>
                  <a:gd name="connsiteY247" fmla="*/ 558128 h 857076"/>
                  <a:gd name="connsiteX248" fmla="*/ 113307 w 966623"/>
                  <a:gd name="connsiteY248" fmla="*/ 562403 h 857076"/>
                  <a:gd name="connsiteX249" fmla="*/ 110162 w 966623"/>
                  <a:gd name="connsiteY249" fmla="*/ 565733 h 857076"/>
                  <a:gd name="connsiteX250" fmla="*/ 105583 w 966623"/>
                  <a:gd name="connsiteY250" fmla="*/ 573607 h 857076"/>
                  <a:gd name="connsiteX251" fmla="*/ 110529 w 966623"/>
                  <a:gd name="connsiteY251" fmla="*/ 598534 h 857076"/>
                  <a:gd name="connsiteX252" fmla="*/ 120461 w 966623"/>
                  <a:gd name="connsiteY252" fmla="*/ 582741 h 857076"/>
                  <a:gd name="connsiteX253" fmla="*/ 129758 w 966623"/>
                  <a:gd name="connsiteY253" fmla="*/ 568118 h 857076"/>
                  <a:gd name="connsiteX254" fmla="*/ 144548 w 966623"/>
                  <a:gd name="connsiteY254" fmla="*/ 563927 h 857076"/>
                  <a:gd name="connsiteX255" fmla="*/ 146756 w 966623"/>
                  <a:gd name="connsiteY255" fmla="*/ 563791 h 857076"/>
                  <a:gd name="connsiteX256" fmla="*/ 146793 w 966623"/>
                  <a:gd name="connsiteY256" fmla="*/ 563791 h 857076"/>
                  <a:gd name="connsiteX257" fmla="*/ 149673 w 966623"/>
                  <a:gd name="connsiteY257" fmla="*/ 563747 h 857076"/>
                  <a:gd name="connsiteX258" fmla="*/ 161532 w 966623"/>
                  <a:gd name="connsiteY258" fmla="*/ 573961 h 857076"/>
                  <a:gd name="connsiteX259" fmla="*/ 161849 w 966623"/>
                  <a:gd name="connsiteY259" fmla="*/ 577741 h 857076"/>
                  <a:gd name="connsiteX260" fmla="*/ 163067 w 966623"/>
                  <a:gd name="connsiteY260" fmla="*/ 584355 h 857076"/>
                  <a:gd name="connsiteX261" fmla="*/ 162484 w 966623"/>
                  <a:gd name="connsiteY261" fmla="*/ 585029 h 857076"/>
                  <a:gd name="connsiteX262" fmla="*/ 161317 w 966623"/>
                  <a:gd name="connsiteY262" fmla="*/ 586469 h 857076"/>
                  <a:gd name="connsiteX263" fmla="*/ 157270 w 966623"/>
                  <a:gd name="connsiteY263" fmla="*/ 591689 h 857076"/>
                  <a:gd name="connsiteX264" fmla="*/ 155064 w 966623"/>
                  <a:gd name="connsiteY264" fmla="*/ 594610 h 857076"/>
                  <a:gd name="connsiteX265" fmla="*/ 155025 w 966623"/>
                  <a:gd name="connsiteY265" fmla="*/ 594610 h 857076"/>
                  <a:gd name="connsiteX266" fmla="*/ 137445 w 966623"/>
                  <a:gd name="connsiteY266" fmla="*/ 610673 h 857076"/>
                  <a:gd name="connsiteX267" fmla="*/ 137268 w 966623"/>
                  <a:gd name="connsiteY267" fmla="*/ 610763 h 857076"/>
                  <a:gd name="connsiteX268" fmla="*/ 122262 w 966623"/>
                  <a:gd name="connsiteY268" fmla="*/ 613463 h 857076"/>
                  <a:gd name="connsiteX269" fmla="*/ 124152 w 966623"/>
                  <a:gd name="connsiteY269" fmla="*/ 622372 h 857076"/>
                  <a:gd name="connsiteX270" fmla="*/ 126030 w 966623"/>
                  <a:gd name="connsiteY270" fmla="*/ 631417 h 857076"/>
                  <a:gd name="connsiteX271" fmla="*/ 126486 w 966623"/>
                  <a:gd name="connsiteY271" fmla="*/ 633396 h 857076"/>
                  <a:gd name="connsiteX272" fmla="*/ 129581 w 966623"/>
                  <a:gd name="connsiteY272" fmla="*/ 642080 h 857076"/>
                  <a:gd name="connsiteX273" fmla="*/ 131420 w 966623"/>
                  <a:gd name="connsiteY273" fmla="*/ 645366 h 857076"/>
                  <a:gd name="connsiteX274" fmla="*/ 132054 w 966623"/>
                  <a:gd name="connsiteY274" fmla="*/ 646355 h 857076"/>
                  <a:gd name="connsiteX275" fmla="*/ 135251 w 966623"/>
                  <a:gd name="connsiteY275" fmla="*/ 650855 h 857076"/>
                  <a:gd name="connsiteX276" fmla="*/ 136469 w 966623"/>
                  <a:gd name="connsiteY276" fmla="*/ 652429 h 857076"/>
                  <a:gd name="connsiteX277" fmla="*/ 142532 w 966623"/>
                  <a:gd name="connsiteY277" fmla="*/ 659988 h 857076"/>
                  <a:gd name="connsiteX278" fmla="*/ 143343 w 966623"/>
                  <a:gd name="connsiteY278" fmla="*/ 661069 h 857076"/>
                  <a:gd name="connsiteX279" fmla="*/ 147110 w 966623"/>
                  <a:gd name="connsiteY279" fmla="*/ 666738 h 857076"/>
                  <a:gd name="connsiteX280" fmla="*/ 149812 w 966623"/>
                  <a:gd name="connsiteY280" fmla="*/ 671192 h 857076"/>
                  <a:gd name="connsiteX281" fmla="*/ 151651 w 966623"/>
                  <a:gd name="connsiteY281" fmla="*/ 674163 h 857076"/>
                  <a:gd name="connsiteX282" fmla="*/ 156598 w 966623"/>
                  <a:gd name="connsiteY282" fmla="*/ 682892 h 857076"/>
                  <a:gd name="connsiteX283" fmla="*/ 156598 w 966623"/>
                  <a:gd name="connsiteY283" fmla="*/ 682937 h 857076"/>
                  <a:gd name="connsiteX284" fmla="*/ 159300 w 966623"/>
                  <a:gd name="connsiteY284" fmla="*/ 689821 h 857076"/>
                  <a:gd name="connsiteX285" fmla="*/ 159516 w 966623"/>
                  <a:gd name="connsiteY285" fmla="*/ 690946 h 857076"/>
                  <a:gd name="connsiteX286" fmla="*/ 159338 w 966623"/>
                  <a:gd name="connsiteY286" fmla="*/ 696026 h 857076"/>
                  <a:gd name="connsiteX287" fmla="*/ 158311 w 966623"/>
                  <a:gd name="connsiteY287" fmla="*/ 700030 h 857076"/>
                  <a:gd name="connsiteX288" fmla="*/ 158311 w 966623"/>
                  <a:gd name="connsiteY288" fmla="*/ 700075 h 857076"/>
                  <a:gd name="connsiteX289" fmla="*/ 157676 w 966623"/>
                  <a:gd name="connsiteY289" fmla="*/ 707274 h 857076"/>
                  <a:gd name="connsiteX290" fmla="*/ 175295 w 966623"/>
                  <a:gd name="connsiteY290" fmla="*/ 725273 h 857076"/>
                  <a:gd name="connsiteX291" fmla="*/ 183197 w 966623"/>
                  <a:gd name="connsiteY291" fmla="*/ 729142 h 857076"/>
                  <a:gd name="connsiteX292" fmla="*/ 183831 w 966623"/>
                  <a:gd name="connsiteY292" fmla="*/ 729457 h 857076"/>
                  <a:gd name="connsiteX293" fmla="*/ 190896 w 966623"/>
                  <a:gd name="connsiteY293" fmla="*/ 734992 h 857076"/>
                  <a:gd name="connsiteX294" fmla="*/ 191467 w 966623"/>
                  <a:gd name="connsiteY294" fmla="*/ 735802 h 857076"/>
                  <a:gd name="connsiteX295" fmla="*/ 193814 w 966623"/>
                  <a:gd name="connsiteY295" fmla="*/ 742461 h 857076"/>
                  <a:gd name="connsiteX296" fmla="*/ 193446 w 966623"/>
                  <a:gd name="connsiteY296" fmla="*/ 747321 h 857076"/>
                  <a:gd name="connsiteX297" fmla="*/ 193179 w 966623"/>
                  <a:gd name="connsiteY297" fmla="*/ 748806 h 857076"/>
                  <a:gd name="connsiteX298" fmla="*/ 192774 w 966623"/>
                  <a:gd name="connsiteY298" fmla="*/ 752495 h 857076"/>
                  <a:gd name="connsiteX299" fmla="*/ 193674 w 966623"/>
                  <a:gd name="connsiteY299" fmla="*/ 760325 h 857076"/>
                  <a:gd name="connsiteX300" fmla="*/ 194435 w 966623"/>
                  <a:gd name="connsiteY300" fmla="*/ 762664 h 857076"/>
                  <a:gd name="connsiteX301" fmla="*/ 197353 w 966623"/>
                  <a:gd name="connsiteY301" fmla="*/ 768199 h 857076"/>
                  <a:gd name="connsiteX302" fmla="*/ 197403 w 966623"/>
                  <a:gd name="connsiteY302" fmla="*/ 768289 h 857076"/>
                  <a:gd name="connsiteX303" fmla="*/ 202033 w 966623"/>
                  <a:gd name="connsiteY303" fmla="*/ 774184 h 857076"/>
                  <a:gd name="connsiteX304" fmla="*/ 204227 w 966623"/>
                  <a:gd name="connsiteY304" fmla="*/ 776524 h 857076"/>
                  <a:gd name="connsiteX305" fmla="*/ 206751 w 966623"/>
                  <a:gd name="connsiteY305" fmla="*/ 778999 h 857076"/>
                  <a:gd name="connsiteX306" fmla="*/ 217127 w 966623"/>
                  <a:gd name="connsiteY306" fmla="*/ 788177 h 857076"/>
                  <a:gd name="connsiteX307" fmla="*/ 217977 w 966623"/>
                  <a:gd name="connsiteY307" fmla="*/ 788812 h 857076"/>
                  <a:gd name="connsiteX308" fmla="*/ 225892 w 966623"/>
                  <a:gd name="connsiteY308" fmla="*/ 795111 h 857076"/>
                  <a:gd name="connsiteX309" fmla="*/ 226387 w 966623"/>
                  <a:gd name="connsiteY309" fmla="*/ 795472 h 857076"/>
                  <a:gd name="connsiteX310" fmla="*/ 238525 w 966623"/>
                  <a:gd name="connsiteY310" fmla="*/ 805055 h 857076"/>
                  <a:gd name="connsiteX311" fmla="*/ 277035 w 966623"/>
                  <a:gd name="connsiteY311" fmla="*/ 791153 h 857076"/>
                  <a:gd name="connsiteX312" fmla="*/ 277567 w 966623"/>
                  <a:gd name="connsiteY312" fmla="*/ 790702 h 857076"/>
                  <a:gd name="connsiteX313" fmla="*/ 281753 w 966623"/>
                  <a:gd name="connsiteY313" fmla="*/ 786832 h 857076"/>
                  <a:gd name="connsiteX314" fmla="*/ 282286 w 966623"/>
                  <a:gd name="connsiteY314" fmla="*/ 787103 h 857076"/>
                  <a:gd name="connsiteX315" fmla="*/ 283465 w 966623"/>
                  <a:gd name="connsiteY315" fmla="*/ 787738 h 857076"/>
                  <a:gd name="connsiteX316" fmla="*/ 292268 w 966623"/>
                  <a:gd name="connsiteY316" fmla="*/ 792597 h 857076"/>
                  <a:gd name="connsiteX317" fmla="*/ 293346 w 966623"/>
                  <a:gd name="connsiteY317" fmla="*/ 793232 h 857076"/>
                  <a:gd name="connsiteX318" fmla="*/ 295591 w 966623"/>
                  <a:gd name="connsiteY318" fmla="*/ 794492 h 857076"/>
                  <a:gd name="connsiteX319" fmla="*/ 294653 w 966623"/>
                  <a:gd name="connsiteY319" fmla="*/ 798048 h 857076"/>
                  <a:gd name="connsiteX320" fmla="*/ 294653 w 966623"/>
                  <a:gd name="connsiteY320" fmla="*/ 798093 h 857076"/>
                  <a:gd name="connsiteX321" fmla="*/ 293524 w 966623"/>
                  <a:gd name="connsiteY321" fmla="*/ 802368 h 857076"/>
                  <a:gd name="connsiteX322" fmla="*/ 290379 w 966623"/>
                  <a:gd name="connsiteY322" fmla="*/ 814156 h 857076"/>
                  <a:gd name="connsiteX323" fmla="*/ 289211 w 966623"/>
                  <a:gd name="connsiteY323" fmla="*/ 818566 h 857076"/>
                  <a:gd name="connsiteX324" fmla="*/ 289072 w 966623"/>
                  <a:gd name="connsiteY324" fmla="*/ 819105 h 857076"/>
                  <a:gd name="connsiteX325" fmla="*/ 299777 w 966623"/>
                  <a:gd name="connsiteY325" fmla="*/ 823021 h 857076"/>
                  <a:gd name="connsiteX326" fmla="*/ 300944 w 966623"/>
                  <a:gd name="connsiteY326" fmla="*/ 823876 h 857076"/>
                  <a:gd name="connsiteX327" fmla="*/ 307502 w 966623"/>
                  <a:gd name="connsiteY327" fmla="*/ 832470 h 857076"/>
                  <a:gd name="connsiteX328" fmla="*/ 308758 w 966623"/>
                  <a:gd name="connsiteY328" fmla="*/ 835755 h 857076"/>
                  <a:gd name="connsiteX329" fmla="*/ 310965 w 966623"/>
                  <a:gd name="connsiteY329" fmla="*/ 845878 h 857076"/>
                  <a:gd name="connsiteX330" fmla="*/ 311675 w 966623"/>
                  <a:gd name="connsiteY330" fmla="*/ 850958 h 857076"/>
                  <a:gd name="connsiteX331" fmla="*/ 312487 w 966623"/>
                  <a:gd name="connsiteY331" fmla="*/ 857077 h 857076"/>
                  <a:gd name="connsiteX332" fmla="*/ 327099 w 966623"/>
                  <a:gd name="connsiteY332" fmla="*/ 845783 h 857076"/>
                  <a:gd name="connsiteX333" fmla="*/ 328266 w 966623"/>
                  <a:gd name="connsiteY333" fmla="*/ 844884 h 857076"/>
                  <a:gd name="connsiteX334" fmla="*/ 329750 w 966623"/>
                  <a:gd name="connsiteY334" fmla="*/ 843714 h 857076"/>
                  <a:gd name="connsiteX335" fmla="*/ 331450 w 966623"/>
                  <a:gd name="connsiteY335" fmla="*/ 846054 h 857076"/>
                  <a:gd name="connsiteX336" fmla="*/ 331995 w 966623"/>
                  <a:gd name="connsiteY336" fmla="*/ 846774 h 857076"/>
                  <a:gd name="connsiteX337" fmla="*/ 336359 w 966623"/>
                  <a:gd name="connsiteY337" fmla="*/ 852802 h 857076"/>
                  <a:gd name="connsiteX338" fmla="*/ 339327 w 966623"/>
                  <a:gd name="connsiteY338" fmla="*/ 856852 h 857076"/>
                  <a:gd name="connsiteX339" fmla="*/ 344984 w 966623"/>
                  <a:gd name="connsiteY339" fmla="*/ 854198 h 857076"/>
                  <a:gd name="connsiteX340" fmla="*/ 354015 w 966623"/>
                  <a:gd name="connsiteY340" fmla="*/ 849923 h 857076"/>
                  <a:gd name="connsiteX341" fmla="*/ 354776 w 966623"/>
                  <a:gd name="connsiteY341" fmla="*/ 849564 h 857076"/>
                  <a:gd name="connsiteX342" fmla="*/ 352176 w 966623"/>
                  <a:gd name="connsiteY342" fmla="*/ 841734 h 857076"/>
                  <a:gd name="connsiteX343" fmla="*/ 351313 w 966623"/>
                  <a:gd name="connsiteY343" fmla="*/ 839304 h 857076"/>
                  <a:gd name="connsiteX344" fmla="*/ 350374 w 966623"/>
                  <a:gd name="connsiteY344" fmla="*/ 835660 h 857076"/>
                  <a:gd name="connsiteX345" fmla="*/ 350235 w 966623"/>
                  <a:gd name="connsiteY345" fmla="*/ 833365 h 857076"/>
                  <a:gd name="connsiteX346" fmla="*/ 350552 w 966623"/>
                  <a:gd name="connsiteY346" fmla="*/ 831610 h 857076"/>
                  <a:gd name="connsiteX347" fmla="*/ 355499 w 966623"/>
                  <a:gd name="connsiteY347" fmla="*/ 824410 h 857076"/>
                  <a:gd name="connsiteX348" fmla="*/ 355727 w 966623"/>
                  <a:gd name="connsiteY348" fmla="*/ 824185 h 857076"/>
                  <a:gd name="connsiteX349" fmla="*/ 361651 w 966623"/>
                  <a:gd name="connsiteY349" fmla="*/ 818516 h 857076"/>
                  <a:gd name="connsiteX350" fmla="*/ 363008 w 966623"/>
                  <a:gd name="connsiteY350" fmla="*/ 817076 h 857076"/>
                  <a:gd name="connsiteX351" fmla="*/ 359900 w 966623"/>
                  <a:gd name="connsiteY351" fmla="*/ 814961 h 857076"/>
                  <a:gd name="connsiteX352" fmla="*/ 355004 w 966623"/>
                  <a:gd name="connsiteY352" fmla="*/ 811677 h 857076"/>
                  <a:gd name="connsiteX353" fmla="*/ 354966 w 966623"/>
                  <a:gd name="connsiteY353" fmla="*/ 811677 h 857076"/>
                  <a:gd name="connsiteX354" fmla="*/ 350514 w 966623"/>
                  <a:gd name="connsiteY354" fmla="*/ 808662 h 857076"/>
                  <a:gd name="connsiteX355" fmla="*/ 349969 w 966623"/>
                  <a:gd name="connsiteY355" fmla="*/ 808302 h 857076"/>
                  <a:gd name="connsiteX356" fmla="*/ 364175 w 966623"/>
                  <a:gd name="connsiteY356" fmla="*/ 803938 h 857076"/>
                  <a:gd name="connsiteX357" fmla="*/ 364048 w 966623"/>
                  <a:gd name="connsiteY357" fmla="*/ 800337 h 857076"/>
                  <a:gd name="connsiteX358" fmla="*/ 363858 w 966623"/>
                  <a:gd name="connsiteY358" fmla="*/ 798493 h 857076"/>
                  <a:gd name="connsiteX359" fmla="*/ 363452 w 966623"/>
                  <a:gd name="connsiteY359" fmla="*/ 794128 h 857076"/>
                  <a:gd name="connsiteX360" fmla="*/ 363363 w 966623"/>
                  <a:gd name="connsiteY360" fmla="*/ 793318 h 857076"/>
                  <a:gd name="connsiteX361" fmla="*/ 363503 w 966623"/>
                  <a:gd name="connsiteY361" fmla="*/ 786748 h 857076"/>
                  <a:gd name="connsiteX362" fmla="*/ 363731 w 966623"/>
                  <a:gd name="connsiteY362" fmla="*/ 786074 h 857076"/>
                  <a:gd name="connsiteX363" fmla="*/ 364581 w 966623"/>
                  <a:gd name="connsiteY363" fmla="*/ 785039 h 857076"/>
                  <a:gd name="connsiteX364" fmla="*/ 373790 w 966623"/>
                  <a:gd name="connsiteY364" fmla="*/ 775141 h 857076"/>
                  <a:gd name="connsiteX365" fmla="*/ 375185 w 966623"/>
                  <a:gd name="connsiteY365" fmla="*/ 771675 h 857076"/>
                  <a:gd name="connsiteX366" fmla="*/ 376935 w 966623"/>
                  <a:gd name="connsiteY366" fmla="*/ 763351 h 857076"/>
                  <a:gd name="connsiteX367" fmla="*/ 377214 w 966623"/>
                  <a:gd name="connsiteY367" fmla="*/ 761146 h 857076"/>
                  <a:gd name="connsiteX368" fmla="*/ 378698 w 966623"/>
                  <a:gd name="connsiteY368" fmla="*/ 751247 h 857076"/>
                  <a:gd name="connsiteX369" fmla="*/ 380487 w 966623"/>
                  <a:gd name="connsiteY369" fmla="*/ 745263 h 857076"/>
                  <a:gd name="connsiteX370" fmla="*/ 371367 w 966623"/>
                  <a:gd name="connsiteY370" fmla="*/ 718040 h 857076"/>
                  <a:gd name="connsiteX371" fmla="*/ 369477 w 966623"/>
                  <a:gd name="connsiteY371" fmla="*/ 715835 h 857076"/>
                  <a:gd name="connsiteX372" fmla="*/ 367638 w 966623"/>
                  <a:gd name="connsiteY372" fmla="*/ 705352 h 857076"/>
                  <a:gd name="connsiteX373" fmla="*/ 367727 w 966623"/>
                  <a:gd name="connsiteY373" fmla="*/ 702696 h 857076"/>
                  <a:gd name="connsiteX374" fmla="*/ 368538 w 966623"/>
                  <a:gd name="connsiteY374" fmla="*/ 698196 h 857076"/>
                  <a:gd name="connsiteX375" fmla="*/ 382288 w 966623"/>
                  <a:gd name="connsiteY375" fmla="*/ 687983 h 857076"/>
                  <a:gd name="connsiteX376" fmla="*/ 382427 w 966623"/>
                  <a:gd name="connsiteY376" fmla="*/ 688027 h 857076"/>
                  <a:gd name="connsiteX377" fmla="*/ 385611 w 966623"/>
                  <a:gd name="connsiteY377" fmla="*/ 689468 h 857076"/>
                  <a:gd name="connsiteX378" fmla="*/ 394807 w 966623"/>
                  <a:gd name="connsiteY378" fmla="*/ 686331 h 857076"/>
                  <a:gd name="connsiteX379" fmla="*/ 395505 w 966623"/>
                  <a:gd name="connsiteY379" fmla="*/ 682898 h 857076"/>
                  <a:gd name="connsiteX380" fmla="*/ 395416 w 966623"/>
                  <a:gd name="connsiteY380" fmla="*/ 680424 h 857076"/>
                  <a:gd name="connsiteX381" fmla="*/ 395137 w 966623"/>
                  <a:gd name="connsiteY381" fmla="*/ 678984 h 857076"/>
                  <a:gd name="connsiteX382" fmla="*/ 395454 w 966623"/>
                  <a:gd name="connsiteY382" fmla="*/ 673000 h 857076"/>
                  <a:gd name="connsiteX383" fmla="*/ 396583 w 966623"/>
                  <a:gd name="connsiteY383" fmla="*/ 671244 h 857076"/>
                  <a:gd name="connsiteX384" fmla="*/ 396672 w 966623"/>
                  <a:gd name="connsiteY384" fmla="*/ 671199 h 857076"/>
                  <a:gd name="connsiteX385" fmla="*/ 402468 w 966623"/>
                  <a:gd name="connsiteY385" fmla="*/ 666745 h 857076"/>
                  <a:gd name="connsiteX386" fmla="*/ 399094 w 966623"/>
                  <a:gd name="connsiteY386" fmla="*/ 651896 h 857076"/>
                  <a:gd name="connsiteX387" fmla="*/ 399462 w 966623"/>
                  <a:gd name="connsiteY387" fmla="*/ 649872 h 857076"/>
                  <a:gd name="connsiteX388" fmla="*/ 418831 w 966623"/>
                  <a:gd name="connsiteY388" fmla="*/ 641817 h 857076"/>
                  <a:gd name="connsiteX389" fmla="*/ 421393 w 966623"/>
                  <a:gd name="connsiteY389" fmla="*/ 640107 h 857076"/>
                  <a:gd name="connsiteX390" fmla="*/ 427495 w 966623"/>
                  <a:gd name="connsiteY390" fmla="*/ 621883 h 857076"/>
                  <a:gd name="connsiteX391" fmla="*/ 427495 w 966623"/>
                  <a:gd name="connsiteY391" fmla="*/ 621445 h 857076"/>
                  <a:gd name="connsiteX392" fmla="*/ 427139 w 966623"/>
                  <a:gd name="connsiteY392" fmla="*/ 611006 h 857076"/>
                  <a:gd name="connsiteX393" fmla="*/ 427101 w 966623"/>
                  <a:gd name="connsiteY393" fmla="*/ 610244 h 857076"/>
                  <a:gd name="connsiteX394" fmla="*/ 405297 w 966623"/>
                  <a:gd name="connsiteY394" fmla="*/ 599804 h 857076"/>
                  <a:gd name="connsiteX395" fmla="*/ 404764 w 966623"/>
                  <a:gd name="connsiteY395" fmla="*/ 597915 h 857076"/>
                  <a:gd name="connsiteX396" fmla="*/ 427228 w 966623"/>
                  <a:gd name="connsiteY396" fmla="*/ 589591 h 857076"/>
                  <a:gd name="connsiteX397" fmla="*/ 429435 w 966623"/>
                  <a:gd name="connsiteY397" fmla="*/ 578971 h 857076"/>
                  <a:gd name="connsiteX398" fmla="*/ 429435 w 966623"/>
                  <a:gd name="connsiteY398" fmla="*/ 578926 h 857076"/>
                  <a:gd name="connsiteX399" fmla="*/ 418463 w 966623"/>
                  <a:gd name="connsiteY399" fmla="*/ 559667 h 857076"/>
                  <a:gd name="connsiteX400" fmla="*/ 417702 w 966623"/>
                  <a:gd name="connsiteY400" fmla="*/ 558183 h 857076"/>
                  <a:gd name="connsiteX401" fmla="*/ 417208 w 966623"/>
                  <a:gd name="connsiteY401" fmla="*/ 557012 h 857076"/>
                  <a:gd name="connsiteX402" fmla="*/ 417119 w 966623"/>
                  <a:gd name="connsiteY402" fmla="*/ 556877 h 857076"/>
                  <a:gd name="connsiteX403" fmla="*/ 417030 w 966623"/>
                  <a:gd name="connsiteY403" fmla="*/ 547743 h 857076"/>
                  <a:gd name="connsiteX404" fmla="*/ 418476 w 966623"/>
                  <a:gd name="connsiteY404" fmla="*/ 544684 h 857076"/>
                  <a:gd name="connsiteX405" fmla="*/ 445975 w 966623"/>
                  <a:gd name="connsiteY405" fmla="*/ 523761 h 857076"/>
                  <a:gd name="connsiteX406" fmla="*/ 444580 w 966623"/>
                  <a:gd name="connsiteY406" fmla="*/ 519570 h 857076"/>
                  <a:gd name="connsiteX407" fmla="*/ 441751 w 966623"/>
                  <a:gd name="connsiteY407" fmla="*/ 512458 h 857076"/>
                  <a:gd name="connsiteX408" fmla="*/ 456224 w 966623"/>
                  <a:gd name="connsiteY408" fmla="*/ 509713 h 857076"/>
                  <a:gd name="connsiteX409" fmla="*/ 457746 w 966623"/>
                  <a:gd name="connsiteY409" fmla="*/ 509397 h 857076"/>
                  <a:gd name="connsiteX410" fmla="*/ 467767 w 966623"/>
                  <a:gd name="connsiteY410" fmla="*/ 507507 h 857076"/>
                  <a:gd name="connsiteX411" fmla="*/ 468261 w 966623"/>
                  <a:gd name="connsiteY411" fmla="*/ 507418 h 857076"/>
                  <a:gd name="connsiteX412" fmla="*/ 496928 w 966623"/>
                  <a:gd name="connsiteY412" fmla="*/ 501884 h 857076"/>
                  <a:gd name="connsiteX413" fmla="*/ 495761 w 966623"/>
                  <a:gd name="connsiteY413" fmla="*/ 495944 h 857076"/>
                  <a:gd name="connsiteX414" fmla="*/ 495938 w 966623"/>
                  <a:gd name="connsiteY414" fmla="*/ 491400 h 857076"/>
                  <a:gd name="connsiteX415" fmla="*/ 505058 w 966623"/>
                  <a:gd name="connsiteY415" fmla="*/ 463587 h 857076"/>
                  <a:gd name="connsiteX416" fmla="*/ 504919 w 966623"/>
                  <a:gd name="connsiteY416" fmla="*/ 459673 h 857076"/>
                  <a:gd name="connsiteX417" fmla="*/ 502762 w 966623"/>
                  <a:gd name="connsiteY417" fmla="*/ 452517 h 857076"/>
                  <a:gd name="connsiteX418" fmla="*/ 523349 w 966623"/>
                  <a:gd name="connsiteY418" fmla="*/ 460076 h 857076"/>
                  <a:gd name="connsiteX419" fmla="*/ 521104 w 966623"/>
                  <a:gd name="connsiteY419" fmla="*/ 464441 h 857076"/>
                  <a:gd name="connsiteX420" fmla="*/ 512745 w 966623"/>
                  <a:gd name="connsiteY420" fmla="*/ 480730 h 857076"/>
                  <a:gd name="connsiteX421" fmla="*/ 511527 w 966623"/>
                  <a:gd name="connsiteY421" fmla="*/ 483160 h 857076"/>
                  <a:gd name="connsiteX422" fmla="*/ 509193 w 966623"/>
                  <a:gd name="connsiteY422" fmla="*/ 487660 h 857076"/>
                  <a:gd name="connsiteX423" fmla="*/ 508838 w 966623"/>
                  <a:gd name="connsiteY423" fmla="*/ 487750 h 857076"/>
                  <a:gd name="connsiteX424" fmla="*/ 509282 w 966623"/>
                  <a:gd name="connsiteY424" fmla="*/ 488245 h 857076"/>
                  <a:gd name="connsiteX425" fmla="*/ 509333 w 966623"/>
                  <a:gd name="connsiteY425" fmla="*/ 487975 h 857076"/>
                  <a:gd name="connsiteX426" fmla="*/ 510322 w 966623"/>
                  <a:gd name="connsiteY426" fmla="*/ 488334 h 857076"/>
                  <a:gd name="connsiteX427" fmla="*/ 529412 w 966623"/>
                  <a:gd name="connsiteY427" fmla="*/ 488695 h 857076"/>
                  <a:gd name="connsiteX428" fmla="*/ 531264 w 966623"/>
                  <a:gd name="connsiteY428" fmla="*/ 488019 h 857076"/>
                  <a:gd name="connsiteX429" fmla="*/ 544696 w 966623"/>
                  <a:gd name="connsiteY429" fmla="*/ 481360 h 857076"/>
                  <a:gd name="connsiteX430" fmla="*/ 550442 w 966623"/>
                  <a:gd name="connsiteY430" fmla="*/ 480370 h 857076"/>
                  <a:gd name="connsiteX431" fmla="*/ 551165 w 966623"/>
                  <a:gd name="connsiteY431" fmla="*/ 480415 h 857076"/>
                  <a:gd name="connsiteX432" fmla="*/ 559930 w 966623"/>
                  <a:gd name="connsiteY432" fmla="*/ 481050 h 857076"/>
                  <a:gd name="connsiteX433" fmla="*/ 568961 w 966623"/>
                  <a:gd name="connsiteY433" fmla="*/ 464176 h 857076"/>
                  <a:gd name="connsiteX434" fmla="*/ 569900 w 966623"/>
                  <a:gd name="connsiteY434" fmla="*/ 462422 h 857076"/>
                  <a:gd name="connsiteX435" fmla="*/ 571384 w 966623"/>
                  <a:gd name="connsiteY435" fmla="*/ 462017 h 857076"/>
                  <a:gd name="connsiteX436" fmla="*/ 584867 w 966623"/>
                  <a:gd name="connsiteY436" fmla="*/ 458777 h 857076"/>
                  <a:gd name="connsiteX437" fmla="*/ 586846 w 966623"/>
                  <a:gd name="connsiteY437" fmla="*/ 458237 h 857076"/>
                  <a:gd name="connsiteX438" fmla="*/ 596016 w 966623"/>
                  <a:gd name="connsiteY438" fmla="*/ 453018 h 857076"/>
                  <a:gd name="connsiteX439" fmla="*/ 606126 w 966623"/>
                  <a:gd name="connsiteY439" fmla="*/ 437449 h 857076"/>
                  <a:gd name="connsiteX440" fmla="*/ 606760 w 966623"/>
                  <a:gd name="connsiteY440" fmla="*/ 436414 h 857076"/>
                  <a:gd name="connsiteX441" fmla="*/ 629325 w 966623"/>
                  <a:gd name="connsiteY441" fmla="*/ 391778 h 857076"/>
                  <a:gd name="connsiteX442" fmla="*/ 660871 w 966623"/>
                  <a:gd name="connsiteY442" fmla="*/ 346963 h 857076"/>
                  <a:gd name="connsiteX443" fmla="*/ 670891 w 966623"/>
                  <a:gd name="connsiteY443" fmla="*/ 329909 h 857076"/>
                  <a:gd name="connsiteX444" fmla="*/ 670080 w 966623"/>
                  <a:gd name="connsiteY444" fmla="*/ 325679 h 857076"/>
                  <a:gd name="connsiteX445" fmla="*/ 669902 w 966623"/>
                  <a:gd name="connsiteY445" fmla="*/ 324917 h 857076"/>
                  <a:gd name="connsiteX446" fmla="*/ 669458 w 966623"/>
                  <a:gd name="connsiteY446" fmla="*/ 322622 h 857076"/>
                  <a:gd name="connsiteX447" fmla="*/ 668189 w 966623"/>
                  <a:gd name="connsiteY447" fmla="*/ 311827 h 857076"/>
                  <a:gd name="connsiteX448" fmla="*/ 672198 w 966623"/>
                  <a:gd name="connsiteY448" fmla="*/ 313986 h 857076"/>
                  <a:gd name="connsiteX449" fmla="*/ 704593 w 966623"/>
                  <a:gd name="connsiteY449" fmla="*/ 329463 h 857076"/>
                  <a:gd name="connsiteX450" fmla="*/ 716960 w 966623"/>
                  <a:gd name="connsiteY450" fmla="*/ 328203 h 857076"/>
                  <a:gd name="connsiteX451" fmla="*/ 718837 w 966623"/>
                  <a:gd name="connsiteY451" fmla="*/ 327394 h 857076"/>
                  <a:gd name="connsiteX452" fmla="*/ 724951 w 966623"/>
                  <a:gd name="connsiteY452" fmla="*/ 322669 h 857076"/>
                  <a:gd name="connsiteX453" fmla="*/ 726296 w 966623"/>
                  <a:gd name="connsiteY453" fmla="*/ 320959 h 857076"/>
                  <a:gd name="connsiteX454" fmla="*/ 730609 w 966623"/>
                  <a:gd name="connsiteY454" fmla="*/ 308090 h 857076"/>
                  <a:gd name="connsiteX455" fmla="*/ 755063 w 966623"/>
                  <a:gd name="connsiteY455" fmla="*/ 310070 h 857076"/>
                  <a:gd name="connsiteX456" fmla="*/ 822340 w 966623"/>
                  <a:gd name="connsiteY456" fmla="*/ 284924 h 857076"/>
                  <a:gd name="connsiteX457" fmla="*/ 854064 w 966623"/>
                  <a:gd name="connsiteY457" fmla="*/ 261436 h 857076"/>
                  <a:gd name="connsiteX458" fmla="*/ 856448 w 966623"/>
                  <a:gd name="connsiteY458" fmla="*/ 258152 h 857076"/>
                  <a:gd name="connsiteX459" fmla="*/ 857158 w 966623"/>
                  <a:gd name="connsiteY459" fmla="*/ 257116 h 857076"/>
                  <a:gd name="connsiteX460" fmla="*/ 866430 w 966623"/>
                  <a:gd name="connsiteY460" fmla="*/ 245051 h 857076"/>
                  <a:gd name="connsiteX461" fmla="*/ 869614 w 966623"/>
                  <a:gd name="connsiteY461" fmla="*/ 241226 h 857076"/>
                  <a:gd name="connsiteX462" fmla="*/ 880802 w 966623"/>
                  <a:gd name="connsiteY462" fmla="*/ 230383 h 857076"/>
                  <a:gd name="connsiteX463" fmla="*/ 881969 w 966623"/>
                  <a:gd name="connsiteY463" fmla="*/ 229438 h 857076"/>
                  <a:gd name="connsiteX464" fmla="*/ 885799 w 966623"/>
                  <a:gd name="connsiteY464" fmla="*/ 226558 h 857076"/>
                  <a:gd name="connsiteX465" fmla="*/ 896315 w 966623"/>
                  <a:gd name="connsiteY465" fmla="*/ 219179 h 857076"/>
                  <a:gd name="connsiteX466" fmla="*/ 897025 w 966623"/>
                  <a:gd name="connsiteY466" fmla="*/ 218594 h 857076"/>
                  <a:gd name="connsiteX467" fmla="*/ 909024 w 966623"/>
                  <a:gd name="connsiteY467" fmla="*/ 207075 h 857076"/>
                  <a:gd name="connsiteX468" fmla="*/ 911498 w 966623"/>
                  <a:gd name="connsiteY468" fmla="*/ 203656 h 857076"/>
                  <a:gd name="connsiteX469" fmla="*/ 912132 w 966623"/>
                  <a:gd name="connsiteY469" fmla="*/ 202710 h 857076"/>
                  <a:gd name="connsiteX470" fmla="*/ 945250 w 966623"/>
                  <a:gd name="connsiteY470" fmla="*/ 177377 h 857076"/>
                  <a:gd name="connsiteX471" fmla="*/ 949525 w 966623"/>
                  <a:gd name="connsiteY471" fmla="*/ 171932 h 857076"/>
                  <a:gd name="connsiteX472" fmla="*/ 950425 w 966623"/>
                  <a:gd name="connsiteY472" fmla="*/ 170673 h 857076"/>
                  <a:gd name="connsiteX473" fmla="*/ 912893 w 966623"/>
                  <a:gd name="connsiteY473" fmla="*/ 168063 h 857076"/>
                  <a:gd name="connsiteX474" fmla="*/ 877161 w 966623"/>
                  <a:gd name="connsiteY474" fmla="*/ 152992 h 857076"/>
                  <a:gd name="connsiteX475" fmla="*/ 107789 w 966623"/>
                  <a:gd name="connsiteY475" fmla="*/ 56702 h 857076"/>
                  <a:gd name="connsiteX476" fmla="*/ 98264 w 966623"/>
                  <a:gd name="connsiteY476" fmla="*/ 68626 h 857076"/>
                  <a:gd name="connsiteX477" fmla="*/ 97946 w 966623"/>
                  <a:gd name="connsiteY477" fmla="*/ 62372 h 857076"/>
                  <a:gd name="connsiteX478" fmla="*/ 119066 w 966623"/>
                  <a:gd name="connsiteY478" fmla="*/ 51168 h 857076"/>
                  <a:gd name="connsiteX479" fmla="*/ 107789 w 966623"/>
                  <a:gd name="connsiteY479" fmla="*/ 56702 h 857076"/>
                  <a:gd name="connsiteX480" fmla="*/ 118393 w 966623"/>
                  <a:gd name="connsiteY480" fmla="*/ 431429 h 857076"/>
                  <a:gd name="connsiteX481" fmla="*/ 115248 w 966623"/>
                  <a:gd name="connsiteY481" fmla="*/ 433634 h 857076"/>
                  <a:gd name="connsiteX482" fmla="*/ 113053 w 966623"/>
                  <a:gd name="connsiteY482" fmla="*/ 431024 h 857076"/>
                  <a:gd name="connsiteX483" fmla="*/ 133995 w 966623"/>
                  <a:gd name="connsiteY483" fmla="*/ 413206 h 857076"/>
                  <a:gd name="connsiteX484" fmla="*/ 136862 w 966623"/>
                  <a:gd name="connsiteY484" fmla="*/ 417479 h 857076"/>
                  <a:gd name="connsiteX485" fmla="*/ 137318 w 966623"/>
                  <a:gd name="connsiteY485" fmla="*/ 418155 h 857076"/>
                  <a:gd name="connsiteX486" fmla="*/ 118393 w 966623"/>
                  <a:gd name="connsiteY486" fmla="*/ 431428 h 857076"/>
                  <a:gd name="connsiteX487" fmla="*/ 139018 w 966623"/>
                  <a:gd name="connsiteY487" fmla="*/ 500318 h 857076"/>
                  <a:gd name="connsiteX488" fmla="*/ 129632 w 966623"/>
                  <a:gd name="connsiteY488" fmla="*/ 498113 h 857076"/>
                  <a:gd name="connsiteX489" fmla="*/ 140109 w 966623"/>
                  <a:gd name="connsiteY489" fmla="*/ 498113 h 857076"/>
                  <a:gd name="connsiteX490" fmla="*/ 139018 w 966623"/>
                  <a:gd name="connsiteY490" fmla="*/ 500313 h 857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</a:cxnLst>
                <a:rect l="l" t="t" r="r" b="b"/>
                <a:pathLst>
                  <a:path w="966623" h="857076">
                    <a:moveTo>
                      <a:pt x="877161" y="152992"/>
                    </a:moveTo>
                    <a:cubicBezTo>
                      <a:pt x="873673" y="151912"/>
                      <a:pt x="870135" y="151026"/>
                      <a:pt x="866557" y="150337"/>
                    </a:cubicBezTo>
                    <a:cubicBezTo>
                      <a:pt x="864959" y="150031"/>
                      <a:pt x="863336" y="149836"/>
                      <a:pt x="861699" y="149752"/>
                    </a:cubicBezTo>
                    <a:cubicBezTo>
                      <a:pt x="855877" y="149299"/>
                      <a:pt x="850093" y="151118"/>
                      <a:pt x="845565" y="154832"/>
                    </a:cubicBezTo>
                    <a:cubicBezTo>
                      <a:pt x="842331" y="157442"/>
                      <a:pt x="837067" y="161041"/>
                      <a:pt x="834149" y="160052"/>
                    </a:cubicBezTo>
                    <a:cubicBezTo>
                      <a:pt x="816138" y="154022"/>
                      <a:pt x="811774" y="166891"/>
                      <a:pt x="807500" y="179715"/>
                    </a:cubicBezTo>
                    <a:cubicBezTo>
                      <a:pt x="805305" y="179175"/>
                      <a:pt x="803149" y="178680"/>
                      <a:pt x="801031" y="178140"/>
                    </a:cubicBezTo>
                    <a:lnTo>
                      <a:pt x="800270" y="178004"/>
                    </a:lnTo>
                    <a:cubicBezTo>
                      <a:pt x="792406" y="176070"/>
                      <a:pt x="785036" y="174321"/>
                      <a:pt x="777261" y="172471"/>
                    </a:cubicBezTo>
                    <a:lnTo>
                      <a:pt x="777223" y="172471"/>
                    </a:lnTo>
                    <a:cubicBezTo>
                      <a:pt x="776589" y="172291"/>
                      <a:pt x="775916" y="172110"/>
                      <a:pt x="775282" y="171976"/>
                    </a:cubicBezTo>
                    <a:cubicBezTo>
                      <a:pt x="795462" y="162931"/>
                      <a:pt x="813525" y="154831"/>
                      <a:pt x="831600" y="146778"/>
                    </a:cubicBezTo>
                    <a:cubicBezTo>
                      <a:pt x="831739" y="146685"/>
                      <a:pt x="831892" y="146609"/>
                      <a:pt x="832044" y="146553"/>
                    </a:cubicBezTo>
                    <a:cubicBezTo>
                      <a:pt x="831727" y="144753"/>
                      <a:pt x="831372" y="142908"/>
                      <a:pt x="831016" y="141108"/>
                    </a:cubicBezTo>
                    <a:lnTo>
                      <a:pt x="818878" y="140298"/>
                    </a:lnTo>
                    <a:lnTo>
                      <a:pt x="818827" y="140298"/>
                    </a:lnTo>
                    <a:cubicBezTo>
                      <a:pt x="814882" y="140029"/>
                      <a:pt x="810963" y="139758"/>
                      <a:pt x="806967" y="139489"/>
                    </a:cubicBezTo>
                    <a:cubicBezTo>
                      <a:pt x="805331" y="140636"/>
                      <a:pt x="803568" y="141601"/>
                      <a:pt x="801716" y="142368"/>
                    </a:cubicBezTo>
                    <a:cubicBezTo>
                      <a:pt x="798114" y="143940"/>
                      <a:pt x="794220" y="144678"/>
                      <a:pt x="790300" y="144527"/>
                    </a:cubicBezTo>
                    <a:cubicBezTo>
                      <a:pt x="788423" y="144513"/>
                      <a:pt x="786558" y="144318"/>
                      <a:pt x="784719" y="143942"/>
                    </a:cubicBezTo>
                    <a:cubicBezTo>
                      <a:pt x="781206" y="143230"/>
                      <a:pt x="777755" y="142175"/>
                      <a:pt x="774432" y="140792"/>
                    </a:cubicBezTo>
                    <a:cubicBezTo>
                      <a:pt x="774217" y="140734"/>
                      <a:pt x="774001" y="140642"/>
                      <a:pt x="773798" y="140522"/>
                    </a:cubicBezTo>
                    <a:cubicBezTo>
                      <a:pt x="772136" y="139887"/>
                      <a:pt x="770475" y="139125"/>
                      <a:pt x="768813" y="138407"/>
                    </a:cubicBezTo>
                    <a:lnTo>
                      <a:pt x="765579" y="136922"/>
                    </a:lnTo>
                    <a:cubicBezTo>
                      <a:pt x="775815" y="128286"/>
                      <a:pt x="789488" y="121263"/>
                      <a:pt x="786609" y="105245"/>
                    </a:cubicBezTo>
                    <a:cubicBezTo>
                      <a:pt x="786153" y="102985"/>
                      <a:pt x="785480" y="100771"/>
                      <a:pt x="784630" y="98631"/>
                    </a:cubicBezTo>
                    <a:cubicBezTo>
                      <a:pt x="784579" y="98496"/>
                      <a:pt x="784491" y="98316"/>
                      <a:pt x="784453" y="98181"/>
                    </a:cubicBezTo>
                    <a:cubicBezTo>
                      <a:pt x="783286" y="95437"/>
                      <a:pt x="790871" y="89001"/>
                      <a:pt x="794828" y="83737"/>
                    </a:cubicBezTo>
                    <a:cubicBezTo>
                      <a:pt x="806472" y="105245"/>
                      <a:pt x="822822" y="96606"/>
                      <a:pt x="838601" y="91701"/>
                    </a:cubicBezTo>
                    <a:cubicBezTo>
                      <a:pt x="845387" y="83603"/>
                      <a:pt x="852123" y="75593"/>
                      <a:pt x="858148" y="68393"/>
                    </a:cubicBezTo>
                    <a:cubicBezTo>
                      <a:pt x="858693" y="67758"/>
                      <a:pt x="859226" y="67133"/>
                      <a:pt x="859721" y="66549"/>
                    </a:cubicBezTo>
                    <a:cubicBezTo>
                      <a:pt x="857539" y="55904"/>
                      <a:pt x="847760" y="48570"/>
                      <a:pt x="836940" y="49463"/>
                    </a:cubicBezTo>
                    <a:cubicBezTo>
                      <a:pt x="827642" y="49328"/>
                      <a:pt x="814387" y="50948"/>
                      <a:pt x="809935" y="45729"/>
                    </a:cubicBezTo>
                    <a:cubicBezTo>
                      <a:pt x="807957" y="43160"/>
                      <a:pt x="805166" y="41336"/>
                      <a:pt x="802020" y="40554"/>
                    </a:cubicBezTo>
                    <a:cubicBezTo>
                      <a:pt x="800435" y="40208"/>
                      <a:pt x="798786" y="40132"/>
                      <a:pt x="797175" y="40329"/>
                    </a:cubicBezTo>
                    <a:cubicBezTo>
                      <a:pt x="792000" y="41516"/>
                      <a:pt x="786736" y="42254"/>
                      <a:pt x="781447" y="42533"/>
                    </a:cubicBezTo>
                    <a:cubicBezTo>
                      <a:pt x="789755" y="38304"/>
                      <a:pt x="795906" y="35199"/>
                      <a:pt x="803327" y="31420"/>
                    </a:cubicBezTo>
                    <a:cubicBezTo>
                      <a:pt x="803860" y="31195"/>
                      <a:pt x="804405" y="30880"/>
                      <a:pt x="804988" y="30609"/>
                    </a:cubicBezTo>
                    <a:cubicBezTo>
                      <a:pt x="805128" y="30565"/>
                      <a:pt x="805217" y="30475"/>
                      <a:pt x="805344" y="30429"/>
                    </a:cubicBezTo>
                    <a:cubicBezTo>
                      <a:pt x="805039" y="30160"/>
                      <a:pt x="804709" y="29889"/>
                      <a:pt x="804456" y="29620"/>
                    </a:cubicBezTo>
                    <a:cubicBezTo>
                      <a:pt x="800003" y="25750"/>
                      <a:pt x="796363" y="22465"/>
                      <a:pt x="792900" y="19451"/>
                    </a:cubicBezTo>
                    <a:cubicBezTo>
                      <a:pt x="791556" y="18280"/>
                      <a:pt x="790287" y="17156"/>
                      <a:pt x="788994" y="16031"/>
                    </a:cubicBezTo>
                    <a:lnTo>
                      <a:pt x="788182" y="15355"/>
                    </a:lnTo>
                    <a:cubicBezTo>
                      <a:pt x="783818" y="11576"/>
                      <a:pt x="779328" y="7887"/>
                      <a:pt x="774876" y="4151"/>
                    </a:cubicBezTo>
                    <a:cubicBezTo>
                      <a:pt x="777578" y="4466"/>
                      <a:pt x="779861" y="4691"/>
                      <a:pt x="781891" y="5007"/>
                    </a:cubicBezTo>
                    <a:cubicBezTo>
                      <a:pt x="793484" y="6761"/>
                      <a:pt x="796541" y="10587"/>
                      <a:pt x="817076" y="36415"/>
                    </a:cubicBezTo>
                    <a:cubicBezTo>
                      <a:pt x="831422" y="39548"/>
                      <a:pt x="845413" y="44084"/>
                      <a:pt x="858871" y="49958"/>
                    </a:cubicBezTo>
                    <a:cubicBezTo>
                      <a:pt x="870299" y="56673"/>
                      <a:pt x="880193" y="65716"/>
                      <a:pt x="887905" y="76501"/>
                    </a:cubicBezTo>
                    <a:cubicBezTo>
                      <a:pt x="892421" y="84720"/>
                      <a:pt x="895173" y="93792"/>
                      <a:pt x="895998" y="103138"/>
                    </a:cubicBezTo>
                    <a:lnTo>
                      <a:pt x="896036" y="103184"/>
                    </a:lnTo>
                    <a:cubicBezTo>
                      <a:pt x="896175" y="103993"/>
                      <a:pt x="896302" y="104803"/>
                      <a:pt x="896480" y="105613"/>
                    </a:cubicBezTo>
                    <a:cubicBezTo>
                      <a:pt x="897786" y="113610"/>
                      <a:pt x="901109" y="121140"/>
                      <a:pt x="906145" y="127481"/>
                    </a:cubicBezTo>
                    <a:cubicBezTo>
                      <a:pt x="908808" y="130661"/>
                      <a:pt x="912119" y="133238"/>
                      <a:pt x="915861" y="135040"/>
                    </a:cubicBezTo>
                    <a:cubicBezTo>
                      <a:pt x="922977" y="137554"/>
                      <a:pt x="930397" y="139083"/>
                      <a:pt x="937932" y="139584"/>
                    </a:cubicBezTo>
                    <a:cubicBezTo>
                      <a:pt x="938299" y="139622"/>
                      <a:pt x="938680" y="139683"/>
                      <a:pt x="939048" y="139765"/>
                    </a:cubicBezTo>
                    <a:cubicBezTo>
                      <a:pt x="939098" y="139003"/>
                      <a:pt x="939137" y="138280"/>
                      <a:pt x="939187" y="137560"/>
                    </a:cubicBezTo>
                    <a:cubicBezTo>
                      <a:pt x="939682" y="131083"/>
                      <a:pt x="940037" y="125771"/>
                      <a:pt x="940354" y="120911"/>
                    </a:cubicBezTo>
                    <a:cubicBezTo>
                      <a:pt x="940354" y="120461"/>
                      <a:pt x="940392" y="120010"/>
                      <a:pt x="940443" y="119561"/>
                    </a:cubicBezTo>
                    <a:cubicBezTo>
                      <a:pt x="940620" y="116817"/>
                      <a:pt x="940798" y="114207"/>
                      <a:pt x="941026" y="111597"/>
                    </a:cubicBezTo>
                    <a:cubicBezTo>
                      <a:pt x="941965" y="111597"/>
                      <a:pt x="942916" y="111552"/>
                      <a:pt x="943855" y="111552"/>
                    </a:cubicBezTo>
                    <a:lnTo>
                      <a:pt x="944667" y="111552"/>
                    </a:lnTo>
                    <a:cubicBezTo>
                      <a:pt x="945111" y="114207"/>
                      <a:pt x="945605" y="116907"/>
                      <a:pt x="946062" y="119607"/>
                    </a:cubicBezTo>
                    <a:cubicBezTo>
                      <a:pt x="947051" y="125141"/>
                      <a:pt x="948041" y="130765"/>
                      <a:pt x="949068" y="136659"/>
                    </a:cubicBezTo>
                    <a:cubicBezTo>
                      <a:pt x="955905" y="137110"/>
                      <a:pt x="961930" y="137515"/>
                      <a:pt x="966598" y="137830"/>
                    </a:cubicBezTo>
                    <a:cubicBezTo>
                      <a:pt x="966509" y="136306"/>
                      <a:pt x="966382" y="134770"/>
                      <a:pt x="966280" y="133241"/>
                    </a:cubicBezTo>
                    <a:cubicBezTo>
                      <a:pt x="966192" y="131935"/>
                      <a:pt x="966065" y="130631"/>
                      <a:pt x="965976" y="129325"/>
                    </a:cubicBezTo>
                    <a:cubicBezTo>
                      <a:pt x="965837" y="127255"/>
                      <a:pt x="965697" y="125186"/>
                      <a:pt x="965570" y="123161"/>
                    </a:cubicBezTo>
                    <a:cubicBezTo>
                      <a:pt x="965532" y="123044"/>
                      <a:pt x="965519" y="122923"/>
                      <a:pt x="965519" y="122801"/>
                    </a:cubicBezTo>
                    <a:cubicBezTo>
                      <a:pt x="965342" y="120597"/>
                      <a:pt x="965202" y="118392"/>
                      <a:pt x="965075" y="116187"/>
                    </a:cubicBezTo>
                    <a:cubicBezTo>
                      <a:pt x="964987" y="115062"/>
                      <a:pt x="964898" y="113937"/>
                      <a:pt x="964809" y="112857"/>
                    </a:cubicBezTo>
                    <a:cubicBezTo>
                      <a:pt x="964492" y="108223"/>
                      <a:pt x="964124" y="103633"/>
                      <a:pt x="963820" y="99043"/>
                    </a:cubicBezTo>
                    <a:cubicBezTo>
                      <a:pt x="963769" y="98728"/>
                      <a:pt x="963769" y="98408"/>
                      <a:pt x="963718" y="98098"/>
                    </a:cubicBezTo>
                    <a:lnTo>
                      <a:pt x="963325" y="92429"/>
                    </a:lnTo>
                    <a:cubicBezTo>
                      <a:pt x="963224" y="90945"/>
                      <a:pt x="963135" y="89508"/>
                      <a:pt x="963008" y="88020"/>
                    </a:cubicBezTo>
                    <a:cubicBezTo>
                      <a:pt x="962146" y="76321"/>
                      <a:pt x="961346" y="64757"/>
                      <a:pt x="960484" y="53193"/>
                    </a:cubicBezTo>
                    <a:cubicBezTo>
                      <a:pt x="960484" y="52697"/>
                      <a:pt x="960446" y="52202"/>
                      <a:pt x="960395" y="51708"/>
                    </a:cubicBezTo>
                    <a:cubicBezTo>
                      <a:pt x="958594" y="50946"/>
                      <a:pt x="956805" y="50178"/>
                      <a:pt x="955055" y="49457"/>
                    </a:cubicBezTo>
                    <a:cubicBezTo>
                      <a:pt x="952087" y="54318"/>
                      <a:pt x="949170" y="59177"/>
                      <a:pt x="945567" y="65161"/>
                    </a:cubicBezTo>
                    <a:cubicBezTo>
                      <a:pt x="944603" y="62596"/>
                      <a:pt x="943969" y="59920"/>
                      <a:pt x="943677" y="57197"/>
                    </a:cubicBezTo>
                    <a:lnTo>
                      <a:pt x="943677" y="57105"/>
                    </a:lnTo>
                    <a:cubicBezTo>
                      <a:pt x="943094" y="52606"/>
                      <a:pt x="943043" y="48062"/>
                      <a:pt x="942333" y="44012"/>
                    </a:cubicBezTo>
                    <a:cubicBezTo>
                      <a:pt x="942066" y="42429"/>
                      <a:pt x="941597" y="40886"/>
                      <a:pt x="940938" y="39422"/>
                    </a:cubicBezTo>
                    <a:cubicBezTo>
                      <a:pt x="940050" y="37231"/>
                      <a:pt x="938528" y="35353"/>
                      <a:pt x="936574" y="34023"/>
                    </a:cubicBezTo>
                    <a:cubicBezTo>
                      <a:pt x="935027" y="33009"/>
                      <a:pt x="933302" y="32264"/>
                      <a:pt x="931500" y="31818"/>
                    </a:cubicBezTo>
                    <a:cubicBezTo>
                      <a:pt x="930499" y="31545"/>
                      <a:pt x="929484" y="31333"/>
                      <a:pt x="928444" y="31183"/>
                    </a:cubicBezTo>
                    <a:cubicBezTo>
                      <a:pt x="932756" y="23713"/>
                      <a:pt x="936498" y="17235"/>
                      <a:pt x="939542" y="11970"/>
                    </a:cubicBezTo>
                    <a:cubicBezTo>
                      <a:pt x="938743" y="11250"/>
                      <a:pt x="937880" y="10529"/>
                      <a:pt x="937081" y="9765"/>
                    </a:cubicBezTo>
                    <a:cubicBezTo>
                      <a:pt x="933264" y="6435"/>
                      <a:pt x="929611" y="3151"/>
                      <a:pt x="926071" y="1"/>
                    </a:cubicBezTo>
                    <a:lnTo>
                      <a:pt x="9145" y="1"/>
                    </a:lnTo>
                    <a:cubicBezTo>
                      <a:pt x="8422" y="1081"/>
                      <a:pt x="7711" y="2250"/>
                      <a:pt x="6950" y="3421"/>
                    </a:cubicBezTo>
                    <a:cubicBezTo>
                      <a:pt x="7978" y="4050"/>
                      <a:pt x="8967" y="4680"/>
                      <a:pt x="9906" y="5265"/>
                    </a:cubicBezTo>
                    <a:cubicBezTo>
                      <a:pt x="13647" y="7516"/>
                      <a:pt x="16565" y="9315"/>
                      <a:pt x="19127" y="10890"/>
                    </a:cubicBezTo>
                    <a:cubicBezTo>
                      <a:pt x="18315" y="11745"/>
                      <a:pt x="17504" y="12600"/>
                      <a:pt x="16692" y="13410"/>
                    </a:cubicBezTo>
                    <a:cubicBezTo>
                      <a:pt x="10946" y="19484"/>
                      <a:pt x="5327" y="25378"/>
                      <a:pt x="-26" y="31048"/>
                    </a:cubicBezTo>
                    <a:cubicBezTo>
                      <a:pt x="63" y="31318"/>
                      <a:pt x="164" y="31633"/>
                      <a:pt x="253" y="31904"/>
                    </a:cubicBezTo>
                    <a:cubicBezTo>
                      <a:pt x="1280" y="34783"/>
                      <a:pt x="2092" y="37258"/>
                      <a:pt x="2942" y="39687"/>
                    </a:cubicBezTo>
                    <a:lnTo>
                      <a:pt x="3614" y="41577"/>
                    </a:lnTo>
                    <a:cubicBezTo>
                      <a:pt x="3843" y="42117"/>
                      <a:pt x="4020" y="42657"/>
                      <a:pt x="4248" y="43196"/>
                    </a:cubicBezTo>
                    <a:cubicBezTo>
                      <a:pt x="5555" y="46662"/>
                      <a:pt x="6861" y="49856"/>
                      <a:pt x="7394" y="51252"/>
                    </a:cubicBezTo>
                    <a:cubicBezTo>
                      <a:pt x="14218" y="54393"/>
                      <a:pt x="21245" y="57069"/>
                      <a:pt x="28437" y="59261"/>
                    </a:cubicBezTo>
                    <a:cubicBezTo>
                      <a:pt x="38407" y="61938"/>
                      <a:pt x="48669" y="56008"/>
                      <a:pt x="51345" y="46016"/>
                    </a:cubicBezTo>
                    <a:cubicBezTo>
                      <a:pt x="51446" y="45619"/>
                      <a:pt x="51535" y="45219"/>
                      <a:pt x="51624" y="44817"/>
                    </a:cubicBezTo>
                    <a:cubicBezTo>
                      <a:pt x="51713" y="44097"/>
                      <a:pt x="51801" y="43377"/>
                      <a:pt x="51890" y="42702"/>
                    </a:cubicBezTo>
                    <a:cubicBezTo>
                      <a:pt x="52068" y="41305"/>
                      <a:pt x="52296" y="40002"/>
                      <a:pt x="52474" y="38742"/>
                    </a:cubicBezTo>
                    <a:cubicBezTo>
                      <a:pt x="54503" y="27178"/>
                      <a:pt x="58144" y="21644"/>
                      <a:pt x="66858" y="18720"/>
                    </a:cubicBezTo>
                    <a:lnTo>
                      <a:pt x="66858" y="18679"/>
                    </a:lnTo>
                    <a:cubicBezTo>
                      <a:pt x="67758" y="18364"/>
                      <a:pt x="68747" y="18095"/>
                      <a:pt x="69775" y="17824"/>
                    </a:cubicBezTo>
                    <a:cubicBezTo>
                      <a:pt x="73086" y="17075"/>
                      <a:pt x="76447" y="16534"/>
                      <a:pt x="79834" y="16205"/>
                    </a:cubicBezTo>
                    <a:lnTo>
                      <a:pt x="79795" y="16384"/>
                    </a:lnTo>
                    <a:cubicBezTo>
                      <a:pt x="78844" y="20067"/>
                      <a:pt x="77855" y="23809"/>
                      <a:pt x="76561" y="28894"/>
                    </a:cubicBezTo>
                    <a:cubicBezTo>
                      <a:pt x="76472" y="29299"/>
                      <a:pt x="76333" y="29703"/>
                      <a:pt x="76244" y="30108"/>
                    </a:cubicBezTo>
                    <a:cubicBezTo>
                      <a:pt x="88421" y="31773"/>
                      <a:pt x="100014" y="33393"/>
                      <a:pt x="114081" y="35283"/>
                    </a:cubicBezTo>
                    <a:cubicBezTo>
                      <a:pt x="115159" y="35463"/>
                      <a:pt x="116288" y="35642"/>
                      <a:pt x="117404" y="35778"/>
                    </a:cubicBezTo>
                    <a:cubicBezTo>
                      <a:pt x="114309" y="37083"/>
                      <a:pt x="111113" y="38118"/>
                      <a:pt x="108056" y="39063"/>
                    </a:cubicBezTo>
                    <a:cubicBezTo>
                      <a:pt x="104872" y="40052"/>
                      <a:pt x="101764" y="40952"/>
                      <a:pt x="98987" y="41943"/>
                    </a:cubicBezTo>
                    <a:cubicBezTo>
                      <a:pt x="94636" y="43102"/>
                      <a:pt x="90729" y="45548"/>
                      <a:pt x="87787" y="48962"/>
                    </a:cubicBezTo>
                    <a:cubicBezTo>
                      <a:pt x="83258" y="55576"/>
                      <a:pt x="68608" y="62505"/>
                      <a:pt x="78261" y="76094"/>
                    </a:cubicBezTo>
                    <a:cubicBezTo>
                      <a:pt x="85136" y="74744"/>
                      <a:pt x="91478" y="73529"/>
                      <a:pt x="97820" y="72269"/>
                    </a:cubicBezTo>
                    <a:cubicBezTo>
                      <a:pt x="97909" y="72269"/>
                      <a:pt x="98036" y="72225"/>
                      <a:pt x="98124" y="72225"/>
                    </a:cubicBezTo>
                    <a:cubicBezTo>
                      <a:pt x="100686" y="73304"/>
                      <a:pt x="103248" y="74384"/>
                      <a:pt x="105811" y="75419"/>
                    </a:cubicBezTo>
                    <a:cubicBezTo>
                      <a:pt x="107612" y="76181"/>
                      <a:pt x="109451" y="76903"/>
                      <a:pt x="111252" y="77669"/>
                    </a:cubicBezTo>
                    <a:cubicBezTo>
                      <a:pt x="114982" y="79244"/>
                      <a:pt x="118672" y="80863"/>
                      <a:pt x="122313" y="82574"/>
                    </a:cubicBezTo>
                    <a:cubicBezTo>
                      <a:pt x="123822" y="83281"/>
                      <a:pt x="125116" y="84366"/>
                      <a:pt x="126080" y="85724"/>
                    </a:cubicBezTo>
                    <a:cubicBezTo>
                      <a:pt x="126334" y="86036"/>
                      <a:pt x="126562" y="86366"/>
                      <a:pt x="126752" y="86713"/>
                    </a:cubicBezTo>
                    <a:cubicBezTo>
                      <a:pt x="128211" y="89482"/>
                      <a:pt x="129048" y="92540"/>
                      <a:pt x="129188" y="95668"/>
                    </a:cubicBezTo>
                    <a:cubicBezTo>
                      <a:pt x="129403" y="97737"/>
                      <a:pt x="129365" y="99537"/>
                      <a:pt x="129492" y="100572"/>
                    </a:cubicBezTo>
                    <a:cubicBezTo>
                      <a:pt x="129543" y="101157"/>
                      <a:pt x="129632" y="101562"/>
                      <a:pt x="129771" y="101607"/>
                    </a:cubicBezTo>
                    <a:cubicBezTo>
                      <a:pt x="136329" y="103629"/>
                      <a:pt x="141162" y="109218"/>
                      <a:pt x="142215" y="116005"/>
                    </a:cubicBezTo>
                    <a:cubicBezTo>
                      <a:pt x="142519" y="117822"/>
                      <a:pt x="142696" y="119655"/>
                      <a:pt x="142760" y="121496"/>
                    </a:cubicBezTo>
                    <a:cubicBezTo>
                      <a:pt x="142798" y="123070"/>
                      <a:pt x="142798" y="124690"/>
                      <a:pt x="142849" y="126310"/>
                    </a:cubicBezTo>
                    <a:lnTo>
                      <a:pt x="142849" y="128694"/>
                    </a:lnTo>
                    <a:cubicBezTo>
                      <a:pt x="142684" y="133498"/>
                      <a:pt x="143584" y="138279"/>
                      <a:pt x="145500" y="142688"/>
                    </a:cubicBezTo>
                    <a:cubicBezTo>
                      <a:pt x="146793" y="145198"/>
                      <a:pt x="148557" y="147430"/>
                      <a:pt x="150713" y="149258"/>
                    </a:cubicBezTo>
                    <a:cubicBezTo>
                      <a:pt x="148734" y="149212"/>
                      <a:pt x="146844" y="149168"/>
                      <a:pt x="145005" y="149033"/>
                    </a:cubicBezTo>
                    <a:cubicBezTo>
                      <a:pt x="137369" y="148744"/>
                      <a:pt x="129847" y="147066"/>
                      <a:pt x="122808" y="144080"/>
                    </a:cubicBezTo>
                    <a:cubicBezTo>
                      <a:pt x="119154" y="142467"/>
                      <a:pt x="115818" y="140246"/>
                      <a:pt x="112914" y="137512"/>
                    </a:cubicBezTo>
                    <a:cubicBezTo>
                      <a:pt x="112077" y="136746"/>
                      <a:pt x="111290" y="135934"/>
                      <a:pt x="110542" y="135081"/>
                    </a:cubicBezTo>
                    <a:cubicBezTo>
                      <a:pt x="95346" y="119481"/>
                      <a:pt x="74544" y="110646"/>
                      <a:pt x="52791" y="110558"/>
                    </a:cubicBezTo>
                    <a:cubicBezTo>
                      <a:pt x="45941" y="111373"/>
                      <a:pt x="39308" y="113479"/>
                      <a:pt x="33245" y="116767"/>
                    </a:cubicBezTo>
                    <a:cubicBezTo>
                      <a:pt x="34006" y="118298"/>
                      <a:pt x="34767" y="119782"/>
                      <a:pt x="35528" y="121223"/>
                    </a:cubicBezTo>
                    <a:cubicBezTo>
                      <a:pt x="37925" y="125881"/>
                      <a:pt x="40842" y="130257"/>
                      <a:pt x="44204" y="134272"/>
                    </a:cubicBezTo>
                    <a:cubicBezTo>
                      <a:pt x="47210" y="137957"/>
                      <a:pt x="50850" y="141080"/>
                      <a:pt x="54947" y="143496"/>
                    </a:cubicBezTo>
                    <a:cubicBezTo>
                      <a:pt x="59323" y="145932"/>
                      <a:pt x="64105" y="147547"/>
                      <a:pt x="69052" y="148265"/>
                    </a:cubicBezTo>
                    <a:cubicBezTo>
                      <a:pt x="78083" y="151092"/>
                      <a:pt x="86011" y="156678"/>
                      <a:pt x="91706" y="164239"/>
                    </a:cubicBezTo>
                    <a:cubicBezTo>
                      <a:pt x="98492" y="172279"/>
                      <a:pt x="108728" y="176576"/>
                      <a:pt x="119205" y="175796"/>
                    </a:cubicBezTo>
                    <a:cubicBezTo>
                      <a:pt x="130532" y="175527"/>
                      <a:pt x="141808" y="174851"/>
                      <a:pt x="152019" y="174399"/>
                    </a:cubicBezTo>
                    <a:cubicBezTo>
                      <a:pt x="152285" y="176334"/>
                      <a:pt x="152552" y="178088"/>
                      <a:pt x="152819" y="179799"/>
                    </a:cubicBezTo>
                    <a:cubicBezTo>
                      <a:pt x="153009" y="181059"/>
                      <a:pt x="153186" y="182274"/>
                      <a:pt x="153364" y="183444"/>
                    </a:cubicBezTo>
                    <a:cubicBezTo>
                      <a:pt x="153820" y="186516"/>
                      <a:pt x="154125" y="189611"/>
                      <a:pt x="154264" y="192715"/>
                    </a:cubicBezTo>
                    <a:cubicBezTo>
                      <a:pt x="154264" y="192895"/>
                      <a:pt x="153364" y="193120"/>
                      <a:pt x="152108" y="193350"/>
                    </a:cubicBezTo>
                    <a:cubicBezTo>
                      <a:pt x="150269" y="193665"/>
                      <a:pt x="147567" y="193985"/>
                      <a:pt x="145766" y="194295"/>
                    </a:cubicBezTo>
                    <a:lnTo>
                      <a:pt x="145855" y="194340"/>
                    </a:lnTo>
                    <a:cubicBezTo>
                      <a:pt x="146261" y="197465"/>
                      <a:pt x="145753" y="200641"/>
                      <a:pt x="144371" y="203474"/>
                    </a:cubicBezTo>
                    <a:cubicBezTo>
                      <a:pt x="144054" y="204373"/>
                      <a:pt x="143737" y="205274"/>
                      <a:pt x="143470" y="206128"/>
                    </a:cubicBezTo>
                    <a:cubicBezTo>
                      <a:pt x="141821" y="210435"/>
                      <a:pt x="143090" y="215317"/>
                      <a:pt x="146616" y="218277"/>
                    </a:cubicBezTo>
                    <a:cubicBezTo>
                      <a:pt x="147161" y="218773"/>
                      <a:pt x="146299" y="220707"/>
                      <a:pt x="144815" y="223407"/>
                    </a:cubicBezTo>
                    <a:cubicBezTo>
                      <a:pt x="144371" y="224217"/>
                      <a:pt x="143876" y="225072"/>
                      <a:pt x="143293" y="226017"/>
                    </a:cubicBezTo>
                    <a:cubicBezTo>
                      <a:pt x="141682" y="228717"/>
                      <a:pt x="139703" y="231866"/>
                      <a:pt x="137813" y="234881"/>
                    </a:cubicBezTo>
                    <a:lnTo>
                      <a:pt x="137813" y="234926"/>
                    </a:lnTo>
                    <a:cubicBezTo>
                      <a:pt x="136735" y="236681"/>
                      <a:pt x="135708" y="238390"/>
                      <a:pt x="134807" y="240006"/>
                    </a:cubicBezTo>
                    <a:cubicBezTo>
                      <a:pt x="135974" y="240043"/>
                      <a:pt x="137141" y="240013"/>
                      <a:pt x="138308" y="239916"/>
                    </a:cubicBezTo>
                    <a:cubicBezTo>
                      <a:pt x="142113" y="239138"/>
                      <a:pt x="145982" y="238732"/>
                      <a:pt x="149863" y="238700"/>
                    </a:cubicBezTo>
                    <a:cubicBezTo>
                      <a:pt x="150497" y="238778"/>
                      <a:pt x="151119" y="238961"/>
                      <a:pt x="151702" y="239241"/>
                    </a:cubicBezTo>
                    <a:cubicBezTo>
                      <a:pt x="154125" y="240231"/>
                      <a:pt x="155875" y="242797"/>
                      <a:pt x="156598" y="248239"/>
                    </a:cubicBezTo>
                    <a:cubicBezTo>
                      <a:pt x="156649" y="248690"/>
                      <a:pt x="156687" y="249140"/>
                      <a:pt x="156738" y="249636"/>
                    </a:cubicBezTo>
                    <a:cubicBezTo>
                      <a:pt x="152146" y="250940"/>
                      <a:pt x="147427" y="252336"/>
                      <a:pt x="142265" y="253775"/>
                    </a:cubicBezTo>
                    <a:cubicBezTo>
                      <a:pt x="139563" y="254585"/>
                      <a:pt x="136786" y="255396"/>
                      <a:pt x="133767" y="256250"/>
                    </a:cubicBezTo>
                    <a:cubicBezTo>
                      <a:pt x="133361" y="256340"/>
                      <a:pt x="132917" y="256475"/>
                      <a:pt x="132460" y="256610"/>
                    </a:cubicBezTo>
                    <a:cubicBezTo>
                      <a:pt x="132600" y="257825"/>
                      <a:pt x="132777" y="258995"/>
                      <a:pt x="132917" y="260210"/>
                    </a:cubicBezTo>
                    <a:cubicBezTo>
                      <a:pt x="133856" y="267769"/>
                      <a:pt x="134845" y="275418"/>
                      <a:pt x="135783" y="282933"/>
                    </a:cubicBezTo>
                    <a:cubicBezTo>
                      <a:pt x="135923" y="283878"/>
                      <a:pt x="136012" y="284778"/>
                      <a:pt x="136152" y="285677"/>
                    </a:cubicBezTo>
                    <a:cubicBezTo>
                      <a:pt x="135758" y="286560"/>
                      <a:pt x="135302" y="287403"/>
                      <a:pt x="134756" y="288197"/>
                    </a:cubicBezTo>
                    <a:lnTo>
                      <a:pt x="134705" y="288287"/>
                    </a:lnTo>
                    <a:cubicBezTo>
                      <a:pt x="123429" y="305790"/>
                      <a:pt x="94801" y="284418"/>
                      <a:pt x="86214" y="308226"/>
                    </a:cubicBezTo>
                    <a:cubicBezTo>
                      <a:pt x="86391" y="308630"/>
                      <a:pt x="86582" y="309035"/>
                      <a:pt x="86759" y="309396"/>
                    </a:cubicBezTo>
                    <a:cubicBezTo>
                      <a:pt x="87660" y="311447"/>
                      <a:pt x="88928" y="313322"/>
                      <a:pt x="90488" y="314931"/>
                    </a:cubicBezTo>
                    <a:lnTo>
                      <a:pt x="90577" y="315021"/>
                    </a:lnTo>
                    <a:cubicBezTo>
                      <a:pt x="94966" y="319360"/>
                      <a:pt x="101714" y="320225"/>
                      <a:pt x="107066" y="317135"/>
                    </a:cubicBezTo>
                    <a:cubicBezTo>
                      <a:pt x="111277" y="315154"/>
                      <a:pt x="115337" y="312852"/>
                      <a:pt x="119193" y="310251"/>
                    </a:cubicBezTo>
                    <a:cubicBezTo>
                      <a:pt x="119560" y="310026"/>
                      <a:pt x="119877" y="309801"/>
                      <a:pt x="120233" y="309575"/>
                    </a:cubicBezTo>
                    <a:cubicBezTo>
                      <a:pt x="123607" y="307370"/>
                      <a:pt x="127285" y="304896"/>
                      <a:pt x="131559" y="302287"/>
                    </a:cubicBezTo>
                    <a:cubicBezTo>
                      <a:pt x="131103" y="304209"/>
                      <a:pt x="130798" y="306165"/>
                      <a:pt x="130659" y="308136"/>
                    </a:cubicBezTo>
                    <a:cubicBezTo>
                      <a:pt x="130481" y="309994"/>
                      <a:pt x="130520" y="311869"/>
                      <a:pt x="130798" y="313715"/>
                    </a:cubicBezTo>
                    <a:cubicBezTo>
                      <a:pt x="131281" y="317610"/>
                      <a:pt x="132663" y="321339"/>
                      <a:pt x="134845" y="324604"/>
                    </a:cubicBezTo>
                    <a:cubicBezTo>
                      <a:pt x="135264" y="325332"/>
                      <a:pt x="135745" y="326024"/>
                      <a:pt x="136278" y="326674"/>
                    </a:cubicBezTo>
                    <a:cubicBezTo>
                      <a:pt x="142138" y="333179"/>
                      <a:pt x="148417" y="339297"/>
                      <a:pt x="155064" y="344988"/>
                    </a:cubicBezTo>
                    <a:cubicBezTo>
                      <a:pt x="154924" y="345078"/>
                      <a:pt x="154785" y="345167"/>
                      <a:pt x="154708" y="345213"/>
                    </a:cubicBezTo>
                    <a:cubicBezTo>
                      <a:pt x="154303" y="345528"/>
                      <a:pt x="153897" y="345797"/>
                      <a:pt x="153529" y="346067"/>
                    </a:cubicBezTo>
                    <a:cubicBezTo>
                      <a:pt x="151372" y="347552"/>
                      <a:pt x="149394" y="348948"/>
                      <a:pt x="147554" y="350252"/>
                    </a:cubicBezTo>
                    <a:cubicBezTo>
                      <a:pt x="146743" y="350837"/>
                      <a:pt x="145982" y="351377"/>
                      <a:pt x="145221" y="351872"/>
                    </a:cubicBezTo>
                    <a:cubicBezTo>
                      <a:pt x="142570" y="353762"/>
                      <a:pt x="140185" y="355428"/>
                      <a:pt x="137851" y="357046"/>
                    </a:cubicBezTo>
                    <a:lnTo>
                      <a:pt x="137889" y="357137"/>
                    </a:lnTo>
                    <a:cubicBezTo>
                      <a:pt x="138168" y="357899"/>
                      <a:pt x="138435" y="358621"/>
                      <a:pt x="138701" y="359341"/>
                    </a:cubicBezTo>
                    <a:cubicBezTo>
                      <a:pt x="139741" y="362220"/>
                      <a:pt x="140641" y="364741"/>
                      <a:pt x="141491" y="367081"/>
                    </a:cubicBezTo>
                    <a:cubicBezTo>
                      <a:pt x="141808" y="367935"/>
                      <a:pt x="142075" y="368746"/>
                      <a:pt x="142392" y="369600"/>
                    </a:cubicBezTo>
                    <a:cubicBezTo>
                      <a:pt x="130596" y="368409"/>
                      <a:pt x="119002" y="365733"/>
                      <a:pt x="107878" y="361636"/>
                    </a:cubicBezTo>
                    <a:cubicBezTo>
                      <a:pt x="106204" y="360765"/>
                      <a:pt x="104479" y="359999"/>
                      <a:pt x="102716" y="359341"/>
                    </a:cubicBezTo>
                    <a:cubicBezTo>
                      <a:pt x="102526" y="359296"/>
                      <a:pt x="102399" y="359251"/>
                      <a:pt x="102259" y="359207"/>
                    </a:cubicBezTo>
                    <a:cubicBezTo>
                      <a:pt x="96805" y="357271"/>
                      <a:pt x="90843" y="357303"/>
                      <a:pt x="85415" y="359296"/>
                    </a:cubicBezTo>
                    <a:cubicBezTo>
                      <a:pt x="80214" y="361378"/>
                      <a:pt x="75419" y="364364"/>
                      <a:pt x="71247" y="368116"/>
                    </a:cubicBezTo>
                    <a:cubicBezTo>
                      <a:pt x="71005" y="368123"/>
                      <a:pt x="70764" y="368154"/>
                      <a:pt x="70536" y="368206"/>
                    </a:cubicBezTo>
                    <a:cubicBezTo>
                      <a:pt x="70536" y="368385"/>
                      <a:pt x="70486" y="368521"/>
                      <a:pt x="70486" y="368655"/>
                    </a:cubicBezTo>
                    <a:cubicBezTo>
                      <a:pt x="68063" y="370320"/>
                      <a:pt x="65412" y="371805"/>
                      <a:pt x="63078" y="373515"/>
                    </a:cubicBezTo>
                    <a:cubicBezTo>
                      <a:pt x="57408" y="376748"/>
                      <a:pt x="54402" y="383203"/>
                      <a:pt x="55569" y="389623"/>
                    </a:cubicBezTo>
                    <a:cubicBezTo>
                      <a:pt x="56013" y="389669"/>
                      <a:pt x="56507" y="389759"/>
                      <a:pt x="56964" y="389848"/>
                    </a:cubicBezTo>
                    <a:cubicBezTo>
                      <a:pt x="61277" y="390433"/>
                      <a:pt x="65678" y="391063"/>
                      <a:pt x="71931" y="391964"/>
                    </a:cubicBezTo>
                    <a:cubicBezTo>
                      <a:pt x="69952" y="392909"/>
                      <a:pt x="68151" y="393763"/>
                      <a:pt x="66541" y="394528"/>
                    </a:cubicBezTo>
                    <a:cubicBezTo>
                      <a:pt x="62672" y="396373"/>
                      <a:pt x="59577" y="397902"/>
                      <a:pt x="56292" y="399433"/>
                    </a:cubicBezTo>
                    <a:cubicBezTo>
                      <a:pt x="56647" y="401090"/>
                      <a:pt x="57154" y="402716"/>
                      <a:pt x="57776" y="404292"/>
                    </a:cubicBezTo>
                    <a:cubicBezTo>
                      <a:pt x="59805" y="410477"/>
                      <a:pt x="65247" y="414918"/>
                      <a:pt x="71703" y="415676"/>
                    </a:cubicBezTo>
                    <a:cubicBezTo>
                      <a:pt x="71830" y="415728"/>
                      <a:pt x="71969" y="415759"/>
                      <a:pt x="72109" y="415766"/>
                    </a:cubicBezTo>
                    <a:lnTo>
                      <a:pt x="72248" y="415766"/>
                    </a:lnTo>
                    <a:cubicBezTo>
                      <a:pt x="79034" y="416891"/>
                      <a:pt x="86759" y="415991"/>
                      <a:pt x="93317" y="417746"/>
                    </a:cubicBezTo>
                    <a:cubicBezTo>
                      <a:pt x="93621" y="417773"/>
                      <a:pt x="93900" y="417849"/>
                      <a:pt x="94179" y="417971"/>
                    </a:cubicBezTo>
                    <a:cubicBezTo>
                      <a:pt x="94268" y="417963"/>
                      <a:pt x="94357" y="417978"/>
                      <a:pt x="94446" y="418015"/>
                    </a:cubicBezTo>
                    <a:cubicBezTo>
                      <a:pt x="94306" y="418286"/>
                      <a:pt x="94179" y="418511"/>
                      <a:pt x="94040" y="418777"/>
                    </a:cubicBezTo>
                    <a:lnTo>
                      <a:pt x="94040" y="418822"/>
                    </a:lnTo>
                    <a:cubicBezTo>
                      <a:pt x="92645" y="421477"/>
                      <a:pt x="91439" y="424132"/>
                      <a:pt x="89955" y="426607"/>
                    </a:cubicBezTo>
                    <a:cubicBezTo>
                      <a:pt x="89512" y="427404"/>
                      <a:pt x="89017" y="428172"/>
                      <a:pt x="88472" y="428902"/>
                    </a:cubicBezTo>
                    <a:cubicBezTo>
                      <a:pt x="87964" y="429568"/>
                      <a:pt x="87343" y="430134"/>
                      <a:pt x="86632" y="430565"/>
                    </a:cubicBezTo>
                    <a:cubicBezTo>
                      <a:pt x="85199" y="431472"/>
                      <a:pt x="83715" y="432284"/>
                      <a:pt x="82180" y="432996"/>
                    </a:cubicBezTo>
                    <a:cubicBezTo>
                      <a:pt x="81774" y="433221"/>
                      <a:pt x="81419" y="433401"/>
                      <a:pt x="81051" y="433631"/>
                    </a:cubicBezTo>
                    <a:cubicBezTo>
                      <a:pt x="79656" y="434350"/>
                      <a:pt x="78362" y="435116"/>
                      <a:pt x="77145" y="435836"/>
                    </a:cubicBezTo>
                    <a:cubicBezTo>
                      <a:pt x="75254" y="437006"/>
                      <a:pt x="73542" y="438175"/>
                      <a:pt x="72020" y="439300"/>
                    </a:cubicBezTo>
                    <a:cubicBezTo>
                      <a:pt x="70752" y="440257"/>
                      <a:pt x="69560" y="441294"/>
                      <a:pt x="68430" y="442406"/>
                    </a:cubicBezTo>
                    <a:cubicBezTo>
                      <a:pt x="64930" y="445510"/>
                      <a:pt x="62672" y="449778"/>
                      <a:pt x="62088" y="454419"/>
                    </a:cubicBezTo>
                    <a:cubicBezTo>
                      <a:pt x="61759" y="457975"/>
                      <a:pt x="62304" y="461556"/>
                      <a:pt x="63661" y="464858"/>
                    </a:cubicBezTo>
                    <a:cubicBezTo>
                      <a:pt x="64296" y="466660"/>
                      <a:pt x="65069" y="468405"/>
                      <a:pt x="65995" y="470078"/>
                    </a:cubicBezTo>
                    <a:cubicBezTo>
                      <a:pt x="67213" y="472445"/>
                      <a:pt x="68570" y="474742"/>
                      <a:pt x="70042" y="476962"/>
                    </a:cubicBezTo>
                    <a:cubicBezTo>
                      <a:pt x="70574" y="477817"/>
                      <a:pt x="71157" y="478672"/>
                      <a:pt x="71792" y="479572"/>
                    </a:cubicBezTo>
                    <a:lnTo>
                      <a:pt x="72198" y="480112"/>
                    </a:lnTo>
                    <a:cubicBezTo>
                      <a:pt x="73682" y="482317"/>
                      <a:pt x="75254" y="484521"/>
                      <a:pt x="76777" y="486771"/>
                    </a:cubicBezTo>
                    <a:cubicBezTo>
                      <a:pt x="77043" y="487176"/>
                      <a:pt x="77360" y="487581"/>
                      <a:pt x="77627" y="487986"/>
                    </a:cubicBezTo>
                    <a:cubicBezTo>
                      <a:pt x="78844" y="489741"/>
                      <a:pt x="80062" y="491495"/>
                      <a:pt x="81229" y="493296"/>
                    </a:cubicBezTo>
                    <a:cubicBezTo>
                      <a:pt x="81812" y="494151"/>
                      <a:pt x="82396" y="495005"/>
                      <a:pt x="82929" y="495860"/>
                    </a:cubicBezTo>
                    <a:cubicBezTo>
                      <a:pt x="84463" y="498155"/>
                      <a:pt x="85947" y="500494"/>
                      <a:pt x="87343" y="502835"/>
                    </a:cubicBezTo>
                    <a:cubicBezTo>
                      <a:pt x="87609" y="503284"/>
                      <a:pt x="87876" y="503735"/>
                      <a:pt x="88104" y="504185"/>
                    </a:cubicBezTo>
                    <a:cubicBezTo>
                      <a:pt x="89042" y="505760"/>
                      <a:pt x="89943" y="507289"/>
                      <a:pt x="90755" y="508863"/>
                    </a:cubicBezTo>
                    <a:lnTo>
                      <a:pt x="90843" y="509044"/>
                    </a:lnTo>
                    <a:cubicBezTo>
                      <a:pt x="91478" y="510123"/>
                      <a:pt x="92061" y="511294"/>
                      <a:pt x="92645" y="512418"/>
                    </a:cubicBezTo>
                    <a:cubicBezTo>
                      <a:pt x="92822" y="512770"/>
                      <a:pt x="92987" y="513131"/>
                      <a:pt x="93139" y="513499"/>
                    </a:cubicBezTo>
                    <a:cubicBezTo>
                      <a:pt x="94902" y="517037"/>
                      <a:pt x="96437" y="520690"/>
                      <a:pt x="97718" y="524432"/>
                    </a:cubicBezTo>
                    <a:cubicBezTo>
                      <a:pt x="98162" y="525602"/>
                      <a:pt x="98530" y="526817"/>
                      <a:pt x="98885" y="528033"/>
                    </a:cubicBezTo>
                    <a:cubicBezTo>
                      <a:pt x="99431" y="529877"/>
                      <a:pt x="99925" y="531767"/>
                      <a:pt x="100319" y="533702"/>
                    </a:cubicBezTo>
                    <a:cubicBezTo>
                      <a:pt x="100927" y="536551"/>
                      <a:pt x="101346" y="539436"/>
                      <a:pt x="101587" y="542338"/>
                    </a:cubicBezTo>
                    <a:cubicBezTo>
                      <a:pt x="101625" y="542609"/>
                      <a:pt x="101625" y="542878"/>
                      <a:pt x="101676" y="543100"/>
                    </a:cubicBezTo>
                    <a:cubicBezTo>
                      <a:pt x="103198" y="556419"/>
                      <a:pt x="114613" y="551019"/>
                      <a:pt x="121260" y="554978"/>
                    </a:cubicBezTo>
                    <a:cubicBezTo>
                      <a:pt x="120055" y="556104"/>
                      <a:pt x="118888" y="557137"/>
                      <a:pt x="117810" y="558128"/>
                    </a:cubicBezTo>
                    <a:cubicBezTo>
                      <a:pt x="116098" y="559703"/>
                      <a:pt x="114613" y="561099"/>
                      <a:pt x="113307" y="562403"/>
                    </a:cubicBezTo>
                    <a:cubicBezTo>
                      <a:pt x="112102" y="563573"/>
                      <a:pt x="111062" y="564698"/>
                      <a:pt x="110162" y="565733"/>
                    </a:cubicBezTo>
                    <a:cubicBezTo>
                      <a:pt x="108069" y="567977"/>
                      <a:pt x="106496" y="570669"/>
                      <a:pt x="105583" y="573607"/>
                    </a:cubicBezTo>
                    <a:cubicBezTo>
                      <a:pt x="104986" y="582209"/>
                      <a:pt x="106686" y="590815"/>
                      <a:pt x="110529" y="598534"/>
                    </a:cubicBezTo>
                    <a:cubicBezTo>
                      <a:pt x="114309" y="592596"/>
                      <a:pt x="117455" y="587691"/>
                      <a:pt x="120461" y="582741"/>
                    </a:cubicBezTo>
                    <a:cubicBezTo>
                      <a:pt x="123518" y="577747"/>
                      <a:pt x="125357" y="570817"/>
                      <a:pt x="129758" y="568118"/>
                    </a:cubicBezTo>
                    <a:cubicBezTo>
                      <a:pt x="134325" y="565638"/>
                      <a:pt x="139373" y="564206"/>
                      <a:pt x="144548" y="563927"/>
                    </a:cubicBezTo>
                    <a:lnTo>
                      <a:pt x="146756" y="563791"/>
                    </a:lnTo>
                    <a:lnTo>
                      <a:pt x="146793" y="563791"/>
                    </a:lnTo>
                    <a:cubicBezTo>
                      <a:pt x="147783" y="563747"/>
                      <a:pt x="148734" y="563747"/>
                      <a:pt x="149673" y="563747"/>
                    </a:cubicBezTo>
                    <a:cubicBezTo>
                      <a:pt x="158932" y="563791"/>
                      <a:pt x="160949" y="568700"/>
                      <a:pt x="161532" y="573961"/>
                    </a:cubicBezTo>
                    <a:cubicBezTo>
                      <a:pt x="161672" y="575220"/>
                      <a:pt x="161761" y="576525"/>
                      <a:pt x="161849" y="577741"/>
                    </a:cubicBezTo>
                    <a:cubicBezTo>
                      <a:pt x="161773" y="580008"/>
                      <a:pt x="162179" y="582266"/>
                      <a:pt x="163067" y="584355"/>
                    </a:cubicBezTo>
                    <a:cubicBezTo>
                      <a:pt x="162877" y="584591"/>
                      <a:pt x="162687" y="584816"/>
                      <a:pt x="162484" y="585029"/>
                    </a:cubicBezTo>
                    <a:cubicBezTo>
                      <a:pt x="162116" y="585525"/>
                      <a:pt x="161723" y="585974"/>
                      <a:pt x="161317" y="586469"/>
                    </a:cubicBezTo>
                    <a:cubicBezTo>
                      <a:pt x="159922" y="588179"/>
                      <a:pt x="158615" y="589934"/>
                      <a:pt x="157270" y="591689"/>
                    </a:cubicBezTo>
                    <a:cubicBezTo>
                      <a:pt x="156547" y="592678"/>
                      <a:pt x="155786" y="593623"/>
                      <a:pt x="155064" y="594610"/>
                    </a:cubicBezTo>
                    <a:lnTo>
                      <a:pt x="155025" y="594610"/>
                    </a:lnTo>
                    <a:cubicBezTo>
                      <a:pt x="150573" y="601335"/>
                      <a:pt x="144536" y="606853"/>
                      <a:pt x="137445" y="610673"/>
                    </a:cubicBezTo>
                    <a:lnTo>
                      <a:pt x="137268" y="610763"/>
                    </a:lnTo>
                    <a:cubicBezTo>
                      <a:pt x="132549" y="612833"/>
                      <a:pt x="127399" y="613758"/>
                      <a:pt x="122262" y="613463"/>
                    </a:cubicBezTo>
                    <a:cubicBezTo>
                      <a:pt x="123023" y="616568"/>
                      <a:pt x="123607" y="619538"/>
                      <a:pt x="124152" y="622372"/>
                    </a:cubicBezTo>
                    <a:cubicBezTo>
                      <a:pt x="124786" y="625566"/>
                      <a:pt x="125357" y="628581"/>
                      <a:pt x="126030" y="631417"/>
                    </a:cubicBezTo>
                    <a:cubicBezTo>
                      <a:pt x="126169" y="632092"/>
                      <a:pt x="126309" y="632766"/>
                      <a:pt x="126486" y="633396"/>
                    </a:cubicBezTo>
                    <a:cubicBezTo>
                      <a:pt x="127209" y="636392"/>
                      <a:pt x="128249" y="639301"/>
                      <a:pt x="129581" y="642080"/>
                    </a:cubicBezTo>
                    <a:cubicBezTo>
                      <a:pt x="130126" y="643214"/>
                      <a:pt x="130748" y="644312"/>
                      <a:pt x="131420" y="645366"/>
                    </a:cubicBezTo>
                    <a:cubicBezTo>
                      <a:pt x="131611" y="645711"/>
                      <a:pt x="131826" y="646043"/>
                      <a:pt x="132054" y="646355"/>
                    </a:cubicBezTo>
                    <a:cubicBezTo>
                      <a:pt x="133044" y="647879"/>
                      <a:pt x="134122" y="649370"/>
                      <a:pt x="135251" y="650855"/>
                    </a:cubicBezTo>
                    <a:cubicBezTo>
                      <a:pt x="135657" y="651350"/>
                      <a:pt x="136063" y="651890"/>
                      <a:pt x="136469" y="652429"/>
                    </a:cubicBezTo>
                    <a:cubicBezTo>
                      <a:pt x="138485" y="654949"/>
                      <a:pt x="140553" y="657424"/>
                      <a:pt x="142532" y="659988"/>
                    </a:cubicBezTo>
                    <a:lnTo>
                      <a:pt x="143343" y="661069"/>
                    </a:lnTo>
                    <a:cubicBezTo>
                      <a:pt x="144713" y="662884"/>
                      <a:pt x="145969" y="664778"/>
                      <a:pt x="147110" y="666738"/>
                    </a:cubicBezTo>
                    <a:cubicBezTo>
                      <a:pt x="147922" y="668179"/>
                      <a:pt x="148874" y="669659"/>
                      <a:pt x="149812" y="671192"/>
                    </a:cubicBezTo>
                    <a:cubicBezTo>
                      <a:pt x="150396" y="672183"/>
                      <a:pt x="151030" y="673172"/>
                      <a:pt x="151651" y="674163"/>
                    </a:cubicBezTo>
                    <a:cubicBezTo>
                      <a:pt x="153402" y="677042"/>
                      <a:pt x="155165" y="680013"/>
                      <a:pt x="156598" y="682892"/>
                    </a:cubicBezTo>
                    <a:lnTo>
                      <a:pt x="156598" y="682937"/>
                    </a:lnTo>
                    <a:cubicBezTo>
                      <a:pt x="157778" y="685113"/>
                      <a:pt x="158678" y="687424"/>
                      <a:pt x="159300" y="689821"/>
                    </a:cubicBezTo>
                    <a:cubicBezTo>
                      <a:pt x="159389" y="690192"/>
                      <a:pt x="159465" y="690567"/>
                      <a:pt x="159516" y="690946"/>
                    </a:cubicBezTo>
                    <a:cubicBezTo>
                      <a:pt x="159845" y="692631"/>
                      <a:pt x="159782" y="694369"/>
                      <a:pt x="159338" y="696026"/>
                    </a:cubicBezTo>
                    <a:cubicBezTo>
                      <a:pt x="158932" y="697423"/>
                      <a:pt x="158577" y="698770"/>
                      <a:pt x="158311" y="700030"/>
                    </a:cubicBezTo>
                    <a:lnTo>
                      <a:pt x="158311" y="700075"/>
                    </a:lnTo>
                    <a:cubicBezTo>
                      <a:pt x="157740" y="702431"/>
                      <a:pt x="157537" y="704856"/>
                      <a:pt x="157676" y="707274"/>
                    </a:cubicBezTo>
                    <a:cubicBezTo>
                      <a:pt x="158260" y="716589"/>
                      <a:pt x="165312" y="720504"/>
                      <a:pt x="175295" y="725273"/>
                    </a:cubicBezTo>
                    <a:cubicBezTo>
                      <a:pt x="177768" y="726442"/>
                      <a:pt x="180546" y="727658"/>
                      <a:pt x="183197" y="729142"/>
                    </a:cubicBezTo>
                    <a:cubicBezTo>
                      <a:pt x="183425" y="729220"/>
                      <a:pt x="183641" y="729325"/>
                      <a:pt x="183831" y="729457"/>
                    </a:cubicBezTo>
                    <a:cubicBezTo>
                      <a:pt x="186507" y="730857"/>
                      <a:pt x="188892" y="732733"/>
                      <a:pt x="190896" y="734992"/>
                    </a:cubicBezTo>
                    <a:cubicBezTo>
                      <a:pt x="191099" y="735251"/>
                      <a:pt x="191290" y="735522"/>
                      <a:pt x="191467" y="735802"/>
                    </a:cubicBezTo>
                    <a:cubicBezTo>
                      <a:pt x="192913" y="737730"/>
                      <a:pt x="193725" y="740054"/>
                      <a:pt x="193814" y="742461"/>
                    </a:cubicBezTo>
                    <a:cubicBezTo>
                      <a:pt x="193979" y="744089"/>
                      <a:pt x="193852" y="745734"/>
                      <a:pt x="193446" y="747321"/>
                    </a:cubicBezTo>
                    <a:cubicBezTo>
                      <a:pt x="193357" y="747817"/>
                      <a:pt x="193230" y="748311"/>
                      <a:pt x="193179" y="748806"/>
                    </a:cubicBezTo>
                    <a:cubicBezTo>
                      <a:pt x="192964" y="750025"/>
                      <a:pt x="192824" y="751257"/>
                      <a:pt x="192774" y="752495"/>
                    </a:cubicBezTo>
                    <a:cubicBezTo>
                      <a:pt x="192621" y="755137"/>
                      <a:pt x="192926" y="757786"/>
                      <a:pt x="193674" y="760325"/>
                    </a:cubicBezTo>
                    <a:cubicBezTo>
                      <a:pt x="193864" y="761125"/>
                      <a:pt x="194118" y="761907"/>
                      <a:pt x="194435" y="762664"/>
                    </a:cubicBezTo>
                    <a:cubicBezTo>
                      <a:pt x="195209" y="764607"/>
                      <a:pt x="196185" y="766461"/>
                      <a:pt x="197353" y="768199"/>
                    </a:cubicBezTo>
                    <a:lnTo>
                      <a:pt x="197403" y="768289"/>
                    </a:lnTo>
                    <a:cubicBezTo>
                      <a:pt x="198786" y="770373"/>
                      <a:pt x="200333" y="772344"/>
                      <a:pt x="202033" y="774184"/>
                    </a:cubicBezTo>
                    <a:lnTo>
                      <a:pt x="204227" y="776524"/>
                    </a:lnTo>
                    <a:cubicBezTo>
                      <a:pt x="205090" y="777334"/>
                      <a:pt x="205889" y="778189"/>
                      <a:pt x="206751" y="778999"/>
                    </a:cubicBezTo>
                    <a:cubicBezTo>
                      <a:pt x="209986" y="782148"/>
                      <a:pt x="213398" y="785118"/>
                      <a:pt x="217127" y="788177"/>
                    </a:cubicBezTo>
                    <a:cubicBezTo>
                      <a:pt x="217394" y="788357"/>
                      <a:pt x="217672" y="788582"/>
                      <a:pt x="217977" y="788812"/>
                    </a:cubicBezTo>
                    <a:cubicBezTo>
                      <a:pt x="220451" y="790844"/>
                      <a:pt x="223101" y="792907"/>
                      <a:pt x="225892" y="795111"/>
                    </a:cubicBezTo>
                    <a:cubicBezTo>
                      <a:pt x="226032" y="795202"/>
                      <a:pt x="226209" y="795337"/>
                      <a:pt x="226387" y="795472"/>
                    </a:cubicBezTo>
                    <a:cubicBezTo>
                      <a:pt x="230116" y="798351"/>
                      <a:pt x="234111" y="801501"/>
                      <a:pt x="238525" y="805055"/>
                    </a:cubicBezTo>
                    <a:cubicBezTo>
                      <a:pt x="252694" y="805774"/>
                      <a:pt x="266570" y="800767"/>
                      <a:pt x="277035" y="791153"/>
                    </a:cubicBezTo>
                    <a:cubicBezTo>
                      <a:pt x="277225" y="791016"/>
                      <a:pt x="277402" y="790864"/>
                      <a:pt x="277567" y="790702"/>
                    </a:cubicBezTo>
                    <a:cubicBezTo>
                      <a:pt x="279026" y="789484"/>
                      <a:pt x="280421" y="788192"/>
                      <a:pt x="281753" y="786832"/>
                    </a:cubicBezTo>
                    <a:lnTo>
                      <a:pt x="282286" y="787103"/>
                    </a:lnTo>
                    <a:cubicBezTo>
                      <a:pt x="282692" y="787328"/>
                      <a:pt x="283047" y="787552"/>
                      <a:pt x="283465" y="787738"/>
                    </a:cubicBezTo>
                    <a:cubicBezTo>
                      <a:pt x="286332" y="789357"/>
                      <a:pt x="289161" y="790932"/>
                      <a:pt x="292268" y="792597"/>
                    </a:cubicBezTo>
                    <a:cubicBezTo>
                      <a:pt x="292624" y="792823"/>
                      <a:pt x="292991" y="793048"/>
                      <a:pt x="293346" y="793232"/>
                    </a:cubicBezTo>
                    <a:cubicBezTo>
                      <a:pt x="294069" y="793637"/>
                      <a:pt x="294830" y="794086"/>
                      <a:pt x="295591" y="794492"/>
                    </a:cubicBezTo>
                    <a:cubicBezTo>
                      <a:pt x="295274" y="795707"/>
                      <a:pt x="294957" y="796877"/>
                      <a:pt x="294653" y="798048"/>
                    </a:cubicBezTo>
                    <a:lnTo>
                      <a:pt x="294653" y="798093"/>
                    </a:lnTo>
                    <a:cubicBezTo>
                      <a:pt x="294247" y="799534"/>
                      <a:pt x="293892" y="800972"/>
                      <a:pt x="293524" y="802368"/>
                    </a:cubicBezTo>
                    <a:cubicBezTo>
                      <a:pt x="292446" y="806328"/>
                      <a:pt x="291457" y="810242"/>
                      <a:pt x="290379" y="814156"/>
                    </a:cubicBezTo>
                    <a:cubicBezTo>
                      <a:pt x="290023" y="815596"/>
                      <a:pt x="289617" y="817077"/>
                      <a:pt x="289211" y="818566"/>
                    </a:cubicBezTo>
                    <a:lnTo>
                      <a:pt x="289072" y="819105"/>
                    </a:lnTo>
                    <a:cubicBezTo>
                      <a:pt x="292877" y="819639"/>
                      <a:pt x="296530" y="820974"/>
                      <a:pt x="299777" y="823021"/>
                    </a:cubicBezTo>
                    <a:cubicBezTo>
                      <a:pt x="300183" y="823280"/>
                      <a:pt x="300576" y="823566"/>
                      <a:pt x="300944" y="823876"/>
                    </a:cubicBezTo>
                    <a:cubicBezTo>
                      <a:pt x="303849" y="826115"/>
                      <a:pt x="306107" y="829078"/>
                      <a:pt x="307502" y="832470"/>
                    </a:cubicBezTo>
                    <a:cubicBezTo>
                      <a:pt x="307997" y="833535"/>
                      <a:pt x="308415" y="834632"/>
                      <a:pt x="308758" y="835755"/>
                    </a:cubicBezTo>
                    <a:cubicBezTo>
                      <a:pt x="309760" y="839067"/>
                      <a:pt x="310496" y="842452"/>
                      <a:pt x="310965" y="845878"/>
                    </a:cubicBezTo>
                    <a:cubicBezTo>
                      <a:pt x="311231" y="847543"/>
                      <a:pt x="311459" y="849254"/>
                      <a:pt x="311675" y="850958"/>
                    </a:cubicBezTo>
                    <a:cubicBezTo>
                      <a:pt x="311954" y="852983"/>
                      <a:pt x="312170" y="855008"/>
                      <a:pt x="312487" y="857077"/>
                    </a:cubicBezTo>
                    <a:cubicBezTo>
                      <a:pt x="318651" y="852308"/>
                      <a:pt x="323053" y="848888"/>
                      <a:pt x="327099" y="845783"/>
                    </a:cubicBezTo>
                    <a:cubicBezTo>
                      <a:pt x="327505" y="845468"/>
                      <a:pt x="327911" y="845148"/>
                      <a:pt x="328266" y="844884"/>
                    </a:cubicBezTo>
                    <a:cubicBezTo>
                      <a:pt x="328761" y="844479"/>
                      <a:pt x="329256" y="844074"/>
                      <a:pt x="329750" y="843714"/>
                    </a:cubicBezTo>
                    <a:cubicBezTo>
                      <a:pt x="330334" y="844523"/>
                      <a:pt x="330917" y="845289"/>
                      <a:pt x="331450" y="846054"/>
                    </a:cubicBezTo>
                    <a:cubicBezTo>
                      <a:pt x="331640" y="846278"/>
                      <a:pt x="331818" y="846549"/>
                      <a:pt x="331995" y="846774"/>
                    </a:cubicBezTo>
                    <a:cubicBezTo>
                      <a:pt x="333428" y="848754"/>
                      <a:pt x="334875" y="850778"/>
                      <a:pt x="336359" y="852802"/>
                    </a:cubicBezTo>
                    <a:cubicBezTo>
                      <a:pt x="337348" y="854108"/>
                      <a:pt x="338337" y="855458"/>
                      <a:pt x="339327" y="856852"/>
                    </a:cubicBezTo>
                    <a:cubicBezTo>
                      <a:pt x="341255" y="855953"/>
                      <a:pt x="343145" y="855053"/>
                      <a:pt x="344984" y="854198"/>
                    </a:cubicBezTo>
                    <a:cubicBezTo>
                      <a:pt x="348168" y="852668"/>
                      <a:pt x="351186" y="851277"/>
                      <a:pt x="354015" y="849923"/>
                    </a:cubicBezTo>
                    <a:cubicBezTo>
                      <a:pt x="354281" y="849789"/>
                      <a:pt x="354510" y="849698"/>
                      <a:pt x="354776" y="849564"/>
                    </a:cubicBezTo>
                    <a:cubicBezTo>
                      <a:pt x="354053" y="846818"/>
                      <a:pt x="353026" y="844164"/>
                      <a:pt x="352176" y="841734"/>
                    </a:cubicBezTo>
                    <a:cubicBezTo>
                      <a:pt x="351833" y="840941"/>
                      <a:pt x="351554" y="840129"/>
                      <a:pt x="351313" y="839304"/>
                    </a:cubicBezTo>
                    <a:cubicBezTo>
                      <a:pt x="350882" y="838121"/>
                      <a:pt x="350565" y="836902"/>
                      <a:pt x="350374" y="835660"/>
                    </a:cubicBezTo>
                    <a:cubicBezTo>
                      <a:pt x="350235" y="834903"/>
                      <a:pt x="350197" y="834132"/>
                      <a:pt x="350235" y="833365"/>
                    </a:cubicBezTo>
                    <a:cubicBezTo>
                      <a:pt x="350248" y="832767"/>
                      <a:pt x="350362" y="832175"/>
                      <a:pt x="350552" y="831610"/>
                    </a:cubicBezTo>
                    <a:cubicBezTo>
                      <a:pt x="351630" y="828862"/>
                      <a:pt x="353317" y="826398"/>
                      <a:pt x="355499" y="824410"/>
                    </a:cubicBezTo>
                    <a:lnTo>
                      <a:pt x="355727" y="824185"/>
                    </a:lnTo>
                    <a:cubicBezTo>
                      <a:pt x="357605" y="822296"/>
                      <a:pt x="359723" y="820450"/>
                      <a:pt x="361651" y="818516"/>
                    </a:cubicBezTo>
                    <a:cubicBezTo>
                      <a:pt x="362108" y="818021"/>
                      <a:pt x="362552" y="817571"/>
                      <a:pt x="363008" y="817076"/>
                    </a:cubicBezTo>
                    <a:cubicBezTo>
                      <a:pt x="361879" y="816314"/>
                      <a:pt x="360890" y="815637"/>
                      <a:pt x="359900" y="814961"/>
                    </a:cubicBezTo>
                    <a:cubicBezTo>
                      <a:pt x="358201" y="813836"/>
                      <a:pt x="356628" y="812802"/>
                      <a:pt x="355004" y="811677"/>
                    </a:cubicBezTo>
                    <a:lnTo>
                      <a:pt x="354966" y="811677"/>
                    </a:lnTo>
                    <a:cubicBezTo>
                      <a:pt x="353558" y="810732"/>
                      <a:pt x="352125" y="809786"/>
                      <a:pt x="350514" y="808662"/>
                    </a:cubicBezTo>
                    <a:cubicBezTo>
                      <a:pt x="350324" y="808558"/>
                      <a:pt x="350146" y="808437"/>
                      <a:pt x="349969" y="808302"/>
                    </a:cubicBezTo>
                    <a:cubicBezTo>
                      <a:pt x="356526" y="806323"/>
                      <a:pt x="360446" y="805107"/>
                      <a:pt x="364175" y="803938"/>
                    </a:cubicBezTo>
                    <a:cubicBezTo>
                      <a:pt x="364175" y="802813"/>
                      <a:pt x="364137" y="801597"/>
                      <a:pt x="364048" y="800337"/>
                    </a:cubicBezTo>
                    <a:cubicBezTo>
                      <a:pt x="363947" y="799753"/>
                      <a:pt x="363909" y="799123"/>
                      <a:pt x="363858" y="798493"/>
                    </a:cubicBezTo>
                    <a:cubicBezTo>
                      <a:pt x="363731" y="797053"/>
                      <a:pt x="363592" y="795572"/>
                      <a:pt x="363452" y="794128"/>
                    </a:cubicBezTo>
                    <a:cubicBezTo>
                      <a:pt x="363414" y="793858"/>
                      <a:pt x="363414" y="793589"/>
                      <a:pt x="363363" y="793318"/>
                    </a:cubicBezTo>
                    <a:cubicBezTo>
                      <a:pt x="363135" y="791131"/>
                      <a:pt x="363173" y="788923"/>
                      <a:pt x="363503" y="786748"/>
                    </a:cubicBezTo>
                    <a:cubicBezTo>
                      <a:pt x="363592" y="786524"/>
                      <a:pt x="363642" y="786254"/>
                      <a:pt x="363731" y="786074"/>
                    </a:cubicBezTo>
                    <a:cubicBezTo>
                      <a:pt x="363896" y="785649"/>
                      <a:pt x="364200" y="785288"/>
                      <a:pt x="364581" y="785039"/>
                    </a:cubicBezTo>
                    <a:cubicBezTo>
                      <a:pt x="368640" y="782818"/>
                      <a:pt x="371861" y="779347"/>
                      <a:pt x="373790" y="775141"/>
                    </a:cubicBezTo>
                    <a:cubicBezTo>
                      <a:pt x="374322" y="774013"/>
                      <a:pt x="374792" y="772856"/>
                      <a:pt x="375185" y="771675"/>
                    </a:cubicBezTo>
                    <a:cubicBezTo>
                      <a:pt x="375997" y="768951"/>
                      <a:pt x="376580" y="766168"/>
                      <a:pt x="376935" y="763351"/>
                    </a:cubicBezTo>
                    <a:cubicBezTo>
                      <a:pt x="377037" y="762631"/>
                      <a:pt x="377126" y="761867"/>
                      <a:pt x="377214" y="761146"/>
                    </a:cubicBezTo>
                    <a:cubicBezTo>
                      <a:pt x="377532" y="757823"/>
                      <a:pt x="378026" y="754520"/>
                      <a:pt x="378698" y="751247"/>
                    </a:cubicBezTo>
                    <a:cubicBezTo>
                      <a:pt x="379104" y="749537"/>
                      <a:pt x="379776" y="747513"/>
                      <a:pt x="380487" y="745263"/>
                    </a:cubicBezTo>
                    <a:cubicBezTo>
                      <a:pt x="383138" y="736444"/>
                      <a:pt x="385890" y="724520"/>
                      <a:pt x="371367" y="718040"/>
                    </a:cubicBezTo>
                    <a:cubicBezTo>
                      <a:pt x="370504" y="717547"/>
                      <a:pt x="369832" y="716768"/>
                      <a:pt x="369477" y="715835"/>
                    </a:cubicBezTo>
                    <a:cubicBezTo>
                      <a:pt x="368183" y="712498"/>
                      <a:pt x="367549" y="708934"/>
                      <a:pt x="367638" y="705352"/>
                    </a:cubicBezTo>
                    <a:cubicBezTo>
                      <a:pt x="367625" y="704465"/>
                      <a:pt x="367650" y="703579"/>
                      <a:pt x="367727" y="702696"/>
                    </a:cubicBezTo>
                    <a:cubicBezTo>
                      <a:pt x="367828" y="701171"/>
                      <a:pt x="368107" y="699662"/>
                      <a:pt x="368538" y="698196"/>
                    </a:cubicBezTo>
                    <a:cubicBezTo>
                      <a:pt x="370162" y="693428"/>
                      <a:pt x="373206" y="685012"/>
                      <a:pt x="382288" y="687983"/>
                    </a:cubicBezTo>
                    <a:lnTo>
                      <a:pt x="382427" y="688027"/>
                    </a:lnTo>
                    <a:cubicBezTo>
                      <a:pt x="383531" y="688420"/>
                      <a:pt x="384596" y="688901"/>
                      <a:pt x="385611" y="689468"/>
                    </a:cubicBezTo>
                    <a:cubicBezTo>
                      <a:pt x="389023" y="691143"/>
                      <a:pt x="393133" y="689738"/>
                      <a:pt x="394807" y="686331"/>
                    </a:cubicBezTo>
                    <a:cubicBezTo>
                      <a:pt x="395327" y="685265"/>
                      <a:pt x="395568" y="684083"/>
                      <a:pt x="395505" y="682898"/>
                    </a:cubicBezTo>
                    <a:cubicBezTo>
                      <a:pt x="395556" y="682072"/>
                      <a:pt x="395530" y="681243"/>
                      <a:pt x="395416" y="680424"/>
                    </a:cubicBezTo>
                    <a:cubicBezTo>
                      <a:pt x="395365" y="679936"/>
                      <a:pt x="395277" y="679455"/>
                      <a:pt x="395137" y="678984"/>
                    </a:cubicBezTo>
                    <a:cubicBezTo>
                      <a:pt x="394782" y="676992"/>
                      <a:pt x="394883" y="674943"/>
                      <a:pt x="395454" y="673000"/>
                    </a:cubicBezTo>
                    <a:cubicBezTo>
                      <a:pt x="395771" y="672055"/>
                      <a:pt x="396126" y="671425"/>
                      <a:pt x="396583" y="671244"/>
                    </a:cubicBezTo>
                    <a:lnTo>
                      <a:pt x="396672" y="671199"/>
                    </a:lnTo>
                    <a:cubicBezTo>
                      <a:pt x="399107" y="670529"/>
                      <a:pt x="401187" y="668930"/>
                      <a:pt x="402468" y="666745"/>
                    </a:cubicBezTo>
                    <a:cubicBezTo>
                      <a:pt x="404574" y="662155"/>
                      <a:pt x="399234" y="656576"/>
                      <a:pt x="399094" y="651896"/>
                    </a:cubicBezTo>
                    <a:cubicBezTo>
                      <a:pt x="399082" y="651204"/>
                      <a:pt x="399209" y="650515"/>
                      <a:pt x="399462" y="649872"/>
                    </a:cubicBezTo>
                    <a:cubicBezTo>
                      <a:pt x="406134" y="647737"/>
                      <a:pt x="412603" y="645042"/>
                      <a:pt x="418831" y="641817"/>
                    </a:cubicBezTo>
                    <a:cubicBezTo>
                      <a:pt x="419732" y="641321"/>
                      <a:pt x="420581" y="640749"/>
                      <a:pt x="421393" y="640107"/>
                    </a:cubicBezTo>
                    <a:cubicBezTo>
                      <a:pt x="426327" y="636237"/>
                      <a:pt x="427495" y="631378"/>
                      <a:pt x="427495" y="621883"/>
                    </a:cubicBezTo>
                    <a:lnTo>
                      <a:pt x="427495" y="621445"/>
                    </a:lnTo>
                    <a:cubicBezTo>
                      <a:pt x="427456" y="618476"/>
                      <a:pt x="427317" y="615011"/>
                      <a:pt x="427139" y="611006"/>
                    </a:cubicBezTo>
                    <a:cubicBezTo>
                      <a:pt x="427139" y="610737"/>
                      <a:pt x="427101" y="610512"/>
                      <a:pt x="427101" y="610244"/>
                    </a:cubicBezTo>
                    <a:cubicBezTo>
                      <a:pt x="419820" y="607094"/>
                      <a:pt x="408849" y="610288"/>
                      <a:pt x="405297" y="599804"/>
                    </a:cubicBezTo>
                    <a:cubicBezTo>
                      <a:pt x="405069" y="599191"/>
                      <a:pt x="404891" y="598559"/>
                      <a:pt x="404764" y="597915"/>
                    </a:cubicBezTo>
                    <a:cubicBezTo>
                      <a:pt x="413478" y="594675"/>
                      <a:pt x="421888" y="591571"/>
                      <a:pt x="427228" y="589591"/>
                    </a:cubicBezTo>
                    <a:cubicBezTo>
                      <a:pt x="429080" y="586377"/>
                      <a:pt x="429854" y="582656"/>
                      <a:pt x="429435" y="578971"/>
                    </a:cubicBezTo>
                    <a:lnTo>
                      <a:pt x="429435" y="578926"/>
                    </a:lnTo>
                    <a:cubicBezTo>
                      <a:pt x="428357" y="571501"/>
                      <a:pt x="421926" y="565876"/>
                      <a:pt x="418463" y="559667"/>
                    </a:cubicBezTo>
                    <a:cubicBezTo>
                      <a:pt x="418197" y="559172"/>
                      <a:pt x="417969" y="558677"/>
                      <a:pt x="417702" y="558183"/>
                    </a:cubicBezTo>
                    <a:cubicBezTo>
                      <a:pt x="417487" y="557818"/>
                      <a:pt x="417322" y="557424"/>
                      <a:pt x="417208" y="557012"/>
                    </a:cubicBezTo>
                    <a:lnTo>
                      <a:pt x="417119" y="556877"/>
                    </a:lnTo>
                    <a:cubicBezTo>
                      <a:pt x="415914" y="553957"/>
                      <a:pt x="415888" y="550686"/>
                      <a:pt x="417030" y="547743"/>
                    </a:cubicBezTo>
                    <a:cubicBezTo>
                      <a:pt x="417398" y="546674"/>
                      <a:pt x="417880" y="545648"/>
                      <a:pt x="418476" y="544684"/>
                    </a:cubicBezTo>
                    <a:cubicBezTo>
                      <a:pt x="443857" y="543019"/>
                      <a:pt x="450694" y="539689"/>
                      <a:pt x="445975" y="523761"/>
                    </a:cubicBezTo>
                    <a:cubicBezTo>
                      <a:pt x="445569" y="522455"/>
                      <a:pt x="445125" y="521061"/>
                      <a:pt x="444580" y="519570"/>
                    </a:cubicBezTo>
                    <a:cubicBezTo>
                      <a:pt x="443768" y="517411"/>
                      <a:pt x="442829" y="515024"/>
                      <a:pt x="441751" y="512458"/>
                    </a:cubicBezTo>
                    <a:cubicBezTo>
                      <a:pt x="446597" y="511513"/>
                      <a:pt x="451455" y="510612"/>
                      <a:pt x="456224" y="509713"/>
                    </a:cubicBezTo>
                    <a:cubicBezTo>
                      <a:pt x="456757" y="509577"/>
                      <a:pt x="457251" y="509487"/>
                      <a:pt x="457746" y="509397"/>
                    </a:cubicBezTo>
                    <a:cubicBezTo>
                      <a:pt x="461108" y="508762"/>
                      <a:pt x="464443" y="508093"/>
                      <a:pt x="467767" y="507507"/>
                    </a:cubicBezTo>
                    <a:cubicBezTo>
                      <a:pt x="467919" y="507453"/>
                      <a:pt x="468084" y="507422"/>
                      <a:pt x="468261" y="507418"/>
                    </a:cubicBezTo>
                    <a:cubicBezTo>
                      <a:pt x="477825" y="505528"/>
                      <a:pt x="487351" y="503729"/>
                      <a:pt x="496928" y="501884"/>
                    </a:cubicBezTo>
                    <a:cubicBezTo>
                      <a:pt x="496243" y="499971"/>
                      <a:pt x="495849" y="497971"/>
                      <a:pt x="495761" y="495944"/>
                    </a:cubicBezTo>
                    <a:cubicBezTo>
                      <a:pt x="495583" y="494429"/>
                      <a:pt x="495646" y="492897"/>
                      <a:pt x="495938" y="491400"/>
                    </a:cubicBezTo>
                    <a:cubicBezTo>
                      <a:pt x="497283" y="481680"/>
                      <a:pt x="504475" y="473493"/>
                      <a:pt x="505058" y="463587"/>
                    </a:cubicBezTo>
                    <a:cubicBezTo>
                      <a:pt x="505147" y="462281"/>
                      <a:pt x="505096" y="460969"/>
                      <a:pt x="504919" y="459673"/>
                    </a:cubicBezTo>
                    <a:cubicBezTo>
                      <a:pt x="504601" y="457185"/>
                      <a:pt x="503879" y="454767"/>
                      <a:pt x="502762" y="452517"/>
                    </a:cubicBezTo>
                    <a:cubicBezTo>
                      <a:pt x="512111" y="455938"/>
                      <a:pt x="517692" y="458008"/>
                      <a:pt x="523349" y="460076"/>
                    </a:cubicBezTo>
                    <a:cubicBezTo>
                      <a:pt x="522588" y="461562"/>
                      <a:pt x="521865" y="462997"/>
                      <a:pt x="521104" y="464441"/>
                    </a:cubicBezTo>
                    <a:cubicBezTo>
                      <a:pt x="518224" y="470066"/>
                      <a:pt x="515484" y="475465"/>
                      <a:pt x="512745" y="480730"/>
                    </a:cubicBezTo>
                    <a:lnTo>
                      <a:pt x="511527" y="483160"/>
                    </a:lnTo>
                    <a:cubicBezTo>
                      <a:pt x="510716" y="484684"/>
                      <a:pt x="509954" y="486175"/>
                      <a:pt x="509193" y="487660"/>
                    </a:cubicBezTo>
                    <a:lnTo>
                      <a:pt x="508838" y="487750"/>
                    </a:lnTo>
                    <a:cubicBezTo>
                      <a:pt x="508990" y="487903"/>
                      <a:pt x="509142" y="488068"/>
                      <a:pt x="509282" y="488245"/>
                    </a:cubicBezTo>
                    <a:cubicBezTo>
                      <a:pt x="509282" y="488155"/>
                      <a:pt x="509333" y="488065"/>
                      <a:pt x="509333" y="487975"/>
                    </a:cubicBezTo>
                    <a:cubicBezTo>
                      <a:pt x="509650" y="488114"/>
                      <a:pt x="509980" y="488235"/>
                      <a:pt x="510322" y="488334"/>
                    </a:cubicBezTo>
                    <a:cubicBezTo>
                      <a:pt x="516423" y="490784"/>
                      <a:pt x="523222" y="490912"/>
                      <a:pt x="529412" y="488695"/>
                    </a:cubicBezTo>
                    <a:cubicBezTo>
                      <a:pt x="530046" y="488470"/>
                      <a:pt x="530680" y="488245"/>
                      <a:pt x="531264" y="488019"/>
                    </a:cubicBezTo>
                    <a:cubicBezTo>
                      <a:pt x="535893" y="486118"/>
                      <a:pt x="540384" y="483893"/>
                      <a:pt x="544696" y="481360"/>
                    </a:cubicBezTo>
                    <a:cubicBezTo>
                      <a:pt x="546485" y="480509"/>
                      <a:pt x="548476" y="480167"/>
                      <a:pt x="550442" y="480370"/>
                    </a:cubicBezTo>
                    <a:cubicBezTo>
                      <a:pt x="550683" y="480341"/>
                      <a:pt x="550937" y="480356"/>
                      <a:pt x="551165" y="480415"/>
                    </a:cubicBezTo>
                    <a:cubicBezTo>
                      <a:pt x="553994" y="480506"/>
                      <a:pt x="557101" y="481050"/>
                      <a:pt x="559930" y="481050"/>
                    </a:cubicBezTo>
                    <a:cubicBezTo>
                      <a:pt x="562936" y="475426"/>
                      <a:pt x="566183" y="469307"/>
                      <a:pt x="568961" y="464176"/>
                    </a:cubicBezTo>
                    <a:lnTo>
                      <a:pt x="569900" y="462422"/>
                    </a:lnTo>
                    <a:cubicBezTo>
                      <a:pt x="570382" y="462246"/>
                      <a:pt x="570889" y="462110"/>
                      <a:pt x="571384" y="462017"/>
                    </a:cubicBezTo>
                    <a:cubicBezTo>
                      <a:pt x="575798" y="460667"/>
                      <a:pt x="580554" y="459858"/>
                      <a:pt x="584867" y="458777"/>
                    </a:cubicBezTo>
                    <a:cubicBezTo>
                      <a:pt x="585539" y="458640"/>
                      <a:pt x="586199" y="458460"/>
                      <a:pt x="586846" y="458237"/>
                    </a:cubicBezTo>
                    <a:cubicBezTo>
                      <a:pt x="590410" y="457613"/>
                      <a:pt x="593657" y="455767"/>
                      <a:pt x="596016" y="453018"/>
                    </a:cubicBezTo>
                    <a:cubicBezTo>
                      <a:pt x="599429" y="447888"/>
                      <a:pt x="602853" y="442714"/>
                      <a:pt x="606126" y="437449"/>
                    </a:cubicBezTo>
                    <a:cubicBezTo>
                      <a:pt x="606354" y="437089"/>
                      <a:pt x="606582" y="436774"/>
                      <a:pt x="606760" y="436414"/>
                    </a:cubicBezTo>
                    <a:cubicBezTo>
                      <a:pt x="615791" y="422346"/>
                      <a:pt x="623351" y="407389"/>
                      <a:pt x="629325" y="391778"/>
                    </a:cubicBezTo>
                    <a:cubicBezTo>
                      <a:pt x="634297" y="373614"/>
                      <a:pt x="645459" y="357760"/>
                      <a:pt x="660871" y="346963"/>
                    </a:cubicBezTo>
                    <a:cubicBezTo>
                      <a:pt x="667568" y="344080"/>
                      <a:pt x="671627" y="337175"/>
                      <a:pt x="670891" y="329909"/>
                    </a:cubicBezTo>
                    <a:cubicBezTo>
                      <a:pt x="670739" y="328479"/>
                      <a:pt x="670473" y="327064"/>
                      <a:pt x="670080" y="325679"/>
                    </a:cubicBezTo>
                    <a:cubicBezTo>
                      <a:pt x="669991" y="325431"/>
                      <a:pt x="669940" y="325176"/>
                      <a:pt x="669902" y="324917"/>
                    </a:cubicBezTo>
                    <a:cubicBezTo>
                      <a:pt x="669724" y="324197"/>
                      <a:pt x="669585" y="323432"/>
                      <a:pt x="669458" y="322622"/>
                    </a:cubicBezTo>
                    <a:cubicBezTo>
                      <a:pt x="669052" y="319922"/>
                      <a:pt x="668811" y="316682"/>
                      <a:pt x="668189" y="311827"/>
                    </a:cubicBezTo>
                    <a:cubicBezTo>
                      <a:pt x="669547" y="312547"/>
                      <a:pt x="670891" y="313224"/>
                      <a:pt x="672198" y="313986"/>
                    </a:cubicBezTo>
                    <a:cubicBezTo>
                      <a:pt x="682053" y="320915"/>
                      <a:pt x="693012" y="326146"/>
                      <a:pt x="704593" y="329463"/>
                    </a:cubicBezTo>
                    <a:cubicBezTo>
                      <a:pt x="708753" y="330127"/>
                      <a:pt x="713015" y="329693"/>
                      <a:pt x="716960" y="328203"/>
                    </a:cubicBezTo>
                    <a:cubicBezTo>
                      <a:pt x="717607" y="327991"/>
                      <a:pt x="718241" y="327721"/>
                      <a:pt x="718837" y="327394"/>
                    </a:cubicBezTo>
                    <a:cubicBezTo>
                      <a:pt x="721184" y="326260"/>
                      <a:pt x="723264" y="324651"/>
                      <a:pt x="724951" y="322669"/>
                    </a:cubicBezTo>
                    <a:cubicBezTo>
                      <a:pt x="725446" y="322139"/>
                      <a:pt x="725903" y="321568"/>
                      <a:pt x="726296" y="320959"/>
                    </a:cubicBezTo>
                    <a:cubicBezTo>
                      <a:pt x="728883" y="317140"/>
                      <a:pt x="730367" y="312693"/>
                      <a:pt x="730609" y="308090"/>
                    </a:cubicBezTo>
                    <a:cubicBezTo>
                      <a:pt x="739779" y="309846"/>
                      <a:pt x="744815" y="315515"/>
                      <a:pt x="755063" y="310070"/>
                    </a:cubicBezTo>
                    <a:cubicBezTo>
                      <a:pt x="776703" y="299725"/>
                      <a:pt x="799217" y="291310"/>
                      <a:pt x="822340" y="284924"/>
                    </a:cubicBezTo>
                    <a:cubicBezTo>
                      <a:pt x="835304" y="281004"/>
                      <a:pt x="846517" y="272703"/>
                      <a:pt x="854064" y="261436"/>
                    </a:cubicBezTo>
                    <a:cubicBezTo>
                      <a:pt x="854825" y="260356"/>
                      <a:pt x="855636" y="259231"/>
                      <a:pt x="856448" y="258152"/>
                    </a:cubicBezTo>
                    <a:cubicBezTo>
                      <a:pt x="856664" y="257792"/>
                      <a:pt x="856892" y="257477"/>
                      <a:pt x="857158" y="257116"/>
                    </a:cubicBezTo>
                    <a:cubicBezTo>
                      <a:pt x="860127" y="253022"/>
                      <a:pt x="863145" y="248972"/>
                      <a:pt x="866430" y="245051"/>
                    </a:cubicBezTo>
                    <a:cubicBezTo>
                      <a:pt x="867407" y="243746"/>
                      <a:pt x="868486" y="242487"/>
                      <a:pt x="869614" y="241226"/>
                    </a:cubicBezTo>
                    <a:cubicBezTo>
                      <a:pt x="873052" y="237321"/>
                      <a:pt x="876794" y="233695"/>
                      <a:pt x="880802" y="230383"/>
                    </a:cubicBezTo>
                    <a:cubicBezTo>
                      <a:pt x="881157" y="230030"/>
                      <a:pt x="881550" y="229714"/>
                      <a:pt x="881969" y="229438"/>
                    </a:cubicBezTo>
                    <a:cubicBezTo>
                      <a:pt x="883237" y="228447"/>
                      <a:pt x="884493" y="227458"/>
                      <a:pt x="885799" y="226558"/>
                    </a:cubicBezTo>
                    <a:cubicBezTo>
                      <a:pt x="889300" y="224128"/>
                      <a:pt x="892852" y="221789"/>
                      <a:pt x="896315" y="219179"/>
                    </a:cubicBezTo>
                    <a:cubicBezTo>
                      <a:pt x="896555" y="218997"/>
                      <a:pt x="896797" y="218802"/>
                      <a:pt x="897025" y="218594"/>
                    </a:cubicBezTo>
                    <a:cubicBezTo>
                      <a:pt x="901528" y="215316"/>
                      <a:pt x="905561" y="211441"/>
                      <a:pt x="909024" y="207075"/>
                    </a:cubicBezTo>
                    <a:cubicBezTo>
                      <a:pt x="909874" y="205995"/>
                      <a:pt x="910686" y="204870"/>
                      <a:pt x="911498" y="203656"/>
                    </a:cubicBezTo>
                    <a:cubicBezTo>
                      <a:pt x="911726" y="203341"/>
                      <a:pt x="911904" y="203021"/>
                      <a:pt x="912132" y="202710"/>
                    </a:cubicBezTo>
                    <a:cubicBezTo>
                      <a:pt x="918246" y="189246"/>
                      <a:pt x="930676" y="179737"/>
                      <a:pt x="945250" y="177377"/>
                    </a:cubicBezTo>
                    <a:cubicBezTo>
                      <a:pt x="946557" y="177287"/>
                      <a:pt x="947685" y="174678"/>
                      <a:pt x="949525" y="171932"/>
                    </a:cubicBezTo>
                    <a:cubicBezTo>
                      <a:pt x="949842" y="171529"/>
                      <a:pt x="950108" y="171078"/>
                      <a:pt x="950425" y="170673"/>
                    </a:cubicBezTo>
                    <a:cubicBezTo>
                      <a:pt x="937855" y="170983"/>
                      <a:pt x="925298" y="170109"/>
                      <a:pt x="912893" y="168063"/>
                    </a:cubicBezTo>
                    <a:cubicBezTo>
                      <a:pt x="900487" y="164871"/>
                      <a:pt x="889516" y="156458"/>
                      <a:pt x="877161" y="152992"/>
                    </a:cubicBezTo>
                    <a:close/>
                    <a:moveTo>
                      <a:pt x="107789" y="56702"/>
                    </a:moveTo>
                    <a:cubicBezTo>
                      <a:pt x="102893" y="58921"/>
                      <a:pt x="99355" y="63354"/>
                      <a:pt x="98264" y="68626"/>
                    </a:cubicBezTo>
                    <a:cubicBezTo>
                      <a:pt x="98048" y="66549"/>
                      <a:pt x="97934" y="64461"/>
                      <a:pt x="97946" y="62372"/>
                    </a:cubicBezTo>
                    <a:cubicBezTo>
                      <a:pt x="98124" y="54182"/>
                      <a:pt x="102082" y="53642"/>
                      <a:pt x="119066" y="51168"/>
                    </a:cubicBezTo>
                    <a:cubicBezTo>
                      <a:pt x="115426" y="53101"/>
                      <a:pt x="111341" y="54631"/>
                      <a:pt x="107789" y="56702"/>
                    </a:cubicBezTo>
                    <a:close/>
                    <a:moveTo>
                      <a:pt x="118393" y="431429"/>
                    </a:moveTo>
                    <a:cubicBezTo>
                      <a:pt x="117366" y="432148"/>
                      <a:pt x="116288" y="432914"/>
                      <a:pt x="115248" y="433634"/>
                    </a:cubicBezTo>
                    <a:cubicBezTo>
                      <a:pt x="114525" y="432779"/>
                      <a:pt x="113764" y="431923"/>
                      <a:pt x="113053" y="431024"/>
                    </a:cubicBezTo>
                    <a:cubicBezTo>
                      <a:pt x="120017" y="425084"/>
                      <a:pt x="127031" y="419144"/>
                      <a:pt x="133995" y="413206"/>
                    </a:cubicBezTo>
                    <a:cubicBezTo>
                      <a:pt x="134984" y="414645"/>
                      <a:pt x="135872" y="416039"/>
                      <a:pt x="136862" y="417479"/>
                    </a:cubicBezTo>
                    <a:cubicBezTo>
                      <a:pt x="137001" y="417705"/>
                      <a:pt x="137179" y="417930"/>
                      <a:pt x="137318" y="418155"/>
                    </a:cubicBezTo>
                    <a:cubicBezTo>
                      <a:pt x="130976" y="422608"/>
                      <a:pt x="124685" y="426973"/>
                      <a:pt x="118393" y="431428"/>
                    </a:cubicBezTo>
                    <a:close/>
                    <a:moveTo>
                      <a:pt x="139018" y="500318"/>
                    </a:moveTo>
                    <a:cubicBezTo>
                      <a:pt x="135872" y="499598"/>
                      <a:pt x="132777" y="498877"/>
                      <a:pt x="129632" y="498113"/>
                    </a:cubicBezTo>
                    <a:lnTo>
                      <a:pt x="140109" y="498113"/>
                    </a:lnTo>
                    <a:cubicBezTo>
                      <a:pt x="139741" y="498876"/>
                      <a:pt x="139386" y="499596"/>
                      <a:pt x="139018" y="500313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61" name="Vrije vorm 460">
                <a:extLst>
                  <a:ext uri="{FF2B5EF4-FFF2-40B4-BE49-F238E27FC236}">
                    <a16:creationId xmlns:a16="http://schemas.microsoft.com/office/drawing/2014/main" id="{5BD5917B-060D-734F-A164-F28A3EFEDAAF}"/>
                  </a:ext>
                </a:extLst>
              </p:cNvPr>
              <p:cNvSpPr/>
              <p:nvPr/>
            </p:nvSpPr>
            <p:spPr>
              <a:xfrm>
                <a:off x="3935594" y="1553330"/>
                <a:ext cx="78596" cy="82581"/>
              </a:xfrm>
              <a:custGeom>
                <a:avLst/>
                <a:gdLst>
                  <a:gd name="connsiteX0" fmla="*/ 17140 w 78596"/>
                  <a:gd name="connsiteY0" fmla="*/ 74081 h 82581"/>
                  <a:gd name="connsiteX1" fmla="*/ 27414 w 78596"/>
                  <a:gd name="connsiteY1" fmla="*/ 82092 h 82581"/>
                  <a:gd name="connsiteX2" fmla="*/ 77365 w 78596"/>
                  <a:gd name="connsiteY2" fmla="*/ 61377 h 82581"/>
                  <a:gd name="connsiteX3" fmla="*/ 76096 w 78596"/>
                  <a:gd name="connsiteY3" fmla="*/ 42581 h 82581"/>
                  <a:gd name="connsiteX4" fmla="*/ 42952 w 78596"/>
                  <a:gd name="connsiteY4" fmla="*/ 10704 h 82581"/>
                  <a:gd name="connsiteX5" fmla="*/ 14248 w 78596"/>
                  <a:gd name="connsiteY5" fmla="*/ 174 h 82581"/>
                  <a:gd name="connsiteX6" fmla="*/ -22 w 78596"/>
                  <a:gd name="connsiteY6" fmla="*/ 14542 h 82581"/>
                  <a:gd name="connsiteX7" fmla="*/ 54 w 78596"/>
                  <a:gd name="connsiteY7" fmla="*/ 55712 h 82581"/>
                  <a:gd name="connsiteX8" fmla="*/ 35063 w 78596"/>
                  <a:gd name="connsiteY8" fmla="*/ 64464 h 82581"/>
                  <a:gd name="connsiteX9" fmla="*/ 34619 w 78596"/>
                  <a:gd name="connsiteY9" fmla="*/ 68241 h 82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8596" h="82581">
                    <a:moveTo>
                      <a:pt x="17140" y="74081"/>
                    </a:moveTo>
                    <a:cubicBezTo>
                      <a:pt x="22176" y="78112"/>
                      <a:pt x="24459" y="81074"/>
                      <a:pt x="27414" y="82092"/>
                    </a:cubicBezTo>
                    <a:cubicBezTo>
                      <a:pt x="37118" y="85439"/>
                      <a:pt x="74143" y="70890"/>
                      <a:pt x="77365" y="61377"/>
                    </a:cubicBezTo>
                    <a:cubicBezTo>
                      <a:pt x="79318" y="55627"/>
                      <a:pt x="78899" y="43818"/>
                      <a:pt x="76096" y="42581"/>
                    </a:cubicBezTo>
                    <a:cubicBezTo>
                      <a:pt x="60685" y="35786"/>
                      <a:pt x="54622" y="20308"/>
                      <a:pt x="42952" y="10704"/>
                    </a:cubicBezTo>
                    <a:cubicBezTo>
                      <a:pt x="34441" y="4781"/>
                      <a:pt x="24560" y="1154"/>
                      <a:pt x="14248" y="174"/>
                    </a:cubicBezTo>
                    <a:cubicBezTo>
                      <a:pt x="5800" y="-1071"/>
                      <a:pt x="-212" y="4492"/>
                      <a:pt x="-22" y="14542"/>
                    </a:cubicBezTo>
                    <a:cubicBezTo>
                      <a:pt x="245" y="28120"/>
                      <a:pt x="54" y="41708"/>
                      <a:pt x="54" y="55712"/>
                    </a:cubicBezTo>
                    <a:lnTo>
                      <a:pt x="35063" y="64464"/>
                    </a:lnTo>
                    <a:lnTo>
                      <a:pt x="34619" y="68241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62" name="Vrije vorm 461">
                <a:extLst>
                  <a:ext uri="{FF2B5EF4-FFF2-40B4-BE49-F238E27FC236}">
                    <a16:creationId xmlns:a16="http://schemas.microsoft.com/office/drawing/2014/main" id="{F7D4310E-618E-304C-A1E0-8C12A1FF8A50}"/>
                  </a:ext>
                </a:extLst>
              </p:cNvPr>
              <p:cNvSpPr/>
              <p:nvPr/>
            </p:nvSpPr>
            <p:spPr>
              <a:xfrm>
                <a:off x="4692983" y="1492184"/>
                <a:ext cx="76980" cy="47270"/>
              </a:xfrm>
              <a:custGeom>
                <a:avLst/>
                <a:gdLst>
                  <a:gd name="connsiteX0" fmla="*/ -26 w 76980"/>
                  <a:gd name="connsiteY0" fmla="*/ 45646 h 47270"/>
                  <a:gd name="connsiteX1" fmla="*/ 23211 w 76980"/>
                  <a:gd name="connsiteY1" fmla="*/ 46755 h 47270"/>
                  <a:gd name="connsiteX2" fmla="*/ 22260 w 76980"/>
                  <a:gd name="connsiteY2" fmla="*/ 47263 h 47270"/>
                  <a:gd name="connsiteX3" fmla="*/ 22412 w 76980"/>
                  <a:gd name="connsiteY3" fmla="*/ 47272 h 47270"/>
                  <a:gd name="connsiteX4" fmla="*/ 22577 w 76980"/>
                  <a:gd name="connsiteY4" fmla="*/ 47161 h 47270"/>
                  <a:gd name="connsiteX5" fmla="*/ 76954 w 76980"/>
                  <a:gd name="connsiteY5" fmla="*/ 29948 h 47270"/>
                  <a:gd name="connsiteX6" fmla="*/ 53653 w 76980"/>
                  <a:gd name="connsiteY6" fmla="*/ 1 h 47270"/>
                  <a:gd name="connsiteX7" fmla="*/ 39016 w 76980"/>
                  <a:gd name="connsiteY7" fmla="*/ 9633 h 47270"/>
                  <a:gd name="connsiteX8" fmla="*/ -26 w 76980"/>
                  <a:gd name="connsiteY8" fmla="*/ 45646 h 4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6980" h="47270">
                    <a:moveTo>
                      <a:pt x="-26" y="45646"/>
                    </a:moveTo>
                    <a:lnTo>
                      <a:pt x="23211" y="46755"/>
                    </a:lnTo>
                    <a:lnTo>
                      <a:pt x="22260" y="47263"/>
                    </a:lnTo>
                    <a:lnTo>
                      <a:pt x="22412" y="47272"/>
                    </a:lnTo>
                    <a:lnTo>
                      <a:pt x="22577" y="47161"/>
                    </a:lnTo>
                    <a:lnTo>
                      <a:pt x="76954" y="29948"/>
                    </a:lnTo>
                    <a:cubicBezTo>
                      <a:pt x="73974" y="385"/>
                      <a:pt x="73974" y="357"/>
                      <a:pt x="53653" y="1"/>
                    </a:cubicBezTo>
                    <a:cubicBezTo>
                      <a:pt x="49493" y="4188"/>
                      <a:pt x="44508" y="7468"/>
                      <a:pt x="39016" y="9633"/>
                    </a:cubicBezTo>
                    <a:cubicBezTo>
                      <a:pt x="19127" y="13375"/>
                      <a:pt x="12113" y="29289"/>
                      <a:pt x="-26" y="45646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63" name="Vrije vorm 462">
                <a:extLst>
                  <a:ext uri="{FF2B5EF4-FFF2-40B4-BE49-F238E27FC236}">
                    <a16:creationId xmlns:a16="http://schemas.microsoft.com/office/drawing/2014/main" id="{BDF8EDEE-E766-2E45-8007-BA40DE1A7734}"/>
                  </a:ext>
                </a:extLst>
              </p:cNvPr>
              <p:cNvSpPr/>
              <p:nvPr/>
            </p:nvSpPr>
            <p:spPr>
              <a:xfrm>
                <a:off x="3967296" y="1728070"/>
                <a:ext cx="66782" cy="41876"/>
              </a:xfrm>
              <a:custGeom>
                <a:avLst/>
                <a:gdLst>
                  <a:gd name="connsiteX0" fmla="*/ 41439 w 66782"/>
                  <a:gd name="connsiteY0" fmla="*/ 9844 h 41876"/>
                  <a:gd name="connsiteX1" fmla="*/ 44229 w 66782"/>
                  <a:gd name="connsiteY1" fmla="*/ 24268 h 41876"/>
                  <a:gd name="connsiteX2" fmla="*/ 59044 w 66782"/>
                  <a:gd name="connsiteY2" fmla="*/ 24268 h 41876"/>
                  <a:gd name="connsiteX3" fmla="*/ 66756 w 66782"/>
                  <a:gd name="connsiteY3" fmla="*/ 6117 h 41876"/>
                  <a:gd name="connsiteX4" fmla="*/ 22362 w 66782"/>
                  <a:gd name="connsiteY4" fmla="*/ 1 h 41876"/>
                  <a:gd name="connsiteX5" fmla="*/ -26 w 66782"/>
                  <a:gd name="connsiteY5" fmla="*/ 41878 h 41876"/>
                  <a:gd name="connsiteX6" fmla="*/ 11656 w 66782"/>
                  <a:gd name="connsiteY6" fmla="*/ 40100 h 41876"/>
                  <a:gd name="connsiteX7" fmla="*/ 41439 w 66782"/>
                  <a:gd name="connsiteY7" fmla="*/ 9844 h 418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6782" h="41876">
                    <a:moveTo>
                      <a:pt x="41439" y="9844"/>
                    </a:moveTo>
                    <a:lnTo>
                      <a:pt x="44229" y="24268"/>
                    </a:lnTo>
                    <a:lnTo>
                      <a:pt x="59044" y="24268"/>
                    </a:lnTo>
                    <a:lnTo>
                      <a:pt x="66756" y="6117"/>
                    </a:lnTo>
                    <a:lnTo>
                      <a:pt x="22362" y="1"/>
                    </a:lnTo>
                    <a:lnTo>
                      <a:pt x="-26" y="41878"/>
                    </a:lnTo>
                    <a:lnTo>
                      <a:pt x="11656" y="40100"/>
                    </a:lnTo>
                    <a:cubicBezTo>
                      <a:pt x="12937" y="21684"/>
                      <a:pt x="35084" y="25787"/>
                      <a:pt x="41439" y="9844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64" name="Vrije vorm 463">
                <a:extLst>
                  <a:ext uri="{FF2B5EF4-FFF2-40B4-BE49-F238E27FC236}">
                    <a16:creationId xmlns:a16="http://schemas.microsoft.com/office/drawing/2014/main" id="{785D12BA-2D7F-834F-9BDF-6E9892763A93}"/>
                  </a:ext>
                </a:extLst>
              </p:cNvPr>
              <p:cNvSpPr/>
              <p:nvPr/>
            </p:nvSpPr>
            <p:spPr>
              <a:xfrm>
                <a:off x="4034142" y="1588492"/>
                <a:ext cx="20142" cy="26415"/>
              </a:xfrm>
              <a:custGeom>
                <a:avLst/>
                <a:gdLst>
                  <a:gd name="connsiteX0" fmla="*/ 5808 w 20142"/>
                  <a:gd name="connsiteY0" fmla="*/ 1 h 26415"/>
                  <a:gd name="connsiteX1" fmla="*/ -26 w 20142"/>
                  <a:gd name="connsiteY1" fmla="*/ 26417 h 26415"/>
                  <a:gd name="connsiteX2" fmla="*/ 20116 w 20142"/>
                  <a:gd name="connsiteY2" fmla="*/ 5806 h 26415"/>
                  <a:gd name="connsiteX3" fmla="*/ 20002 w 20142"/>
                  <a:gd name="connsiteY3" fmla="*/ 5789 h 26415"/>
                  <a:gd name="connsiteX4" fmla="*/ 5808 w 20142"/>
                  <a:gd name="connsiteY4" fmla="*/ 1 h 26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142" h="26415">
                    <a:moveTo>
                      <a:pt x="5808" y="1"/>
                    </a:moveTo>
                    <a:lnTo>
                      <a:pt x="-26" y="26417"/>
                    </a:lnTo>
                    <a:lnTo>
                      <a:pt x="20116" y="5806"/>
                    </a:lnTo>
                    <a:lnTo>
                      <a:pt x="20002" y="5789"/>
                    </a:lnTo>
                    <a:cubicBezTo>
                      <a:pt x="16210" y="4252"/>
                      <a:pt x="12442" y="2713"/>
                      <a:pt x="5808" y="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65" name="Vrije vorm 464">
                <a:extLst>
                  <a:ext uri="{FF2B5EF4-FFF2-40B4-BE49-F238E27FC236}">
                    <a16:creationId xmlns:a16="http://schemas.microsoft.com/office/drawing/2014/main" id="{94CFC23A-4E43-584A-A9E0-13E55B237C1E}"/>
                  </a:ext>
                </a:extLst>
              </p:cNvPr>
              <p:cNvSpPr/>
              <p:nvPr/>
            </p:nvSpPr>
            <p:spPr>
              <a:xfrm>
                <a:off x="3964112" y="1472480"/>
                <a:ext cx="6860" cy="12870"/>
              </a:xfrm>
              <a:custGeom>
                <a:avLst/>
                <a:gdLst>
                  <a:gd name="connsiteX0" fmla="*/ 6823 w 6860"/>
                  <a:gd name="connsiteY0" fmla="*/ 21 h 12870"/>
                  <a:gd name="connsiteX1" fmla="*/ -26 w 6860"/>
                  <a:gd name="connsiteY1" fmla="*/ 1 h 12870"/>
                  <a:gd name="connsiteX2" fmla="*/ -26 w 6860"/>
                  <a:gd name="connsiteY2" fmla="*/ 12807 h 12870"/>
                  <a:gd name="connsiteX3" fmla="*/ 6532 w 6860"/>
                  <a:gd name="connsiteY3" fmla="*/ 12737 h 12870"/>
                  <a:gd name="connsiteX4" fmla="*/ 6823 w 6860"/>
                  <a:gd name="connsiteY4" fmla="*/ 21 h 12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860" h="12870">
                    <a:moveTo>
                      <a:pt x="6823" y="21"/>
                    </a:moveTo>
                    <a:lnTo>
                      <a:pt x="-26" y="1"/>
                    </a:lnTo>
                    <a:lnTo>
                      <a:pt x="-26" y="12807"/>
                    </a:lnTo>
                    <a:cubicBezTo>
                      <a:pt x="2155" y="12912"/>
                      <a:pt x="4350" y="12888"/>
                      <a:pt x="6532" y="12737"/>
                    </a:cubicBezTo>
                    <a:cubicBezTo>
                      <a:pt x="6924" y="8528"/>
                      <a:pt x="6823" y="4270"/>
                      <a:pt x="6823" y="2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66" name="Vrije vorm 465">
                <a:extLst>
                  <a:ext uri="{FF2B5EF4-FFF2-40B4-BE49-F238E27FC236}">
                    <a16:creationId xmlns:a16="http://schemas.microsoft.com/office/drawing/2014/main" id="{F0F49132-C6D6-EF4D-8174-54D32169ED9F}"/>
                  </a:ext>
                </a:extLst>
              </p:cNvPr>
              <p:cNvSpPr/>
              <p:nvPr/>
            </p:nvSpPr>
            <p:spPr>
              <a:xfrm>
                <a:off x="4746599" y="1491506"/>
                <a:ext cx="977" cy="683"/>
              </a:xfrm>
              <a:custGeom>
                <a:avLst/>
                <a:gdLst>
                  <a:gd name="connsiteX0" fmla="*/ 37 w 977"/>
                  <a:gd name="connsiteY0" fmla="*/ 683 h 683"/>
                  <a:gd name="connsiteX1" fmla="*/ 951 w 977"/>
                  <a:gd name="connsiteY1" fmla="*/ 1 h 683"/>
                  <a:gd name="connsiteX2" fmla="*/ 405 w 977"/>
                  <a:gd name="connsiteY2" fmla="*/ 176 h 683"/>
                  <a:gd name="connsiteX3" fmla="*/ -26 w 977"/>
                  <a:gd name="connsiteY3" fmla="*/ 684 h 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7" h="683">
                    <a:moveTo>
                      <a:pt x="37" y="683"/>
                    </a:moveTo>
                    <a:cubicBezTo>
                      <a:pt x="342" y="456"/>
                      <a:pt x="646" y="214"/>
                      <a:pt x="951" y="1"/>
                    </a:cubicBezTo>
                    <a:lnTo>
                      <a:pt x="405" y="176"/>
                    </a:lnTo>
                    <a:lnTo>
                      <a:pt x="-26" y="684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67" name="Vrije vorm 466">
                <a:extLst>
                  <a:ext uri="{FF2B5EF4-FFF2-40B4-BE49-F238E27FC236}">
                    <a16:creationId xmlns:a16="http://schemas.microsoft.com/office/drawing/2014/main" id="{C7C7B52F-1024-D94F-9209-C8E9A2FF7779}"/>
                  </a:ext>
                </a:extLst>
              </p:cNvPr>
              <p:cNvSpPr/>
              <p:nvPr/>
            </p:nvSpPr>
            <p:spPr>
              <a:xfrm>
                <a:off x="3908416" y="1399976"/>
                <a:ext cx="966623" cy="857076"/>
              </a:xfrm>
              <a:custGeom>
                <a:avLst/>
                <a:gdLst>
                  <a:gd name="connsiteX0" fmla="*/ 877161 w 966623"/>
                  <a:gd name="connsiteY0" fmla="*/ 152992 h 857076"/>
                  <a:gd name="connsiteX1" fmla="*/ 866557 w 966623"/>
                  <a:gd name="connsiteY1" fmla="*/ 150337 h 857076"/>
                  <a:gd name="connsiteX2" fmla="*/ 861699 w 966623"/>
                  <a:gd name="connsiteY2" fmla="*/ 149752 h 857076"/>
                  <a:gd name="connsiteX3" fmla="*/ 845565 w 966623"/>
                  <a:gd name="connsiteY3" fmla="*/ 154832 h 857076"/>
                  <a:gd name="connsiteX4" fmla="*/ 834149 w 966623"/>
                  <a:gd name="connsiteY4" fmla="*/ 160052 h 857076"/>
                  <a:gd name="connsiteX5" fmla="*/ 807500 w 966623"/>
                  <a:gd name="connsiteY5" fmla="*/ 179715 h 857076"/>
                  <a:gd name="connsiteX6" fmla="*/ 801031 w 966623"/>
                  <a:gd name="connsiteY6" fmla="*/ 178140 h 857076"/>
                  <a:gd name="connsiteX7" fmla="*/ 800270 w 966623"/>
                  <a:gd name="connsiteY7" fmla="*/ 178004 h 857076"/>
                  <a:gd name="connsiteX8" fmla="*/ 777261 w 966623"/>
                  <a:gd name="connsiteY8" fmla="*/ 172471 h 857076"/>
                  <a:gd name="connsiteX9" fmla="*/ 777223 w 966623"/>
                  <a:gd name="connsiteY9" fmla="*/ 172471 h 857076"/>
                  <a:gd name="connsiteX10" fmla="*/ 775282 w 966623"/>
                  <a:gd name="connsiteY10" fmla="*/ 171976 h 857076"/>
                  <a:gd name="connsiteX11" fmla="*/ 831600 w 966623"/>
                  <a:gd name="connsiteY11" fmla="*/ 146778 h 857076"/>
                  <a:gd name="connsiteX12" fmla="*/ 832044 w 966623"/>
                  <a:gd name="connsiteY12" fmla="*/ 146553 h 857076"/>
                  <a:gd name="connsiteX13" fmla="*/ 831016 w 966623"/>
                  <a:gd name="connsiteY13" fmla="*/ 141108 h 857076"/>
                  <a:gd name="connsiteX14" fmla="*/ 818878 w 966623"/>
                  <a:gd name="connsiteY14" fmla="*/ 140298 h 857076"/>
                  <a:gd name="connsiteX15" fmla="*/ 818827 w 966623"/>
                  <a:gd name="connsiteY15" fmla="*/ 140298 h 857076"/>
                  <a:gd name="connsiteX16" fmla="*/ 806967 w 966623"/>
                  <a:gd name="connsiteY16" fmla="*/ 139489 h 857076"/>
                  <a:gd name="connsiteX17" fmla="*/ 801716 w 966623"/>
                  <a:gd name="connsiteY17" fmla="*/ 142368 h 857076"/>
                  <a:gd name="connsiteX18" fmla="*/ 790300 w 966623"/>
                  <a:gd name="connsiteY18" fmla="*/ 144527 h 857076"/>
                  <a:gd name="connsiteX19" fmla="*/ 784719 w 966623"/>
                  <a:gd name="connsiteY19" fmla="*/ 143942 h 857076"/>
                  <a:gd name="connsiteX20" fmla="*/ 774432 w 966623"/>
                  <a:gd name="connsiteY20" fmla="*/ 140792 h 857076"/>
                  <a:gd name="connsiteX21" fmla="*/ 773798 w 966623"/>
                  <a:gd name="connsiteY21" fmla="*/ 140522 h 857076"/>
                  <a:gd name="connsiteX22" fmla="*/ 768813 w 966623"/>
                  <a:gd name="connsiteY22" fmla="*/ 138407 h 857076"/>
                  <a:gd name="connsiteX23" fmla="*/ 765579 w 966623"/>
                  <a:gd name="connsiteY23" fmla="*/ 136922 h 857076"/>
                  <a:gd name="connsiteX24" fmla="*/ 786609 w 966623"/>
                  <a:gd name="connsiteY24" fmla="*/ 105245 h 857076"/>
                  <a:gd name="connsiteX25" fmla="*/ 784630 w 966623"/>
                  <a:gd name="connsiteY25" fmla="*/ 98631 h 857076"/>
                  <a:gd name="connsiteX26" fmla="*/ 784453 w 966623"/>
                  <a:gd name="connsiteY26" fmla="*/ 98181 h 857076"/>
                  <a:gd name="connsiteX27" fmla="*/ 794828 w 966623"/>
                  <a:gd name="connsiteY27" fmla="*/ 83737 h 857076"/>
                  <a:gd name="connsiteX28" fmla="*/ 838601 w 966623"/>
                  <a:gd name="connsiteY28" fmla="*/ 91701 h 857076"/>
                  <a:gd name="connsiteX29" fmla="*/ 858148 w 966623"/>
                  <a:gd name="connsiteY29" fmla="*/ 68393 h 857076"/>
                  <a:gd name="connsiteX30" fmla="*/ 859721 w 966623"/>
                  <a:gd name="connsiteY30" fmla="*/ 66549 h 857076"/>
                  <a:gd name="connsiteX31" fmla="*/ 836940 w 966623"/>
                  <a:gd name="connsiteY31" fmla="*/ 49463 h 857076"/>
                  <a:gd name="connsiteX32" fmla="*/ 809935 w 966623"/>
                  <a:gd name="connsiteY32" fmla="*/ 45729 h 857076"/>
                  <a:gd name="connsiteX33" fmla="*/ 802020 w 966623"/>
                  <a:gd name="connsiteY33" fmla="*/ 40554 h 857076"/>
                  <a:gd name="connsiteX34" fmla="*/ 797175 w 966623"/>
                  <a:gd name="connsiteY34" fmla="*/ 40329 h 857076"/>
                  <a:gd name="connsiteX35" fmla="*/ 781447 w 966623"/>
                  <a:gd name="connsiteY35" fmla="*/ 42533 h 857076"/>
                  <a:gd name="connsiteX36" fmla="*/ 803327 w 966623"/>
                  <a:gd name="connsiteY36" fmla="*/ 31420 h 857076"/>
                  <a:gd name="connsiteX37" fmla="*/ 804988 w 966623"/>
                  <a:gd name="connsiteY37" fmla="*/ 30609 h 857076"/>
                  <a:gd name="connsiteX38" fmla="*/ 805344 w 966623"/>
                  <a:gd name="connsiteY38" fmla="*/ 30429 h 857076"/>
                  <a:gd name="connsiteX39" fmla="*/ 804456 w 966623"/>
                  <a:gd name="connsiteY39" fmla="*/ 29620 h 857076"/>
                  <a:gd name="connsiteX40" fmla="*/ 792900 w 966623"/>
                  <a:gd name="connsiteY40" fmla="*/ 19451 h 857076"/>
                  <a:gd name="connsiteX41" fmla="*/ 788994 w 966623"/>
                  <a:gd name="connsiteY41" fmla="*/ 16031 h 857076"/>
                  <a:gd name="connsiteX42" fmla="*/ 788182 w 966623"/>
                  <a:gd name="connsiteY42" fmla="*/ 15355 h 857076"/>
                  <a:gd name="connsiteX43" fmla="*/ 774876 w 966623"/>
                  <a:gd name="connsiteY43" fmla="*/ 4151 h 857076"/>
                  <a:gd name="connsiteX44" fmla="*/ 781891 w 966623"/>
                  <a:gd name="connsiteY44" fmla="*/ 5007 h 857076"/>
                  <a:gd name="connsiteX45" fmla="*/ 817076 w 966623"/>
                  <a:gd name="connsiteY45" fmla="*/ 36415 h 857076"/>
                  <a:gd name="connsiteX46" fmla="*/ 858871 w 966623"/>
                  <a:gd name="connsiteY46" fmla="*/ 49958 h 857076"/>
                  <a:gd name="connsiteX47" fmla="*/ 887905 w 966623"/>
                  <a:gd name="connsiteY47" fmla="*/ 76501 h 857076"/>
                  <a:gd name="connsiteX48" fmla="*/ 895998 w 966623"/>
                  <a:gd name="connsiteY48" fmla="*/ 103138 h 857076"/>
                  <a:gd name="connsiteX49" fmla="*/ 896036 w 966623"/>
                  <a:gd name="connsiteY49" fmla="*/ 103184 h 857076"/>
                  <a:gd name="connsiteX50" fmla="*/ 896480 w 966623"/>
                  <a:gd name="connsiteY50" fmla="*/ 105613 h 857076"/>
                  <a:gd name="connsiteX51" fmla="*/ 906145 w 966623"/>
                  <a:gd name="connsiteY51" fmla="*/ 127481 h 857076"/>
                  <a:gd name="connsiteX52" fmla="*/ 915861 w 966623"/>
                  <a:gd name="connsiteY52" fmla="*/ 135040 h 857076"/>
                  <a:gd name="connsiteX53" fmla="*/ 937932 w 966623"/>
                  <a:gd name="connsiteY53" fmla="*/ 139584 h 857076"/>
                  <a:gd name="connsiteX54" fmla="*/ 939048 w 966623"/>
                  <a:gd name="connsiteY54" fmla="*/ 139765 h 857076"/>
                  <a:gd name="connsiteX55" fmla="*/ 939187 w 966623"/>
                  <a:gd name="connsiteY55" fmla="*/ 137560 h 857076"/>
                  <a:gd name="connsiteX56" fmla="*/ 940354 w 966623"/>
                  <a:gd name="connsiteY56" fmla="*/ 120911 h 857076"/>
                  <a:gd name="connsiteX57" fmla="*/ 940443 w 966623"/>
                  <a:gd name="connsiteY57" fmla="*/ 119561 h 857076"/>
                  <a:gd name="connsiteX58" fmla="*/ 941026 w 966623"/>
                  <a:gd name="connsiteY58" fmla="*/ 111597 h 857076"/>
                  <a:gd name="connsiteX59" fmla="*/ 943855 w 966623"/>
                  <a:gd name="connsiteY59" fmla="*/ 111552 h 857076"/>
                  <a:gd name="connsiteX60" fmla="*/ 944667 w 966623"/>
                  <a:gd name="connsiteY60" fmla="*/ 111552 h 857076"/>
                  <a:gd name="connsiteX61" fmla="*/ 946062 w 966623"/>
                  <a:gd name="connsiteY61" fmla="*/ 119607 h 857076"/>
                  <a:gd name="connsiteX62" fmla="*/ 949068 w 966623"/>
                  <a:gd name="connsiteY62" fmla="*/ 136659 h 857076"/>
                  <a:gd name="connsiteX63" fmla="*/ 966598 w 966623"/>
                  <a:gd name="connsiteY63" fmla="*/ 137830 h 857076"/>
                  <a:gd name="connsiteX64" fmla="*/ 966280 w 966623"/>
                  <a:gd name="connsiteY64" fmla="*/ 133241 h 857076"/>
                  <a:gd name="connsiteX65" fmla="*/ 965976 w 966623"/>
                  <a:gd name="connsiteY65" fmla="*/ 129325 h 857076"/>
                  <a:gd name="connsiteX66" fmla="*/ 965570 w 966623"/>
                  <a:gd name="connsiteY66" fmla="*/ 123161 h 857076"/>
                  <a:gd name="connsiteX67" fmla="*/ 965519 w 966623"/>
                  <a:gd name="connsiteY67" fmla="*/ 122801 h 857076"/>
                  <a:gd name="connsiteX68" fmla="*/ 965075 w 966623"/>
                  <a:gd name="connsiteY68" fmla="*/ 116187 h 857076"/>
                  <a:gd name="connsiteX69" fmla="*/ 964809 w 966623"/>
                  <a:gd name="connsiteY69" fmla="*/ 112857 h 857076"/>
                  <a:gd name="connsiteX70" fmla="*/ 963820 w 966623"/>
                  <a:gd name="connsiteY70" fmla="*/ 99043 h 857076"/>
                  <a:gd name="connsiteX71" fmla="*/ 963718 w 966623"/>
                  <a:gd name="connsiteY71" fmla="*/ 98098 h 857076"/>
                  <a:gd name="connsiteX72" fmla="*/ 963325 w 966623"/>
                  <a:gd name="connsiteY72" fmla="*/ 92429 h 857076"/>
                  <a:gd name="connsiteX73" fmla="*/ 963008 w 966623"/>
                  <a:gd name="connsiteY73" fmla="*/ 88020 h 857076"/>
                  <a:gd name="connsiteX74" fmla="*/ 960484 w 966623"/>
                  <a:gd name="connsiteY74" fmla="*/ 53193 h 857076"/>
                  <a:gd name="connsiteX75" fmla="*/ 960395 w 966623"/>
                  <a:gd name="connsiteY75" fmla="*/ 51708 h 857076"/>
                  <a:gd name="connsiteX76" fmla="*/ 955055 w 966623"/>
                  <a:gd name="connsiteY76" fmla="*/ 49457 h 857076"/>
                  <a:gd name="connsiteX77" fmla="*/ 945567 w 966623"/>
                  <a:gd name="connsiteY77" fmla="*/ 65161 h 857076"/>
                  <a:gd name="connsiteX78" fmla="*/ 943677 w 966623"/>
                  <a:gd name="connsiteY78" fmla="*/ 57197 h 857076"/>
                  <a:gd name="connsiteX79" fmla="*/ 943677 w 966623"/>
                  <a:gd name="connsiteY79" fmla="*/ 57105 h 857076"/>
                  <a:gd name="connsiteX80" fmla="*/ 942333 w 966623"/>
                  <a:gd name="connsiteY80" fmla="*/ 44012 h 857076"/>
                  <a:gd name="connsiteX81" fmla="*/ 940938 w 966623"/>
                  <a:gd name="connsiteY81" fmla="*/ 39422 h 857076"/>
                  <a:gd name="connsiteX82" fmla="*/ 936574 w 966623"/>
                  <a:gd name="connsiteY82" fmla="*/ 34023 h 857076"/>
                  <a:gd name="connsiteX83" fmla="*/ 931500 w 966623"/>
                  <a:gd name="connsiteY83" fmla="*/ 31818 h 857076"/>
                  <a:gd name="connsiteX84" fmla="*/ 928444 w 966623"/>
                  <a:gd name="connsiteY84" fmla="*/ 31183 h 857076"/>
                  <a:gd name="connsiteX85" fmla="*/ 939542 w 966623"/>
                  <a:gd name="connsiteY85" fmla="*/ 11970 h 857076"/>
                  <a:gd name="connsiteX86" fmla="*/ 937081 w 966623"/>
                  <a:gd name="connsiteY86" fmla="*/ 9765 h 857076"/>
                  <a:gd name="connsiteX87" fmla="*/ 926071 w 966623"/>
                  <a:gd name="connsiteY87" fmla="*/ 1 h 857076"/>
                  <a:gd name="connsiteX88" fmla="*/ 9145 w 966623"/>
                  <a:gd name="connsiteY88" fmla="*/ 1 h 857076"/>
                  <a:gd name="connsiteX89" fmla="*/ 6950 w 966623"/>
                  <a:gd name="connsiteY89" fmla="*/ 3421 h 857076"/>
                  <a:gd name="connsiteX90" fmla="*/ 9906 w 966623"/>
                  <a:gd name="connsiteY90" fmla="*/ 5265 h 857076"/>
                  <a:gd name="connsiteX91" fmla="*/ 19127 w 966623"/>
                  <a:gd name="connsiteY91" fmla="*/ 10890 h 857076"/>
                  <a:gd name="connsiteX92" fmla="*/ 16692 w 966623"/>
                  <a:gd name="connsiteY92" fmla="*/ 13410 h 857076"/>
                  <a:gd name="connsiteX93" fmla="*/ -26 w 966623"/>
                  <a:gd name="connsiteY93" fmla="*/ 31048 h 857076"/>
                  <a:gd name="connsiteX94" fmla="*/ 253 w 966623"/>
                  <a:gd name="connsiteY94" fmla="*/ 31904 h 857076"/>
                  <a:gd name="connsiteX95" fmla="*/ 2942 w 966623"/>
                  <a:gd name="connsiteY95" fmla="*/ 39687 h 857076"/>
                  <a:gd name="connsiteX96" fmla="*/ 3614 w 966623"/>
                  <a:gd name="connsiteY96" fmla="*/ 41577 h 857076"/>
                  <a:gd name="connsiteX97" fmla="*/ 4248 w 966623"/>
                  <a:gd name="connsiteY97" fmla="*/ 43196 h 857076"/>
                  <a:gd name="connsiteX98" fmla="*/ 7394 w 966623"/>
                  <a:gd name="connsiteY98" fmla="*/ 51252 h 857076"/>
                  <a:gd name="connsiteX99" fmla="*/ 28437 w 966623"/>
                  <a:gd name="connsiteY99" fmla="*/ 59261 h 857076"/>
                  <a:gd name="connsiteX100" fmla="*/ 51345 w 966623"/>
                  <a:gd name="connsiteY100" fmla="*/ 46016 h 857076"/>
                  <a:gd name="connsiteX101" fmla="*/ 51624 w 966623"/>
                  <a:gd name="connsiteY101" fmla="*/ 44817 h 857076"/>
                  <a:gd name="connsiteX102" fmla="*/ 51890 w 966623"/>
                  <a:gd name="connsiteY102" fmla="*/ 42702 h 857076"/>
                  <a:gd name="connsiteX103" fmla="*/ 52474 w 966623"/>
                  <a:gd name="connsiteY103" fmla="*/ 38742 h 857076"/>
                  <a:gd name="connsiteX104" fmla="*/ 66858 w 966623"/>
                  <a:gd name="connsiteY104" fmla="*/ 18720 h 857076"/>
                  <a:gd name="connsiteX105" fmla="*/ 66858 w 966623"/>
                  <a:gd name="connsiteY105" fmla="*/ 18679 h 857076"/>
                  <a:gd name="connsiteX106" fmla="*/ 69775 w 966623"/>
                  <a:gd name="connsiteY106" fmla="*/ 17824 h 857076"/>
                  <a:gd name="connsiteX107" fmla="*/ 79834 w 966623"/>
                  <a:gd name="connsiteY107" fmla="*/ 16205 h 857076"/>
                  <a:gd name="connsiteX108" fmla="*/ 79795 w 966623"/>
                  <a:gd name="connsiteY108" fmla="*/ 16384 h 857076"/>
                  <a:gd name="connsiteX109" fmla="*/ 76561 w 966623"/>
                  <a:gd name="connsiteY109" fmla="*/ 28894 h 857076"/>
                  <a:gd name="connsiteX110" fmla="*/ 76244 w 966623"/>
                  <a:gd name="connsiteY110" fmla="*/ 30108 h 857076"/>
                  <a:gd name="connsiteX111" fmla="*/ 114081 w 966623"/>
                  <a:gd name="connsiteY111" fmla="*/ 35283 h 857076"/>
                  <a:gd name="connsiteX112" fmla="*/ 117404 w 966623"/>
                  <a:gd name="connsiteY112" fmla="*/ 35778 h 857076"/>
                  <a:gd name="connsiteX113" fmla="*/ 108056 w 966623"/>
                  <a:gd name="connsiteY113" fmla="*/ 39063 h 857076"/>
                  <a:gd name="connsiteX114" fmla="*/ 98987 w 966623"/>
                  <a:gd name="connsiteY114" fmla="*/ 41943 h 857076"/>
                  <a:gd name="connsiteX115" fmla="*/ 87787 w 966623"/>
                  <a:gd name="connsiteY115" fmla="*/ 48962 h 857076"/>
                  <a:gd name="connsiteX116" fmla="*/ 78261 w 966623"/>
                  <a:gd name="connsiteY116" fmla="*/ 76094 h 857076"/>
                  <a:gd name="connsiteX117" fmla="*/ 97820 w 966623"/>
                  <a:gd name="connsiteY117" fmla="*/ 72269 h 857076"/>
                  <a:gd name="connsiteX118" fmla="*/ 98124 w 966623"/>
                  <a:gd name="connsiteY118" fmla="*/ 72225 h 857076"/>
                  <a:gd name="connsiteX119" fmla="*/ 105811 w 966623"/>
                  <a:gd name="connsiteY119" fmla="*/ 75419 h 857076"/>
                  <a:gd name="connsiteX120" fmla="*/ 111252 w 966623"/>
                  <a:gd name="connsiteY120" fmla="*/ 77669 h 857076"/>
                  <a:gd name="connsiteX121" fmla="*/ 122313 w 966623"/>
                  <a:gd name="connsiteY121" fmla="*/ 82574 h 857076"/>
                  <a:gd name="connsiteX122" fmla="*/ 126080 w 966623"/>
                  <a:gd name="connsiteY122" fmla="*/ 85724 h 857076"/>
                  <a:gd name="connsiteX123" fmla="*/ 126752 w 966623"/>
                  <a:gd name="connsiteY123" fmla="*/ 86713 h 857076"/>
                  <a:gd name="connsiteX124" fmla="*/ 129188 w 966623"/>
                  <a:gd name="connsiteY124" fmla="*/ 95668 h 857076"/>
                  <a:gd name="connsiteX125" fmla="*/ 129492 w 966623"/>
                  <a:gd name="connsiteY125" fmla="*/ 100572 h 857076"/>
                  <a:gd name="connsiteX126" fmla="*/ 129771 w 966623"/>
                  <a:gd name="connsiteY126" fmla="*/ 101607 h 857076"/>
                  <a:gd name="connsiteX127" fmla="*/ 142215 w 966623"/>
                  <a:gd name="connsiteY127" fmla="*/ 116005 h 857076"/>
                  <a:gd name="connsiteX128" fmla="*/ 142760 w 966623"/>
                  <a:gd name="connsiteY128" fmla="*/ 121496 h 857076"/>
                  <a:gd name="connsiteX129" fmla="*/ 142849 w 966623"/>
                  <a:gd name="connsiteY129" fmla="*/ 126310 h 857076"/>
                  <a:gd name="connsiteX130" fmla="*/ 142849 w 966623"/>
                  <a:gd name="connsiteY130" fmla="*/ 128694 h 857076"/>
                  <a:gd name="connsiteX131" fmla="*/ 145500 w 966623"/>
                  <a:gd name="connsiteY131" fmla="*/ 142688 h 857076"/>
                  <a:gd name="connsiteX132" fmla="*/ 150713 w 966623"/>
                  <a:gd name="connsiteY132" fmla="*/ 149258 h 857076"/>
                  <a:gd name="connsiteX133" fmla="*/ 145005 w 966623"/>
                  <a:gd name="connsiteY133" fmla="*/ 149033 h 857076"/>
                  <a:gd name="connsiteX134" fmla="*/ 122808 w 966623"/>
                  <a:gd name="connsiteY134" fmla="*/ 144080 h 857076"/>
                  <a:gd name="connsiteX135" fmla="*/ 112914 w 966623"/>
                  <a:gd name="connsiteY135" fmla="*/ 137512 h 857076"/>
                  <a:gd name="connsiteX136" fmla="*/ 110542 w 966623"/>
                  <a:gd name="connsiteY136" fmla="*/ 135081 h 857076"/>
                  <a:gd name="connsiteX137" fmla="*/ 52791 w 966623"/>
                  <a:gd name="connsiteY137" fmla="*/ 110558 h 857076"/>
                  <a:gd name="connsiteX138" fmla="*/ 33245 w 966623"/>
                  <a:gd name="connsiteY138" fmla="*/ 116767 h 857076"/>
                  <a:gd name="connsiteX139" fmla="*/ 35528 w 966623"/>
                  <a:gd name="connsiteY139" fmla="*/ 121223 h 857076"/>
                  <a:gd name="connsiteX140" fmla="*/ 44204 w 966623"/>
                  <a:gd name="connsiteY140" fmla="*/ 134272 h 857076"/>
                  <a:gd name="connsiteX141" fmla="*/ 54947 w 966623"/>
                  <a:gd name="connsiteY141" fmla="*/ 143496 h 857076"/>
                  <a:gd name="connsiteX142" fmla="*/ 69052 w 966623"/>
                  <a:gd name="connsiteY142" fmla="*/ 148265 h 857076"/>
                  <a:gd name="connsiteX143" fmla="*/ 91706 w 966623"/>
                  <a:gd name="connsiteY143" fmla="*/ 164239 h 857076"/>
                  <a:gd name="connsiteX144" fmla="*/ 119205 w 966623"/>
                  <a:gd name="connsiteY144" fmla="*/ 175796 h 857076"/>
                  <a:gd name="connsiteX145" fmla="*/ 152019 w 966623"/>
                  <a:gd name="connsiteY145" fmla="*/ 174399 h 857076"/>
                  <a:gd name="connsiteX146" fmla="*/ 152819 w 966623"/>
                  <a:gd name="connsiteY146" fmla="*/ 179799 h 857076"/>
                  <a:gd name="connsiteX147" fmla="*/ 153364 w 966623"/>
                  <a:gd name="connsiteY147" fmla="*/ 183444 h 857076"/>
                  <a:gd name="connsiteX148" fmla="*/ 154264 w 966623"/>
                  <a:gd name="connsiteY148" fmla="*/ 192715 h 857076"/>
                  <a:gd name="connsiteX149" fmla="*/ 152108 w 966623"/>
                  <a:gd name="connsiteY149" fmla="*/ 193350 h 857076"/>
                  <a:gd name="connsiteX150" fmla="*/ 145766 w 966623"/>
                  <a:gd name="connsiteY150" fmla="*/ 194295 h 857076"/>
                  <a:gd name="connsiteX151" fmla="*/ 145855 w 966623"/>
                  <a:gd name="connsiteY151" fmla="*/ 194340 h 857076"/>
                  <a:gd name="connsiteX152" fmla="*/ 144371 w 966623"/>
                  <a:gd name="connsiteY152" fmla="*/ 203474 h 857076"/>
                  <a:gd name="connsiteX153" fmla="*/ 143470 w 966623"/>
                  <a:gd name="connsiteY153" fmla="*/ 206128 h 857076"/>
                  <a:gd name="connsiteX154" fmla="*/ 146616 w 966623"/>
                  <a:gd name="connsiteY154" fmla="*/ 218277 h 857076"/>
                  <a:gd name="connsiteX155" fmla="*/ 144815 w 966623"/>
                  <a:gd name="connsiteY155" fmla="*/ 223407 h 857076"/>
                  <a:gd name="connsiteX156" fmla="*/ 143293 w 966623"/>
                  <a:gd name="connsiteY156" fmla="*/ 226017 h 857076"/>
                  <a:gd name="connsiteX157" fmla="*/ 137813 w 966623"/>
                  <a:gd name="connsiteY157" fmla="*/ 234881 h 857076"/>
                  <a:gd name="connsiteX158" fmla="*/ 137813 w 966623"/>
                  <a:gd name="connsiteY158" fmla="*/ 234926 h 857076"/>
                  <a:gd name="connsiteX159" fmla="*/ 134807 w 966623"/>
                  <a:gd name="connsiteY159" fmla="*/ 240006 h 857076"/>
                  <a:gd name="connsiteX160" fmla="*/ 138308 w 966623"/>
                  <a:gd name="connsiteY160" fmla="*/ 239916 h 857076"/>
                  <a:gd name="connsiteX161" fmla="*/ 149863 w 966623"/>
                  <a:gd name="connsiteY161" fmla="*/ 238700 h 857076"/>
                  <a:gd name="connsiteX162" fmla="*/ 151702 w 966623"/>
                  <a:gd name="connsiteY162" fmla="*/ 239241 h 857076"/>
                  <a:gd name="connsiteX163" fmla="*/ 156598 w 966623"/>
                  <a:gd name="connsiteY163" fmla="*/ 248239 h 857076"/>
                  <a:gd name="connsiteX164" fmla="*/ 156738 w 966623"/>
                  <a:gd name="connsiteY164" fmla="*/ 249636 h 857076"/>
                  <a:gd name="connsiteX165" fmla="*/ 142265 w 966623"/>
                  <a:gd name="connsiteY165" fmla="*/ 253775 h 857076"/>
                  <a:gd name="connsiteX166" fmla="*/ 133767 w 966623"/>
                  <a:gd name="connsiteY166" fmla="*/ 256250 h 857076"/>
                  <a:gd name="connsiteX167" fmla="*/ 132460 w 966623"/>
                  <a:gd name="connsiteY167" fmla="*/ 256610 h 857076"/>
                  <a:gd name="connsiteX168" fmla="*/ 132917 w 966623"/>
                  <a:gd name="connsiteY168" fmla="*/ 260210 h 857076"/>
                  <a:gd name="connsiteX169" fmla="*/ 135783 w 966623"/>
                  <a:gd name="connsiteY169" fmla="*/ 282933 h 857076"/>
                  <a:gd name="connsiteX170" fmla="*/ 136152 w 966623"/>
                  <a:gd name="connsiteY170" fmla="*/ 285677 h 857076"/>
                  <a:gd name="connsiteX171" fmla="*/ 134756 w 966623"/>
                  <a:gd name="connsiteY171" fmla="*/ 288197 h 857076"/>
                  <a:gd name="connsiteX172" fmla="*/ 134705 w 966623"/>
                  <a:gd name="connsiteY172" fmla="*/ 288287 h 857076"/>
                  <a:gd name="connsiteX173" fmla="*/ 86214 w 966623"/>
                  <a:gd name="connsiteY173" fmla="*/ 308226 h 857076"/>
                  <a:gd name="connsiteX174" fmla="*/ 86759 w 966623"/>
                  <a:gd name="connsiteY174" fmla="*/ 309396 h 857076"/>
                  <a:gd name="connsiteX175" fmla="*/ 90488 w 966623"/>
                  <a:gd name="connsiteY175" fmla="*/ 314931 h 857076"/>
                  <a:gd name="connsiteX176" fmla="*/ 90577 w 966623"/>
                  <a:gd name="connsiteY176" fmla="*/ 315021 h 857076"/>
                  <a:gd name="connsiteX177" fmla="*/ 107066 w 966623"/>
                  <a:gd name="connsiteY177" fmla="*/ 317135 h 857076"/>
                  <a:gd name="connsiteX178" fmla="*/ 119193 w 966623"/>
                  <a:gd name="connsiteY178" fmla="*/ 310251 h 857076"/>
                  <a:gd name="connsiteX179" fmla="*/ 120233 w 966623"/>
                  <a:gd name="connsiteY179" fmla="*/ 309575 h 857076"/>
                  <a:gd name="connsiteX180" fmla="*/ 131559 w 966623"/>
                  <a:gd name="connsiteY180" fmla="*/ 302287 h 857076"/>
                  <a:gd name="connsiteX181" fmla="*/ 130659 w 966623"/>
                  <a:gd name="connsiteY181" fmla="*/ 308136 h 857076"/>
                  <a:gd name="connsiteX182" fmla="*/ 130798 w 966623"/>
                  <a:gd name="connsiteY182" fmla="*/ 313715 h 857076"/>
                  <a:gd name="connsiteX183" fmla="*/ 134845 w 966623"/>
                  <a:gd name="connsiteY183" fmla="*/ 324604 h 857076"/>
                  <a:gd name="connsiteX184" fmla="*/ 136278 w 966623"/>
                  <a:gd name="connsiteY184" fmla="*/ 326674 h 857076"/>
                  <a:gd name="connsiteX185" fmla="*/ 155064 w 966623"/>
                  <a:gd name="connsiteY185" fmla="*/ 344988 h 857076"/>
                  <a:gd name="connsiteX186" fmla="*/ 154708 w 966623"/>
                  <a:gd name="connsiteY186" fmla="*/ 345213 h 857076"/>
                  <a:gd name="connsiteX187" fmla="*/ 153529 w 966623"/>
                  <a:gd name="connsiteY187" fmla="*/ 346067 h 857076"/>
                  <a:gd name="connsiteX188" fmla="*/ 147554 w 966623"/>
                  <a:gd name="connsiteY188" fmla="*/ 350252 h 857076"/>
                  <a:gd name="connsiteX189" fmla="*/ 145221 w 966623"/>
                  <a:gd name="connsiteY189" fmla="*/ 351872 h 857076"/>
                  <a:gd name="connsiteX190" fmla="*/ 137851 w 966623"/>
                  <a:gd name="connsiteY190" fmla="*/ 357046 h 857076"/>
                  <a:gd name="connsiteX191" fmla="*/ 137889 w 966623"/>
                  <a:gd name="connsiteY191" fmla="*/ 357137 h 857076"/>
                  <a:gd name="connsiteX192" fmla="*/ 138701 w 966623"/>
                  <a:gd name="connsiteY192" fmla="*/ 359341 h 857076"/>
                  <a:gd name="connsiteX193" fmla="*/ 141491 w 966623"/>
                  <a:gd name="connsiteY193" fmla="*/ 367081 h 857076"/>
                  <a:gd name="connsiteX194" fmla="*/ 142392 w 966623"/>
                  <a:gd name="connsiteY194" fmla="*/ 369600 h 857076"/>
                  <a:gd name="connsiteX195" fmla="*/ 107878 w 966623"/>
                  <a:gd name="connsiteY195" fmla="*/ 361636 h 857076"/>
                  <a:gd name="connsiteX196" fmla="*/ 102716 w 966623"/>
                  <a:gd name="connsiteY196" fmla="*/ 359341 h 857076"/>
                  <a:gd name="connsiteX197" fmla="*/ 102259 w 966623"/>
                  <a:gd name="connsiteY197" fmla="*/ 359207 h 857076"/>
                  <a:gd name="connsiteX198" fmla="*/ 85415 w 966623"/>
                  <a:gd name="connsiteY198" fmla="*/ 359296 h 857076"/>
                  <a:gd name="connsiteX199" fmla="*/ 71247 w 966623"/>
                  <a:gd name="connsiteY199" fmla="*/ 368116 h 857076"/>
                  <a:gd name="connsiteX200" fmla="*/ 70536 w 966623"/>
                  <a:gd name="connsiteY200" fmla="*/ 368206 h 857076"/>
                  <a:gd name="connsiteX201" fmla="*/ 70486 w 966623"/>
                  <a:gd name="connsiteY201" fmla="*/ 368655 h 857076"/>
                  <a:gd name="connsiteX202" fmla="*/ 63078 w 966623"/>
                  <a:gd name="connsiteY202" fmla="*/ 373515 h 857076"/>
                  <a:gd name="connsiteX203" fmla="*/ 55569 w 966623"/>
                  <a:gd name="connsiteY203" fmla="*/ 389623 h 857076"/>
                  <a:gd name="connsiteX204" fmla="*/ 56964 w 966623"/>
                  <a:gd name="connsiteY204" fmla="*/ 389848 h 857076"/>
                  <a:gd name="connsiteX205" fmla="*/ 71931 w 966623"/>
                  <a:gd name="connsiteY205" fmla="*/ 391964 h 857076"/>
                  <a:gd name="connsiteX206" fmla="*/ 66541 w 966623"/>
                  <a:gd name="connsiteY206" fmla="*/ 394528 h 857076"/>
                  <a:gd name="connsiteX207" fmla="*/ 56292 w 966623"/>
                  <a:gd name="connsiteY207" fmla="*/ 399433 h 857076"/>
                  <a:gd name="connsiteX208" fmla="*/ 57776 w 966623"/>
                  <a:gd name="connsiteY208" fmla="*/ 404292 h 857076"/>
                  <a:gd name="connsiteX209" fmla="*/ 71703 w 966623"/>
                  <a:gd name="connsiteY209" fmla="*/ 415676 h 857076"/>
                  <a:gd name="connsiteX210" fmla="*/ 72109 w 966623"/>
                  <a:gd name="connsiteY210" fmla="*/ 415766 h 857076"/>
                  <a:gd name="connsiteX211" fmla="*/ 72248 w 966623"/>
                  <a:gd name="connsiteY211" fmla="*/ 415766 h 857076"/>
                  <a:gd name="connsiteX212" fmla="*/ 93317 w 966623"/>
                  <a:gd name="connsiteY212" fmla="*/ 417746 h 857076"/>
                  <a:gd name="connsiteX213" fmla="*/ 94179 w 966623"/>
                  <a:gd name="connsiteY213" fmla="*/ 417971 h 857076"/>
                  <a:gd name="connsiteX214" fmla="*/ 94446 w 966623"/>
                  <a:gd name="connsiteY214" fmla="*/ 418015 h 857076"/>
                  <a:gd name="connsiteX215" fmla="*/ 94040 w 966623"/>
                  <a:gd name="connsiteY215" fmla="*/ 418777 h 857076"/>
                  <a:gd name="connsiteX216" fmla="*/ 94040 w 966623"/>
                  <a:gd name="connsiteY216" fmla="*/ 418822 h 857076"/>
                  <a:gd name="connsiteX217" fmla="*/ 89955 w 966623"/>
                  <a:gd name="connsiteY217" fmla="*/ 426607 h 857076"/>
                  <a:gd name="connsiteX218" fmla="*/ 88472 w 966623"/>
                  <a:gd name="connsiteY218" fmla="*/ 428902 h 857076"/>
                  <a:gd name="connsiteX219" fmla="*/ 86632 w 966623"/>
                  <a:gd name="connsiteY219" fmla="*/ 430565 h 857076"/>
                  <a:gd name="connsiteX220" fmla="*/ 82180 w 966623"/>
                  <a:gd name="connsiteY220" fmla="*/ 432996 h 857076"/>
                  <a:gd name="connsiteX221" fmla="*/ 81051 w 966623"/>
                  <a:gd name="connsiteY221" fmla="*/ 433631 h 857076"/>
                  <a:gd name="connsiteX222" fmla="*/ 77145 w 966623"/>
                  <a:gd name="connsiteY222" fmla="*/ 435836 h 857076"/>
                  <a:gd name="connsiteX223" fmla="*/ 72020 w 966623"/>
                  <a:gd name="connsiteY223" fmla="*/ 439300 h 857076"/>
                  <a:gd name="connsiteX224" fmla="*/ 68430 w 966623"/>
                  <a:gd name="connsiteY224" fmla="*/ 442406 h 857076"/>
                  <a:gd name="connsiteX225" fmla="*/ 62088 w 966623"/>
                  <a:gd name="connsiteY225" fmla="*/ 454419 h 857076"/>
                  <a:gd name="connsiteX226" fmla="*/ 63661 w 966623"/>
                  <a:gd name="connsiteY226" fmla="*/ 464858 h 857076"/>
                  <a:gd name="connsiteX227" fmla="*/ 65995 w 966623"/>
                  <a:gd name="connsiteY227" fmla="*/ 470078 h 857076"/>
                  <a:gd name="connsiteX228" fmla="*/ 70042 w 966623"/>
                  <a:gd name="connsiteY228" fmla="*/ 476962 h 857076"/>
                  <a:gd name="connsiteX229" fmla="*/ 71792 w 966623"/>
                  <a:gd name="connsiteY229" fmla="*/ 479572 h 857076"/>
                  <a:gd name="connsiteX230" fmla="*/ 72198 w 966623"/>
                  <a:gd name="connsiteY230" fmla="*/ 480112 h 857076"/>
                  <a:gd name="connsiteX231" fmla="*/ 76777 w 966623"/>
                  <a:gd name="connsiteY231" fmla="*/ 486771 h 857076"/>
                  <a:gd name="connsiteX232" fmla="*/ 77627 w 966623"/>
                  <a:gd name="connsiteY232" fmla="*/ 487986 h 857076"/>
                  <a:gd name="connsiteX233" fmla="*/ 81229 w 966623"/>
                  <a:gd name="connsiteY233" fmla="*/ 493296 h 857076"/>
                  <a:gd name="connsiteX234" fmla="*/ 82929 w 966623"/>
                  <a:gd name="connsiteY234" fmla="*/ 495860 h 857076"/>
                  <a:gd name="connsiteX235" fmla="*/ 87343 w 966623"/>
                  <a:gd name="connsiteY235" fmla="*/ 502835 h 857076"/>
                  <a:gd name="connsiteX236" fmla="*/ 88104 w 966623"/>
                  <a:gd name="connsiteY236" fmla="*/ 504185 h 857076"/>
                  <a:gd name="connsiteX237" fmla="*/ 90755 w 966623"/>
                  <a:gd name="connsiteY237" fmla="*/ 508863 h 857076"/>
                  <a:gd name="connsiteX238" fmla="*/ 90843 w 966623"/>
                  <a:gd name="connsiteY238" fmla="*/ 509044 h 857076"/>
                  <a:gd name="connsiteX239" fmla="*/ 92645 w 966623"/>
                  <a:gd name="connsiteY239" fmla="*/ 512418 h 857076"/>
                  <a:gd name="connsiteX240" fmla="*/ 93139 w 966623"/>
                  <a:gd name="connsiteY240" fmla="*/ 513499 h 857076"/>
                  <a:gd name="connsiteX241" fmla="*/ 97718 w 966623"/>
                  <a:gd name="connsiteY241" fmla="*/ 524432 h 857076"/>
                  <a:gd name="connsiteX242" fmla="*/ 98885 w 966623"/>
                  <a:gd name="connsiteY242" fmla="*/ 528033 h 857076"/>
                  <a:gd name="connsiteX243" fmla="*/ 100319 w 966623"/>
                  <a:gd name="connsiteY243" fmla="*/ 533702 h 857076"/>
                  <a:gd name="connsiteX244" fmla="*/ 101587 w 966623"/>
                  <a:gd name="connsiteY244" fmla="*/ 542338 h 857076"/>
                  <a:gd name="connsiteX245" fmla="*/ 101676 w 966623"/>
                  <a:gd name="connsiteY245" fmla="*/ 543100 h 857076"/>
                  <a:gd name="connsiteX246" fmla="*/ 121260 w 966623"/>
                  <a:gd name="connsiteY246" fmla="*/ 554978 h 857076"/>
                  <a:gd name="connsiteX247" fmla="*/ 117810 w 966623"/>
                  <a:gd name="connsiteY247" fmla="*/ 558128 h 857076"/>
                  <a:gd name="connsiteX248" fmla="*/ 113307 w 966623"/>
                  <a:gd name="connsiteY248" fmla="*/ 562403 h 857076"/>
                  <a:gd name="connsiteX249" fmla="*/ 110162 w 966623"/>
                  <a:gd name="connsiteY249" fmla="*/ 565733 h 857076"/>
                  <a:gd name="connsiteX250" fmla="*/ 105583 w 966623"/>
                  <a:gd name="connsiteY250" fmla="*/ 573607 h 857076"/>
                  <a:gd name="connsiteX251" fmla="*/ 110529 w 966623"/>
                  <a:gd name="connsiteY251" fmla="*/ 598534 h 857076"/>
                  <a:gd name="connsiteX252" fmla="*/ 120461 w 966623"/>
                  <a:gd name="connsiteY252" fmla="*/ 582741 h 857076"/>
                  <a:gd name="connsiteX253" fmla="*/ 129758 w 966623"/>
                  <a:gd name="connsiteY253" fmla="*/ 568118 h 857076"/>
                  <a:gd name="connsiteX254" fmla="*/ 144548 w 966623"/>
                  <a:gd name="connsiteY254" fmla="*/ 563927 h 857076"/>
                  <a:gd name="connsiteX255" fmla="*/ 146756 w 966623"/>
                  <a:gd name="connsiteY255" fmla="*/ 563791 h 857076"/>
                  <a:gd name="connsiteX256" fmla="*/ 146793 w 966623"/>
                  <a:gd name="connsiteY256" fmla="*/ 563791 h 857076"/>
                  <a:gd name="connsiteX257" fmla="*/ 149673 w 966623"/>
                  <a:gd name="connsiteY257" fmla="*/ 563747 h 857076"/>
                  <a:gd name="connsiteX258" fmla="*/ 161532 w 966623"/>
                  <a:gd name="connsiteY258" fmla="*/ 573961 h 857076"/>
                  <a:gd name="connsiteX259" fmla="*/ 161849 w 966623"/>
                  <a:gd name="connsiteY259" fmla="*/ 577741 h 857076"/>
                  <a:gd name="connsiteX260" fmla="*/ 163067 w 966623"/>
                  <a:gd name="connsiteY260" fmla="*/ 584355 h 857076"/>
                  <a:gd name="connsiteX261" fmla="*/ 162484 w 966623"/>
                  <a:gd name="connsiteY261" fmla="*/ 585029 h 857076"/>
                  <a:gd name="connsiteX262" fmla="*/ 161317 w 966623"/>
                  <a:gd name="connsiteY262" fmla="*/ 586469 h 857076"/>
                  <a:gd name="connsiteX263" fmla="*/ 157270 w 966623"/>
                  <a:gd name="connsiteY263" fmla="*/ 591689 h 857076"/>
                  <a:gd name="connsiteX264" fmla="*/ 155064 w 966623"/>
                  <a:gd name="connsiteY264" fmla="*/ 594610 h 857076"/>
                  <a:gd name="connsiteX265" fmla="*/ 155025 w 966623"/>
                  <a:gd name="connsiteY265" fmla="*/ 594610 h 857076"/>
                  <a:gd name="connsiteX266" fmla="*/ 137445 w 966623"/>
                  <a:gd name="connsiteY266" fmla="*/ 610673 h 857076"/>
                  <a:gd name="connsiteX267" fmla="*/ 137268 w 966623"/>
                  <a:gd name="connsiteY267" fmla="*/ 610763 h 857076"/>
                  <a:gd name="connsiteX268" fmla="*/ 122262 w 966623"/>
                  <a:gd name="connsiteY268" fmla="*/ 613463 h 857076"/>
                  <a:gd name="connsiteX269" fmla="*/ 124152 w 966623"/>
                  <a:gd name="connsiteY269" fmla="*/ 622372 h 857076"/>
                  <a:gd name="connsiteX270" fmla="*/ 126030 w 966623"/>
                  <a:gd name="connsiteY270" fmla="*/ 631417 h 857076"/>
                  <a:gd name="connsiteX271" fmla="*/ 126486 w 966623"/>
                  <a:gd name="connsiteY271" fmla="*/ 633396 h 857076"/>
                  <a:gd name="connsiteX272" fmla="*/ 129581 w 966623"/>
                  <a:gd name="connsiteY272" fmla="*/ 642080 h 857076"/>
                  <a:gd name="connsiteX273" fmla="*/ 131420 w 966623"/>
                  <a:gd name="connsiteY273" fmla="*/ 645366 h 857076"/>
                  <a:gd name="connsiteX274" fmla="*/ 132054 w 966623"/>
                  <a:gd name="connsiteY274" fmla="*/ 646355 h 857076"/>
                  <a:gd name="connsiteX275" fmla="*/ 135251 w 966623"/>
                  <a:gd name="connsiteY275" fmla="*/ 650855 h 857076"/>
                  <a:gd name="connsiteX276" fmla="*/ 136469 w 966623"/>
                  <a:gd name="connsiteY276" fmla="*/ 652429 h 857076"/>
                  <a:gd name="connsiteX277" fmla="*/ 142532 w 966623"/>
                  <a:gd name="connsiteY277" fmla="*/ 659988 h 857076"/>
                  <a:gd name="connsiteX278" fmla="*/ 143343 w 966623"/>
                  <a:gd name="connsiteY278" fmla="*/ 661069 h 857076"/>
                  <a:gd name="connsiteX279" fmla="*/ 147110 w 966623"/>
                  <a:gd name="connsiteY279" fmla="*/ 666738 h 857076"/>
                  <a:gd name="connsiteX280" fmla="*/ 149812 w 966623"/>
                  <a:gd name="connsiteY280" fmla="*/ 671192 h 857076"/>
                  <a:gd name="connsiteX281" fmla="*/ 151651 w 966623"/>
                  <a:gd name="connsiteY281" fmla="*/ 674163 h 857076"/>
                  <a:gd name="connsiteX282" fmla="*/ 156598 w 966623"/>
                  <a:gd name="connsiteY282" fmla="*/ 682892 h 857076"/>
                  <a:gd name="connsiteX283" fmla="*/ 156598 w 966623"/>
                  <a:gd name="connsiteY283" fmla="*/ 682937 h 857076"/>
                  <a:gd name="connsiteX284" fmla="*/ 159300 w 966623"/>
                  <a:gd name="connsiteY284" fmla="*/ 689821 h 857076"/>
                  <a:gd name="connsiteX285" fmla="*/ 159516 w 966623"/>
                  <a:gd name="connsiteY285" fmla="*/ 690946 h 857076"/>
                  <a:gd name="connsiteX286" fmla="*/ 159338 w 966623"/>
                  <a:gd name="connsiteY286" fmla="*/ 696026 h 857076"/>
                  <a:gd name="connsiteX287" fmla="*/ 158311 w 966623"/>
                  <a:gd name="connsiteY287" fmla="*/ 700030 h 857076"/>
                  <a:gd name="connsiteX288" fmla="*/ 158311 w 966623"/>
                  <a:gd name="connsiteY288" fmla="*/ 700075 h 857076"/>
                  <a:gd name="connsiteX289" fmla="*/ 157676 w 966623"/>
                  <a:gd name="connsiteY289" fmla="*/ 707274 h 857076"/>
                  <a:gd name="connsiteX290" fmla="*/ 175295 w 966623"/>
                  <a:gd name="connsiteY290" fmla="*/ 725273 h 857076"/>
                  <a:gd name="connsiteX291" fmla="*/ 183197 w 966623"/>
                  <a:gd name="connsiteY291" fmla="*/ 729142 h 857076"/>
                  <a:gd name="connsiteX292" fmla="*/ 183831 w 966623"/>
                  <a:gd name="connsiteY292" fmla="*/ 729457 h 857076"/>
                  <a:gd name="connsiteX293" fmla="*/ 190896 w 966623"/>
                  <a:gd name="connsiteY293" fmla="*/ 734992 h 857076"/>
                  <a:gd name="connsiteX294" fmla="*/ 191467 w 966623"/>
                  <a:gd name="connsiteY294" fmla="*/ 735802 h 857076"/>
                  <a:gd name="connsiteX295" fmla="*/ 193814 w 966623"/>
                  <a:gd name="connsiteY295" fmla="*/ 742461 h 857076"/>
                  <a:gd name="connsiteX296" fmla="*/ 193446 w 966623"/>
                  <a:gd name="connsiteY296" fmla="*/ 747321 h 857076"/>
                  <a:gd name="connsiteX297" fmla="*/ 193179 w 966623"/>
                  <a:gd name="connsiteY297" fmla="*/ 748806 h 857076"/>
                  <a:gd name="connsiteX298" fmla="*/ 192774 w 966623"/>
                  <a:gd name="connsiteY298" fmla="*/ 752495 h 857076"/>
                  <a:gd name="connsiteX299" fmla="*/ 193674 w 966623"/>
                  <a:gd name="connsiteY299" fmla="*/ 760325 h 857076"/>
                  <a:gd name="connsiteX300" fmla="*/ 194435 w 966623"/>
                  <a:gd name="connsiteY300" fmla="*/ 762664 h 857076"/>
                  <a:gd name="connsiteX301" fmla="*/ 197353 w 966623"/>
                  <a:gd name="connsiteY301" fmla="*/ 768199 h 857076"/>
                  <a:gd name="connsiteX302" fmla="*/ 197403 w 966623"/>
                  <a:gd name="connsiteY302" fmla="*/ 768289 h 857076"/>
                  <a:gd name="connsiteX303" fmla="*/ 202033 w 966623"/>
                  <a:gd name="connsiteY303" fmla="*/ 774184 h 857076"/>
                  <a:gd name="connsiteX304" fmla="*/ 204227 w 966623"/>
                  <a:gd name="connsiteY304" fmla="*/ 776524 h 857076"/>
                  <a:gd name="connsiteX305" fmla="*/ 206751 w 966623"/>
                  <a:gd name="connsiteY305" fmla="*/ 778999 h 857076"/>
                  <a:gd name="connsiteX306" fmla="*/ 217127 w 966623"/>
                  <a:gd name="connsiteY306" fmla="*/ 788177 h 857076"/>
                  <a:gd name="connsiteX307" fmla="*/ 217977 w 966623"/>
                  <a:gd name="connsiteY307" fmla="*/ 788812 h 857076"/>
                  <a:gd name="connsiteX308" fmla="*/ 225892 w 966623"/>
                  <a:gd name="connsiteY308" fmla="*/ 795111 h 857076"/>
                  <a:gd name="connsiteX309" fmla="*/ 226387 w 966623"/>
                  <a:gd name="connsiteY309" fmla="*/ 795472 h 857076"/>
                  <a:gd name="connsiteX310" fmla="*/ 238525 w 966623"/>
                  <a:gd name="connsiteY310" fmla="*/ 805055 h 857076"/>
                  <a:gd name="connsiteX311" fmla="*/ 277035 w 966623"/>
                  <a:gd name="connsiteY311" fmla="*/ 791153 h 857076"/>
                  <a:gd name="connsiteX312" fmla="*/ 277567 w 966623"/>
                  <a:gd name="connsiteY312" fmla="*/ 790702 h 857076"/>
                  <a:gd name="connsiteX313" fmla="*/ 281753 w 966623"/>
                  <a:gd name="connsiteY313" fmla="*/ 786832 h 857076"/>
                  <a:gd name="connsiteX314" fmla="*/ 282286 w 966623"/>
                  <a:gd name="connsiteY314" fmla="*/ 787103 h 857076"/>
                  <a:gd name="connsiteX315" fmla="*/ 283465 w 966623"/>
                  <a:gd name="connsiteY315" fmla="*/ 787738 h 857076"/>
                  <a:gd name="connsiteX316" fmla="*/ 292268 w 966623"/>
                  <a:gd name="connsiteY316" fmla="*/ 792597 h 857076"/>
                  <a:gd name="connsiteX317" fmla="*/ 293346 w 966623"/>
                  <a:gd name="connsiteY317" fmla="*/ 793232 h 857076"/>
                  <a:gd name="connsiteX318" fmla="*/ 295591 w 966623"/>
                  <a:gd name="connsiteY318" fmla="*/ 794492 h 857076"/>
                  <a:gd name="connsiteX319" fmla="*/ 294653 w 966623"/>
                  <a:gd name="connsiteY319" fmla="*/ 798048 h 857076"/>
                  <a:gd name="connsiteX320" fmla="*/ 294653 w 966623"/>
                  <a:gd name="connsiteY320" fmla="*/ 798093 h 857076"/>
                  <a:gd name="connsiteX321" fmla="*/ 293524 w 966623"/>
                  <a:gd name="connsiteY321" fmla="*/ 802368 h 857076"/>
                  <a:gd name="connsiteX322" fmla="*/ 290379 w 966623"/>
                  <a:gd name="connsiteY322" fmla="*/ 814156 h 857076"/>
                  <a:gd name="connsiteX323" fmla="*/ 289211 w 966623"/>
                  <a:gd name="connsiteY323" fmla="*/ 818566 h 857076"/>
                  <a:gd name="connsiteX324" fmla="*/ 289072 w 966623"/>
                  <a:gd name="connsiteY324" fmla="*/ 819105 h 857076"/>
                  <a:gd name="connsiteX325" fmla="*/ 299777 w 966623"/>
                  <a:gd name="connsiteY325" fmla="*/ 823021 h 857076"/>
                  <a:gd name="connsiteX326" fmla="*/ 300944 w 966623"/>
                  <a:gd name="connsiteY326" fmla="*/ 823876 h 857076"/>
                  <a:gd name="connsiteX327" fmla="*/ 307502 w 966623"/>
                  <a:gd name="connsiteY327" fmla="*/ 832470 h 857076"/>
                  <a:gd name="connsiteX328" fmla="*/ 308758 w 966623"/>
                  <a:gd name="connsiteY328" fmla="*/ 835755 h 857076"/>
                  <a:gd name="connsiteX329" fmla="*/ 310965 w 966623"/>
                  <a:gd name="connsiteY329" fmla="*/ 845878 h 857076"/>
                  <a:gd name="connsiteX330" fmla="*/ 311675 w 966623"/>
                  <a:gd name="connsiteY330" fmla="*/ 850958 h 857076"/>
                  <a:gd name="connsiteX331" fmla="*/ 312487 w 966623"/>
                  <a:gd name="connsiteY331" fmla="*/ 857077 h 857076"/>
                  <a:gd name="connsiteX332" fmla="*/ 327099 w 966623"/>
                  <a:gd name="connsiteY332" fmla="*/ 845783 h 857076"/>
                  <a:gd name="connsiteX333" fmla="*/ 328266 w 966623"/>
                  <a:gd name="connsiteY333" fmla="*/ 844884 h 857076"/>
                  <a:gd name="connsiteX334" fmla="*/ 329750 w 966623"/>
                  <a:gd name="connsiteY334" fmla="*/ 843714 h 857076"/>
                  <a:gd name="connsiteX335" fmla="*/ 331450 w 966623"/>
                  <a:gd name="connsiteY335" fmla="*/ 846054 h 857076"/>
                  <a:gd name="connsiteX336" fmla="*/ 331995 w 966623"/>
                  <a:gd name="connsiteY336" fmla="*/ 846774 h 857076"/>
                  <a:gd name="connsiteX337" fmla="*/ 336359 w 966623"/>
                  <a:gd name="connsiteY337" fmla="*/ 852802 h 857076"/>
                  <a:gd name="connsiteX338" fmla="*/ 339327 w 966623"/>
                  <a:gd name="connsiteY338" fmla="*/ 856852 h 857076"/>
                  <a:gd name="connsiteX339" fmla="*/ 344984 w 966623"/>
                  <a:gd name="connsiteY339" fmla="*/ 854198 h 857076"/>
                  <a:gd name="connsiteX340" fmla="*/ 354015 w 966623"/>
                  <a:gd name="connsiteY340" fmla="*/ 849923 h 857076"/>
                  <a:gd name="connsiteX341" fmla="*/ 354776 w 966623"/>
                  <a:gd name="connsiteY341" fmla="*/ 849564 h 857076"/>
                  <a:gd name="connsiteX342" fmla="*/ 352176 w 966623"/>
                  <a:gd name="connsiteY342" fmla="*/ 841734 h 857076"/>
                  <a:gd name="connsiteX343" fmla="*/ 351313 w 966623"/>
                  <a:gd name="connsiteY343" fmla="*/ 839304 h 857076"/>
                  <a:gd name="connsiteX344" fmla="*/ 350374 w 966623"/>
                  <a:gd name="connsiteY344" fmla="*/ 835660 h 857076"/>
                  <a:gd name="connsiteX345" fmla="*/ 350235 w 966623"/>
                  <a:gd name="connsiteY345" fmla="*/ 833365 h 857076"/>
                  <a:gd name="connsiteX346" fmla="*/ 350552 w 966623"/>
                  <a:gd name="connsiteY346" fmla="*/ 831610 h 857076"/>
                  <a:gd name="connsiteX347" fmla="*/ 355499 w 966623"/>
                  <a:gd name="connsiteY347" fmla="*/ 824410 h 857076"/>
                  <a:gd name="connsiteX348" fmla="*/ 355727 w 966623"/>
                  <a:gd name="connsiteY348" fmla="*/ 824185 h 857076"/>
                  <a:gd name="connsiteX349" fmla="*/ 361651 w 966623"/>
                  <a:gd name="connsiteY349" fmla="*/ 818516 h 857076"/>
                  <a:gd name="connsiteX350" fmla="*/ 363008 w 966623"/>
                  <a:gd name="connsiteY350" fmla="*/ 817076 h 857076"/>
                  <a:gd name="connsiteX351" fmla="*/ 359900 w 966623"/>
                  <a:gd name="connsiteY351" fmla="*/ 814961 h 857076"/>
                  <a:gd name="connsiteX352" fmla="*/ 355004 w 966623"/>
                  <a:gd name="connsiteY352" fmla="*/ 811677 h 857076"/>
                  <a:gd name="connsiteX353" fmla="*/ 354966 w 966623"/>
                  <a:gd name="connsiteY353" fmla="*/ 811677 h 857076"/>
                  <a:gd name="connsiteX354" fmla="*/ 350514 w 966623"/>
                  <a:gd name="connsiteY354" fmla="*/ 808662 h 857076"/>
                  <a:gd name="connsiteX355" fmla="*/ 349969 w 966623"/>
                  <a:gd name="connsiteY355" fmla="*/ 808302 h 857076"/>
                  <a:gd name="connsiteX356" fmla="*/ 364175 w 966623"/>
                  <a:gd name="connsiteY356" fmla="*/ 803938 h 857076"/>
                  <a:gd name="connsiteX357" fmla="*/ 364048 w 966623"/>
                  <a:gd name="connsiteY357" fmla="*/ 800337 h 857076"/>
                  <a:gd name="connsiteX358" fmla="*/ 363858 w 966623"/>
                  <a:gd name="connsiteY358" fmla="*/ 798493 h 857076"/>
                  <a:gd name="connsiteX359" fmla="*/ 363452 w 966623"/>
                  <a:gd name="connsiteY359" fmla="*/ 794128 h 857076"/>
                  <a:gd name="connsiteX360" fmla="*/ 363363 w 966623"/>
                  <a:gd name="connsiteY360" fmla="*/ 793318 h 857076"/>
                  <a:gd name="connsiteX361" fmla="*/ 363503 w 966623"/>
                  <a:gd name="connsiteY361" fmla="*/ 786748 h 857076"/>
                  <a:gd name="connsiteX362" fmla="*/ 363731 w 966623"/>
                  <a:gd name="connsiteY362" fmla="*/ 786074 h 857076"/>
                  <a:gd name="connsiteX363" fmla="*/ 364581 w 966623"/>
                  <a:gd name="connsiteY363" fmla="*/ 785039 h 857076"/>
                  <a:gd name="connsiteX364" fmla="*/ 373790 w 966623"/>
                  <a:gd name="connsiteY364" fmla="*/ 775141 h 857076"/>
                  <a:gd name="connsiteX365" fmla="*/ 375185 w 966623"/>
                  <a:gd name="connsiteY365" fmla="*/ 771675 h 857076"/>
                  <a:gd name="connsiteX366" fmla="*/ 376935 w 966623"/>
                  <a:gd name="connsiteY366" fmla="*/ 763351 h 857076"/>
                  <a:gd name="connsiteX367" fmla="*/ 377214 w 966623"/>
                  <a:gd name="connsiteY367" fmla="*/ 761146 h 857076"/>
                  <a:gd name="connsiteX368" fmla="*/ 378698 w 966623"/>
                  <a:gd name="connsiteY368" fmla="*/ 751247 h 857076"/>
                  <a:gd name="connsiteX369" fmla="*/ 380487 w 966623"/>
                  <a:gd name="connsiteY369" fmla="*/ 745263 h 857076"/>
                  <a:gd name="connsiteX370" fmla="*/ 371367 w 966623"/>
                  <a:gd name="connsiteY370" fmla="*/ 718040 h 857076"/>
                  <a:gd name="connsiteX371" fmla="*/ 369477 w 966623"/>
                  <a:gd name="connsiteY371" fmla="*/ 715835 h 857076"/>
                  <a:gd name="connsiteX372" fmla="*/ 367638 w 966623"/>
                  <a:gd name="connsiteY372" fmla="*/ 705352 h 857076"/>
                  <a:gd name="connsiteX373" fmla="*/ 367727 w 966623"/>
                  <a:gd name="connsiteY373" fmla="*/ 702696 h 857076"/>
                  <a:gd name="connsiteX374" fmla="*/ 368538 w 966623"/>
                  <a:gd name="connsiteY374" fmla="*/ 698196 h 857076"/>
                  <a:gd name="connsiteX375" fmla="*/ 382288 w 966623"/>
                  <a:gd name="connsiteY375" fmla="*/ 687983 h 857076"/>
                  <a:gd name="connsiteX376" fmla="*/ 382427 w 966623"/>
                  <a:gd name="connsiteY376" fmla="*/ 688027 h 857076"/>
                  <a:gd name="connsiteX377" fmla="*/ 385611 w 966623"/>
                  <a:gd name="connsiteY377" fmla="*/ 689468 h 857076"/>
                  <a:gd name="connsiteX378" fmla="*/ 394807 w 966623"/>
                  <a:gd name="connsiteY378" fmla="*/ 686331 h 857076"/>
                  <a:gd name="connsiteX379" fmla="*/ 395505 w 966623"/>
                  <a:gd name="connsiteY379" fmla="*/ 682898 h 857076"/>
                  <a:gd name="connsiteX380" fmla="*/ 395416 w 966623"/>
                  <a:gd name="connsiteY380" fmla="*/ 680424 h 857076"/>
                  <a:gd name="connsiteX381" fmla="*/ 395137 w 966623"/>
                  <a:gd name="connsiteY381" fmla="*/ 678984 h 857076"/>
                  <a:gd name="connsiteX382" fmla="*/ 395454 w 966623"/>
                  <a:gd name="connsiteY382" fmla="*/ 673000 h 857076"/>
                  <a:gd name="connsiteX383" fmla="*/ 396583 w 966623"/>
                  <a:gd name="connsiteY383" fmla="*/ 671244 h 857076"/>
                  <a:gd name="connsiteX384" fmla="*/ 396672 w 966623"/>
                  <a:gd name="connsiteY384" fmla="*/ 671199 h 857076"/>
                  <a:gd name="connsiteX385" fmla="*/ 402468 w 966623"/>
                  <a:gd name="connsiteY385" fmla="*/ 666745 h 857076"/>
                  <a:gd name="connsiteX386" fmla="*/ 399094 w 966623"/>
                  <a:gd name="connsiteY386" fmla="*/ 651896 h 857076"/>
                  <a:gd name="connsiteX387" fmla="*/ 399462 w 966623"/>
                  <a:gd name="connsiteY387" fmla="*/ 649872 h 857076"/>
                  <a:gd name="connsiteX388" fmla="*/ 418831 w 966623"/>
                  <a:gd name="connsiteY388" fmla="*/ 641817 h 857076"/>
                  <a:gd name="connsiteX389" fmla="*/ 421393 w 966623"/>
                  <a:gd name="connsiteY389" fmla="*/ 640107 h 857076"/>
                  <a:gd name="connsiteX390" fmla="*/ 427495 w 966623"/>
                  <a:gd name="connsiteY390" fmla="*/ 621883 h 857076"/>
                  <a:gd name="connsiteX391" fmla="*/ 427495 w 966623"/>
                  <a:gd name="connsiteY391" fmla="*/ 621445 h 857076"/>
                  <a:gd name="connsiteX392" fmla="*/ 427139 w 966623"/>
                  <a:gd name="connsiteY392" fmla="*/ 611006 h 857076"/>
                  <a:gd name="connsiteX393" fmla="*/ 427101 w 966623"/>
                  <a:gd name="connsiteY393" fmla="*/ 610244 h 857076"/>
                  <a:gd name="connsiteX394" fmla="*/ 405297 w 966623"/>
                  <a:gd name="connsiteY394" fmla="*/ 599804 h 857076"/>
                  <a:gd name="connsiteX395" fmla="*/ 404764 w 966623"/>
                  <a:gd name="connsiteY395" fmla="*/ 597915 h 857076"/>
                  <a:gd name="connsiteX396" fmla="*/ 427228 w 966623"/>
                  <a:gd name="connsiteY396" fmla="*/ 589591 h 857076"/>
                  <a:gd name="connsiteX397" fmla="*/ 429435 w 966623"/>
                  <a:gd name="connsiteY397" fmla="*/ 578971 h 857076"/>
                  <a:gd name="connsiteX398" fmla="*/ 429435 w 966623"/>
                  <a:gd name="connsiteY398" fmla="*/ 578926 h 857076"/>
                  <a:gd name="connsiteX399" fmla="*/ 418463 w 966623"/>
                  <a:gd name="connsiteY399" fmla="*/ 559667 h 857076"/>
                  <a:gd name="connsiteX400" fmla="*/ 417702 w 966623"/>
                  <a:gd name="connsiteY400" fmla="*/ 558183 h 857076"/>
                  <a:gd name="connsiteX401" fmla="*/ 417208 w 966623"/>
                  <a:gd name="connsiteY401" fmla="*/ 557012 h 857076"/>
                  <a:gd name="connsiteX402" fmla="*/ 417119 w 966623"/>
                  <a:gd name="connsiteY402" fmla="*/ 556877 h 857076"/>
                  <a:gd name="connsiteX403" fmla="*/ 417030 w 966623"/>
                  <a:gd name="connsiteY403" fmla="*/ 547743 h 857076"/>
                  <a:gd name="connsiteX404" fmla="*/ 418476 w 966623"/>
                  <a:gd name="connsiteY404" fmla="*/ 544684 h 857076"/>
                  <a:gd name="connsiteX405" fmla="*/ 445975 w 966623"/>
                  <a:gd name="connsiteY405" fmla="*/ 523761 h 857076"/>
                  <a:gd name="connsiteX406" fmla="*/ 444580 w 966623"/>
                  <a:gd name="connsiteY406" fmla="*/ 519570 h 857076"/>
                  <a:gd name="connsiteX407" fmla="*/ 441751 w 966623"/>
                  <a:gd name="connsiteY407" fmla="*/ 512458 h 857076"/>
                  <a:gd name="connsiteX408" fmla="*/ 456224 w 966623"/>
                  <a:gd name="connsiteY408" fmla="*/ 509713 h 857076"/>
                  <a:gd name="connsiteX409" fmla="*/ 457746 w 966623"/>
                  <a:gd name="connsiteY409" fmla="*/ 509397 h 857076"/>
                  <a:gd name="connsiteX410" fmla="*/ 467767 w 966623"/>
                  <a:gd name="connsiteY410" fmla="*/ 507507 h 857076"/>
                  <a:gd name="connsiteX411" fmla="*/ 468261 w 966623"/>
                  <a:gd name="connsiteY411" fmla="*/ 507418 h 857076"/>
                  <a:gd name="connsiteX412" fmla="*/ 496928 w 966623"/>
                  <a:gd name="connsiteY412" fmla="*/ 501884 h 857076"/>
                  <a:gd name="connsiteX413" fmla="*/ 495761 w 966623"/>
                  <a:gd name="connsiteY413" fmla="*/ 495944 h 857076"/>
                  <a:gd name="connsiteX414" fmla="*/ 495938 w 966623"/>
                  <a:gd name="connsiteY414" fmla="*/ 491400 h 857076"/>
                  <a:gd name="connsiteX415" fmla="*/ 505058 w 966623"/>
                  <a:gd name="connsiteY415" fmla="*/ 463587 h 857076"/>
                  <a:gd name="connsiteX416" fmla="*/ 504919 w 966623"/>
                  <a:gd name="connsiteY416" fmla="*/ 459673 h 857076"/>
                  <a:gd name="connsiteX417" fmla="*/ 502762 w 966623"/>
                  <a:gd name="connsiteY417" fmla="*/ 452517 h 857076"/>
                  <a:gd name="connsiteX418" fmla="*/ 523349 w 966623"/>
                  <a:gd name="connsiteY418" fmla="*/ 460076 h 857076"/>
                  <a:gd name="connsiteX419" fmla="*/ 521104 w 966623"/>
                  <a:gd name="connsiteY419" fmla="*/ 464441 h 857076"/>
                  <a:gd name="connsiteX420" fmla="*/ 512745 w 966623"/>
                  <a:gd name="connsiteY420" fmla="*/ 480730 h 857076"/>
                  <a:gd name="connsiteX421" fmla="*/ 511527 w 966623"/>
                  <a:gd name="connsiteY421" fmla="*/ 483160 h 857076"/>
                  <a:gd name="connsiteX422" fmla="*/ 509193 w 966623"/>
                  <a:gd name="connsiteY422" fmla="*/ 487660 h 857076"/>
                  <a:gd name="connsiteX423" fmla="*/ 508838 w 966623"/>
                  <a:gd name="connsiteY423" fmla="*/ 487750 h 857076"/>
                  <a:gd name="connsiteX424" fmla="*/ 509282 w 966623"/>
                  <a:gd name="connsiteY424" fmla="*/ 488245 h 857076"/>
                  <a:gd name="connsiteX425" fmla="*/ 509333 w 966623"/>
                  <a:gd name="connsiteY425" fmla="*/ 487975 h 857076"/>
                  <a:gd name="connsiteX426" fmla="*/ 510322 w 966623"/>
                  <a:gd name="connsiteY426" fmla="*/ 488334 h 857076"/>
                  <a:gd name="connsiteX427" fmla="*/ 529412 w 966623"/>
                  <a:gd name="connsiteY427" fmla="*/ 488695 h 857076"/>
                  <a:gd name="connsiteX428" fmla="*/ 531264 w 966623"/>
                  <a:gd name="connsiteY428" fmla="*/ 488019 h 857076"/>
                  <a:gd name="connsiteX429" fmla="*/ 544696 w 966623"/>
                  <a:gd name="connsiteY429" fmla="*/ 481360 h 857076"/>
                  <a:gd name="connsiteX430" fmla="*/ 550442 w 966623"/>
                  <a:gd name="connsiteY430" fmla="*/ 480370 h 857076"/>
                  <a:gd name="connsiteX431" fmla="*/ 551165 w 966623"/>
                  <a:gd name="connsiteY431" fmla="*/ 480415 h 857076"/>
                  <a:gd name="connsiteX432" fmla="*/ 559930 w 966623"/>
                  <a:gd name="connsiteY432" fmla="*/ 481050 h 857076"/>
                  <a:gd name="connsiteX433" fmla="*/ 568961 w 966623"/>
                  <a:gd name="connsiteY433" fmla="*/ 464176 h 857076"/>
                  <a:gd name="connsiteX434" fmla="*/ 569900 w 966623"/>
                  <a:gd name="connsiteY434" fmla="*/ 462422 h 857076"/>
                  <a:gd name="connsiteX435" fmla="*/ 571384 w 966623"/>
                  <a:gd name="connsiteY435" fmla="*/ 462017 h 857076"/>
                  <a:gd name="connsiteX436" fmla="*/ 584867 w 966623"/>
                  <a:gd name="connsiteY436" fmla="*/ 458777 h 857076"/>
                  <a:gd name="connsiteX437" fmla="*/ 586846 w 966623"/>
                  <a:gd name="connsiteY437" fmla="*/ 458237 h 857076"/>
                  <a:gd name="connsiteX438" fmla="*/ 596016 w 966623"/>
                  <a:gd name="connsiteY438" fmla="*/ 453018 h 857076"/>
                  <a:gd name="connsiteX439" fmla="*/ 606126 w 966623"/>
                  <a:gd name="connsiteY439" fmla="*/ 437449 h 857076"/>
                  <a:gd name="connsiteX440" fmla="*/ 606760 w 966623"/>
                  <a:gd name="connsiteY440" fmla="*/ 436414 h 857076"/>
                  <a:gd name="connsiteX441" fmla="*/ 629325 w 966623"/>
                  <a:gd name="connsiteY441" fmla="*/ 391778 h 857076"/>
                  <a:gd name="connsiteX442" fmla="*/ 660871 w 966623"/>
                  <a:gd name="connsiteY442" fmla="*/ 346963 h 857076"/>
                  <a:gd name="connsiteX443" fmla="*/ 670891 w 966623"/>
                  <a:gd name="connsiteY443" fmla="*/ 329909 h 857076"/>
                  <a:gd name="connsiteX444" fmla="*/ 670080 w 966623"/>
                  <a:gd name="connsiteY444" fmla="*/ 325679 h 857076"/>
                  <a:gd name="connsiteX445" fmla="*/ 669902 w 966623"/>
                  <a:gd name="connsiteY445" fmla="*/ 324917 h 857076"/>
                  <a:gd name="connsiteX446" fmla="*/ 669458 w 966623"/>
                  <a:gd name="connsiteY446" fmla="*/ 322622 h 857076"/>
                  <a:gd name="connsiteX447" fmla="*/ 668189 w 966623"/>
                  <a:gd name="connsiteY447" fmla="*/ 311827 h 857076"/>
                  <a:gd name="connsiteX448" fmla="*/ 672198 w 966623"/>
                  <a:gd name="connsiteY448" fmla="*/ 313986 h 857076"/>
                  <a:gd name="connsiteX449" fmla="*/ 704593 w 966623"/>
                  <a:gd name="connsiteY449" fmla="*/ 329463 h 857076"/>
                  <a:gd name="connsiteX450" fmla="*/ 716960 w 966623"/>
                  <a:gd name="connsiteY450" fmla="*/ 328203 h 857076"/>
                  <a:gd name="connsiteX451" fmla="*/ 718837 w 966623"/>
                  <a:gd name="connsiteY451" fmla="*/ 327394 h 857076"/>
                  <a:gd name="connsiteX452" fmla="*/ 724951 w 966623"/>
                  <a:gd name="connsiteY452" fmla="*/ 322669 h 857076"/>
                  <a:gd name="connsiteX453" fmla="*/ 726296 w 966623"/>
                  <a:gd name="connsiteY453" fmla="*/ 320959 h 857076"/>
                  <a:gd name="connsiteX454" fmla="*/ 730609 w 966623"/>
                  <a:gd name="connsiteY454" fmla="*/ 308090 h 857076"/>
                  <a:gd name="connsiteX455" fmla="*/ 755063 w 966623"/>
                  <a:gd name="connsiteY455" fmla="*/ 310070 h 857076"/>
                  <a:gd name="connsiteX456" fmla="*/ 822340 w 966623"/>
                  <a:gd name="connsiteY456" fmla="*/ 284924 h 857076"/>
                  <a:gd name="connsiteX457" fmla="*/ 854064 w 966623"/>
                  <a:gd name="connsiteY457" fmla="*/ 261436 h 857076"/>
                  <a:gd name="connsiteX458" fmla="*/ 856448 w 966623"/>
                  <a:gd name="connsiteY458" fmla="*/ 258152 h 857076"/>
                  <a:gd name="connsiteX459" fmla="*/ 857158 w 966623"/>
                  <a:gd name="connsiteY459" fmla="*/ 257116 h 857076"/>
                  <a:gd name="connsiteX460" fmla="*/ 866430 w 966623"/>
                  <a:gd name="connsiteY460" fmla="*/ 245051 h 857076"/>
                  <a:gd name="connsiteX461" fmla="*/ 869614 w 966623"/>
                  <a:gd name="connsiteY461" fmla="*/ 241226 h 857076"/>
                  <a:gd name="connsiteX462" fmla="*/ 880802 w 966623"/>
                  <a:gd name="connsiteY462" fmla="*/ 230383 h 857076"/>
                  <a:gd name="connsiteX463" fmla="*/ 881969 w 966623"/>
                  <a:gd name="connsiteY463" fmla="*/ 229438 h 857076"/>
                  <a:gd name="connsiteX464" fmla="*/ 885799 w 966623"/>
                  <a:gd name="connsiteY464" fmla="*/ 226558 h 857076"/>
                  <a:gd name="connsiteX465" fmla="*/ 896315 w 966623"/>
                  <a:gd name="connsiteY465" fmla="*/ 219179 h 857076"/>
                  <a:gd name="connsiteX466" fmla="*/ 897025 w 966623"/>
                  <a:gd name="connsiteY466" fmla="*/ 218594 h 857076"/>
                  <a:gd name="connsiteX467" fmla="*/ 909024 w 966623"/>
                  <a:gd name="connsiteY467" fmla="*/ 207075 h 857076"/>
                  <a:gd name="connsiteX468" fmla="*/ 911498 w 966623"/>
                  <a:gd name="connsiteY468" fmla="*/ 203656 h 857076"/>
                  <a:gd name="connsiteX469" fmla="*/ 912132 w 966623"/>
                  <a:gd name="connsiteY469" fmla="*/ 202710 h 857076"/>
                  <a:gd name="connsiteX470" fmla="*/ 945250 w 966623"/>
                  <a:gd name="connsiteY470" fmla="*/ 177377 h 857076"/>
                  <a:gd name="connsiteX471" fmla="*/ 949525 w 966623"/>
                  <a:gd name="connsiteY471" fmla="*/ 171932 h 857076"/>
                  <a:gd name="connsiteX472" fmla="*/ 950425 w 966623"/>
                  <a:gd name="connsiteY472" fmla="*/ 170673 h 857076"/>
                  <a:gd name="connsiteX473" fmla="*/ 912893 w 966623"/>
                  <a:gd name="connsiteY473" fmla="*/ 168063 h 857076"/>
                  <a:gd name="connsiteX474" fmla="*/ 877161 w 966623"/>
                  <a:gd name="connsiteY474" fmla="*/ 152992 h 857076"/>
                  <a:gd name="connsiteX475" fmla="*/ 107789 w 966623"/>
                  <a:gd name="connsiteY475" fmla="*/ 56702 h 857076"/>
                  <a:gd name="connsiteX476" fmla="*/ 98264 w 966623"/>
                  <a:gd name="connsiteY476" fmla="*/ 68626 h 857076"/>
                  <a:gd name="connsiteX477" fmla="*/ 97946 w 966623"/>
                  <a:gd name="connsiteY477" fmla="*/ 62372 h 857076"/>
                  <a:gd name="connsiteX478" fmla="*/ 119066 w 966623"/>
                  <a:gd name="connsiteY478" fmla="*/ 51168 h 857076"/>
                  <a:gd name="connsiteX479" fmla="*/ 107789 w 966623"/>
                  <a:gd name="connsiteY479" fmla="*/ 56702 h 857076"/>
                  <a:gd name="connsiteX480" fmla="*/ 118393 w 966623"/>
                  <a:gd name="connsiteY480" fmla="*/ 431429 h 857076"/>
                  <a:gd name="connsiteX481" fmla="*/ 115248 w 966623"/>
                  <a:gd name="connsiteY481" fmla="*/ 433634 h 857076"/>
                  <a:gd name="connsiteX482" fmla="*/ 113053 w 966623"/>
                  <a:gd name="connsiteY482" fmla="*/ 431024 h 857076"/>
                  <a:gd name="connsiteX483" fmla="*/ 133995 w 966623"/>
                  <a:gd name="connsiteY483" fmla="*/ 413206 h 857076"/>
                  <a:gd name="connsiteX484" fmla="*/ 136862 w 966623"/>
                  <a:gd name="connsiteY484" fmla="*/ 417479 h 857076"/>
                  <a:gd name="connsiteX485" fmla="*/ 137318 w 966623"/>
                  <a:gd name="connsiteY485" fmla="*/ 418155 h 857076"/>
                  <a:gd name="connsiteX486" fmla="*/ 118393 w 966623"/>
                  <a:gd name="connsiteY486" fmla="*/ 431428 h 857076"/>
                  <a:gd name="connsiteX487" fmla="*/ 139018 w 966623"/>
                  <a:gd name="connsiteY487" fmla="*/ 500318 h 857076"/>
                  <a:gd name="connsiteX488" fmla="*/ 129632 w 966623"/>
                  <a:gd name="connsiteY488" fmla="*/ 498113 h 857076"/>
                  <a:gd name="connsiteX489" fmla="*/ 140109 w 966623"/>
                  <a:gd name="connsiteY489" fmla="*/ 498113 h 857076"/>
                  <a:gd name="connsiteX490" fmla="*/ 139018 w 966623"/>
                  <a:gd name="connsiteY490" fmla="*/ 500313 h 857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</a:cxnLst>
                <a:rect l="l" t="t" r="r" b="b"/>
                <a:pathLst>
                  <a:path w="966623" h="857076">
                    <a:moveTo>
                      <a:pt x="877161" y="152992"/>
                    </a:moveTo>
                    <a:cubicBezTo>
                      <a:pt x="873673" y="151912"/>
                      <a:pt x="870135" y="151026"/>
                      <a:pt x="866557" y="150337"/>
                    </a:cubicBezTo>
                    <a:cubicBezTo>
                      <a:pt x="864959" y="150031"/>
                      <a:pt x="863336" y="149836"/>
                      <a:pt x="861699" y="149752"/>
                    </a:cubicBezTo>
                    <a:cubicBezTo>
                      <a:pt x="855877" y="149299"/>
                      <a:pt x="850093" y="151118"/>
                      <a:pt x="845565" y="154832"/>
                    </a:cubicBezTo>
                    <a:cubicBezTo>
                      <a:pt x="842331" y="157442"/>
                      <a:pt x="837067" y="161041"/>
                      <a:pt x="834149" y="160052"/>
                    </a:cubicBezTo>
                    <a:cubicBezTo>
                      <a:pt x="816138" y="154022"/>
                      <a:pt x="811774" y="166891"/>
                      <a:pt x="807500" y="179715"/>
                    </a:cubicBezTo>
                    <a:cubicBezTo>
                      <a:pt x="805305" y="179175"/>
                      <a:pt x="803149" y="178680"/>
                      <a:pt x="801031" y="178140"/>
                    </a:cubicBezTo>
                    <a:lnTo>
                      <a:pt x="800270" y="178004"/>
                    </a:lnTo>
                    <a:cubicBezTo>
                      <a:pt x="792406" y="176070"/>
                      <a:pt x="785036" y="174321"/>
                      <a:pt x="777261" y="172471"/>
                    </a:cubicBezTo>
                    <a:lnTo>
                      <a:pt x="777223" y="172471"/>
                    </a:lnTo>
                    <a:cubicBezTo>
                      <a:pt x="776589" y="172291"/>
                      <a:pt x="775916" y="172110"/>
                      <a:pt x="775282" y="171976"/>
                    </a:cubicBezTo>
                    <a:cubicBezTo>
                      <a:pt x="795462" y="162931"/>
                      <a:pt x="813525" y="154831"/>
                      <a:pt x="831600" y="146778"/>
                    </a:cubicBezTo>
                    <a:cubicBezTo>
                      <a:pt x="831739" y="146685"/>
                      <a:pt x="831892" y="146609"/>
                      <a:pt x="832044" y="146553"/>
                    </a:cubicBezTo>
                    <a:cubicBezTo>
                      <a:pt x="831727" y="144753"/>
                      <a:pt x="831372" y="142908"/>
                      <a:pt x="831016" y="141108"/>
                    </a:cubicBezTo>
                    <a:lnTo>
                      <a:pt x="818878" y="140298"/>
                    </a:lnTo>
                    <a:lnTo>
                      <a:pt x="818827" y="140298"/>
                    </a:lnTo>
                    <a:cubicBezTo>
                      <a:pt x="814882" y="140029"/>
                      <a:pt x="810963" y="139758"/>
                      <a:pt x="806967" y="139489"/>
                    </a:cubicBezTo>
                    <a:cubicBezTo>
                      <a:pt x="805331" y="140636"/>
                      <a:pt x="803568" y="141601"/>
                      <a:pt x="801716" y="142368"/>
                    </a:cubicBezTo>
                    <a:cubicBezTo>
                      <a:pt x="798114" y="143940"/>
                      <a:pt x="794220" y="144678"/>
                      <a:pt x="790300" y="144527"/>
                    </a:cubicBezTo>
                    <a:cubicBezTo>
                      <a:pt x="788423" y="144513"/>
                      <a:pt x="786558" y="144318"/>
                      <a:pt x="784719" y="143942"/>
                    </a:cubicBezTo>
                    <a:cubicBezTo>
                      <a:pt x="781206" y="143230"/>
                      <a:pt x="777755" y="142175"/>
                      <a:pt x="774432" y="140792"/>
                    </a:cubicBezTo>
                    <a:cubicBezTo>
                      <a:pt x="774217" y="140734"/>
                      <a:pt x="774001" y="140642"/>
                      <a:pt x="773798" y="140522"/>
                    </a:cubicBezTo>
                    <a:cubicBezTo>
                      <a:pt x="772136" y="139887"/>
                      <a:pt x="770475" y="139125"/>
                      <a:pt x="768813" y="138407"/>
                    </a:cubicBezTo>
                    <a:lnTo>
                      <a:pt x="765579" y="136922"/>
                    </a:lnTo>
                    <a:cubicBezTo>
                      <a:pt x="775815" y="128286"/>
                      <a:pt x="789488" y="121263"/>
                      <a:pt x="786609" y="105245"/>
                    </a:cubicBezTo>
                    <a:cubicBezTo>
                      <a:pt x="786153" y="102985"/>
                      <a:pt x="785480" y="100771"/>
                      <a:pt x="784630" y="98631"/>
                    </a:cubicBezTo>
                    <a:cubicBezTo>
                      <a:pt x="784579" y="98496"/>
                      <a:pt x="784491" y="98316"/>
                      <a:pt x="784453" y="98181"/>
                    </a:cubicBezTo>
                    <a:cubicBezTo>
                      <a:pt x="783286" y="95437"/>
                      <a:pt x="790871" y="89001"/>
                      <a:pt x="794828" y="83737"/>
                    </a:cubicBezTo>
                    <a:cubicBezTo>
                      <a:pt x="806472" y="105245"/>
                      <a:pt x="822822" y="96606"/>
                      <a:pt x="838601" y="91701"/>
                    </a:cubicBezTo>
                    <a:cubicBezTo>
                      <a:pt x="845387" y="83603"/>
                      <a:pt x="852123" y="75593"/>
                      <a:pt x="858148" y="68393"/>
                    </a:cubicBezTo>
                    <a:cubicBezTo>
                      <a:pt x="858693" y="67758"/>
                      <a:pt x="859226" y="67133"/>
                      <a:pt x="859721" y="66549"/>
                    </a:cubicBezTo>
                    <a:cubicBezTo>
                      <a:pt x="857539" y="55904"/>
                      <a:pt x="847760" y="48570"/>
                      <a:pt x="836940" y="49463"/>
                    </a:cubicBezTo>
                    <a:cubicBezTo>
                      <a:pt x="827642" y="49328"/>
                      <a:pt x="814387" y="50948"/>
                      <a:pt x="809935" y="45729"/>
                    </a:cubicBezTo>
                    <a:cubicBezTo>
                      <a:pt x="807957" y="43160"/>
                      <a:pt x="805166" y="41336"/>
                      <a:pt x="802020" y="40554"/>
                    </a:cubicBezTo>
                    <a:cubicBezTo>
                      <a:pt x="800435" y="40208"/>
                      <a:pt x="798786" y="40132"/>
                      <a:pt x="797175" y="40329"/>
                    </a:cubicBezTo>
                    <a:cubicBezTo>
                      <a:pt x="792000" y="41516"/>
                      <a:pt x="786736" y="42254"/>
                      <a:pt x="781447" y="42533"/>
                    </a:cubicBezTo>
                    <a:cubicBezTo>
                      <a:pt x="789755" y="38304"/>
                      <a:pt x="795906" y="35199"/>
                      <a:pt x="803327" y="31420"/>
                    </a:cubicBezTo>
                    <a:cubicBezTo>
                      <a:pt x="803860" y="31195"/>
                      <a:pt x="804405" y="30880"/>
                      <a:pt x="804988" y="30609"/>
                    </a:cubicBezTo>
                    <a:cubicBezTo>
                      <a:pt x="805128" y="30565"/>
                      <a:pt x="805217" y="30475"/>
                      <a:pt x="805344" y="30429"/>
                    </a:cubicBezTo>
                    <a:cubicBezTo>
                      <a:pt x="805039" y="30160"/>
                      <a:pt x="804709" y="29889"/>
                      <a:pt x="804456" y="29620"/>
                    </a:cubicBezTo>
                    <a:cubicBezTo>
                      <a:pt x="800003" y="25750"/>
                      <a:pt x="796363" y="22465"/>
                      <a:pt x="792900" y="19451"/>
                    </a:cubicBezTo>
                    <a:cubicBezTo>
                      <a:pt x="791556" y="18280"/>
                      <a:pt x="790287" y="17156"/>
                      <a:pt x="788994" y="16031"/>
                    </a:cubicBezTo>
                    <a:lnTo>
                      <a:pt x="788182" y="15355"/>
                    </a:lnTo>
                    <a:cubicBezTo>
                      <a:pt x="783818" y="11576"/>
                      <a:pt x="779328" y="7887"/>
                      <a:pt x="774876" y="4151"/>
                    </a:cubicBezTo>
                    <a:cubicBezTo>
                      <a:pt x="777578" y="4466"/>
                      <a:pt x="779861" y="4691"/>
                      <a:pt x="781891" y="5007"/>
                    </a:cubicBezTo>
                    <a:cubicBezTo>
                      <a:pt x="793484" y="6761"/>
                      <a:pt x="796541" y="10587"/>
                      <a:pt x="817076" y="36415"/>
                    </a:cubicBezTo>
                    <a:cubicBezTo>
                      <a:pt x="831422" y="39548"/>
                      <a:pt x="845413" y="44084"/>
                      <a:pt x="858871" y="49958"/>
                    </a:cubicBezTo>
                    <a:cubicBezTo>
                      <a:pt x="870299" y="56673"/>
                      <a:pt x="880193" y="65716"/>
                      <a:pt x="887905" y="76501"/>
                    </a:cubicBezTo>
                    <a:cubicBezTo>
                      <a:pt x="892421" y="84720"/>
                      <a:pt x="895173" y="93792"/>
                      <a:pt x="895998" y="103138"/>
                    </a:cubicBezTo>
                    <a:lnTo>
                      <a:pt x="896036" y="103184"/>
                    </a:lnTo>
                    <a:cubicBezTo>
                      <a:pt x="896175" y="103993"/>
                      <a:pt x="896302" y="104803"/>
                      <a:pt x="896480" y="105613"/>
                    </a:cubicBezTo>
                    <a:cubicBezTo>
                      <a:pt x="897786" y="113610"/>
                      <a:pt x="901109" y="121140"/>
                      <a:pt x="906145" y="127481"/>
                    </a:cubicBezTo>
                    <a:cubicBezTo>
                      <a:pt x="908808" y="130661"/>
                      <a:pt x="912119" y="133238"/>
                      <a:pt x="915861" y="135040"/>
                    </a:cubicBezTo>
                    <a:cubicBezTo>
                      <a:pt x="922977" y="137554"/>
                      <a:pt x="930397" y="139083"/>
                      <a:pt x="937932" y="139584"/>
                    </a:cubicBezTo>
                    <a:cubicBezTo>
                      <a:pt x="938299" y="139622"/>
                      <a:pt x="938680" y="139683"/>
                      <a:pt x="939048" y="139765"/>
                    </a:cubicBezTo>
                    <a:cubicBezTo>
                      <a:pt x="939098" y="139003"/>
                      <a:pt x="939137" y="138280"/>
                      <a:pt x="939187" y="137560"/>
                    </a:cubicBezTo>
                    <a:cubicBezTo>
                      <a:pt x="939682" y="131083"/>
                      <a:pt x="940037" y="125771"/>
                      <a:pt x="940354" y="120911"/>
                    </a:cubicBezTo>
                    <a:cubicBezTo>
                      <a:pt x="940354" y="120461"/>
                      <a:pt x="940392" y="120010"/>
                      <a:pt x="940443" y="119561"/>
                    </a:cubicBezTo>
                    <a:cubicBezTo>
                      <a:pt x="940620" y="116817"/>
                      <a:pt x="940798" y="114207"/>
                      <a:pt x="941026" y="111597"/>
                    </a:cubicBezTo>
                    <a:cubicBezTo>
                      <a:pt x="941965" y="111597"/>
                      <a:pt x="942916" y="111552"/>
                      <a:pt x="943855" y="111552"/>
                    </a:cubicBezTo>
                    <a:lnTo>
                      <a:pt x="944667" y="111552"/>
                    </a:lnTo>
                    <a:cubicBezTo>
                      <a:pt x="945111" y="114207"/>
                      <a:pt x="945605" y="116907"/>
                      <a:pt x="946062" y="119607"/>
                    </a:cubicBezTo>
                    <a:cubicBezTo>
                      <a:pt x="947051" y="125141"/>
                      <a:pt x="948041" y="130765"/>
                      <a:pt x="949068" y="136659"/>
                    </a:cubicBezTo>
                    <a:cubicBezTo>
                      <a:pt x="955905" y="137110"/>
                      <a:pt x="961930" y="137515"/>
                      <a:pt x="966598" y="137830"/>
                    </a:cubicBezTo>
                    <a:cubicBezTo>
                      <a:pt x="966509" y="136306"/>
                      <a:pt x="966382" y="134770"/>
                      <a:pt x="966280" y="133241"/>
                    </a:cubicBezTo>
                    <a:cubicBezTo>
                      <a:pt x="966192" y="131935"/>
                      <a:pt x="966065" y="130631"/>
                      <a:pt x="965976" y="129325"/>
                    </a:cubicBezTo>
                    <a:cubicBezTo>
                      <a:pt x="965837" y="127255"/>
                      <a:pt x="965697" y="125186"/>
                      <a:pt x="965570" y="123161"/>
                    </a:cubicBezTo>
                    <a:cubicBezTo>
                      <a:pt x="965532" y="123044"/>
                      <a:pt x="965519" y="122923"/>
                      <a:pt x="965519" y="122801"/>
                    </a:cubicBezTo>
                    <a:cubicBezTo>
                      <a:pt x="965342" y="120597"/>
                      <a:pt x="965202" y="118392"/>
                      <a:pt x="965075" y="116187"/>
                    </a:cubicBezTo>
                    <a:cubicBezTo>
                      <a:pt x="964987" y="115062"/>
                      <a:pt x="964898" y="113937"/>
                      <a:pt x="964809" y="112857"/>
                    </a:cubicBezTo>
                    <a:cubicBezTo>
                      <a:pt x="964492" y="108223"/>
                      <a:pt x="964124" y="103633"/>
                      <a:pt x="963820" y="99043"/>
                    </a:cubicBezTo>
                    <a:cubicBezTo>
                      <a:pt x="963769" y="98728"/>
                      <a:pt x="963769" y="98408"/>
                      <a:pt x="963718" y="98098"/>
                    </a:cubicBezTo>
                    <a:lnTo>
                      <a:pt x="963325" y="92429"/>
                    </a:lnTo>
                    <a:cubicBezTo>
                      <a:pt x="963224" y="90945"/>
                      <a:pt x="963135" y="89508"/>
                      <a:pt x="963008" y="88020"/>
                    </a:cubicBezTo>
                    <a:cubicBezTo>
                      <a:pt x="962146" y="76321"/>
                      <a:pt x="961346" y="64757"/>
                      <a:pt x="960484" y="53193"/>
                    </a:cubicBezTo>
                    <a:cubicBezTo>
                      <a:pt x="960484" y="52697"/>
                      <a:pt x="960446" y="52202"/>
                      <a:pt x="960395" y="51708"/>
                    </a:cubicBezTo>
                    <a:cubicBezTo>
                      <a:pt x="958594" y="50946"/>
                      <a:pt x="956805" y="50178"/>
                      <a:pt x="955055" y="49457"/>
                    </a:cubicBezTo>
                    <a:cubicBezTo>
                      <a:pt x="952087" y="54318"/>
                      <a:pt x="949170" y="59177"/>
                      <a:pt x="945567" y="65161"/>
                    </a:cubicBezTo>
                    <a:cubicBezTo>
                      <a:pt x="944603" y="62596"/>
                      <a:pt x="943969" y="59920"/>
                      <a:pt x="943677" y="57197"/>
                    </a:cubicBezTo>
                    <a:lnTo>
                      <a:pt x="943677" y="57105"/>
                    </a:lnTo>
                    <a:cubicBezTo>
                      <a:pt x="943094" y="52606"/>
                      <a:pt x="943043" y="48062"/>
                      <a:pt x="942333" y="44012"/>
                    </a:cubicBezTo>
                    <a:cubicBezTo>
                      <a:pt x="942066" y="42429"/>
                      <a:pt x="941597" y="40886"/>
                      <a:pt x="940938" y="39422"/>
                    </a:cubicBezTo>
                    <a:cubicBezTo>
                      <a:pt x="940050" y="37231"/>
                      <a:pt x="938528" y="35353"/>
                      <a:pt x="936574" y="34023"/>
                    </a:cubicBezTo>
                    <a:cubicBezTo>
                      <a:pt x="935027" y="33009"/>
                      <a:pt x="933302" y="32264"/>
                      <a:pt x="931500" y="31818"/>
                    </a:cubicBezTo>
                    <a:cubicBezTo>
                      <a:pt x="930499" y="31545"/>
                      <a:pt x="929484" y="31333"/>
                      <a:pt x="928444" y="31183"/>
                    </a:cubicBezTo>
                    <a:cubicBezTo>
                      <a:pt x="932756" y="23713"/>
                      <a:pt x="936498" y="17235"/>
                      <a:pt x="939542" y="11970"/>
                    </a:cubicBezTo>
                    <a:cubicBezTo>
                      <a:pt x="938743" y="11250"/>
                      <a:pt x="937880" y="10529"/>
                      <a:pt x="937081" y="9765"/>
                    </a:cubicBezTo>
                    <a:cubicBezTo>
                      <a:pt x="933264" y="6435"/>
                      <a:pt x="929611" y="3151"/>
                      <a:pt x="926071" y="1"/>
                    </a:cubicBezTo>
                    <a:lnTo>
                      <a:pt x="9145" y="1"/>
                    </a:lnTo>
                    <a:cubicBezTo>
                      <a:pt x="8422" y="1081"/>
                      <a:pt x="7711" y="2250"/>
                      <a:pt x="6950" y="3421"/>
                    </a:cubicBezTo>
                    <a:cubicBezTo>
                      <a:pt x="7978" y="4050"/>
                      <a:pt x="8967" y="4680"/>
                      <a:pt x="9906" y="5265"/>
                    </a:cubicBezTo>
                    <a:cubicBezTo>
                      <a:pt x="13647" y="7516"/>
                      <a:pt x="16565" y="9315"/>
                      <a:pt x="19127" y="10890"/>
                    </a:cubicBezTo>
                    <a:cubicBezTo>
                      <a:pt x="18315" y="11745"/>
                      <a:pt x="17504" y="12600"/>
                      <a:pt x="16692" y="13410"/>
                    </a:cubicBezTo>
                    <a:cubicBezTo>
                      <a:pt x="10946" y="19484"/>
                      <a:pt x="5327" y="25378"/>
                      <a:pt x="-26" y="31048"/>
                    </a:cubicBezTo>
                    <a:cubicBezTo>
                      <a:pt x="63" y="31318"/>
                      <a:pt x="164" y="31633"/>
                      <a:pt x="253" y="31904"/>
                    </a:cubicBezTo>
                    <a:cubicBezTo>
                      <a:pt x="1280" y="34783"/>
                      <a:pt x="2092" y="37258"/>
                      <a:pt x="2942" y="39687"/>
                    </a:cubicBezTo>
                    <a:lnTo>
                      <a:pt x="3614" y="41577"/>
                    </a:lnTo>
                    <a:cubicBezTo>
                      <a:pt x="3843" y="42117"/>
                      <a:pt x="4020" y="42657"/>
                      <a:pt x="4248" y="43196"/>
                    </a:cubicBezTo>
                    <a:cubicBezTo>
                      <a:pt x="5555" y="46662"/>
                      <a:pt x="6861" y="49856"/>
                      <a:pt x="7394" y="51252"/>
                    </a:cubicBezTo>
                    <a:cubicBezTo>
                      <a:pt x="14218" y="54393"/>
                      <a:pt x="21245" y="57069"/>
                      <a:pt x="28437" y="59261"/>
                    </a:cubicBezTo>
                    <a:cubicBezTo>
                      <a:pt x="38407" y="61938"/>
                      <a:pt x="48669" y="56008"/>
                      <a:pt x="51345" y="46016"/>
                    </a:cubicBezTo>
                    <a:cubicBezTo>
                      <a:pt x="51446" y="45619"/>
                      <a:pt x="51535" y="45219"/>
                      <a:pt x="51624" y="44817"/>
                    </a:cubicBezTo>
                    <a:cubicBezTo>
                      <a:pt x="51713" y="44097"/>
                      <a:pt x="51801" y="43377"/>
                      <a:pt x="51890" y="42702"/>
                    </a:cubicBezTo>
                    <a:cubicBezTo>
                      <a:pt x="52068" y="41305"/>
                      <a:pt x="52296" y="40002"/>
                      <a:pt x="52474" y="38742"/>
                    </a:cubicBezTo>
                    <a:cubicBezTo>
                      <a:pt x="54503" y="27178"/>
                      <a:pt x="58144" y="21644"/>
                      <a:pt x="66858" y="18720"/>
                    </a:cubicBezTo>
                    <a:lnTo>
                      <a:pt x="66858" y="18679"/>
                    </a:lnTo>
                    <a:cubicBezTo>
                      <a:pt x="67758" y="18364"/>
                      <a:pt x="68747" y="18095"/>
                      <a:pt x="69775" y="17824"/>
                    </a:cubicBezTo>
                    <a:cubicBezTo>
                      <a:pt x="73086" y="17075"/>
                      <a:pt x="76447" y="16534"/>
                      <a:pt x="79834" y="16205"/>
                    </a:cubicBezTo>
                    <a:lnTo>
                      <a:pt x="79795" y="16384"/>
                    </a:lnTo>
                    <a:cubicBezTo>
                      <a:pt x="78844" y="20067"/>
                      <a:pt x="77855" y="23809"/>
                      <a:pt x="76561" y="28894"/>
                    </a:cubicBezTo>
                    <a:cubicBezTo>
                      <a:pt x="76472" y="29299"/>
                      <a:pt x="76333" y="29703"/>
                      <a:pt x="76244" y="30108"/>
                    </a:cubicBezTo>
                    <a:cubicBezTo>
                      <a:pt x="88421" y="31773"/>
                      <a:pt x="100014" y="33393"/>
                      <a:pt x="114081" y="35283"/>
                    </a:cubicBezTo>
                    <a:cubicBezTo>
                      <a:pt x="115159" y="35463"/>
                      <a:pt x="116288" y="35642"/>
                      <a:pt x="117404" y="35778"/>
                    </a:cubicBezTo>
                    <a:cubicBezTo>
                      <a:pt x="114309" y="37083"/>
                      <a:pt x="111113" y="38118"/>
                      <a:pt x="108056" y="39063"/>
                    </a:cubicBezTo>
                    <a:cubicBezTo>
                      <a:pt x="104872" y="40052"/>
                      <a:pt x="101764" y="40952"/>
                      <a:pt x="98987" y="41943"/>
                    </a:cubicBezTo>
                    <a:cubicBezTo>
                      <a:pt x="94636" y="43102"/>
                      <a:pt x="90729" y="45548"/>
                      <a:pt x="87787" y="48962"/>
                    </a:cubicBezTo>
                    <a:cubicBezTo>
                      <a:pt x="83258" y="55576"/>
                      <a:pt x="68608" y="62505"/>
                      <a:pt x="78261" y="76094"/>
                    </a:cubicBezTo>
                    <a:cubicBezTo>
                      <a:pt x="85136" y="74744"/>
                      <a:pt x="91478" y="73529"/>
                      <a:pt x="97820" y="72269"/>
                    </a:cubicBezTo>
                    <a:cubicBezTo>
                      <a:pt x="97909" y="72269"/>
                      <a:pt x="98036" y="72225"/>
                      <a:pt x="98124" y="72225"/>
                    </a:cubicBezTo>
                    <a:cubicBezTo>
                      <a:pt x="100686" y="73304"/>
                      <a:pt x="103248" y="74384"/>
                      <a:pt x="105811" y="75419"/>
                    </a:cubicBezTo>
                    <a:cubicBezTo>
                      <a:pt x="107612" y="76181"/>
                      <a:pt x="109451" y="76903"/>
                      <a:pt x="111252" y="77669"/>
                    </a:cubicBezTo>
                    <a:cubicBezTo>
                      <a:pt x="114982" y="79244"/>
                      <a:pt x="118672" y="80863"/>
                      <a:pt x="122313" y="82574"/>
                    </a:cubicBezTo>
                    <a:cubicBezTo>
                      <a:pt x="123822" y="83281"/>
                      <a:pt x="125116" y="84366"/>
                      <a:pt x="126080" y="85724"/>
                    </a:cubicBezTo>
                    <a:cubicBezTo>
                      <a:pt x="126334" y="86036"/>
                      <a:pt x="126562" y="86366"/>
                      <a:pt x="126752" y="86713"/>
                    </a:cubicBezTo>
                    <a:cubicBezTo>
                      <a:pt x="128211" y="89482"/>
                      <a:pt x="129048" y="92540"/>
                      <a:pt x="129188" y="95668"/>
                    </a:cubicBezTo>
                    <a:cubicBezTo>
                      <a:pt x="129403" y="97737"/>
                      <a:pt x="129365" y="99537"/>
                      <a:pt x="129492" y="100572"/>
                    </a:cubicBezTo>
                    <a:cubicBezTo>
                      <a:pt x="129543" y="101157"/>
                      <a:pt x="129632" y="101562"/>
                      <a:pt x="129771" y="101607"/>
                    </a:cubicBezTo>
                    <a:cubicBezTo>
                      <a:pt x="136329" y="103629"/>
                      <a:pt x="141162" y="109218"/>
                      <a:pt x="142215" y="116005"/>
                    </a:cubicBezTo>
                    <a:cubicBezTo>
                      <a:pt x="142519" y="117822"/>
                      <a:pt x="142696" y="119655"/>
                      <a:pt x="142760" y="121496"/>
                    </a:cubicBezTo>
                    <a:cubicBezTo>
                      <a:pt x="142798" y="123070"/>
                      <a:pt x="142798" y="124690"/>
                      <a:pt x="142849" y="126310"/>
                    </a:cubicBezTo>
                    <a:lnTo>
                      <a:pt x="142849" y="128694"/>
                    </a:lnTo>
                    <a:cubicBezTo>
                      <a:pt x="142684" y="133498"/>
                      <a:pt x="143584" y="138279"/>
                      <a:pt x="145500" y="142688"/>
                    </a:cubicBezTo>
                    <a:cubicBezTo>
                      <a:pt x="146793" y="145198"/>
                      <a:pt x="148557" y="147430"/>
                      <a:pt x="150713" y="149258"/>
                    </a:cubicBezTo>
                    <a:cubicBezTo>
                      <a:pt x="148734" y="149212"/>
                      <a:pt x="146844" y="149168"/>
                      <a:pt x="145005" y="149033"/>
                    </a:cubicBezTo>
                    <a:cubicBezTo>
                      <a:pt x="137369" y="148744"/>
                      <a:pt x="129847" y="147066"/>
                      <a:pt x="122808" y="144080"/>
                    </a:cubicBezTo>
                    <a:cubicBezTo>
                      <a:pt x="119154" y="142467"/>
                      <a:pt x="115818" y="140246"/>
                      <a:pt x="112914" y="137512"/>
                    </a:cubicBezTo>
                    <a:cubicBezTo>
                      <a:pt x="112077" y="136746"/>
                      <a:pt x="111290" y="135934"/>
                      <a:pt x="110542" y="135081"/>
                    </a:cubicBezTo>
                    <a:cubicBezTo>
                      <a:pt x="95346" y="119481"/>
                      <a:pt x="74544" y="110646"/>
                      <a:pt x="52791" y="110558"/>
                    </a:cubicBezTo>
                    <a:cubicBezTo>
                      <a:pt x="45941" y="111373"/>
                      <a:pt x="39308" y="113479"/>
                      <a:pt x="33245" y="116767"/>
                    </a:cubicBezTo>
                    <a:cubicBezTo>
                      <a:pt x="34006" y="118298"/>
                      <a:pt x="34767" y="119782"/>
                      <a:pt x="35528" y="121223"/>
                    </a:cubicBezTo>
                    <a:cubicBezTo>
                      <a:pt x="37925" y="125881"/>
                      <a:pt x="40842" y="130257"/>
                      <a:pt x="44204" y="134272"/>
                    </a:cubicBezTo>
                    <a:cubicBezTo>
                      <a:pt x="47210" y="137957"/>
                      <a:pt x="50850" y="141080"/>
                      <a:pt x="54947" y="143496"/>
                    </a:cubicBezTo>
                    <a:cubicBezTo>
                      <a:pt x="59323" y="145932"/>
                      <a:pt x="64105" y="147547"/>
                      <a:pt x="69052" y="148265"/>
                    </a:cubicBezTo>
                    <a:cubicBezTo>
                      <a:pt x="78083" y="151092"/>
                      <a:pt x="86011" y="156678"/>
                      <a:pt x="91706" y="164239"/>
                    </a:cubicBezTo>
                    <a:cubicBezTo>
                      <a:pt x="98492" y="172279"/>
                      <a:pt x="108728" y="176576"/>
                      <a:pt x="119205" y="175796"/>
                    </a:cubicBezTo>
                    <a:cubicBezTo>
                      <a:pt x="130532" y="175527"/>
                      <a:pt x="141808" y="174851"/>
                      <a:pt x="152019" y="174399"/>
                    </a:cubicBezTo>
                    <a:cubicBezTo>
                      <a:pt x="152285" y="176334"/>
                      <a:pt x="152552" y="178088"/>
                      <a:pt x="152819" y="179799"/>
                    </a:cubicBezTo>
                    <a:cubicBezTo>
                      <a:pt x="153009" y="181059"/>
                      <a:pt x="153186" y="182274"/>
                      <a:pt x="153364" y="183444"/>
                    </a:cubicBezTo>
                    <a:cubicBezTo>
                      <a:pt x="153820" y="186516"/>
                      <a:pt x="154125" y="189611"/>
                      <a:pt x="154264" y="192715"/>
                    </a:cubicBezTo>
                    <a:cubicBezTo>
                      <a:pt x="154264" y="192895"/>
                      <a:pt x="153364" y="193120"/>
                      <a:pt x="152108" y="193350"/>
                    </a:cubicBezTo>
                    <a:cubicBezTo>
                      <a:pt x="150269" y="193665"/>
                      <a:pt x="147567" y="193985"/>
                      <a:pt x="145766" y="194295"/>
                    </a:cubicBezTo>
                    <a:lnTo>
                      <a:pt x="145855" y="194340"/>
                    </a:lnTo>
                    <a:cubicBezTo>
                      <a:pt x="146261" y="197465"/>
                      <a:pt x="145753" y="200641"/>
                      <a:pt x="144371" y="203474"/>
                    </a:cubicBezTo>
                    <a:cubicBezTo>
                      <a:pt x="144054" y="204373"/>
                      <a:pt x="143737" y="205274"/>
                      <a:pt x="143470" y="206128"/>
                    </a:cubicBezTo>
                    <a:cubicBezTo>
                      <a:pt x="141821" y="210435"/>
                      <a:pt x="143090" y="215317"/>
                      <a:pt x="146616" y="218277"/>
                    </a:cubicBezTo>
                    <a:cubicBezTo>
                      <a:pt x="147161" y="218773"/>
                      <a:pt x="146299" y="220707"/>
                      <a:pt x="144815" y="223407"/>
                    </a:cubicBezTo>
                    <a:cubicBezTo>
                      <a:pt x="144371" y="224217"/>
                      <a:pt x="143876" y="225072"/>
                      <a:pt x="143293" y="226017"/>
                    </a:cubicBezTo>
                    <a:cubicBezTo>
                      <a:pt x="141682" y="228717"/>
                      <a:pt x="139703" y="231866"/>
                      <a:pt x="137813" y="234881"/>
                    </a:cubicBezTo>
                    <a:lnTo>
                      <a:pt x="137813" y="234926"/>
                    </a:lnTo>
                    <a:cubicBezTo>
                      <a:pt x="136735" y="236681"/>
                      <a:pt x="135708" y="238390"/>
                      <a:pt x="134807" y="240006"/>
                    </a:cubicBezTo>
                    <a:cubicBezTo>
                      <a:pt x="135974" y="240043"/>
                      <a:pt x="137141" y="240013"/>
                      <a:pt x="138308" y="239916"/>
                    </a:cubicBezTo>
                    <a:cubicBezTo>
                      <a:pt x="142113" y="239138"/>
                      <a:pt x="145982" y="238732"/>
                      <a:pt x="149863" y="238700"/>
                    </a:cubicBezTo>
                    <a:cubicBezTo>
                      <a:pt x="150497" y="238778"/>
                      <a:pt x="151119" y="238961"/>
                      <a:pt x="151702" y="239241"/>
                    </a:cubicBezTo>
                    <a:cubicBezTo>
                      <a:pt x="154125" y="240231"/>
                      <a:pt x="155875" y="242797"/>
                      <a:pt x="156598" y="248239"/>
                    </a:cubicBezTo>
                    <a:cubicBezTo>
                      <a:pt x="156649" y="248690"/>
                      <a:pt x="156687" y="249140"/>
                      <a:pt x="156738" y="249636"/>
                    </a:cubicBezTo>
                    <a:cubicBezTo>
                      <a:pt x="152146" y="250940"/>
                      <a:pt x="147427" y="252336"/>
                      <a:pt x="142265" y="253775"/>
                    </a:cubicBezTo>
                    <a:cubicBezTo>
                      <a:pt x="139563" y="254585"/>
                      <a:pt x="136786" y="255396"/>
                      <a:pt x="133767" y="256250"/>
                    </a:cubicBezTo>
                    <a:cubicBezTo>
                      <a:pt x="133361" y="256340"/>
                      <a:pt x="132917" y="256475"/>
                      <a:pt x="132460" y="256610"/>
                    </a:cubicBezTo>
                    <a:cubicBezTo>
                      <a:pt x="132600" y="257825"/>
                      <a:pt x="132777" y="258995"/>
                      <a:pt x="132917" y="260210"/>
                    </a:cubicBezTo>
                    <a:cubicBezTo>
                      <a:pt x="133856" y="267769"/>
                      <a:pt x="134845" y="275418"/>
                      <a:pt x="135783" y="282933"/>
                    </a:cubicBezTo>
                    <a:cubicBezTo>
                      <a:pt x="135923" y="283878"/>
                      <a:pt x="136012" y="284778"/>
                      <a:pt x="136152" y="285677"/>
                    </a:cubicBezTo>
                    <a:cubicBezTo>
                      <a:pt x="135758" y="286560"/>
                      <a:pt x="135302" y="287403"/>
                      <a:pt x="134756" y="288197"/>
                    </a:cubicBezTo>
                    <a:lnTo>
                      <a:pt x="134705" y="288287"/>
                    </a:lnTo>
                    <a:cubicBezTo>
                      <a:pt x="123429" y="305790"/>
                      <a:pt x="94801" y="284418"/>
                      <a:pt x="86214" y="308226"/>
                    </a:cubicBezTo>
                    <a:cubicBezTo>
                      <a:pt x="86391" y="308630"/>
                      <a:pt x="86582" y="309035"/>
                      <a:pt x="86759" y="309396"/>
                    </a:cubicBezTo>
                    <a:cubicBezTo>
                      <a:pt x="87660" y="311447"/>
                      <a:pt x="88928" y="313322"/>
                      <a:pt x="90488" y="314931"/>
                    </a:cubicBezTo>
                    <a:lnTo>
                      <a:pt x="90577" y="315021"/>
                    </a:lnTo>
                    <a:cubicBezTo>
                      <a:pt x="94966" y="319360"/>
                      <a:pt x="101714" y="320225"/>
                      <a:pt x="107066" y="317135"/>
                    </a:cubicBezTo>
                    <a:cubicBezTo>
                      <a:pt x="111277" y="315154"/>
                      <a:pt x="115337" y="312852"/>
                      <a:pt x="119193" y="310251"/>
                    </a:cubicBezTo>
                    <a:cubicBezTo>
                      <a:pt x="119560" y="310026"/>
                      <a:pt x="119877" y="309801"/>
                      <a:pt x="120233" y="309575"/>
                    </a:cubicBezTo>
                    <a:cubicBezTo>
                      <a:pt x="123607" y="307370"/>
                      <a:pt x="127285" y="304896"/>
                      <a:pt x="131559" y="302287"/>
                    </a:cubicBezTo>
                    <a:cubicBezTo>
                      <a:pt x="131103" y="304209"/>
                      <a:pt x="130798" y="306165"/>
                      <a:pt x="130659" y="308136"/>
                    </a:cubicBezTo>
                    <a:cubicBezTo>
                      <a:pt x="130481" y="309994"/>
                      <a:pt x="130520" y="311869"/>
                      <a:pt x="130798" y="313715"/>
                    </a:cubicBezTo>
                    <a:cubicBezTo>
                      <a:pt x="131281" y="317610"/>
                      <a:pt x="132663" y="321339"/>
                      <a:pt x="134845" y="324604"/>
                    </a:cubicBezTo>
                    <a:cubicBezTo>
                      <a:pt x="135264" y="325332"/>
                      <a:pt x="135745" y="326024"/>
                      <a:pt x="136278" y="326674"/>
                    </a:cubicBezTo>
                    <a:cubicBezTo>
                      <a:pt x="142138" y="333179"/>
                      <a:pt x="148417" y="339297"/>
                      <a:pt x="155064" y="344988"/>
                    </a:cubicBezTo>
                    <a:cubicBezTo>
                      <a:pt x="154924" y="345078"/>
                      <a:pt x="154785" y="345167"/>
                      <a:pt x="154708" y="345213"/>
                    </a:cubicBezTo>
                    <a:cubicBezTo>
                      <a:pt x="154303" y="345528"/>
                      <a:pt x="153897" y="345797"/>
                      <a:pt x="153529" y="346067"/>
                    </a:cubicBezTo>
                    <a:cubicBezTo>
                      <a:pt x="151372" y="347552"/>
                      <a:pt x="149394" y="348948"/>
                      <a:pt x="147554" y="350252"/>
                    </a:cubicBezTo>
                    <a:cubicBezTo>
                      <a:pt x="146743" y="350837"/>
                      <a:pt x="145982" y="351377"/>
                      <a:pt x="145221" y="351872"/>
                    </a:cubicBezTo>
                    <a:cubicBezTo>
                      <a:pt x="142570" y="353762"/>
                      <a:pt x="140185" y="355428"/>
                      <a:pt x="137851" y="357046"/>
                    </a:cubicBezTo>
                    <a:lnTo>
                      <a:pt x="137889" y="357137"/>
                    </a:lnTo>
                    <a:cubicBezTo>
                      <a:pt x="138168" y="357899"/>
                      <a:pt x="138435" y="358621"/>
                      <a:pt x="138701" y="359341"/>
                    </a:cubicBezTo>
                    <a:cubicBezTo>
                      <a:pt x="139741" y="362220"/>
                      <a:pt x="140641" y="364741"/>
                      <a:pt x="141491" y="367081"/>
                    </a:cubicBezTo>
                    <a:cubicBezTo>
                      <a:pt x="141808" y="367935"/>
                      <a:pt x="142075" y="368746"/>
                      <a:pt x="142392" y="369600"/>
                    </a:cubicBezTo>
                    <a:cubicBezTo>
                      <a:pt x="130596" y="368409"/>
                      <a:pt x="119002" y="365733"/>
                      <a:pt x="107878" y="361636"/>
                    </a:cubicBezTo>
                    <a:cubicBezTo>
                      <a:pt x="106204" y="360765"/>
                      <a:pt x="104479" y="359999"/>
                      <a:pt x="102716" y="359341"/>
                    </a:cubicBezTo>
                    <a:cubicBezTo>
                      <a:pt x="102526" y="359296"/>
                      <a:pt x="102399" y="359251"/>
                      <a:pt x="102259" y="359207"/>
                    </a:cubicBezTo>
                    <a:cubicBezTo>
                      <a:pt x="96805" y="357271"/>
                      <a:pt x="90843" y="357303"/>
                      <a:pt x="85415" y="359296"/>
                    </a:cubicBezTo>
                    <a:cubicBezTo>
                      <a:pt x="80214" y="361378"/>
                      <a:pt x="75419" y="364364"/>
                      <a:pt x="71247" y="368116"/>
                    </a:cubicBezTo>
                    <a:cubicBezTo>
                      <a:pt x="71005" y="368123"/>
                      <a:pt x="70764" y="368154"/>
                      <a:pt x="70536" y="368206"/>
                    </a:cubicBezTo>
                    <a:cubicBezTo>
                      <a:pt x="70536" y="368385"/>
                      <a:pt x="70486" y="368521"/>
                      <a:pt x="70486" y="368655"/>
                    </a:cubicBezTo>
                    <a:cubicBezTo>
                      <a:pt x="68063" y="370320"/>
                      <a:pt x="65412" y="371805"/>
                      <a:pt x="63078" y="373515"/>
                    </a:cubicBezTo>
                    <a:cubicBezTo>
                      <a:pt x="57408" y="376748"/>
                      <a:pt x="54402" y="383203"/>
                      <a:pt x="55569" y="389623"/>
                    </a:cubicBezTo>
                    <a:cubicBezTo>
                      <a:pt x="56013" y="389669"/>
                      <a:pt x="56507" y="389759"/>
                      <a:pt x="56964" y="389848"/>
                    </a:cubicBezTo>
                    <a:cubicBezTo>
                      <a:pt x="61277" y="390433"/>
                      <a:pt x="65678" y="391063"/>
                      <a:pt x="71931" y="391964"/>
                    </a:cubicBezTo>
                    <a:cubicBezTo>
                      <a:pt x="69952" y="392909"/>
                      <a:pt x="68151" y="393763"/>
                      <a:pt x="66541" y="394528"/>
                    </a:cubicBezTo>
                    <a:cubicBezTo>
                      <a:pt x="62672" y="396373"/>
                      <a:pt x="59577" y="397902"/>
                      <a:pt x="56292" y="399433"/>
                    </a:cubicBezTo>
                    <a:cubicBezTo>
                      <a:pt x="56647" y="401090"/>
                      <a:pt x="57154" y="402716"/>
                      <a:pt x="57776" y="404292"/>
                    </a:cubicBezTo>
                    <a:cubicBezTo>
                      <a:pt x="59805" y="410477"/>
                      <a:pt x="65247" y="414918"/>
                      <a:pt x="71703" y="415676"/>
                    </a:cubicBezTo>
                    <a:cubicBezTo>
                      <a:pt x="71830" y="415728"/>
                      <a:pt x="71969" y="415759"/>
                      <a:pt x="72109" y="415766"/>
                    </a:cubicBezTo>
                    <a:lnTo>
                      <a:pt x="72248" y="415766"/>
                    </a:lnTo>
                    <a:cubicBezTo>
                      <a:pt x="79034" y="416891"/>
                      <a:pt x="86759" y="415991"/>
                      <a:pt x="93317" y="417746"/>
                    </a:cubicBezTo>
                    <a:cubicBezTo>
                      <a:pt x="93621" y="417773"/>
                      <a:pt x="93900" y="417849"/>
                      <a:pt x="94179" y="417971"/>
                    </a:cubicBezTo>
                    <a:cubicBezTo>
                      <a:pt x="94268" y="417963"/>
                      <a:pt x="94357" y="417978"/>
                      <a:pt x="94446" y="418015"/>
                    </a:cubicBezTo>
                    <a:cubicBezTo>
                      <a:pt x="94306" y="418286"/>
                      <a:pt x="94179" y="418511"/>
                      <a:pt x="94040" y="418777"/>
                    </a:cubicBezTo>
                    <a:lnTo>
                      <a:pt x="94040" y="418822"/>
                    </a:lnTo>
                    <a:cubicBezTo>
                      <a:pt x="92645" y="421477"/>
                      <a:pt x="91439" y="424132"/>
                      <a:pt x="89955" y="426607"/>
                    </a:cubicBezTo>
                    <a:cubicBezTo>
                      <a:pt x="89512" y="427404"/>
                      <a:pt x="89017" y="428172"/>
                      <a:pt x="88472" y="428902"/>
                    </a:cubicBezTo>
                    <a:cubicBezTo>
                      <a:pt x="87964" y="429568"/>
                      <a:pt x="87343" y="430134"/>
                      <a:pt x="86632" y="430565"/>
                    </a:cubicBezTo>
                    <a:cubicBezTo>
                      <a:pt x="85199" y="431472"/>
                      <a:pt x="83715" y="432284"/>
                      <a:pt x="82180" y="432996"/>
                    </a:cubicBezTo>
                    <a:cubicBezTo>
                      <a:pt x="81774" y="433221"/>
                      <a:pt x="81419" y="433401"/>
                      <a:pt x="81051" y="433631"/>
                    </a:cubicBezTo>
                    <a:cubicBezTo>
                      <a:pt x="79656" y="434350"/>
                      <a:pt x="78362" y="435116"/>
                      <a:pt x="77145" y="435836"/>
                    </a:cubicBezTo>
                    <a:cubicBezTo>
                      <a:pt x="75254" y="437006"/>
                      <a:pt x="73542" y="438175"/>
                      <a:pt x="72020" y="439300"/>
                    </a:cubicBezTo>
                    <a:cubicBezTo>
                      <a:pt x="70752" y="440257"/>
                      <a:pt x="69560" y="441294"/>
                      <a:pt x="68430" y="442406"/>
                    </a:cubicBezTo>
                    <a:cubicBezTo>
                      <a:pt x="64930" y="445510"/>
                      <a:pt x="62672" y="449778"/>
                      <a:pt x="62088" y="454419"/>
                    </a:cubicBezTo>
                    <a:cubicBezTo>
                      <a:pt x="61759" y="457975"/>
                      <a:pt x="62304" y="461556"/>
                      <a:pt x="63661" y="464858"/>
                    </a:cubicBezTo>
                    <a:cubicBezTo>
                      <a:pt x="64296" y="466660"/>
                      <a:pt x="65069" y="468405"/>
                      <a:pt x="65995" y="470078"/>
                    </a:cubicBezTo>
                    <a:cubicBezTo>
                      <a:pt x="67213" y="472445"/>
                      <a:pt x="68570" y="474742"/>
                      <a:pt x="70042" y="476962"/>
                    </a:cubicBezTo>
                    <a:cubicBezTo>
                      <a:pt x="70574" y="477817"/>
                      <a:pt x="71157" y="478672"/>
                      <a:pt x="71792" y="479572"/>
                    </a:cubicBezTo>
                    <a:lnTo>
                      <a:pt x="72198" y="480112"/>
                    </a:lnTo>
                    <a:cubicBezTo>
                      <a:pt x="73682" y="482317"/>
                      <a:pt x="75254" y="484521"/>
                      <a:pt x="76777" y="486771"/>
                    </a:cubicBezTo>
                    <a:cubicBezTo>
                      <a:pt x="77043" y="487176"/>
                      <a:pt x="77360" y="487581"/>
                      <a:pt x="77627" y="487986"/>
                    </a:cubicBezTo>
                    <a:cubicBezTo>
                      <a:pt x="78844" y="489741"/>
                      <a:pt x="80062" y="491495"/>
                      <a:pt x="81229" y="493296"/>
                    </a:cubicBezTo>
                    <a:cubicBezTo>
                      <a:pt x="81812" y="494151"/>
                      <a:pt x="82396" y="495005"/>
                      <a:pt x="82929" y="495860"/>
                    </a:cubicBezTo>
                    <a:cubicBezTo>
                      <a:pt x="84463" y="498155"/>
                      <a:pt x="85947" y="500494"/>
                      <a:pt x="87343" y="502835"/>
                    </a:cubicBezTo>
                    <a:cubicBezTo>
                      <a:pt x="87609" y="503284"/>
                      <a:pt x="87876" y="503735"/>
                      <a:pt x="88104" y="504185"/>
                    </a:cubicBezTo>
                    <a:cubicBezTo>
                      <a:pt x="89042" y="505760"/>
                      <a:pt x="89943" y="507289"/>
                      <a:pt x="90755" y="508863"/>
                    </a:cubicBezTo>
                    <a:lnTo>
                      <a:pt x="90843" y="509044"/>
                    </a:lnTo>
                    <a:cubicBezTo>
                      <a:pt x="91478" y="510123"/>
                      <a:pt x="92061" y="511294"/>
                      <a:pt x="92645" y="512418"/>
                    </a:cubicBezTo>
                    <a:cubicBezTo>
                      <a:pt x="92822" y="512770"/>
                      <a:pt x="92987" y="513131"/>
                      <a:pt x="93139" y="513499"/>
                    </a:cubicBezTo>
                    <a:cubicBezTo>
                      <a:pt x="94902" y="517037"/>
                      <a:pt x="96437" y="520690"/>
                      <a:pt x="97718" y="524432"/>
                    </a:cubicBezTo>
                    <a:cubicBezTo>
                      <a:pt x="98162" y="525602"/>
                      <a:pt x="98530" y="526817"/>
                      <a:pt x="98885" y="528033"/>
                    </a:cubicBezTo>
                    <a:cubicBezTo>
                      <a:pt x="99431" y="529877"/>
                      <a:pt x="99925" y="531767"/>
                      <a:pt x="100319" y="533702"/>
                    </a:cubicBezTo>
                    <a:cubicBezTo>
                      <a:pt x="100927" y="536551"/>
                      <a:pt x="101346" y="539436"/>
                      <a:pt x="101587" y="542338"/>
                    </a:cubicBezTo>
                    <a:cubicBezTo>
                      <a:pt x="101625" y="542609"/>
                      <a:pt x="101625" y="542878"/>
                      <a:pt x="101676" y="543100"/>
                    </a:cubicBezTo>
                    <a:cubicBezTo>
                      <a:pt x="103198" y="556419"/>
                      <a:pt x="114613" y="551019"/>
                      <a:pt x="121260" y="554978"/>
                    </a:cubicBezTo>
                    <a:cubicBezTo>
                      <a:pt x="120055" y="556104"/>
                      <a:pt x="118888" y="557137"/>
                      <a:pt x="117810" y="558128"/>
                    </a:cubicBezTo>
                    <a:cubicBezTo>
                      <a:pt x="116098" y="559703"/>
                      <a:pt x="114613" y="561099"/>
                      <a:pt x="113307" y="562403"/>
                    </a:cubicBezTo>
                    <a:cubicBezTo>
                      <a:pt x="112102" y="563573"/>
                      <a:pt x="111062" y="564698"/>
                      <a:pt x="110162" y="565733"/>
                    </a:cubicBezTo>
                    <a:cubicBezTo>
                      <a:pt x="108069" y="567977"/>
                      <a:pt x="106496" y="570669"/>
                      <a:pt x="105583" y="573607"/>
                    </a:cubicBezTo>
                    <a:cubicBezTo>
                      <a:pt x="104986" y="582209"/>
                      <a:pt x="106686" y="590815"/>
                      <a:pt x="110529" y="598534"/>
                    </a:cubicBezTo>
                    <a:cubicBezTo>
                      <a:pt x="114309" y="592596"/>
                      <a:pt x="117455" y="587691"/>
                      <a:pt x="120461" y="582741"/>
                    </a:cubicBezTo>
                    <a:cubicBezTo>
                      <a:pt x="123518" y="577747"/>
                      <a:pt x="125357" y="570817"/>
                      <a:pt x="129758" y="568118"/>
                    </a:cubicBezTo>
                    <a:cubicBezTo>
                      <a:pt x="134325" y="565638"/>
                      <a:pt x="139373" y="564206"/>
                      <a:pt x="144548" y="563927"/>
                    </a:cubicBezTo>
                    <a:lnTo>
                      <a:pt x="146756" y="563791"/>
                    </a:lnTo>
                    <a:lnTo>
                      <a:pt x="146793" y="563791"/>
                    </a:lnTo>
                    <a:cubicBezTo>
                      <a:pt x="147783" y="563747"/>
                      <a:pt x="148734" y="563747"/>
                      <a:pt x="149673" y="563747"/>
                    </a:cubicBezTo>
                    <a:cubicBezTo>
                      <a:pt x="158932" y="563791"/>
                      <a:pt x="160949" y="568700"/>
                      <a:pt x="161532" y="573961"/>
                    </a:cubicBezTo>
                    <a:cubicBezTo>
                      <a:pt x="161672" y="575220"/>
                      <a:pt x="161761" y="576525"/>
                      <a:pt x="161849" y="577741"/>
                    </a:cubicBezTo>
                    <a:cubicBezTo>
                      <a:pt x="161773" y="580008"/>
                      <a:pt x="162179" y="582266"/>
                      <a:pt x="163067" y="584355"/>
                    </a:cubicBezTo>
                    <a:cubicBezTo>
                      <a:pt x="162877" y="584591"/>
                      <a:pt x="162687" y="584816"/>
                      <a:pt x="162484" y="585029"/>
                    </a:cubicBezTo>
                    <a:cubicBezTo>
                      <a:pt x="162116" y="585525"/>
                      <a:pt x="161723" y="585974"/>
                      <a:pt x="161317" y="586469"/>
                    </a:cubicBezTo>
                    <a:cubicBezTo>
                      <a:pt x="159922" y="588179"/>
                      <a:pt x="158615" y="589934"/>
                      <a:pt x="157270" y="591689"/>
                    </a:cubicBezTo>
                    <a:cubicBezTo>
                      <a:pt x="156547" y="592678"/>
                      <a:pt x="155786" y="593623"/>
                      <a:pt x="155064" y="594610"/>
                    </a:cubicBezTo>
                    <a:lnTo>
                      <a:pt x="155025" y="594610"/>
                    </a:lnTo>
                    <a:cubicBezTo>
                      <a:pt x="150573" y="601335"/>
                      <a:pt x="144536" y="606853"/>
                      <a:pt x="137445" y="610673"/>
                    </a:cubicBezTo>
                    <a:lnTo>
                      <a:pt x="137268" y="610763"/>
                    </a:lnTo>
                    <a:cubicBezTo>
                      <a:pt x="132549" y="612833"/>
                      <a:pt x="127399" y="613758"/>
                      <a:pt x="122262" y="613463"/>
                    </a:cubicBezTo>
                    <a:cubicBezTo>
                      <a:pt x="123023" y="616568"/>
                      <a:pt x="123607" y="619538"/>
                      <a:pt x="124152" y="622372"/>
                    </a:cubicBezTo>
                    <a:cubicBezTo>
                      <a:pt x="124786" y="625566"/>
                      <a:pt x="125357" y="628581"/>
                      <a:pt x="126030" y="631417"/>
                    </a:cubicBezTo>
                    <a:cubicBezTo>
                      <a:pt x="126169" y="632092"/>
                      <a:pt x="126309" y="632766"/>
                      <a:pt x="126486" y="633396"/>
                    </a:cubicBezTo>
                    <a:cubicBezTo>
                      <a:pt x="127209" y="636392"/>
                      <a:pt x="128249" y="639301"/>
                      <a:pt x="129581" y="642080"/>
                    </a:cubicBezTo>
                    <a:cubicBezTo>
                      <a:pt x="130126" y="643214"/>
                      <a:pt x="130748" y="644312"/>
                      <a:pt x="131420" y="645366"/>
                    </a:cubicBezTo>
                    <a:cubicBezTo>
                      <a:pt x="131611" y="645711"/>
                      <a:pt x="131826" y="646043"/>
                      <a:pt x="132054" y="646355"/>
                    </a:cubicBezTo>
                    <a:cubicBezTo>
                      <a:pt x="133044" y="647879"/>
                      <a:pt x="134122" y="649370"/>
                      <a:pt x="135251" y="650855"/>
                    </a:cubicBezTo>
                    <a:cubicBezTo>
                      <a:pt x="135657" y="651350"/>
                      <a:pt x="136063" y="651890"/>
                      <a:pt x="136469" y="652429"/>
                    </a:cubicBezTo>
                    <a:cubicBezTo>
                      <a:pt x="138485" y="654949"/>
                      <a:pt x="140553" y="657424"/>
                      <a:pt x="142532" y="659988"/>
                    </a:cubicBezTo>
                    <a:lnTo>
                      <a:pt x="143343" y="661069"/>
                    </a:lnTo>
                    <a:cubicBezTo>
                      <a:pt x="144713" y="662884"/>
                      <a:pt x="145969" y="664778"/>
                      <a:pt x="147110" y="666738"/>
                    </a:cubicBezTo>
                    <a:cubicBezTo>
                      <a:pt x="147922" y="668179"/>
                      <a:pt x="148874" y="669659"/>
                      <a:pt x="149812" y="671192"/>
                    </a:cubicBezTo>
                    <a:cubicBezTo>
                      <a:pt x="150396" y="672183"/>
                      <a:pt x="151030" y="673172"/>
                      <a:pt x="151651" y="674163"/>
                    </a:cubicBezTo>
                    <a:cubicBezTo>
                      <a:pt x="153402" y="677042"/>
                      <a:pt x="155165" y="680013"/>
                      <a:pt x="156598" y="682892"/>
                    </a:cubicBezTo>
                    <a:lnTo>
                      <a:pt x="156598" y="682937"/>
                    </a:lnTo>
                    <a:cubicBezTo>
                      <a:pt x="157778" y="685113"/>
                      <a:pt x="158678" y="687424"/>
                      <a:pt x="159300" y="689821"/>
                    </a:cubicBezTo>
                    <a:cubicBezTo>
                      <a:pt x="159389" y="690192"/>
                      <a:pt x="159465" y="690567"/>
                      <a:pt x="159516" y="690946"/>
                    </a:cubicBezTo>
                    <a:cubicBezTo>
                      <a:pt x="159845" y="692631"/>
                      <a:pt x="159782" y="694369"/>
                      <a:pt x="159338" y="696026"/>
                    </a:cubicBezTo>
                    <a:cubicBezTo>
                      <a:pt x="158932" y="697423"/>
                      <a:pt x="158577" y="698770"/>
                      <a:pt x="158311" y="700030"/>
                    </a:cubicBezTo>
                    <a:lnTo>
                      <a:pt x="158311" y="700075"/>
                    </a:lnTo>
                    <a:cubicBezTo>
                      <a:pt x="157740" y="702431"/>
                      <a:pt x="157537" y="704856"/>
                      <a:pt x="157676" y="707274"/>
                    </a:cubicBezTo>
                    <a:cubicBezTo>
                      <a:pt x="158260" y="716589"/>
                      <a:pt x="165312" y="720504"/>
                      <a:pt x="175295" y="725273"/>
                    </a:cubicBezTo>
                    <a:cubicBezTo>
                      <a:pt x="177768" y="726442"/>
                      <a:pt x="180546" y="727658"/>
                      <a:pt x="183197" y="729142"/>
                    </a:cubicBezTo>
                    <a:cubicBezTo>
                      <a:pt x="183425" y="729220"/>
                      <a:pt x="183641" y="729325"/>
                      <a:pt x="183831" y="729457"/>
                    </a:cubicBezTo>
                    <a:cubicBezTo>
                      <a:pt x="186507" y="730857"/>
                      <a:pt x="188892" y="732733"/>
                      <a:pt x="190896" y="734992"/>
                    </a:cubicBezTo>
                    <a:cubicBezTo>
                      <a:pt x="191099" y="735251"/>
                      <a:pt x="191290" y="735522"/>
                      <a:pt x="191467" y="735802"/>
                    </a:cubicBezTo>
                    <a:cubicBezTo>
                      <a:pt x="192913" y="737730"/>
                      <a:pt x="193725" y="740054"/>
                      <a:pt x="193814" y="742461"/>
                    </a:cubicBezTo>
                    <a:cubicBezTo>
                      <a:pt x="193979" y="744089"/>
                      <a:pt x="193852" y="745734"/>
                      <a:pt x="193446" y="747321"/>
                    </a:cubicBezTo>
                    <a:cubicBezTo>
                      <a:pt x="193357" y="747817"/>
                      <a:pt x="193230" y="748311"/>
                      <a:pt x="193179" y="748806"/>
                    </a:cubicBezTo>
                    <a:cubicBezTo>
                      <a:pt x="192964" y="750025"/>
                      <a:pt x="192824" y="751257"/>
                      <a:pt x="192774" y="752495"/>
                    </a:cubicBezTo>
                    <a:cubicBezTo>
                      <a:pt x="192621" y="755137"/>
                      <a:pt x="192926" y="757786"/>
                      <a:pt x="193674" y="760325"/>
                    </a:cubicBezTo>
                    <a:cubicBezTo>
                      <a:pt x="193864" y="761125"/>
                      <a:pt x="194118" y="761907"/>
                      <a:pt x="194435" y="762664"/>
                    </a:cubicBezTo>
                    <a:cubicBezTo>
                      <a:pt x="195209" y="764607"/>
                      <a:pt x="196185" y="766461"/>
                      <a:pt x="197353" y="768199"/>
                    </a:cubicBezTo>
                    <a:lnTo>
                      <a:pt x="197403" y="768289"/>
                    </a:lnTo>
                    <a:cubicBezTo>
                      <a:pt x="198786" y="770373"/>
                      <a:pt x="200333" y="772344"/>
                      <a:pt x="202033" y="774184"/>
                    </a:cubicBezTo>
                    <a:lnTo>
                      <a:pt x="204227" y="776524"/>
                    </a:lnTo>
                    <a:cubicBezTo>
                      <a:pt x="205090" y="777334"/>
                      <a:pt x="205889" y="778189"/>
                      <a:pt x="206751" y="778999"/>
                    </a:cubicBezTo>
                    <a:cubicBezTo>
                      <a:pt x="209986" y="782148"/>
                      <a:pt x="213398" y="785118"/>
                      <a:pt x="217127" y="788177"/>
                    </a:cubicBezTo>
                    <a:cubicBezTo>
                      <a:pt x="217394" y="788357"/>
                      <a:pt x="217672" y="788582"/>
                      <a:pt x="217977" y="788812"/>
                    </a:cubicBezTo>
                    <a:cubicBezTo>
                      <a:pt x="220451" y="790844"/>
                      <a:pt x="223101" y="792907"/>
                      <a:pt x="225892" y="795111"/>
                    </a:cubicBezTo>
                    <a:cubicBezTo>
                      <a:pt x="226032" y="795202"/>
                      <a:pt x="226209" y="795337"/>
                      <a:pt x="226387" y="795472"/>
                    </a:cubicBezTo>
                    <a:cubicBezTo>
                      <a:pt x="230116" y="798351"/>
                      <a:pt x="234111" y="801501"/>
                      <a:pt x="238525" y="805055"/>
                    </a:cubicBezTo>
                    <a:cubicBezTo>
                      <a:pt x="252694" y="805774"/>
                      <a:pt x="266570" y="800767"/>
                      <a:pt x="277035" y="791153"/>
                    </a:cubicBezTo>
                    <a:cubicBezTo>
                      <a:pt x="277225" y="791016"/>
                      <a:pt x="277402" y="790864"/>
                      <a:pt x="277567" y="790702"/>
                    </a:cubicBezTo>
                    <a:cubicBezTo>
                      <a:pt x="279026" y="789484"/>
                      <a:pt x="280421" y="788192"/>
                      <a:pt x="281753" y="786832"/>
                    </a:cubicBezTo>
                    <a:lnTo>
                      <a:pt x="282286" y="787103"/>
                    </a:lnTo>
                    <a:cubicBezTo>
                      <a:pt x="282692" y="787328"/>
                      <a:pt x="283047" y="787552"/>
                      <a:pt x="283465" y="787738"/>
                    </a:cubicBezTo>
                    <a:cubicBezTo>
                      <a:pt x="286332" y="789357"/>
                      <a:pt x="289161" y="790932"/>
                      <a:pt x="292268" y="792597"/>
                    </a:cubicBezTo>
                    <a:cubicBezTo>
                      <a:pt x="292624" y="792823"/>
                      <a:pt x="292991" y="793048"/>
                      <a:pt x="293346" y="793232"/>
                    </a:cubicBezTo>
                    <a:cubicBezTo>
                      <a:pt x="294069" y="793637"/>
                      <a:pt x="294830" y="794086"/>
                      <a:pt x="295591" y="794492"/>
                    </a:cubicBezTo>
                    <a:cubicBezTo>
                      <a:pt x="295274" y="795707"/>
                      <a:pt x="294957" y="796877"/>
                      <a:pt x="294653" y="798048"/>
                    </a:cubicBezTo>
                    <a:lnTo>
                      <a:pt x="294653" y="798093"/>
                    </a:lnTo>
                    <a:cubicBezTo>
                      <a:pt x="294247" y="799534"/>
                      <a:pt x="293892" y="800972"/>
                      <a:pt x="293524" y="802368"/>
                    </a:cubicBezTo>
                    <a:cubicBezTo>
                      <a:pt x="292446" y="806328"/>
                      <a:pt x="291457" y="810242"/>
                      <a:pt x="290379" y="814156"/>
                    </a:cubicBezTo>
                    <a:cubicBezTo>
                      <a:pt x="290023" y="815596"/>
                      <a:pt x="289617" y="817077"/>
                      <a:pt x="289211" y="818566"/>
                    </a:cubicBezTo>
                    <a:lnTo>
                      <a:pt x="289072" y="819105"/>
                    </a:lnTo>
                    <a:cubicBezTo>
                      <a:pt x="292877" y="819639"/>
                      <a:pt x="296530" y="820974"/>
                      <a:pt x="299777" y="823021"/>
                    </a:cubicBezTo>
                    <a:cubicBezTo>
                      <a:pt x="300183" y="823280"/>
                      <a:pt x="300576" y="823566"/>
                      <a:pt x="300944" y="823876"/>
                    </a:cubicBezTo>
                    <a:cubicBezTo>
                      <a:pt x="303849" y="826115"/>
                      <a:pt x="306107" y="829078"/>
                      <a:pt x="307502" y="832470"/>
                    </a:cubicBezTo>
                    <a:cubicBezTo>
                      <a:pt x="307997" y="833535"/>
                      <a:pt x="308415" y="834632"/>
                      <a:pt x="308758" y="835755"/>
                    </a:cubicBezTo>
                    <a:cubicBezTo>
                      <a:pt x="309760" y="839067"/>
                      <a:pt x="310496" y="842452"/>
                      <a:pt x="310965" y="845878"/>
                    </a:cubicBezTo>
                    <a:cubicBezTo>
                      <a:pt x="311231" y="847543"/>
                      <a:pt x="311459" y="849254"/>
                      <a:pt x="311675" y="850958"/>
                    </a:cubicBezTo>
                    <a:cubicBezTo>
                      <a:pt x="311954" y="852983"/>
                      <a:pt x="312170" y="855008"/>
                      <a:pt x="312487" y="857077"/>
                    </a:cubicBezTo>
                    <a:cubicBezTo>
                      <a:pt x="318651" y="852308"/>
                      <a:pt x="323053" y="848888"/>
                      <a:pt x="327099" y="845783"/>
                    </a:cubicBezTo>
                    <a:cubicBezTo>
                      <a:pt x="327505" y="845468"/>
                      <a:pt x="327911" y="845148"/>
                      <a:pt x="328266" y="844884"/>
                    </a:cubicBezTo>
                    <a:cubicBezTo>
                      <a:pt x="328761" y="844479"/>
                      <a:pt x="329256" y="844074"/>
                      <a:pt x="329750" y="843714"/>
                    </a:cubicBezTo>
                    <a:cubicBezTo>
                      <a:pt x="330334" y="844523"/>
                      <a:pt x="330917" y="845289"/>
                      <a:pt x="331450" y="846054"/>
                    </a:cubicBezTo>
                    <a:cubicBezTo>
                      <a:pt x="331640" y="846278"/>
                      <a:pt x="331818" y="846549"/>
                      <a:pt x="331995" y="846774"/>
                    </a:cubicBezTo>
                    <a:cubicBezTo>
                      <a:pt x="333428" y="848754"/>
                      <a:pt x="334875" y="850778"/>
                      <a:pt x="336359" y="852802"/>
                    </a:cubicBezTo>
                    <a:cubicBezTo>
                      <a:pt x="337348" y="854108"/>
                      <a:pt x="338337" y="855458"/>
                      <a:pt x="339327" y="856852"/>
                    </a:cubicBezTo>
                    <a:cubicBezTo>
                      <a:pt x="341255" y="855953"/>
                      <a:pt x="343145" y="855053"/>
                      <a:pt x="344984" y="854198"/>
                    </a:cubicBezTo>
                    <a:cubicBezTo>
                      <a:pt x="348168" y="852668"/>
                      <a:pt x="351186" y="851277"/>
                      <a:pt x="354015" y="849923"/>
                    </a:cubicBezTo>
                    <a:cubicBezTo>
                      <a:pt x="354281" y="849789"/>
                      <a:pt x="354510" y="849698"/>
                      <a:pt x="354776" y="849564"/>
                    </a:cubicBezTo>
                    <a:cubicBezTo>
                      <a:pt x="354053" y="846818"/>
                      <a:pt x="353026" y="844164"/>
                      <a:pt x="352176" y="841734"/>
                    </a:cubicBezTo>
                    <a:cubicBezTo>
                      <a:pt x="351833" y="840941"/>
                      <a:pt x="351554" y="840129"/>
                      <a:pt x="351313" y="839304"/>
                    </a:cubicBezTo>
                    <a:cubicBezTo>
                      <a:pt x="350882" y="838121"/>
                      <a:pt x="350565" y="836902"/>
                      <a:pt x="350374" y="835660"/>
                    </a:cubicBezTo>
                    <a:cubicBezTo>
                      <a:pt x="350235" y="834903"/>
                      <a:pt x="350197" y="834132"/>
                      <a:pt x="350235" y="833365"/>
                    </a:cubicBezTo>
                    <a:cubicBezTo>
                      <a:pt x="350248" y="832767"/>
                      <a:pt x="350362" y="832175"/>
                      <a:pt x="350552" y="831610"/>
                    </a:cubicBezTo>
                    <a:cubicBezTo>
                      <a:pt x="351630" y="828862"/>
                      <a:pt x="353317" y="826398"/>
                      <a:pt x="355499" y="824410"/>
                    </a:cubicBezTo>
                    <a:lnTo>
                      <a:pt x="355727" y="824185"/>
                    </a:lnTo>
                    <a:cubicBezTo>
                      <a:pt x="357605" y="822296"/>
                      <a:pt x="359723" y="820450"/>
                      <a:pt x="361651" y="818516"/>
                    </a:cubicBezTo>
                    <a:cubicBezTo>
                      <a:pt x="362108" y="818021"/>
                      <a:pt x="362552" y="817571"/>
                      <a:pt x="363008" y="817076"/>
                    </a:cubicBezTo>
                    <a:cubicBezTo>
                      <a:pt x="361879" y="816314"/>
                      <a:pt x="360890" y="815637"/>
                      <a:pt x="359900" y="814961"/>
                    </a:cubicBezTo>
                    <a:cubicBezTo>
                      <a:pt x="358201" y="813836"/>
                      <a:pt x="356628" y="812802"/>
                      <a:pt x="355004" y="811677"/>
                    </a:cubicBezTo>
                    <a:lnTo>
                      <a:pt x="354966" y="811677"/>
                    </a:lnTo>
                    <a:cubicBezTo>
                      <a:pt x="353558" y="810732"/>
                      <a:pt x="352125" y="809786"/>
                      <a:pt x="350514" y="808662"/>
                    </a:cubicBezTo>
                    <a:cubicBezTo>
                      <a:pt x="350324" y="808558"/>
                      <a:pt x="350146" y="808437"/>
                      <a:pt x="349969" y="808302"/>
                    </a:cubicBezTo>
                    <a:cubicBezTo>
                      <a:pt x="356526" y="806323"/>
                      <a:pt x="360446" y="805107"/>
                      <a:pt x="364175" y="803938"/>
                    </a:cubicBezTo>
                    <a:cubicBezTo>
                      <a:pt x="364175" y="802813"/>
                      <a:pt x="364137" y="801597"/>
                      <a:pt x="364048" y="800337"/>
                    </a:cubicBezTo>
                    <a:cubicBezTo>
                      <a:pt x="363947" y="799753"/>
                      <a:pt x="363909" y="799123"/>
                      <a:pt x="363858" y="798493"/>
                    </a:cubicBezTo>
                    <a:cubicBezTo>
                      <a:pt x="363731" y="797053"/>
                      <a:pt x="363592" y="795572"/>
                      <a:pt x="363452" y="794128"/>
                    </a:cubicBezTo>
                    <a:cubicBezTo>
                      <a:pt x="363414" y="793858"/>
                      <a:pt x="363414" y="793589"/>
                      <a:pt x="363363" y="793318"/>
                    </a:cubicBezTo>
                    <a:cubicBezTo>
                      <a:pt x="363135" y="791131"/>
                      <a:pt x="363173" y="788923"/>
                      <a:pt x="363503" y="786748"/>
                    </a:cubicBezTo>
                    <a:cubicBezTo>
                      <a:pt x="363592" y="786524"/>
                      <a:pt x="363642" y="786254"/>
                      <a:pt x="363731" y="786074"/>
                    </a:cubicBezTo>
                    <a:cubicBezTo>
                      <a:pt x="363896" y="785649"/>
                      <a:pt x="364200" y="785288"/>
                      <a:pt x="364581" y="785039"/>
                    </a:cubicBezTo>
                    <a:cubicBezTo>
                      <a:pt x="368640" y="782818"/>
                      <a:pt x="371861" y="779347"/>
                      <a:pt x="373790" y="775141"/>
                    </a:cubicBezTo>
                    <a:cubicBezTo>
                      <a:pt x="374322" y="774013"/>
                      <a:pt x="374792" y="772856"/>
                      <a:pt x="375185" y="771675"/>
                    </a:cubicBezTo>
                    <a:cubicBezTo>
                      <a:pt x="375997" y="768951"/>
                      <a:pt x="376580" y="766168"/>
                      <a:pt x="376935" y="763351"/>
                    </a:cubicBezTo>
                    <a:cubicBezTo>
                      <a:pt x="377037" y="762631"/>
                      <a:pt x="377126" y="761867"/>
                      <a:pt x="377214" y="761146"/>
                    </a:cubicBezTo>
                    <a:cubicBezTo>
                      <a:pt x="377532" y="757823"/>
                      <a:pt x="378026" y="754520"/>
                      <a:pt x="378698" y="751247"/>
                    </a:cubicBezTo>
                    <a:cubicBezTo>
                      <a:pt x="379104" y="749537"/>
                      <a:pt x="379776" y="747513"/>
                      <a:pt x="380487" y="745263"/>
                    </a:cubicBezTo>
                    <a:cubicBezTo>
                      <a:pt x="383138" y="736444"/>
                      <a:pt x="385890" y="724520"/>
                      <a:pt x="371367" y="718040"/>
                    </a:cubicBezTo>
                    <a:cubicBezTo>
                      <a:pt x="370504" y="717547"/>
                      <a:pt x="369832" y="716768"/>
                      <a:pt x="369477" y="715835"/>
                    </a:cubicBezTo>
                    <a:cubicBezTo>
                      <a:pt x="368183" y="712498"/>
                      <a:pt x="367549" y="708934"/>
                      <a:pt x="367638" y="705352"/>
                    </a:cubicBezTo>
                    <a:cubicBezTo>
                      <a:pt x="367625" y="704465"/>
                      <a:pt x="367650" y="703579"/>
                      <a:pt x="367727" y="702696"/>
                    </a:cubicBezTo>
                    <a:cubicBezTo>
                      <a:pt x="367828" y="701171"/>
                      <a:pt x="368107" y="699662"/>
                      <a:pt x="368538" y="698196"/>
                    </a:cubicBezTo>
                    <a:cubicBezTo>
                      <a:pt x="370162" y="693428"/>
                      <a:pt x="373206" y="685012"/>
                      <a:pt x="382288" y="687983"/>
                    </a:cubicBezTo>
                    <a:lnTo>
                      <a:pt x="382427" y="688027"/>
                    </a:lnTo>
                    <a:cubicBezTo>
                      <a:pt x="383531" y="688420"/>
                      <a:pt x="384596" y="688901"/>
                      <a:pt x="385611" y="689468"/>
                    </a:cubicBezTo>
                    <a:cubicBezTo>
                      <a:pt x="389023" y="691143"/>
                      <a:pt x="393133" y="689738"/>
                      <a:pt x="394807" y="686331"/>
                    </a:cubicBezTo>
                    <a:cubicBezTo>
                      <a:pt x="395327" y="685265"/>
                      <a:pt x="395568" y="684083"/>
                      <a:pt x="395505" y="682898"/>
                    </a:cubicBezTo>
                    <a:cubicBezTo>
                      <a:pt x="395556" y="682072"/>
                      <a:pt x="395530" y="681243"/>
                      <a:pt x="395416" y="680424"/>
                    </a:cubicBezTo>
                    <a:cubicBezTo>
                      <a:pt x="395365" y="679936"/>
                      <a:pt x="395277" y="679455"/>
                      <a:pt x="395137" y="678984"/>
                    </a:cubicBezTo>
                    <a:cubicBezTo>
                      <a:pt x="394782" y="676992"/>
                      <a:pt x="394883" y="674943"/>
                      <a:pt x="395454" y="673000"/>
                    </a:cubicBezTo>
                    <a:cubicBezTo>
                      <a:pt x="395771" y="672055"/>
                      <a:pt x="396126" y="671425"/>
                      <a:pt x="396583" y="671244"/>
                    </a:cubicBezTo>
                    <a:lnTo>
                      <a:pt x="396672" y="671199"/>
                    </a:lnTo>
                    <a:cubicBezTo>
                      <a:pt x="399107" y="670529"/>
                      <a:pt x="401187" y="668930"/>
                      <a:pt x="402468" y="666745"/>
                    </a:cubicBezTo>
                    <a:cubicBezTo>
                      <a:pt x="404574" y="662155"/>
                      <a:pt x="399234" y="656576"/>
                      <a:pt x="399094" y="651896"/>
                    </a:cubicBezTo>
                    <a:cubicBezTo>
                      <a:pt x="399082" y="651204"/>
                      <a:pt x="399209" y="650515"/>
                      <a:pt x="399462" y="649872"/>
                    </a:cubicBezTo>
                    <a:cubicBezTo>
                      <a:pt x="406134" y="647737"/>
                      <a:pt x="412603" y="645042"/>
                      <a:pt x="418831" y="641817"/>
                    </a:cubicBezTo>
                    <a:cubicBezTo>
                      <a:pt x="419732" y="641321"/>
                      <a:pt x="420581" y="640749"/>
                      <a:pt x="421393" y="640107"/>
                    </a:cubicBezTo>
                    <a:cubicBezTo>
                      <a:pt x="426327" y="636237"/>
                      <a:pt x="427495" y="631378"/>
                      <a:pt x="427495" y="621883"/>
                    </a:cubicBezTo>
                    <a:lnTo>
                      <a:pt x="427495" y="621445"/>
                    </a:lnTo>
                    <a:cubicBezTo>
                      <a:pt x="427456" y="618476"/>
                      <a:pt x="427317" y="615011"/>
                      <a:pt x="427139" y="611006"/>
                    </a:cubicBezTo>
                    <a:cubicBezTo>
                      <a:pt x="427139" y="610737"/>
                      <a:pt x="427101" y="610512"/>
                      <a:pt x="427101" y="610244"/>
                    </a:cubicBezTo>
                    <a:cubicBezTo>
                      <a:pt x="419820" y="607094"/>
                      <a:pt x="408849" y="610288"/>
                      <a:pt x="405297" y="599804"/>
                    </a:cubicBezTo>
                    <a:cubicBezTo>
                      <a:pt x="405069" y="599191"/>
                      <a:pt x="404891" y="598559"/>
                      <a:pt x="404764" y="597915"/>
                    </a:cubicBezTo>
                    <a:cubicBezTo>
                      <a:pt x="413478" y="594675"/>
                      <a:pt x="421888" y="591571"/>
                      <a:pt x="427228" y="589591"/>
                    </a:cubicBezTo>
                    <a:cubicBezTo>
                      <a:pt x="429080" y="586377"/>
                      <a:pt x="429854" y="582656"/>
                      <a:pt x="429435" y="578971"/>
                    </a:cubicBezTo>
                    <a:lnTo>
                      <a:pt x="429435" y="578926"/>
                    </a:lnTo>
                    <a:cubicBezTo>
                      <a:pt x="428357" y="571501"/>
                      <a:pt x="421926" y="565876"/>
                      <a:pt x="418463" y="559667"/>
                    </a:cubicBezTo>
                    <a:cubicBezTo>
                      <a:pt x="418197" y="559172"/>
                      <a:pt x="417969" y="558677"/>
                      <a:pt x="417702" y="558183"/>
                    </a:cubicBezTo>
                    <a:cubicBezTo>
                      <a:pt x="417487" y="557818"/>
                      <a:pt x="417322" y="557424"/>
                      <a:pt x="417208" y="557012"/>
                    </a:cubicBezTo>
                    <a:lnTo>
                      <a:pt x="417119" y="556877"/>
                    </a:lnTo>
                    <a:cubicBezTo>
                      <a:pt x="415914" y="553957"/>
                      <a:pt x="415888" y="550686"/>
                      <a:pt x="417030" y="547743"/>
                    </a:cubicBezTo>
                    <a:cubicBezTo>
                      <a:pt x="417398" y="546674"/>
                      <a:pt x="417880" y="545648"/>
                      <a:pt x="418476" y="544684"/>
                    </a:cubicBezTo>
                    <a:cubicBezTo>
                      <a:pt x="443857" y="543019"/>
                      <a:pt x="450694" y="539689"/>
                      <a:pt x="445975" y="523761"/>
                    </a:cubicBezTo>
                    <a:cubicBezTo>
                      <a:pt x="445569" y="522455"/>
                      <a:pt x="445125" y="521061"/>
                      <a:pt x="444580" y="519570"/>
                    </a:cubicBezTo>
                    <a:cubicBezTo>
                      <a:pt x="443768" y="517411"/>
                      <a:pt x="442829" y="515024"/>
                      <a:pt x="441751" y="512458"/>
                    </a:cubicBezTo>
                    <a:cubicBezTo>
                      <a:pt x="446597" y="511513"/>
                      <a:pt x="451455" y="510612"/>
                      <a:pt x="456224" y="509713"/>
                    </a:cubicBezTo>
                    <a:cubicBezTo>
                      <a:pt x="456757" y="509577"/>
                      <a:pt x="457251" y="509487"/>
                      <a:pt x="457746" y="509397"/>
                    </a:cubicBezTo>
                    <a:cubicBezTo>
                      <a:pt x="461108" y="508762"/>
                      <a:pt x="464443" y="508093"/>
                      <a:pt x="467767" y="507507"/>
                    </a:cubicBezTo>
                    <a:cubicBezTo>
                      <a:pt x="467919" y="507453"/>
                      <a:pt x="468084" y="507422"/>
                      <a:pt x="468261" y="507418"/>
                    </a:cubicBezTo>
                    <a:cubicBezTo>
                      <a:pt x="477825" y="505528"/>
                      <a:pt x="487351" y="503729"/>
                      <a:pt x="496928" y="501884"/>
                    </a:cubicBezTo>
                    <a:cubicBezTo>
                      <a:pt x="496243" y="499971"/>
                      <a:pt x="495849" y="497971"/>
                      <a:pt x="495761" y="495944"/>
                    </a:cubicBezTo>
                    <a:cubicBezTo>
                      <a:pt x="495583" y="494429"/>
                      <a:pt x="495646" y="492897"/>
                      <a:pt x="495938" y="491400"/>
                    </a:cubicBezTo>
                    <a:cubicBezTo>
                      <a:pt x="497283" y="481680"/>
                      <a:pt x="504475" y="473493"/>
                      <a:pt x="505058" y="463587"/>
                    </a:cubicBezTo>
                    <a:cubicBezTo>
                      <a:pt x="505147" y="462281"/>
                      <a:pt x="505096" y="460969"/>
                      <a:pt x="504919" y="459673"/>
                    </a:cubicBezTo>
                    <a:cubicBezTo>
                      <a:pt x="504601" y="457185"/>
                      <a:pt x="503879" y="454767"/>
                      <a:pt x="502762" y="452517"/>
                    </a:cubicBezTo>
                    <a:cubicBezTo>
                      <a:pt x="512111" y="455938"/>
                      <a:pt x="517692" y="458008"/>
                      <a:pt x="523349" y="460076"/>
                    </a:cubicBezTo>
                    <a:cubicBezTo>
                      <a:pt x="522588" y="461562"/>
                      <a:pt x="521865" y="462997"/>
                      <a:pt x="521104" y="464441"/>
                    </a:cubicBezTo>
                    <a:cubicBezTo>
                      <a:pt x="518224" y="470066"/>
                      <a:pt x="515484" y="475465"/>
                      <a:pt x="512745" y="480730"/>
                    </a:cubicBezTo>
                    <a:lnTo>
                      <a:pt x="511527" y="483160"/>
                    </a:lnTo>
                    <a:cubicBezTo>
                      <a:pt x="510716" y="484684"/>
                      <a:pt x="509954" y="486175"/>
                      <a:pt x="509193" y="487660"/>
                    </a:cubicBezTo>
                    <a:lnTo>
                      <a:pt x="508838" y="487750"/>
                    </a:lnTo>
                    <a:cubicBezTo>
                      <a:pt x="508990" y="487903"/>
                      <a:pt x="509142" y="488068"/>
                      <a:pt x="509282" y="488245"/>
                    </a:cubicBezTo>
                    <a:cubicBezTo>
                      <a:pt x="509282" y="488155"/>
                      <a:pt x="509333" y="488065"/>
                      <a:pt x="509333" y="487975"/>
                    </a:cubicBezTo>
                    <a:cubicBezTo>
                      <a:pt x="509650" y="488114"/>
                      <a:pt x="509980" y="488235"/>
                      <a:pt x="510322" y="488334"/>
                    </a:cubicBezTo>
                    <a:cubicBezTo>
                      <a:pt x="516423" y="490784"/>
                      <a:pt x="523222" y="490912"/>
                      <a:pt x="529412" y="488695"/>
                    </a:cubicBezTo>
                    <a:cubicBezTo>
                      <a:pt x="530046" y="488470"/>
                      <a:pt x="530680" y="488245"/>
                      <a:pt x="531264" y="488019"/>
                    </a:cubicBezTo>
                    <a:cubicBezTo>
                      <a:pt x="535893" y="486118"/>
                      <a:pt x="540384" y="483893"/>
                      <a:pt x="544696" y="481360"/>
                    </a:cubicBezTo>
                    <a:cubicBezTo>
                      <a:pt x="546485" y="480509"/>
                      <a:pt x="548476" y="480167"/>
                      <a:pt x="550442" y="480370"/>
                    </a:cubicBezTo>
                    <a:cubicBezTo>
                      <a:pt x="550683" y="480341"/>
                      <a:pt x="550937" y="480356"/>
                      <a:pt x="551165" y="480415"/>
                    </a:cubicBezTo>
                    <a:cubicBezTo>
                      <a:pt x="553994" y="480506"/>
                      <a:pt x="557101" y="481050"/>
                      <a:pt x="559930" y="481050"/>
                    </a:cubicBezTo>
                    <a:cubicBezTo>
                      <a:pt x="562936" y="475426"/>
                      <a:pt x="566183" y="469307"/>
                      <a:pt x="568961" y="464176"/>
                    </a:cubicBezTo>
                    <a:lnTo>
                      <a:pt x="569900" y="462422"/>
                    </a:lnTo>
                    <a:cubicBezTo>
                      <a:pt x="570382" y="462246"/>
                      <a:pt x="570889" y="462110"/>
                      <a:pt x="571384" y="462017"/>
                    </a:cubicBezTo>
                    <a:cubicBezTo>
                      <a:pt x="575798" y="460667"/>
                      <a:pt x="580554" y="459858"/>
                      <a:pt x="584867" y="458777"/>
                    </a:cubicBezTo>
                    <a:cubicBezTo>
                      <a:pt x="585539" y="458640"/>
                      <a:pt x="586199" y="458460"/>
                      <a:pt x="586846" y="458237"/>
                    </a:cubicBezTo>
                    <a:cubicBezTo>
                      <a:pt x="590410" y="457613"/>
                      <a:pt x="593657" y="455767"/>
                      <a:pt x="596016" y="453018"/>
                    </a:cubicBezTo>
                    <a:cubicBezTo>
                      <a:pt x="599429" y="447888"/>
                      <a:pt x="602853" y="442714"/>
                      <a:pt x="606126" y="437449"/>
                    </a:cubicBezTo>
                    <a:cubicBezTo>
                      <a:pt x="606354" y="437089"/>
                      <a:pt x="606582" y="436774"/>
                      <a:pt x="606760" y="436414"/>
                    </a:cubicBezTo>
                    <a:cubicBezTo>
                      <a:pt x="615791" y="422346"/>
                      <a:pt x="623351" y="407389"/>
                      <a:pt x="629325" y="391778"/>
                    </a:cubicBezTo>
                    <a:cubicBezTo>
                      <a:pt x="634297" y="373614"/>
                      <a:pt x="645459" y="357760"/>
                      <a:pt x="660871" y="346963"/>
                    </a:cubicBezTo>
                    <a:cubicBezTo>
                      <a:pt x="667568" y="344080"/>
                      <a:pt x="671627" y="337175"/>
                      <a:pt x="670891" y="329909"/>
                    </a:cubicBezTo>
                    <a:cubicBezTo>
                      <a:pt x="670739" y="328479"/>
                      <a:pt x="670473" y="327064"/>
                      <a:pt x="670080" y="325679"/>
                    </a:cubicBezTo>
                    <a:cubicBezTo>
                      <a:pt x="669991" y="325431"/>
                      <a:pt x="669940" y="325176"/>
                      <a:pt x="669902" y="324917"/>
                    </a:cubicBezTo>
                    <a:cubicBezTo>
                      <a:pt x="669724" y="324197"/>
                      <a:pt x="669585" y="323432"/>
                      <a:pt x="669458" y="322622"/>
                    </a:cubicBezTo>
                    <a:cubicBezTo>
                      <a:pt x="669052" y="319922"/>
                      <a:pt x="668811" y="316682"/>
                      <a:pt x="668189" y="311827"/>
                    </a:cubicBezTo>
                    <a:cubicBezTo>
                      <a:pt x="669547" y="312547"/>
                      <a:pt x="670891" y="313224"/>
                      <a:pt x="672198" y="313986"/>
                    </a:cubicBezTo>
                    <a:cubicBezTo>
                      <a:pt x="682053" y="320915"/>
                      <a:pt x="693012" y="326146"/>
                      <a:pt x="704593" y="329463"/>
                    </a:cubicBezTo>
                    <a:cubicBezTo>
                      <a:pt x="708753" y="330127"/>
                      <a:pt x="713015" y="329693"/>
                      <a:pt x="716960" y="328203"/>
                    </a:cubicBezTo>
                    <a:cubicBezTo>
                      <a:pt x="717607" y="327991"/>
                      <a:pt x="718241" y="327721"/>
                      <a:pt x="718837" y="327394"/>
                    </a:cubicBezTo>
                    <a:cubicBezTo>
                      <a:pt x="721184" y="326260"/>
                      <a:pt x="723264" y="324651"/>
                      <a:pt x="724951" y="322669"/>
                    </a:cubicBezTo>
                    <a:cubicBezTo>
                      <a:pt x="725446" y="322139"/>
                      <a:pt x="725903" y="321568"/>
                      <a:pt x="726296" y="320959"/>
                    </a:cubicBezTo>
                    <a:cubicBezTo>
                      <a:pt x="728883" y="317140"/>
                      <a:pt x="730367" y="312693"/>
                      <a:pt x="730609" y="308090"/>
                    </a:cubicBezTo>
                    <a:cubicBezTo>
                      <a:pt x="739779" y="309846"/>
                      <a:pt x="744815" y="315515"/>
                      <a:pt x="755063" y="310070"/>
                    </a:cubicBezTo>
                    <a:cubicBezTo>
                      <a:pt x="776703" y="299725"/>
                      <a:pt x="799217" y="291310"/>
                      <a:pt x="822340" y="284924"/>
                    </a:cubicBezTo>
                    <a:cubicBezTo>
                      <a:pt x="835304" y="281004"/>
                      <a:pt x="846517" y="272703"/>
                      <a:pt x="854064" y="261436"/>
                    </a:cubicBezTo>
                    <a:cubicBezTo>
                      <a:pt x="854825" y="260356"/>
                      <a:pt x="855636" y="259231"/>
                      <a:pt x="856448" y="258152"/>
                    </a:cubicBezTo>
                    <a:cubicBezTo>
                      <a:pt x="856664" y="257792"/>
                      <a:pt x="856892" y="257477"/>
                      <a:pt x="857158" y="257116"/>
                    </a:cubicBezTo>
                    <a:cubicBezTo>
                      <a:pt x="860127" y="253022"/>
                      <a:pt x="863145" y="248972"/>
                      <a:pt x="866430" y="245051"/>
                    </a:cubicBezTo>
                    <a:cubicBezTo>
                      <a:pt x="867407" y="243746"/>
                      <a:pt x="868486" y="242487"/>
                      <a:pt x="869614" y="241226"/>
                    </a:cubicBezTo>
                    <a:cubicBezTo>
                      <a:pt x="873052" y="237321"/>
                      <a:pt x="876794" y="233695"/>
                      <a:pt x="880802" y="230383"/>
                    </a:cubicBezTo>
                    <a:cubicBezTo>
                      <a:pt x="881157" y="230030"/>
                      <a:pt x="881550" y="229714"/>
                      <a:pt x="881969" y="229438"/>
                    </a:cubicBezTo>
                    <a:cubicBezTo>
                      <a:pt x="883237" y="228447"/>
                      <a:pt x="884493" y="227458"/>
                      <a:pt x="885799" y="226558"/>
                    </a:cubicBezTo>
                    <a:cubicBezTo>
                      <a:pt x="889300" y="224128"/>
                      <a:pt x="892852" y="221789"/>
                      <a:pt x="896315" y="219179"/>
                    </a:cubicBezTo>
                    <a:cubicBezTo>
                      <a:pt x="896555" y="218997"/>
                      <a:pt x="896797" y="218802"/>
                      <a:pt x="897025" y="218594"/>
                    </a:cubicBezTo>
                    <a:cubicBezTo>
                      <a:pt x="901528" y="215316"/>
                      <a:pt x="905561" y="211441"/>
                      <a:pt x="909024" y="207075"/>
                    </a:cubicBezTo>
                    <a:cubicBezTo>
                      <a:pt x="909874" y="205995"/>
                      <a:pt x="910686" y="204870"/>
                      <a:pt x="911498" y="203656"/>
                    </a:cubicBezTo>
                    <a:cubicBezTo>
                      <a:pt x="911726" y="203341"/>
                      <a:pt x="911904" y="203021"/>
                      <a:pt x="912132" y="202710"/>
                    </a:cubicBezTo>
                    <a:cubicBezTo>
                      <a:pt x="918246" y="189246"/>
                      <a:pt x="930676" y="179737"/>
                      <a:pt x="945250" y="177377"/>
                    </a:cubicBezTo>
                    <a:cubicBezTo>
                      <a:pt x="946557" y="177287"/>
                      <a:pt x="947685" y="174678"/>
                      <a:pt x="949525" y="171932"/>
                    </a:cubicBezTo>
                    <a:cubicBezTo>
                      <a:pt x="949842" y="171529"/>
                      <a:pt x="950108" y="171078"/>
                      <a:pt x="950425" y="170673"/>
                    </a:cubicBezTo>
                    <a:cubicBezTo>
                      <a:pt x="937855" y="170983"/>
                      <a:pt x="925298" y="170109"/>
                      <a:pt x="912893" y="168063"/>
                    </a:cubicBezTo>
                    <a:cubicBezTo>
                      <a:pt x="900487" y="164871"/>
                      <a:pt x="889516" y="156458"/>
                      <a:pt x="877161" y="152992"/>
                    </a:cubicBezTo>
                    <a:close/>
                    <a:moveTo>
                      <a:pt x="107789" y="56702"/>
                    </a:moveTo>
                    <a:cubicBezTo>
                      <a:pt x="102893" y="58921"/>
                      <a:pt x="99355" y="63354"/>
                      <a:pt x="98264" y="68626"/>
                    </a:cubicBezTo>
                    <a:cubicBezTo>
                      <a:pt x="98048" y="66549"/>
                      <a:pt x="97934" y="64461"/>
                      <a:pt x="97946" y="62372"/>
                    </a:cubicBezTo>
                    <a:cubicBezTo>
                      <a:pt x="98124" y="54182"/>
                      <a:pt x="102082" y="53642"/>
                      <a:pt x="119066" y="51168"/>
                    </a:cubicBezTo>
                    <a:cubicBezTo>
                      <a:pt x="115426" y="53101"/>
                      <a:pt x="111341" y="54631"/>
                      <a:pt x="107789" y="56702"/>
                    </a:cubicBezTo>
                    <a:close/>
                    <a:moveTo>
                      <a:pt x="118393" y="431429"/>
                    </a:moveTo>
                    <a:cubicBezTo>
                      <a:pt x="117366" y="432148"/>
                      <a:pt x="116288" y="432914"/>
                      <a:pt x="115248" y="433634"/>
                    </a:cubicBezTo>
                    <a:cubicBezTo>
                      <a:pt x="114525" y="432779"/>
                      <a:pt x="113764" y="431923"/>
                      <a:pt x="113053" y="431024"/>
                    </a:cubicBezTo>
                    <a:cubicBezTo>
                      <a:pt x="120017" y="425084"/>
                      <a:pt x="127031" y="419144"/>
                      <a:pt x="133995" y="413206"/>
                    </a:cubicBezTo>
                    <a:cubicBezTo>
                      <a:pt x="134984" y="414645"/>
                      <a:pt x="135872" y="416039"/>
                      <a:pt x="136862" y="417479"/>
                    </a:cubicBezTo>
                    <a:cubicBezTo>
                      <a:pt x="137001" y="417705"/>
                      <a:pt x="137179" y="417930"/>
                      <a:pt x="137318" y="418155"/>
                    </a:cubicBezTo>
                    <a:cubicBezTo>
                      <a:pt x="130976" y="422608"/>
                      <a:pt x="124685" y="426973"/>
                      <a:pt x="118393" y="431428"/>
                    </a:cubicBezTo>
                    <a:close/>
                    <a:moveTo>
                      <a:pt x="139018" y="500318"/>
                    </a:moveTo>
                    <a:cubicBezTo>
                      <a:pt x="135872" y="499598"/>
                      <a:pt x="132777" y="498877"/>
                      <a:pt x="129632" y="498113"/>
                    </a:cubicBezTo>
                    <a:lnTo>
                      <a:pt x="140109" y="498113"/>
                    </a:lnTo>
                    <a:cubicBezTo>
                      <a:pt x="139741" y="498876"/>
                      <a:pt x="139386" y="499596"/>
                      <a:pt x="139018" y="500313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68" name="Vrije vorm 467">
                <a:extLst>
                  <a:ext uri="{FF2B5EF4-FFF2-40B4-BE49-F238E27FC236}">
                    <a16:creationId xmlns:a16="http://schemas.microsoft.com/office/drawing/2014/main" id="{46C44CDF-D409-2042-BCB6-7E8AE3E3283E}"/>
                  </a:ext>
                </a:extLst>
              </p:cNvPr>
              <p:cNvSpPr/>
              <p:nvPr/>
            </p:nvSpPr>
            <p:spPr>
              <a:xfrm>
                <a:off x="3935594" y="1553330"/>
                <a:ext cx="78596" cy="82581"/>
              </a:xfrm>
              <a:custGeom>
                <a:avLst/>
                <a:gdLst>
                  <a:gd name="connsiteX0" fmla="*/ 17140 w 78596"/>
                  <a:gd name="connsiteY0" fmla="*/ 74081 h 82581"/>
                  <a:gd name="connsiteX1" fmla="*/ 27414 w 78596"/>
                  <a:gd name="connsiteY1" fmla="*/ 82092 h 82581"/>
                  <a:gd name="connsiteX2" fmla="*/ 77365 w 78596"/>
                  <a:gd name="connsiteY2" fmla="*/ 61377 h 82581"/>
                  <a:gd name="connsiteX3" fmla="*/ 76096 w 78596"/>
                  <a:gd name="connsiteY3" fmla="*/ 42581 h 82581"/>
                  <a:gd name="connsiteX4" fmla="*/ 42952 w 78596"/>
                  <a:gd name="connsiteY4" fmla="*/ 10704 h 82581"/>
                  <a:gd name="connsiteX5" fmla="*/ 14248 w 78596"/>
                  <a:gd name="connsiteY5" fmla="*/ 174 h 82581"/>
                  <a:gd name="connsiteX6" fmla="*/ -22 w 78596"/>
                  <a:gd name="connsiteY6" fmla="*/ 14542 h 82581"/>
                  <a:gd name="connsiteX7" fmla="*/ 54 w 78596"/>
                  <a:gd name="connsiteY7" fmla="*/ 55712 h 82581"/>
                  <a:gd name="connsiteX8" fmla="*/ 35063 w 78596"/>
                  <a:gd name="connsiteY8" fmla="*/ 64464 h 82581"/>
                  <a:gd name="connsiteX9" fmla="*/ 34619 w 78596"/>
                  <a:gd name="connsiteY9" fmla="*/ 68241 h 82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8596" h="82581">
                    <a:moveTo>
                      <a:pt x="17140" y="74081"/>
                    </a:moveTo>
                    <a:cubicBezTo>
                      <a:pt x="22176" y="78112"/>
                      <a:pt x="24459" y="81074"/>
                      <a:pt x="27414" y="82092"/>
                    </a:cubicBezTo>
                    <a:cubicBezTo>
                      <a:pt x="37118" y="85439"/>
                      <a:pt x="74143" y="70890"/>
                      <a:pt x="77365" y="61377"/>
                    </a:cubicBezTo>
                    <a:cubicBezTo>
                      <a:pt x="79318" y="55627"/>
                      <a:pt x="78899" y="43818"/>
                      <a:pt x="76096" y="42581"/>
                    </a:cubicBezTo>
                    <a:cubicBezTo>
                      <a:pt x="60685" y="35786"/>
                      <a:pt x="54622" y="20308"/>
                      <a:pt x="42952" y="10704"/>
                    </a:cubicBezTo>
                    <a:cubicBezTo>
                      <a:pt x="34441" y="4781"/>
                      <a:pt x="24560" y="1154"/>
                      <a:pt x="14248" y="174"/>
                    </a:cubicBezTo>
                    <a:cubicBezTo>
                      <a:pt x="5800" y="-1071"/>
                      <a:pt x="-212" y="4492"/>
                      <a:pt x="-22" y="14542"/>
                    </a:cubicBezTo>
                    <a:cubicBezTo>
                      <a:pt x="245" y="28120"/>
                      <a:pt x="54" y="41708"/>
                      <a:pt x="54" y="55712"/>
                    </a:cubicBezTo>
                    <a:lnTo>
                      <a:pt x="35063" y="64464"/>
                    </a:lnTo>
                    <a:lnTo>
                      <a:pt x="34619" y="68241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69" name="Vrije vorm 468">
                <a:extLst>
                  <a:ext uri="{FF2B5EF4-FFF2-40B4-BE49-F238E27FC236}">
                    <a16:creationId xmlns:a16="http://schemas.microsoft.com/office/drawing/2014/main" id="{2CD29076-3846-7240-97AE-FDC717DE95A6}"/>
                  </a:ext>
                </a:extLst>
              </p:cNvPr>
              <p:cNvSpPr/>
              <p:nvPr/>
            </p:nvSpPr>
            <p:spPr>
              <a:xfrm>
                <a:off x="4692983" y="1492184"/>
                <a:ext cx="76980" cy="47270"/>
              </a:xfrm>
              <a:custGeom>
                <a:avLst/>
                <a:gdLst>
                  <a:gd name="connsiteX0" fmla="*/ -26 w 76980"/>
                  <a:gd name="connsiteY0" fmla="*/ 45646 h 47270"/>
                  <a:gd name="connsiteX1" fmla="*/ 23211 w 76980"/>
                  <a:gd name="connsiteY1" fmla="*/ 46755 h 47270"/>
                  <a:gd name="connsiteX2" fmla="*/ 22260 w 76980"/>
                  <a:gd name="connsiteY2" fmla="*/ 47263 h 47270"/>
                  <a:gd name="connsiteX3" fmla="*/ 22412 w 76980"/>
                  <a:gd name="connsiteY3" fmla="*/ 47272 h 47270"/>
                  <a:gd name="connsiteX4" fmla="*/ 22577 w 76980"/>
                  <a:gd name="connsiteY4" fmla="*/ 47161 h 47270"/>
                  <a:gd name="connsiteX5" fmla="*/ 76954 w 76980"/>
                  <a:gd name="connsiteY5" fmla="*/ 29948 h 47270"/>
                  <a:gd name="connsiteX6" fmla="*/ 53653 w 76980"/>
                  <a:gd name="connsiteY6" fmla="*/ 1 h 47270"/>
                  <a:gd name="connsiteX7" fmla="*/ 39016 w 76980"/>
                  <a:gd name="connsiteY7" fmla="*/ 9633 h 47270"/>
                  <a:gd name="connsiteX8" fmla="*/ -26 w 76980"/>
                  <a:gd name="connsiteY8" fmla="*/ 45646 h 4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6980" h="47270">
                    <a:moveTo>
                      <a:pt x="-26" y="45646"/>
                    </a:moveTo>
                    <a:lnTo>
                      <a:pt x="23211" y="46755"/>
                    </a:lnTo>
                    <a:lnTo>
                      <a:pt x="22260" y="47263"/>
                    </a:lnTo>
                    <a:lnTo>
                      <a:pt x="22412" y="47272"/>
                    </a:lnTo>
                    <a:lnTo>
                      <a:pt x="22577" y="47161"/>
                    </a:lnTo>
                    <a:lnTo>
                      <a:pt x="76954" y="29948"/>
                    </a:lnTo>
                    <a:cubicBezTo>
                      <a:pt x="73974" y="385"/>
                      <a:pt x="73974" y="357"/>
                      <a:pt x="53653" y="1"/>
                    </a:cubicBezTo>
                    <a:cubicBezTo>
                      <a:pt x="49493" y="4188"/>
                      <a:pt x="44508" y="7468"/>
                      <a:pt x="39016" y="9633"/>
                    </a:cubicBezTo>
                    <a:cubicBezTo>
                      <a:pt x="19127" y="13375"/>
                      <a:pt x="12113" y="29289"/>
                      <a:pt x="-26" y="45646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70" name="Vrije vorm 469">
                <a:extLst>
                  <a:ext uri="{FF2B5EF4-FFF2-40B4-BE49-F238E27FC236}">
                    <a16:creationId xmlns:a16="http://schemas.microsoft.com/office/drawing/2014/main" id="{2B5ED193-59CD-8349-A9F5-205307921803}"/>
                  </a:ext>
                </a:extLst>
              </p:cNvPr>
              <p:cNvSpPr/>
              <p:nvPr/>
            </p:nvSpPr>
            <p:spPr>
              <a:xfrm>
                <a:off x="3967296" y="1728070"/>
                <a:ext cx="66782" cy="41876"/>
              </a:xfrm>
              <a:custGeom>
                <a:avLst/>
                <a:gdLst>
                  <a:gd name="connsiteX0" fmla="*/ 41439 w 66782"/>
                  <a:gd name="connsiteY0" fmla="*/ 9844 h 41876"/>
                  <a:gd name="connsiteX1" fmla="*/ 44229 w 66782"/>
                  <a:gd name="connsiteY1" fmla="*/ 24268 h 41876"/>
                  <a:gd name="connsiteX2" fmla="*/ 59044 w 66782"/>
                  <a:gd name="connsiteY2" fmla="*/ 24268 h 41876"/>
                  <a:gd name="connsiteX3" fmla="*/ 66756 w 66782"/>
                  <a:gd name="connsiteY3" fmla="*/ 6117 h 41876"/>
                  <a:gd name="connsiteX4" fmla="*/ 22362 w 66782"/>
                  <a:gd name="connsiteY4" fmla="*/ 1 h 41876"/>
                  <a:gd name="connsiteX5" fmla="*/ -26 w 66782"/>
                  <a:gd name="connsiteY5" fmla="*/ 41878 h 41876"/>
                  <a:gd name="connsiteX6" fmla="*/ 11656 w 66782"/>
                  <a:gd name="connsiteY6" fmla="*/ 40100 h 41876"/>
                  <a:gd name="connsiteX7" fmla="*/ 41439 w 66782"/>
                  <a:gd name="connsiteY7" fmla="*/ 9844 h 418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6782" h="41876">
                    <a:moveTo>
                      <a:pt x="41439" y="9844"/>
                    </a:moveTo>
                    <a:lnTo>
                      <a:pt x="44229" y="24268"/>
                    </a:lnTo>
                    <a:lnTo>
                      <a:pt x="59044" y="24268"/>
                    </a:lnTo>
                    <a:lnTo>
                      <a:pt x="66756" y="6117"/>
                    </a:lnTo>
                    <a:lnTo>
                      <a:pt x="22362" y="1"/>
                    </a:lnTo>
                    <a:lnTo>
                      <a:pt x="-26" y="41878"/>
                    </a:lnTo>
                    <a:lnTo>
                      <a:pt x="11656" y="40100"/>
                    </a:lnTo>
                    <a:cubicBezTo>
                      <a:pt x="12937" y="21684"/>
                      <a:pt x="35084" y="25787"/>
                      <a:pt x="41439" y="9844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71" name="Vrije vorm 470">
                <a:extLst>
                  <a:ext uri="{FF2B5EF4-FFF2-40B4-BE49-F238E27FC236}">
                    <a16:creationId xmlns:a16="http://schemas.microsoft.com/office/drawing/2014/main" id="{7D3528D0-CD55-2A4B-A543-FB06055DA5A2}"/>
                  </a:ext>
                </a:extLst>
              </p:cNvPr>
              <p:cNvSpPr/>
              <p:nvPr/>
            </p:nvSpPr>
            <p:spPr>
              <a:xfrm>
                <a:off x="4034142" y="1588492"/>
                <a:ext cx="20142" cy="26415"/>
              </a:xfrm>
              <a:custGeom>
                <a:avLst/>
                <a:gdLst>
                  <a:gd name="connsiteX0" fmla="*/ 5808 w 20142"/>
                  <a:gd name="connsiteY0" fmla="*/ 1 h 26415"/>
                  <a:gd name="connsiteX1" fmla="*/ -26 w 20142"/>
                  <a:gd name="connsiteY1" fmla="*/ 26417 h 26415"/>
                  <a:gd name="connsiteX2" fmla="*/ 20116 w 20142"/>
                  <a:gd name="connsiteY2" fmla="*/ 5806 h 26415"/>
                  <a:gd name="connsiteX3" fmla="*/ 20002 w 20142"/>
                  <a:gd name="connsiteY3" fmla="*/ 5789 h 26415"/>
                  <a:gd name="connsiteX4" fmla="*/ 5808 w 20142"/>
                  <a:gd name="connsiteY4" fmla="*/ 1 h 26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142" h="26415">
                    <a:moveTo>
                      <a:pt x="5808" y="1"/>
                    </a:moveTo>
                    <a:lnTo>
                      <a:pt x="-26" y="26417"/>
                    </a:lnTo>
                    <a:lnTo>
                      <a:pt x="20116" y="5806"/>
                    </a:lnTo>
                    <a:lnTo>
                      <a:pt x="20002" y="5789"/>
                    </a:lnTo>
                    <a:cubicBezTo>
                      <a:pt x="16210" y="4252"/>
                      <a:pt x="12442" y="2713"/>
                      <a:pt x="5808" y="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72" name="Vrije vorm 471">
                <a:extLst>
                  <a:ext uri="{FF2B5EF4-FFF2-40B4-BE49-F238E27FC236}">
                    <a16:creationId xmlns:a16="http://schemas.microsoft.com/office/drawing/2014/main" id="{B0C34D26-CEAA-0F44-8AC3-9C0077386559}"/>
                  </a:ext>
                </a:extLst>
              </p:cNvPr>
              <p:cNvSpPr/>
              <p:nvPr/>
            </p:nvSpPr>
            <p:spPr>
              <a:xfrm>
                <a:off x="3964112" y="1472480"/>
                <a:ext cx="6860" cy="12870"/>
              </a:xfrm>
              <a:custGeom>
                <a:avLst/>
                <a:gdLst>
                  <a:gd name="connsiteX0" fmla="*/ 6823 w 6860"/>
                  <a:gd name="connsiteY0" fmla="*/ 21 h 12870"/>
                  <a:gd name="connsiteX1" fmla="*/ -26 w 6860"/>
                  <a:gd name="connsiteY1" fmla="*/ 1 h 12870"/>
                  <a:gd name="connsiteX2" fmla="*/ -26 w 6860"/>
                  <a:gd name="connsiteY2" fmla="*/ 12807 h 12870"/>
                  <a:gd name="connsiteX3" fmla="*/ 6532 w 6860"/>
                  <a:gd name="connsiteY3" fmla="*/ 12737 h 12870"/>
                  <a:gd name="connsiteX4" fmla="*/ 6823 w 6860"/>
                  <a:gd name="connsiteY4" fmla="*/ 21 h 12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860" h="12870">
                    <a:moveTo>
                      <a:pt x="6823" y="21"/>
                    </a:moveTo>
                    <a:lnTo>
                      <a:pt x="-26" y="1"/>
                    </a:lnTo>
                    <a:lnTo>
                      <a:pt x="-26" y="12807"/>
                    </a:lnTo>
                    <a:cubicBezTo>
                      <a:pt x="2155" y="12912"/>
                      <a:pt x="4350" y="12888"/>
                      <a:pt x="6532" y="12737"/>
                    </a:cubicBezTo>
                    <a:cubicBezTo>
                      <a:pt x="6924" y="8528"/>
                      <a:pt x="6823" y="4270"/>
                      <a:pt x="6823" y="2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361" name="Vrije vorm 360">
              <a:extLst>
                <a:ext uri="{FF2B5EF4-FFF2-40B4-BE49-F238E27FC236}">
                  <a16:creationId xmlns:a16="http://schemas.microsoft.com/office/drawing/2014/main" id="{DA0EBE66-380D-6342-873C-1F4976D6091C}"/>
                </a:ext>
              </a:extLst>
            </p:cNvPr>
            <p:cNvSpPr/>
            <p:nvPr/>
          </p:nvSpPr>
          <p:spPr>
            <a:xfrm>
              <a:off x="5960032" y="1690862"/>
              <a:ext cx="1103" cy="825"/>
            </a:xfrm>
            <a:custGeom>
              <a:avLst/>
              <a:gdLst>
                <a:gd name="connsiteX0" fmla="*/ 431 w 1103"/>
                <a:gd name="connsiteY0" fmla="*/ 362 h 825"/>
                <a:gd name="connsiteX1" fmla="*/ 773 w 1103"/>
                <a:gd name="connsiteY1" fmla="*/ 1 h 825"/>
                <a:gd name="connsiteX2" fmla="*/ -26 w 1103"/>
                <a:gd name="connsiteY2" fmla="*/ 509 h 825"/>
                <a:gd name="connsiteX3" fmla="*/ 12 w 1103"/>
                <a:gd name="connsiteY3" fmla="*/ 815 h 825"/>
                <a:gd name="connsiteX4" fmla="*/ 12 w 1103"/>
                <a:gd name="connsiteY4" fmla="*/ 815 h 825"/>
                <a:gd name="connsiteX5" fmla="*/ 12 w 1103"/>
                <a:gd name="connsiteY5" fmla="*/ 815 h 825"/>
                <a:gd name="connsiteX6" fmla="*/ 12 w 1103"/>
                <a:gd name="connsiteY6" fmla="*/ 827 h 825"/>
                <a:gd name="connsiteX7" fmla="*/ 25 w 1103"/>
                <a:gd name="connsiteY7" fmla="*/ 808 h 825"/>
                <a:gd name="connsiteX8" fmla="*/ 1077 w 1103"/>
                <a:gd name="connsiteY8" fmla="*/ 368 h 825"/>
                <a:gd name="connsiteX9" fmla="*/ 773 w 1103"/>
                <a:gd name="connsiteY9" fmla="*/ 9 h 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3" h="825">
                  <a:moveTo>
                    <a:pt x="431" y="362"/>
                  </a:moveTo>
                  <a:lnTo>
                    <a:pt x="773" y="1"/>
                  </a:lnTo>
                  <a:lnTo>
                    <a:pt x="-26" y="509"/>
                  </a:lnTo>
                  <a:lnTo>
                    <a:pt x="12" y="815"/>
                  </a:lnTo>
                  <a:lnTo>
                    <a:pt x="12" y="815"/>
                  </a:lnTo>
                  <a:lnTo>
                    <a:pt x="12" y="815"/>
                  </a:lnTo>
                  <a:lnTo>
                    <a:pt x="12" y="827"/>
                  </a:lnTo>
                  <a:lnTo>
                    <a:pt x="25" y="808"/>
                  </a:lnTo>
                  <a:cubicBezTo>
                    <a:pt x="380" y="674"/>
                    <a:pt x="735" y="500"/>
                    <a:pt x="1077" y="368"/>
                  </a:cubicBezTo>
                  <a:cubicBezTo>
                    <a:pt x="989" y="234"/>
                    <a:pt x="862" y="143"/>
                    <a:pt x="773" y="9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362" name="Graphic 5">
              <a:extLst>
                <a:ext uri="{FF2B5EF4-FFF2-40B4-BE49-F238E27FC236}">
                  <a16:creationId xmlns:a16="http://schemas.microsoft.com/office/drawing/2014/main" id="{A0C1C6EE-C49F-6942-A448-69A545848F64}"/>
                </a:ext>
              </a:extLst>
            </p:cNvPr>
            <p:cNvGrpSpPr/>
            <p:nvPr/>
          </p:nvGrpSpPr>
          <p:grpSpPr>
            <a:xfrm>
              <a:off x="5631093" y="1489447"/>
              <a:ext cx="739589" cy="883410"/>
              <a:chOff x="5631093" y="1489447"/>
              <a:chExt cx="739589" cy="883410"/>
            </a:xfrm>
            <a:solidFill>
              <a:schemeClr val="bg2"/>
            </a:solidFill>
          </p:grpSpPr>
          <p:sp>
            <p:nvSpPr>
              <p:cNvPr id="450" name="Vrije vorm 449">
                <a:extLst>
                  <a:ext uri="{FF2B5EF4-FFF2-40B4-BE49-F238E27FC236}">
                    <a16:creationId xmlns:a16="http://schemas.microsoft.com/office/drawing/2014/main" id="{76E507A4-E2F7-0942-A68C-854B52E41153}"/>
                  </a:ext>
                </a:extLst>
              </p:cNvPr>
              <p:cNvSpPr/>
              <p:nvPr/>
            </p:nvSpPr>
            <p:spPr>
              <a:xfrm>
                <a:off x="5725596" y="2044348"/>
                <a:ext cx="24386" cy="11152"/>
              </a:xfrm>
              <a:custGeom>
                <a:avLst/>
                <a:gdLst>
                  <a:gd name="connsiteX0" fmla="*/ 24360 w 24386"/>
                  <a:gd name="connsiteY0" fmla="*/ 4179 h 11152"/>
                  <a:gd name="connsiteX1" fmla="*/ 12577 w 24386"/>
                  <a:gd name="connsiteY1" fmla="*/ 4179 h 11152"/>
                  <a:gd name="connsiteX2" fmla="*/ 24360 w 24386"/>
                  <a:gd name="connsiteY2" fmla="*/ 4179 h 11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4386" h="11152">
                    <a:moveTo>
                      <a:pt x="24360" y="4179"/>
                    </a:moveTo>
                    <a:cubicBezTo>
                      <a:pt x="23383" y="-2298"/>
                      <a:pt x="1465" y="-405"/>
                      <a:pt x="12577" y="4179"/>
                    </a:cubicBezTo>
                    <a:cubicBezTo>
                      <a:pt x="-20288" y="10348"/>
                      <a:pt x="21138" y="16165"/>
                      <a:pt x="24360" y="4179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451" name="Graphic 5">
                <a:extLst>
                  <a:ext uri="{FF2B5EF4-FFF2-40B4-BE49-F238E27FC236}">
                    <a16:creationId xmlns:a16="http://schemas.microsoft.com/office/drawing/2014/main" id="{2A59379A-9C94-464F-813E-F2D87D417082}"/>
                  </a:ext>
                </a:extLst>
              </p:cNvPr>
              <p:cNvGrpSpPr/>
              <p:nvPr/>
            </p:nvGrpSpPr>
            <p:grpSpPr>
              <a:xfrm>
                <a:off x="5631093" y="1489447"/>
                <a:ext cx="739589" cy="883410"/>
                <a:chOff x="5631093" y="1489447"/>
                <a:chExt cx="739589" cy="883410"/>
              </a:xfrm>
              <a:grpFill/>
            </p:grpSpPr>
            <p:sp>
              <p:nvSpPr>
                <p:cNvPr id="452" name="Vrije vorm 451">
                  <a:extLst>
                    <a:ext uri="{FF2B5EF4-FFF2-40B4-BE49-F238E27FC236}">
                      <a16:creationId xmlns:a16="http://schemas.microsoft.com/office/drawing/2014/main" id="{7FB864BA-68A3-9A48-9943-FE17D0CC24C1}"/>
                    </a:ext>
                  </a:extLst>
                </p:cNvPr>
                <p:cNvSpPr/>
                <p:nvPr/>
              </p:nvSpPr>
              <p:spPr>
                <a:xfrm>
                  <a:off x="5657776" y="2292354"/>
                  <a:ext cx="6892" cy="6587"/>
                </a:xfrm>
                <a:custGeom>
                  <a:avLst/>
                  <a:gdLst>
                    <a:gd name="connsiteX0" fmla="*/ 6866 w 6892"/>
                    <a:gd name="connsiteY0" fmla="*/ 1 h 6587"/>
                    <a:gd name="connsiteX1" fmla="*/ 1006 w 6892"/>
                    <a:gd name="connsiteY1" fmla="*/ 6589 h 6587"/>
                    <a:gd name="connsiteX2" fmla="*/ 6866 w 6892"/>
                    <a:gd name="connsiteY2" fmla="*/ 1 h 65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892" h="6587">
                      <a:moveTo>
                        <a:pt x="6866" y="1"/>
                      </a:moveTo>
                      <a:cubicBezTo>
                        <a:pt x="2592" y="1318"/>
                        <a:pt x="-2165" y="636"/>
                        <a:pt x="1006" y="6589"/>
                      </a:cubicBezTo>
                      <a:cubicBezTo>
                        <a:pt x="2795" y="4253"/>
                        <a:pt x="4761" y="2051"/>
                        <a:pt x="6866" y="1"/>
                      </a:cubicBezTo>
                      <a:close/>
                    </a:path>
                  </a:pathLst>
                </a:custGeom>
                <a:grpFill/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53" name="Vrije vorm 452">
                  <a:extLst>
                    <a:ext uri="{FF2B5EF4-FFF2-40B4-BE49-F238E27FC236}">
                      <a16:creationId xmlns:a16="http://schemas.microsoft.com/office/drawing/2014/main" id="{E9914C44-6F3E-3243-9576-7D62886C81C1}"/>
                    </a:ext>
                  </a:extLst>
                </p:cNvPr>
                <p:cNvSpPr/>
                <p:nvPr/>
              </p:nvSpPr>
              <p:spPr>
                <a:xfrm>
                  <a:off x="5664668" y="2292113"/>
                  <a:ext cx="646" cy="240"/>
                </a:xfrm>
                <a:custGeom>
                  <a:avLst/>
                  <a:gdLst>
                    <a:gd name="connsiteX0" fmla="*/ -26 w 646"/>
                    <a:gd name="connsiteY0" fmla="*/ 241 h 240"/>
                    <a:gd name="connsiteX1" fmla="*/ 621 w 646"/>
                    <a:gd name="connsiteY1" fmla="*/ 51 h 240"/>
                    <a:gd name="connsiteX2" fmla="*/ -26 w 646"/>
                    <a:gd name="connsiteY2" fmla="*/ 241 h 2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46" h="240">
                      <a:moveTo>
                        <a:pt x="-26" y="241"/>
                      </a:moveTo>
                      <a:cubicBezTo>
                        <a:pt x="189" y="175"/>
                        <a:pt x="405" y="128"/>
                        <a:pt x="621" y="51"/>
                      </a:cubicBezTo>
                      <a:cubicBezTo>
                        <a:pt x="329" y="-30"/>
                        <a:pt x="113" y="-40"/>
                        <a:pt x="-26" y="241"/>
                      </a:cubicBezTo>
                      <a:close/>
                    </a:path>
                  </a:pathLst>
                </a:custGeom>
                <a:grpFill/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54" name="Vrije vorm 453">
                  <a:extLst>
                    <a:ext uri="{FF2B5EF4-FFF2-40B4-BE49-F238E27FC236}">
                      <a16:creationId xmlns:a16="http://schemas.microsoft.com/office/drawing/2014/main" id="{38CF6373-5DD4-864C-BA6C-806231F1DCBF}"/>
                    </a:ext>
                  </a:extLst>
                </p:cNvPr>
                <p:cNvSpPr/>
                <p:nvPr/>
              </p:nvSpPr>
              <p:spPr>
                <a:xfrm>
                  <a:off x="5631093" y="1489447"/>
                  <a:ext cx="739589" cy="883410"/>
                </a:xfrm>
                <a:custGeom>
                  <a:avLst/>
                  <a:gdLst>
                    <a:gd name="connsiteX0" fmla="*/ 738802 w 739589"/>
                    <a:gd name="connsiteY0" fmla="*/ 60322 h 883410"/>
                    <a:gd name="connsiteX1" fmla="*/ 739563 w 739589"/>
                    <a:gd name="connsiteY1" fmla="*/ 59421 h 883410"/>
                    <a:gd name="connsiteX2" fmla="*/ 713903 w 739589"/>
                    <a:gd name="connsiteY2" fmla="*/ 35888 h 883410"/>
                    <a:gd name="connsiteX3" fmla="*/ 713852 w 739589"/>
                    <a:gd name="connsiteY3" fmla="*/ 35844 h 883410"/>
                    <a:gd name="connsiteX4" fmla="*/ 711874 w 739589"/>
                    <a:gd name="connsiteY4" fmla="*/ 34718 h 883410"/>
                    <a:gd name="connsiteX5" fmla="*/ 678172 w 739589"/>
                    <a:gd name="connsiteY5" fmla="*/ 11185 h 883410"/>
                    <a:gd name="connsiteX6" fmla="*/ 675115 w 739589"/>
                    <a:gd name="connsiteY6" fmla="*/ 22885 h 883410"/>
                    <a:gd name="connsiteX7" fmla="*/ 668646 w 739589"/>
                    <a:gd name="connsiteY7" fmla="*/ 44213 h 883410"/>
                    <a:gd name="connsiteX8" fmla="*/ 666173 w 739589"/>
                    <a:gd name="connsiteY8" fmla="*/ 47007 h 883410"/>
                    <a:gd name="connsiteX9" fmla="*/ 657458 w 739589"/>
                    <a:gd name="connsiteY9" fmla="*/ 49842 h 883410"/>
                    <a:gd name="connsiteX10" fmla="*/ 653590 w 739589"/>
                    <a:gd name="connsiteY10" fmla="*/ 48267 h 883410"/>
                    <a:gd name="connsiteX11" fmla="*/ 656418 w 739589"/>
                    <a:gd name="connsiteY11" fmla="*/ 40842 h 883410"/>
                    <a:gd name="connsiteX12" fmla="*/ 657141 w 739589"/>
                    <a:gd name="connsiteY12" fmla="*/ 36748 h 883410"/>
                    <a:gd name="connsiteX13" fmla="*/ 656469 w 739589"/>
                    <a:gd name="connsiteY13" fmla="*/ 34318 h 883410"/>
                    <a:gd name="connsiteX14" fmla="*/ 655708 w 739589"/>
                    <a:gd name="connsiteY14" fmla="*/ 33282 h 883410"/>
                    <a:gd name="connsiteX15" fmla="*/ 653729 w 739589"/>
                    <a:gd name="connsiteY15" fmla="*/ 29908 h 883410"/>
                    <a:gd name="connsiteX16" fmla="*/ 652778 w 739589"/>
                    <a:gd name="connsiteY16" fmla="*/ 26533 h 883410"/>
                    <a:gd name="connsiteX17" fmla="*/ 663889 w 739589"/>
                    <a:gd name="connsiteY17" fmla="*/ 16230 h 883410"/>
                    <a:gd name="connsiteX18" fmla="*/ 667479 w 739589"/>
                    <a:gd name="connsiteY18" fmla="*/ 11054 h 883410"/>
                    <a:gd name="connsiteX19" fmla="*/ 669103 w 739589"/>
                    <a:gd name="connsiteY19" fmla="*/ 7590 h 883410"/>
                    <a:gd name="connsiteX20" fmla="*/ 661416 w 739589"/>
                    <a:gd name="connsiteY20" fmla="*/ 3136 h 883410"/>
                    <a:gd name="connsiteX21" fmla="*/ 660427 w 739589"/>
                    <a:gd name="connsiteY21" fmla="*/ 2775 h 883410"/>
                    <a:gd name="connsiteX22" fmla="*/ 658359 w 739589"/>
                    <a:gd name="connsiteY22" fmla="*/ 2013 h 883410"/>
                    <a:gd name="connsiteX23" fmla="*/ 647438 w 739589"/>
                    <a:gd name="connsiteY23" fmla="*/ 1068 h 883410"/>
                    <a:gd name="connsiteX24" fmla="*/ 639168 w 739589"/>
                    <a:gd name="connsiteY24" fmla="*/ 16411 h 883410"/>
                    <a:gd name="connsiteX25" fmla="*/ 637544 w 739589"/>
                    <a:gd name="connsiteY25" fmla="*/ 20191 h 883410"/>
                    <a:gd name="connsiteX26" fmla="*/ 636288 w 739589"/>
                    <a:gd name="connsiteY26" fmla="*/ 23970 h 883410"/>
                    <a:gd name="connsiteX27" fmla="*/ 630581 w 739589"/>
                    <a:gd name="connsiteY27" fmla="*/ 41385 h 883410"/>
                    <a:gd name="connsiteX28" fmla="*/ 629908 w 739589"/>
                    <a:gd name="connsiteY28" fmla="*/ 42599 h 883410"/>
                    <a:gd name="connsiteX29" fmla="*/ 625418 w 739589"/>
                    <a:gd name="connsiteY29" fmla="*/ 48494 h 883410"/>
                    <a:gd name="connsiteX30" fmla="*/ 613368 w 739589"/>
                    <a:gd name="connsiteY30" fmla="*/ 54434 h 883410"/>
                    <a:gd name="connsiteX31" fmla="*/ 613089 w 739589"/>
                    <a:gd name="connsiteY31" fmla="*/ 54478 h 883410"/>
                    <a:gd name="connsiteX32" fmla="*/ 614078 w 739589"/>
                    <a:gd name="connsiteY32" fmla="*/ 41475 h 883410"/>
                    <a:gd name="connsiteX33" fmla="*/ 614713 w 739589"/>
                    <a:gd name="connsiteY33" fmla="*/ 33960 h 883410"/>
                    <a:gd name="connsiteX34" fmla="*/ 615791 w 739589"/>
                    <a:gd name="connsiteY34" fmla="*/ 19876 h 883410"/>
                    <a:gd name="connsiteX35" fmla="*/ 616159 w 739589"/>
                    <a:gd name="connsiteY35" fmla="*/ 14923 h 883410"/>
                    <a:gd name="connsiteX36" fmla="*/ 614269 w 739589"/>
                    <a:gd name="connsiteY36" fmla="*/ 16768 h 883410"/>
                    <a:gd name="connsiteX37" fmla="*/ 592883 w 739589"/>
                    <a:gd name="connsiteY37" fmla="*/ 46105 h 883410"/>
                    <a:gd name="connsiteX38" fmla="*/ 590765 w 739589"/>
                    <a:gd name="connsiteY38" fmla="*/ 49026 h 883410"/>
                    <a:gd name="connsiteX39" fmla="*/ 586363 w 739589"/>
                    <a:gd name="connsiteY39" fmla="*/ 59510 h 883410"/>
                    <a:gd name="connsiteX40" fmla="*/ 578728 w 739589"/>
                    <a:gd name="connsiteY40" fmla="*/ 75394 h 883410"/>
                    <a:gd name="connsiteX41" fmla="*/ 566944 w 739589"/>
                    <a:gd name="connsiteY41" fmla="*/ 81468 h 883410"/>
                    <a:gd name="connsiteX42" fmla="*/ 565460 w 739589"/>
                    <a:gd name="connsiteY42" fmla="*/ 81783 h 883410"/>
                    <a:gd name="connsiteX43" fmla="*/ 574808 w 739589"/>
                    <a:gd name="connsiteY43" fmla="*/ 54111 h 883410"/>
                    <a:gd name="connsiteX44" fmla="*/ 575480 w 739589"/>
                    <a:gd name="connsiteY44" fmla="*/ 52086 h 883410"/>
                    <a:gd name="connsiteX45" fmla="*/ 576241 w 739589"/>
                    <a:gd name="connsiteY45" fmla="*/ 49836 h 883410"/>
                    <a:gd name="connsiteX46" fmla="*/ 579882 w 739589"/>
                    <a:gd name="connsiteY46" fmla="*/ 39128 h 883410"/>
                    <a:gd name="connsiteX47" fmla="*/ 586858 w 739589"/>
                    <a:gd name="connsiteY47" fmla="*/ 18427 h 883410"/>
                    <a:gd name="connsiteX48" fmla="*/ 586363 w 739589"/>
                    <a:gd name="connsiteY48" fmla="*/ 18291 h 883410"/>
                    <a:gd name="connsiteX49" fmla="*/ 582850 w 739589"/>
                    <a:gd name="connsiteY49" fmla="*/ 17482 h 883410"/>
                    <a:gd name="connsiteX50" fmla="*/ 579260 w 739589"/>
                    <a:gd name="connsiteY50" fmla="*/ 16672 h 883410"/>
                    <a:gd name="connsiteX51" fmla="*/ 572792 w 739589"/>
                    <a:gd name="connsiteY51" fmla="*/ 15148 h 883410"/>
                    <a:gd name="connsiteX52" fmla="*/ 572703 w 739589"/>
                    <a:gd name="connsiteY52" fmla="*/ 15103 h 883410"/>
                    <a:gd name="connsiteX53" fmla="*/ 569278 w 739589"/>
                    <a:gd name="connsiteY53" fmla="*/ 14293 h 883410"/>
                    <a:gd name="connsiteX54" fmla="*/ 567794 w 739589"/>
                    <a:gd name="connsiteY54" fmla="*/ 13978 h 883410"/>
                    <a:gd name="connsiteX55" fmla="*/ 567261 w 739589"/>
                    <a:gd name="connsiteY55" fmla="*/ 13843 h 883410"/>
                    <a:gd name="connsiteX56" fmla="*/ 565193 w 739589"/>
                    <a:gd name="connsiteY56" fmla="*/ 16722 h 883410"/>
                    <a:gd name="connsiteX57" fmla="*/ 555579 w 739589"/>
                    <a:gd name="connsiteY57" fmla="*/ 30851 h 883410"/>
                    <a:gd name="connsiteX58" fmla="*/ 549821 w 739589"/>
                    <a:gd name="connsiteY58" fmla="*/ 38636 h 883410"/>
                    <a:gd name="connsiteX59" fmla="*/ 545470 w 739589"/>
                    <a:gd name="connsiteY59" fmla="*/ 43271 h 883410"/>
                    <a:gd name="connsiteX60" fmla="*/ 541246 w 739589"/>
                    <a:gd name="connsiteY60" fmla="*/ 46691 h 883410"/>
                    <a:gd name="connsiteX61" fmla="*/ 540434 w 739589"/>
                    <a:gd name="connsiteY61" fmla="*/ 47230 h 883410"/>
                    <a:gd name="connsiteX62" fmla="*/ 540383 w 739589"/>
                    <a:gd name="connsiteY62" fmla="*/ 47275 h 883410"/>
                    <a:gd name="connsiteX63" fmla="*/ 537694 w 739589"/>
                    <a:gd name="connsiteY63" fmla="*/ 49389 h 883410"/>
                    <a:gd name="connsiteX64" fmla="*/ 530629 w 739589"/>
                    <a:gd name="connsiteY64" fmla="*/ 57670 h 883410"/>
                    <a:gd name="connsiteX65" fmla="*/ 526456 w 739589"/>
                    <a:gd name="connsiteY65" fmla="*/ 69143 h 883410"/>
                    <a:gd name="connsiteX66" fmla="*/ 525911 w 739589"/>
                    <a:gd name="connsiteY66" fmla="*/ 72248 h 883410"/>
                    <a:gd name="connsiteX67" fmla="*/ 525822 w 739589"/>
                    <a:gd name="connsiteY67" fmla="*/ 72832 h 883410"/>
                    <a:gd name="connsiteX68" fmla="*/ 523754 w 739589"/>
                    <a:gd name="connsiteY68" fmla="*/ 90426 h 883410"/>
                    <a:gd name="connsiteX69" fmla="*/ 523171 w 739589"/>
                    <a:gd name="connsiteY69" fmla="*/ 95556 h 883410"/>
                    <a:gd name="connsiteX70" fmla="*/ 522993 w 739589"/>
                    <a:gd name="connsiteY70" fmla="*/ 97041 h 883410"/>
                    <a:gd name="connsiteX71" fmla="*/ 522232 w 739589"/>
                    <a:gd name="connsiteY71" fmla="*/ 95781 h 883410"/>
                    <a:gd name="connsiteX72" fmla="*/ 506770 w 739589"/>
                    <a:gd name="connsiteY72" fmla="*/ 72563 h 883410"/>
                    <a:gd name="connsiteX73" fmla="*/ 506060 w 739589"/>
                    <a:gd name="connsiteY73" fmla="*/ 71978 h 883410"/>
                    <a:gd name="connsiteX74" fmla="*/ 496623 w 739589"/>
                    <a:gd name="connsiteY74" fmla="*/ 68108 h 883410"/>
                    <a:gd name="connsiteX75" fmla="*/ 496572 w 739589"/>
                    <a:gd name="connsiteY75" fmla="*/ 68108 h 883410"/>
                    <a:gd name="connsiteX76" fmla="*/ 484662 w 739589"/>
                    <a:gd name="connsiteY76" fmla="*/ 67703 h 883410"/>
                    <a:gd name="connsiteX77" fmla="*/ 481021 w 739589"/>
                    <a:gd name="connsiteY77" fmla="*/ 68288 h 883410"/>
                    <a:gd name="connsiteX78" fmla="*/ 474286 w 739589"/>
                    <a:gd name="connsiteY78" fmla="*/ 70808 h 883410"/>
                    <a:gd name="connsiteX79" fmla="*/ 470380 w 739589"/>
                    <a:gd name="connsiteY79" fmla="*/ 76748 h 883410"/>
                    <a:gd name="connsiteX80" fmla="*/ 486729 w 739589"/>
                    <a:gd name="connsiteY80" fmla="*/ 85027 h 883410"/>
                    <a:gd name="connsiteX81" fmla="*/ 485562 w 739589"/>
                    <a:gd name="connsiteY81" fmla="*/ 91146 h 883410"/>
                    <a:gd name="connsiteX82" fmla="*/ 484395 w 739589"/>
                    <a:gd name="connsiteY82" fmla="*/ 97041 h 883410"/>
                    <a:gd name="connsiteX83" fmla="*/ 482823 w 739589"/>
                    <a:gd name="connsiteY83" fmla="*/ 105320 h 883410"/>
                    <a:gd name="connsiteX84" fmla="*/ 482645 w 739589"/>
                    <a:gd name="connsiteY84" fmla="*/ 106310 h 883410"/>
                    <a:gd name="connsiteX85" fmla="*/ 482468 w 739589"/>
                    <a:gd name="connsiteY85" fmla="*/ 107166 h 883410"/>
                    <a:gd name="connsiteX86" fmla="*/ 482468 w 739589"/>
                    <a:gd name="connsiteY86" fmla="*/ 107254 h 883410"/>
                    <a:gd name="connsiteX87" fmla="*/ 470595 w 739589"/>
                    <a:gd name="connsiteY87" fmla="*/ 91191 h 883410"/>
                    <a:gd name="connsiteX88" fmla="*/ 467589 w 739589"/>
                    <a:gd name="connsiteY88" fmla="*/ 93262 h 883410"/>
                    <a:gd name="connsiteX89" fmla="*/ 463010 w 739589"/>
                    <a:gd name="connsiteY89" fmla="*/ 96590 h 883410"/>
                    <a:gd name="connsiteX90" fmla="*/ 454068 w 739589"/>
                    <a:gd name="connsiteY90" fmla="*/ 102940 h 883410"/>
                    <a:gd name="connsiteX91" fmla="*/ 449564 w 739589"/>
                    <a:gd name="connsiteY91" fmla="*/ 105819 h 883410"/>
                    <a:gd name="connsiteX92" fmla="*/ 448677 w 739589"/>
                    <a:gd name="connsiteY92" fmla="*/ 106405 h 883410"/>
                    <a:gd name="connsiteX93" fmla="*/ 444948 w 739589"/>
                    <a:gd name="connsiteY93" fmla="*/ 115899 h 883410"/>
                    <a:gd name="connsiteX94" fmla="*/ 439823 w 739589"/>
                    <a:gd name="connsiteY94" fmla="*/ 130612 h 883410"/>
                    <a:gd name="connsiteX95" fmla="*/ 438377 w 739589"/>
                    <a:gd name="connsiteY95" fmla="*/ 131247 h 883410"/>
                    <a:gd name="connsiteX96" fmla="*/ 435904 w 739589"/>
                    <a:gd name="connsiteY96" fmla="*/ 132373 h 883410"/>
                    <a:gd name="connsiteX97" fmla="*/ 436310 w 739589"/>
                    <a:gd name="connsiteY97" fmla="*/ 125758 h 883410"/>
                    <a:gd name="connsiteX98" fmla="*/ 437667 w 739589"/>
                    <a:gd name="connsiteY98" fmla="*/ 102406 h 883410"/>
                    <a:gd name="connsiteX99" fmla="*/ 437794 w 739589"/>
                    <a:gd name="connsiteY99" fmla="*/ 100247 h 883410"/>
                    <a:gd name="connsiteX100" fmla="*/ 433976 w 739589"/>
                    <a:gd name="connsiteY100" fmla="*/ 98987 h 883410"/>
                    <a:gd name="connsiteX101" fmla="*/ 432987 w 739589"/>
                    <a:gd name="connsiteY101" fmla="*/ 100607 h 883410"/>
                    <a:gd name="connsiteX102" fmla="*/ 423144 w 739589"/>
                    <a:gd name="connsiteY102" fmla="*/ 116851 h 883410"/>
                    <a:gd name="connsiteX103" fmla="*/ 421431 w 739589"/>
                    <a:gd name="connsiteY103" fmla="*/ 119685 h 883410"/>
                    <a:gd name="connsiteX104" fmla="*/ 419731 w 739589"/>
                    <a:gd name="connsiteY104" fmla="*/ 115545 h 883410"/>
                    <a:gd name="connsiteX105" fmla="*/ 416903 w 739589"/>
                    <a:gd name="connsiteY105" fmla="*/ 108662 h 883410"/>
                    <a:gd name="connsiteX106" fmla="*/ 416041 w 739589"/>
                    <a:gd name="connsiteY106" fmla="*/ 106630 h 883410"/>
                    <a:gd name="connsiteX107" fmla="*/ 401834 w 739589"/>
                    <a:gd name="connsiteY107" fmla="*/ 117025 h 883410"/>
                    <a:gd name="connsiteX108" fmla="*/ 402113 w 739589"/>
                    <a:gd name="connsiteY108" fmla="*/ 124538 h 883410"/>
                    <a:gd name="connsiteX109" fmla="*/ 402506 w 739589"/>
                    <a:gd name="connsiteY109" fmla="*/ 129848 h 883410"/>
                    <a:gd name="connsiteX110" fmla="*/ 402468 w 739589"/>
                    <a:gd name="connsiteY110" fmla="*/ 130883 h 883410"/>
                    <a:gd name="connsiteX111" fmla="*/ 399361 w 739589"/>
                    <a:gd name="connsiteY111" fmla="*/ 138578 h 883410"/>
                    <a:gd name="connsiteX112" fmla="*/ 398955 w 739589"/>
                    <a:gd name="connsiteY112" fmla="*/ 139072 h 883410"/>
                    <a:gd name="connsiteX113" fmla="*/ 390964 w 739589"/>
                    <a:gd name="connsiteY113" fmla="*/ 144562 h 883410"/>
                    <a:gd name="connsiteX114" fmla="*/ 387552 w 739589"/>
                    <a:gd name="connsiteY114" fmla="*/ 145866 h 883410"/>
                    <a:gd name="connsiteX115" fmla="*/ 372813 w 739589"/>
                    <a:gd name="connsiteY115" fmla="*/ 141952 h 883410"/>
                    <a:gd name="connsiteX116" fmla="*/ 372762 w 739589"/>
                    <a:gd name="connsiteY116" fmla="*/ 141997 h 883410"/>
                    <a:gd name="connsiteX117" fmla="*/ 371950 w 739589"/>
                    <a:gd name="connsiteY117" fmla="*/ 145553 h 883410"/>
                    <a:gd name="connsiteX118" fmla="*/ 371950 w 739589"/>
                    <a:gd name="connsiteY118" fmla="*/ 145687 h 883410"/>
                    <a:gd name="connsiteX119" fmla="*/ 371684 w 739589"/>
                    <a:gd name="connsiteY119" fmla="*/ 153382 h 883410"/>
                    <a:gd name="connsiteX120" fmla="*/ 365392 w 739589"/>
                    <a:gd name="connsiteY120" fmla="*/ 161302 h 883410"/>
                    <a:gd name="connsiteX121" fmla="*/ 360128 w 739589"/>
                    <a:gd name="connsiteY121" fmla="*/ 169310 h 883410"/>
                    <a:gd name="connsiteX122" fmla="*/ 360217 w 739589"/>
                    <a:gd name="connsiteY122" fmla="*/ 171605 h 883410"/>
                    <a:gd name="connsiteX123" fmla="*/ 362107 w 739589"/>
                    <a:gd name="connsiteY123" fmla="*/ 180964 h 883410"/>
                    <a:gd name="connsiteX124" fmla="*/ 361524 w 739589"/>
                    <a:gd name="connsiteY124" fmla="*/ 182944 h 883410"/>
                    <a:gd name="connsiteX125" fmla="*/ 361486 w 739589"/>
                    <a:gd name="connsiteY125" fmla="*/ 182944 h 883410"/>
                    <a:gd name="connsiteX126" fmla="*/ 357934 w 739589"/>
                    <a:gd name="connsiteY126" fmla="*/ 187399 h 883410"/>
                    <a:gd name="connsiteX127" fmla="*/ 355410 w 739589"/>
                    <a:gd name="connsiteY127" fmla="*/ 189154 h 883410"/>
                    <a:gd name="connsiteX128" fmla="*/ 350019 w 739589"/>
                    <a:gd name="connsiteY128" fmla="*/ 192348 h 883410"/>
                    <a:gd name="connsiteX129" fmla="*/ 347368 w 739589"/>
                    <a:gd name="connsiteY129" fmla="*/ 194103 h 883410"/>
                    <a:gd name="connsiteX130" fmla="*/ 330016 w 739589"/>
                    <a:gd name="connsiteY130" fmla="*/ 201797 h 883410"/>
                    <a:gd name="connsiteX131" fmla="*/ 331285 w 739589"/>
                    <a:gd name="connsiteY131" fmla="*/ 203418 h 883410"/>
                    <a:gd name="connsiteX132" fmla="*/ 338476 w 739589"/>
                    <a:gd name="connsiteY132" fmla="*/ 210302 h 883410"/>
                    <a:gd name="connsiteX133" fmla="*/ 360306 w 739589"/>
                    <a:gd name="connsiteY133" fmla="*/ 210707 h 883410"/>
                    <a:gd name="connsiteX134" fmla="*/ 356450 w 739589"/>
                    <a:gd name="connsiteY134" fmla="*/ 216511 h 883410"/>
                    <a:gd name="connsiteX135" fmla="*/ 332769 w 739589"/>
                    <a:gd name="connsiteY135" fmla="*/ 217861 h 883410"/>
                    <a:gd name="connsiteX136" fmla="*/ 330701 w 739589"/>
                    <a:gd name="connsiteY136" fmla="*/ 217996 h 883410"/>
                    <a:gd name="connsiteX137" fmla="*/ 330701 w 739589"/>
                    <a:gd name="connsiteY137" fmla="*/ 218266 h 883410"/>
                    <a:gd name="connsiteX138" fmla="*/ 330511 w 739589"/>
                    <a:gd name="connsiteY138" fmla="*/ 222046 h 883410"/>
                    <a:gd name="connsiteX139" fmla="*/ 329978 w 739589"/>
                    <a:gd name="connsiteY139" fmla="*/ 233603 h 883410"/>
                    <a:gd name="connsiteX140" fmla="*/ 329801 w 739589"/>
                    <a:gd name="connsiteY140" fmla="*/ 237248 h 883410"/>
                    <a:gd name="connsiteX141" fmla="*/ 329433 w 739589"/>
                    <a:gd name="connsiteY141" fmla="*/ 244447 h 883410"/>
                    <a:gd name="connsiteX142" fmla="*/ 329344 w 739589"/>
                    <a:gd name="connsiteY142" fmla="*/ 246293 h 883410"/>
                    <a:gd name="connsiteX143" fmla="*/ 329255 w 739589"/>
                    <a:gd name="connsiteY143" fmla="*/ 248137 h 883410"/>
                    <a:gd name="connsiteX144" fmla="*/ 325387 w 739589"/>
                    <a:gd name="connsiteY144" fmla="*/ 249442 h 883410"/>
                    <a:gd name="connsiteX145" fmla="*/ 317484 w 739589"/>
                    <a:gd name="connsiteY145" fmla="*/ 251692 h 883410"/>
                    <a:gd name="connsiteX146" fmla="*/ 313438 w 739589"/>
                    <a:gd name="connsiteY146" fmla="*/ 252862 h 883410"/>
                    <a:gd name="connsiteX147" fmla="*/ 305980 w 739589"/>
                    <a:gd name="connsiteY147" fmla="*/ 256147 h 883410"/>
                    <a:gd name="connsiteX148" fmla="*/ 303557 w 739589"/>
                    <a:gd name="connsiteY148" fmla="*/ 258576 h 883410"/>
                    <a:gd name="connsiteX149" fmla="*/ 300589 w 739589"/>
                    <a:gd name="connsiteY149" fmla="*/ 268566 h 883410"/>
                    <a:gd name="connsiteX150" fmla="*/ 300411 w 739589"/>
                    <a:gd name="connsiteY150" fmla="*/ 270725 h 883410"/>
                    <a:gd name="connsiteX151" fmla="*/ 300272 w 739589"/>
                    <a:gd name="connsiteY151" fmla="*/ 274009 h 883410"/>
                    <a:gd name="connsiteX152" fmla="*/ 300221 w 739589"/>
                    <a:gd name="connsiteY152" fmla="*/ 275315 h 883410"/>
                    <a:gd name="connsiteX153" fmla="*/ 299866 w 739589"/>
                    <a:gd name="connsiteY153" fmla="*/ 284314 h 883410"/>
                    <a:gd name="connsiteX154" fmla="*/ 292636 w 739589"/>
                    <a:gd name="connsiteY154" fmla="*/ 287554 h 883410"/>
                    <a:gd name="connsiteX155" fmla="*/ 288729 w 739589"/>
                    <a:gd name="connsiteY155" fmla="*/ 289263 h 883410"/>
                    <a:gd name="connsiteX156" fmla="*/ 288678 w 739589"/>
                    <a:gd name="connsiteY156" fmla="*/ 289263 h 883410"/>
                    <a:gd name="connsiteX157" fmla="*/ 281271 w 739589"/>
                    <a:gd name="connsiteY157" fmla="*/ 292593 h 883410"/>
                    <a:gd name="connsiteX158" fmla="*/ 270971 w 739589"/>
                    <a:gd name="connsiteY158" fmla="*/ 297137 h 883410"/>
                    <a:gd name="connsiteX159" fmla="*/ 274168 w 739589"/>
                    <a:gd name="connsiteY159" fmla="*/ 298038 h 883410"/>
                    <a:gd name="connsiteX160" fmla="*/ 298483 w 739589"/>
                    <a:gd name="connsiteY160" fmla="*/ 304788 h 883410"/>
                    <a:gd name="connsiteX161" fmla="*/ 288678 w 739589"/>
                    <a:gd name="connsiteY161" fmla="*/ 305597 h 883410"/>
                    <a:gd name="connsiteX162" fmla="*/ 278658 w 739589"/>
                    <a:gd name="connsiteY162" fmla="*/ 308341 h 883410"/>
                    <a:gd name="connsiteX163" fmla="*/ 278163 w 739589"/>
                    <a:gd name="connsiteY163" fmla="*/ 308567 h 883410"/>
                    <a:gd name="connsiteX164" fmla="*/ 274980 w 739589"/>
                    <a:gd name="connsiteY164" fmla="*/ 310052 h 883410"/>
                    <a:gd name="connsiteX165" fmla="*/ 274751 w 739589"/>
                    <a:gd name="connsiteY165" fmla="*/ 310142 h 883410"/>
                    <a:gd name="connsiteX166" fmla="*/ 267433 w 739589"/>
                    <a:gd name="connsiteY166" fmla="*/ 315222 h 883410"/>
                    <a:gd name="connsiteX167" fmla="*/ 266342 w 739589"/>
                    <a:gd name="connsiteY167" fmla="*/ 316167 h 883410"/>
                    <a:gd name="connsiteX168" fmla="*/ 266342 w 739589"/>
                    <a:gd name="connsiteY168" fmla="*/ 316213 h 883410"/>
                    <a:gd name="connsiteX169" fmla="*/ 258985 w 739589"/>
                    <a:gd name="connsiteY169" fmla="*/ 324582 h 883410"/>
                    <a:gd name="connsiteX170" fmla="*/ 258985 w 739589"/>
                    <a:gd name="connsiteY170" fmla="*/ 324626 h 883410"/>
                    <a:gd name="connsiteX171" fmla="*/ 257501 w 739589"/>
                    <a:gd name="connsiteY171" fmla="*/ 326785 h 883410"/>
                    <a:gd name="connsiteX172" fmla="*/ 256194 w 739589"/>
                    <a:gd name="connsiteY172" fmla="*/ 328854 h 883410"/>
                    <a:gd name="connsiteX173" fmla="*/ 250436 w 739589"/>
                    <a:gd name="connsiteY173" fmla="*/ 338887 h 883410"/>
                    <a:gd name="connsiteX174" fmla="*/ 249763 w 739589"/>
                    <a:gd name="connsiteY174" fmla="*/ 340103 h 883410"/>
                    <a:gd name="connsiteX175" fmla="*/ 248558 w 739589"/>
                    <a:gd name="connsiteY175" fmla="*/ 342488 h 883410"/>
                    <a:gd name="connsiteX176" fmla="*/ 247785 w 739589"/>
                    <a:gd name="connsiteY176" fmla="*/ 343972 h 883410"/>
                    <a:gd name="connsiteX177" fmla="*/ 247024 w 739589"/>
                    <a:gd name="connsiteY177" fmla="*/ 345412 h 883410"/>
                    <a:gd name="connsiteX178" fmla="*/ 246174 w 739589"/>
                    <a:gd name="connsiteY178" fmla="*/ 347077 h 883410"/>
                    <a:gd name="connsiteX179" fmla="*/ 241684 w 739589"/>
                    <a:gd name="connsiteY179" fmla="*/ 355447 h 883410"/>
                    <a:gd name="connsiteX180" fmla="*/ 239794 w 739589"/>
                    <a:gd name="connsiteY180" fmla="*/ 358551 h 883410"/>
                    <a:gd name="connsiteX181" fmla="*/ 237104 w 739589"/>
                    <a:gd name="connsiteY181" fmla="*/ 362691 h 883410"/>
                    <a:gd name="connsiteX182" fmla="*/ 235342 w 739589"/>
                    <a:gd name="connsiteY182" fmla="*/ 365255 h 883410"/>
                    <a:gd name="connsiteX183" fmla="*/ 235164 w 739589"/>
                    <a:gd name="connsiteY183" fmla="*/ 365525 h 883410"/>
                    <a:gd name="connsiteX184" fmla="*/ 255027 w 739589"/>
                    <a:gd name="connsiteY184" fmla="*/ 375650 h 883410"/>
                    <a:gd name="connsiteX185" fmla="*/ 234492 w 739589"/>
                    <a:gd name="connsiteY185" fmla="*/ 382489 h 883410"/>
                    <a:gd name="connsiteX186" fmla="*/ 234352 w 739589"/>
                    <a:gd name="connsiteY186" fmla="*/ 382579 h 883410"/>
                    <a:gd name="connsiteX187" fmla="*/ 232690 w 739589"/>
                    <a:gd name="connsiteY187" fmla="*/ 384244 h 883410"/>
                    <a:gd name="connsiteX188" fmla="*/ 227122 w 739589"/>
                    <a:gd name="connsiteY188" fmla="*/ 391893 h 883410"/>
                    <a:gd name="connsiteX189" fmla="*/ 222403 w 739589"/>
                    <a:gd name="connsiteY189" fmla="*/ 400622 h 883410"/>
                    <a:gd name="connsiteX190" fmla="*/ 220691 w 739589"/>
                    <a:gd name="connsiteY190" fmla="*/ 403952 h 883410"/>
                    <a:gd name="connsiteX191" fmla="*/ 217635 w 739589"/>
                    <a:gd name="connsiteY191" fmla="*/ 415200 h 883410"/>
                    <a:gd name="connsiteX192" fmla="*/ 217545 w 739589"/>
                    <a:gd name="connsiteY192" fmla="*/ 419836 h 883410"/>
                    <a:gd name="connsiteX193" fmla="*/ 219068 w 739589"/>
                    <a:gd name="connsiteY193" fmla="*/ 433738 h 883410"/>
                    <a:gd name="connsiteX194" fmla="*/ 219347 w 739589"/>
                    <a:gd name="connsiteY194" fmla="*/ 435854 h 883410"/>
                    <a:gd name="connsiteX195" fmla="*/ 219702 w 739589"/>
                    <a:gd name="connsiteY195" fmla="*/ 450342 h 883410"/>
                    <a:gd name="connsiteX196" fmla="*/ 219613 w 739589"/>
                    <a:gd name="connsiteY196" fmla="*/ 451422 h 883410"/>
                    <a:gd name="connsiteX197" fmla="*/ 217812 w 739589"/>
                    <a:gd name="connsiteY197" fmla="*/ 452142 h 883410"/>
                    <a:gd name="connsiteX198" fmla="*/ 212561 w 739589"/>
                    <a:gd name="connsiteY198" fmla="*/ 454617 h 883410"/>
                    <a:gd name="connsiteX199" fmla="*/ 202756 w 739589"/>
                    <a:gd name="connsiteY199" fmla="*/ 461952 h 883410"/>
                    <a:gd name="connsiteX200" fmla="*/ 196693 w 739589"/>
                    <a:gd name="connsiteY200" fmla="*/ 469511 h 883410"/>
                    <a:gd name="connsiteX201" fmla="*/ 194714 w 739589"/>
                    <a:gd name="connsiteY201" fmla="*/ 472931 h 883410"/>
                    <a:gd name="connsiteX202" fmla="*/ 194714 w 739589"/>
                    <a:gd name="connsiteY202" fmla="*/ 472975 h 883410"/>
                    <a:gd name="connsiteX203" fmla="*/ 192558 w 739589"/>
                    <a:gd name="connsiteY203" fmla="*/ 477386 h 883410"/>
                    <a:gd name="connsiteX204" fmla="*/ 192558 w 739589"/>
                    <a:gd name="connsiteY204" fmla="*/ 477430 h 883410"/>
                    <a:gd name="connsiteX205" fmla="*/ 192520 w 739589"/>
                    <a:gd name="connsiteY205" fmla="*/ 477475 h 883410"/>
                    <a:gd name="connsiteX206" fmla="*/ 187345 w 739589"/>
                    <a:gd name="connsiteY206" fmla="*/ 480985 h 883410"/>
                    <a:gd name="connsiteX207" fmla="*/ 185505 w 739589"/>
                    <a:gd name="connsiteY207" fmla="*/ 483685 h 883410"/>
                    <a:gd name="connsiteX208" fmla="*/ 184744 w 739589"/>
                    <a:gd name="connsiteY208" fmla="*/ 485350 h 883410"/>
                    <a:gd name="connsiteX209" fmla="*/ 184605 w 739589"/>
                    <a:gd name="connsiteY209" fmla="*/ 485890 h 883410"/>
                    <a:gd name="connsiteX210" fmla="*/ 184199 w 739589"/>
                    <a:gd name="connsiteY210" fmla="*/ 489220 h 883410"/>
                    <a:gd name="connsiteX211" fmla="*/ 184339 w 739589"/>
                    <a:gd name="connsiteY211" fmla="*/ 489940 h 883410"/>
                    <a:gd name="connsiteX212" fmla="*/ 184973 w 739589"/>
                    <a:gd name="connsiteY212" fmla="*/ 491244 h 883410"/>
                    <a:gd name="connsiteX213" fmla="*/ 186862 w 739589"/>
                    <a:gd name="connsiteY213" fmla="*/ 492594 h 883410"/>
                    <a:gd name="connsiteX214" fmla="*/ 187712 w 739589"/>
                    <a:gd name="connsiteY214" fmla="*/ 492819 h 883410"/>
                    <a:gd name="connsiteX215" fmla="*/ 186989 w 739589"/>
                    <a:gd name="connsiteY215" fmla="*/ 496554 h 883410"/>
                    <a:gd name="connsiteX216" fmla="*/ 186989 w 739589"/>
                    <a:gd name="connsiteY216" fmla="*/ 496598 h 883410"/>
                    <a:gd name="connsiteX217" fmla="*/ 186228 w 739589"/>
                    <a:gd name="connsiteY217" fmla="*/ 497138 h 883410"/>
                    <a:gd name="connsiteX218" fmla="*/ 185594 w 739589"/>
                    <a:gd name="connsiteY218" fmla="*/ 497633 h 883410"/>
                    <a:gd name="connsiteX219" fmla="*/ 184744 w 739589"/>
                    <a:gd name="connsiteY219" fmla="*/ 498444 h 883410"/>
                    <a:gd name="connsiteX220" fmla="*/ 184339 w 739589"/>
                    <a:gd name="connsiteY220" fmla="*/ 498939 h 883410"/>
                    <a:gd name="connsiteX221" fmla="*/ 184249 w 739589"/>
                    <a:gd name="connsiteY221" fmla="*/ 499074 h 883410"/>
                    <a:gd name="connsiteX222" fmla="*/ 184110 w 739589"/>
                    <a:gd name="connsiteY222" fmla="*/ 499523 h 883410"/>
                    <a:gd name="connsiteX223" fmla="*/ 184161 w 739589"/>
                    <a:gd name="connsiteY223" fmla="*/ 499794 h 883410"/>
                    <a:gd name="connsiteX224" fmla="*/ 184339 w 739589"/>
                    <a:gd name="connsiteY224" fmla="*/ 499973 h 883410"/>
                    <a:gd name="connsiteX225" fmla="*/ 184605 w 739589"/>
                    <a:gd name="connsiteY225" fmla="*/ 500153 h 883410"/>
                    <a:gd name="connsiteX226" fmla="*/ 185100 w 739589"/>
                    <a:gd name="connsiteY226" fmla="*/ 500288 h 883410"/>
                    <a:gd name="connsiteX227" fmla="*/ 186317 w 739589"/>
                    <a:gd name="connsiteY227" fmla="*/ 500424 h 883410"/>
                    <a:gd name="connsiteX228" fmla="*/ 186140 w 739589"/>
                    <a:gd name="connsiteY228" fmla="*/ 501772 h 883410"/>
                    <a:gd name="connsiteX229" fmla="*/ 184249 w 739589"/>
                    <a:gd name="connsiteY229" fmla="*/ 502718 h 883410"/>
                    <a:gd name="connsiteX230" fmla="*/ 183882 w 739589"/>
                    <a:gd name="connsiteY230" fmla="*/ 502718 h 883410"/>
                    <a:gd name="connsiteX231" fmla="*/ 173544 w 739589"/>
                    <a:gd name="connsiteY231" fmla="*/ 496418 h 883410"/>
                    <a:gd name="connsiteX232" fmla="*/ 173316 w 739589"/>
                    <a:gd name="connsiteY232" fmla="*/ 496283 h 883410"/>
                    <a:gd name="connsiteX233" fmla="*/ 171426 w 739589"/>
                    <a:gd name="connsiteY233" fmla="*/ 496014 h 883410"/>
                    <a:gd name="connsiteX234" fmla="*/ 170576 w 739589"/>
                    <a:gd name="connsiteY234" fmla="*/ 496464 h 883410"/>
                    <a:gd name="connsiteX235" fmla="*/ 170170 w 739589"/>
                    <a:gd name="connsiteY235" fmla="*/ 496733 h 883410"/>
                    <a:gd name="connsiteX236" fmla="*/ 168648 w 739589"/>
                    <a:gd name="connsiteY236" fmla="*/ 497768 h 883410"/>
                    <a:gd name="connsiteX237" fmla="*/ 162306 w 739589"/>
                    <a:gd name="connsiteY237" fmla="*/ 501683 h 883410"/>
                    <a:gd name="connsiteX238" fmla="*/ 164158 w 739589"/>
                    <a:gd name="connsiteY238" fmla="*/ 502763 h 883410"/>
                    <a:gd name="connsiteX239" fmla="*/ 162991 w 739589"/>
                    <a:gd name="connsiteY239" fmla="*/ 503842 h 883410"/>
                    <a:gd name="connsiteX240" fmla="*/ 162712 w 739589"/>
                    <a:gd name="connsiteY240" fmla="*/ 504113 h 883410"/>
                    <a:gd name="connsiteX241" fmla="*/ 162217 w 739589"/>
                    <a:gd name="connsiteY241" fmla="*/ 503618 h 883410"/>
                    <a:gd name="connsiteX242" fmla="*/ 161684 w 739589"/>
                    <a:gd name="connsiteY242" fmla="*/ 503078 h 883410"/>
                    <a:gd name="connsiteX243" fmla="*/ 160467 w 739589"/>
                    <a:gd name="connsiteY243" fmla="*/ 501818 h 883410"/>
                    <a:gd name="connsiteX244" fmla="*/ 160873 w 739589"/>
                    <a:gd name="connsiteY244" fmla="*/ 504472 h 883410"/>
                    <a:gd name="connsiteX245" fmla="*/ 157993 w 739589"/>
                    <a:gd name="connsiteY245" fmla="*/ 504248 h 883410"/>
                    <a:gd name="connsiteX246" fmla="*/ 157232 w 739589"/>
                    <a:gd name="connsiteY246" fmla="*/ 503978 h 883410"/>
                    <a:gd name="connsiteX247" fmla="*/ 157587 w 739589"/>
                    <a:gd name="connsiteY247" fmla="*/ 504203 h 883410"/>
                    <a:gd name="connsiteX248" fmla="*/ 158399 w 739589"/>
                    <a:gd name="connsiteY248" fmla="*/ 504608 h 883410"/>
                    <a:gd name="connsiteX249" fmla="*/ 158983 w 739589"/>
                    <a:gd name="connsiteY249" fmla="*/ 504923 h 883410"/>
                    <a:gd name="connsiteX250" fmla="*/ 160061 w 739589"/>
                    <a:gd name="connsiteY250" fmla="*/ 506542 h 883410"/>
                    <a:gd name="connsiteX251" fmla="*/ 159033 w 739589"/>
                    <a:gd name="connsiteY251" fmla="*/ 507577 h 883410"/>
                    <a:gd name="connsiteX252" fmla="*/ 157904 w 739589"/>
                    <a:gd name="connsiteY252" fmla="*/ 507307 h 883410"/>
                    <a:gd name="connsiteX253" fmla="*/ 157955 w 739589"/>
                    <a:gd name="connsiteY253" fmla="*/ 507848 h 883410"/>
                    <a:gd name="connsiteX254" fmla="*/ 158222 w 739589"/>
                    <a:gd name="connsiteY254" fmla="*/ 508432 h 883410"/>
                    <a:gd name="connsiteX255" fmla="*/ 157816 w 739589"/>
                    <a:gd name="connsiteY255" fmla="*/ 508837 h 883410"/>
                    <a:gd name="connsiteX256" fmla="*/ 157181 w 739589"/>
                    <a:gd name="connsiteY256" fmla="*/ 508522 h 883410"/>
                    <a:gd name="connsiteX257" fmla="*/ 155976 w 739589"/>
                    <a:gd name="connsiteY257" fmla="*/ 509963 h 883410"/>
                    <a:gd name="connsiteX258" fmla="*/ 155926 w 739589"/>
                    <a:gd name="connsiteY258" fmla="*/ 510907 h 883410"/>
                    <a:gd name="connsiteX259" fmla="*/ 153275 w 739589"/>
                    <a:gd name="connsiteY259" fmla="*/ 514102 h 883410"/>
                    <a:gd name="connsiteX260" fmla="*/ 153097 w 739589"/>
                    <a:gd name="connsiteY260" fmla="*/ 514102 h 883410"/>
                    <a:gd name="connsiteX261" fmla="*/ 152374 w 739589"/>
                    <a:gd name="connsiteY261" fmla="*/ 514192 h 883410"/>
                    <a:gd name="connsiteX262" fmla="*/ 151930 w 739589"/>
                    <a:gd name="connsiteY262" fmla="*/ 514328 h 883410"/>
                    <a:gd name="connsiteX263" fmla="*/ 151347 w 739589"/>
                    <a:gd name="connsiteY263" fmla="*/ 515137 h 883410"/>
                    <a:gd name="connsiteX264" fmla="*/ 151474 w 739589"/>
                    <a:gd name="connsiteY264" fmla="*/ 515586 h 883410"/>
                    <a:gd name="connsiteX265" fmla="*/ 151753 w 739589"/>
                    <a:gd name="connsiteY265" fmla="*/ 516172 h 883410"/>
                    <a:gd name="connsiteX266" fmla="*/ 150269 w 739589"/>
                    <a:gd name="connsiteY266" fmla="*/ 518286 h 883410"/>
                    <a:gd name="connsiteX267" fmla="*/ 149508 w 739589"/>
                    <a:gd name="connsiteY267" fmla="*/ 518332 h 883410"/>
                    <a:gd name="connsiteX268" fmla="*/ 148696 w 739589"/>
                    <a:gd name="connsiteY268" fmla="*/ 518781 h 883410"/>
                    <a:gd name="connsiteX269" fmla="*/ 148112 w 739589"/>
                    <a:gd name="connsiteY269" fmla="*/ 519951 h 883410"/>
                    <a:gd name="connsiteX270" fmla="*/ 148062 w 739589"/>
                    <a:gd name="connsiteY270" fmla="*/ 521977 h 883410"/>
                    <a:gd name="connsiteX271" fmla="*/ 146311 w 739589"/>
                    <a:gd name="connsiteY271" fmla="*/ 525441 h 883410"/>
                    <a:gd name="connsiteX272" fmla="*/ 145994 w 739589"/>
                    <a:gd name="connsiteY272" fmla="*/ 525171 h 883410"/>
                    <a:gd name="connsiteX273" fmla="*/ 145677 w 739589"/>
                    <a:gd name="connsiteY273" fmla="*/ 524856 h 883410"/>
                    <a:gd name="connsiteX274" fmla="*/ 145639 w 739589"/>
                    <a:gd name="connsiteY274" fmla="*/ 524811 h 883410"/>
                    <a:gd name="connsiteX275" fmla="*/ 144244 w 739589"/>
                    <a:gd name="connsiteY275" fmla="*/ 523821 h 883410"/>
                    <a:gd name="connsiteX276" fmla="*/ 143254 w 739589"/>
                    <a:gd name="connsiteY276" fmla="*/ 528996 h 883410"/>
                    <a:gd name="connsiteX277" fmla="*/ 142531 w 739589"/>
                    <a:gd name="connsiteY277" fmla="*/ 530750 h 883410"/>
                    <a:gd name="connsiteX278" fmla="*/ 143394 w 739589"/>
                    <a:gd name="connsiteY278" fmla="*/ 533450 h 883410"/>
                    <a:gd name="connsiteX279" fmla="*/ 142265 w 739589"/>
                    <a:gd name="connsiteY279" fmla="*/ 538355 h 883410"/>
                    <a:gd name="connsiteX280" fmla="*/ 138891 w 739589"/>
                    <a:gd name="connsiteY280" fmla="*/ 540650 h 883410"/>
                    <a:gd name="connsiteX281" fmla="*/ 132384 w 739589"/>
                    <a:gd name="connsiteY281" fmla="*/ 545554 h 883410"/>
                    <a:gd name="connsiteX282" fmla="*/ 131699 w 739589"/>
                    <a:gd name="connsiteY282" fmla="*/ 546229 h 883410"/>
                    <a:gd name="connsiteX283" fmla="*/ 131204 w 739589"/>
                    <a:gd name="connsiteY283" fmla="*/ 546864 h 883410"/>
                    <a:gd name="connsiteX284" fmla="*/ 130621 w 739589"/>
                    <a:gd name="connsiteY284" fmla="*/ 548980 h 883410"/>
                    <a:gd name="connsiteX285" fmla="*/ 130228 w 739589"/>
                    <a:gd name="connsiteY285" fmla="*/ 549742 h 883410"/>
                    <a:gd name="connsiteX286" fmla="*/ 138764 w 739589"/>
                    <a:gd name="connsiteY286" fmla="*/ 548706 h 883410"/>
                    <a:gd name="connsiteX287" fmla="*/ 140197 w 739589"/>
                    <a:gd name="connsiteY287" fmla="*/ 548167 h 883410"/>
                    <a:gd name="connsiteX288" fmla="*/ 141504 w 739589"/>
                    <a:gd name="connsiteY288" fmla="*/ 547671 h 883410"/>
                    <a:gd name="connsiteX289" fmla="*/ 141542 w 739589"/>
                    <a:gd name="connsiteY289" fmla="*/ 549876 h 883410"/>
                    <a:gd name="connsiteX290" fmla="*/ 140870 w 739589"/>
                    <a:gd name="connsiteY290" fmla="*/ 550371 h 883410"/>
                    <a:gd name="connsiteX291" fmla="*/ 139703 w 739589"/>
                    <a:gd name="connsiteY291" fmla="*/ 551271 h 883410"/>
                    <a:gd name="connsiteX292" fmla="*/ 137407 w 739589"/>
                    <a:gd name="connsiteY292" fmla="*/ 552891 h 883410"/>
                    <a:gd name="connsiteX293" fmla="*/ 137775 w 739589"/>
                    <a:gd name="connsiteY293" fmla="*/ 554691 h 883410"/>
                    <a:gd name="connsiteX294" fmla="*/ 138447 w 739589"/>
                    <a:gd name="connsiteY294" fmla="*/ 556895 h 883410"/>
                    <a:gd name="connsiteX295" fmla="*/ 134845 w 739589"/>
                    <a:gd name="connsiteY295" fmla="*/ 557076 h 883410"/>
                    <a:gd name="connsiteX296" fmla="*/ 119522 w 739589"/>
                    <a:gd name="connsiteY296" fmla="*/ 562970 h 883410"/>
                    <a:gd name="connsiteX297" fmla="*/ 119573 w 739589"/>
                    <a:gd name="connsiteY297" fmla="*/ 564410 h 883410"/>
                    <a:gd name="connsiteX298" fmla="*/ 119751 w 739589"/>
                    <a:gd name="connsiteY298" fmla="*/ 565130 h 883410"/>
                    <a:gd name="connsiteX299" fmla="*/ 120017 w 739589"/>
                    <a:gd name="connsiteY299" fmla="*/ 565580 h 883410"/>
                    <a:gd name="connsiteX300" fmla="*/ 108830 w 739589"/>
                    <a:gd name="connsiteY300" fmla="*/ 568595 h 883410"/>
                    <a:gd name="connsiteX301" fmla="*/ 106939 w 739589"/>
                    <a:gd name="connsiteY301" fmla="*/ 569230 h 883410"/>
                    <a:gd name="connsiteX302" fmla="*/ 105455 w 739589"/>
                    <a:gd name="connsiteY302" fmla="*/ 569454 h 883410"/>
                    <a:gd name="connsiteX303" fmla="*/ 105138 w 739589"/>
                    <a:gd name="connsiteY303" fmla="*/ 569725 h 883410"/>
                    <a:gd name="connsiteX304" fmla="*/ 105050 w 739589"/>
                    <a:gd name="connsiteY304" fmla="*/ 569994 h 883410"/>
                    <a:gd name="connsiteX305" fmla="*/ 105138 w 739589"/>
                    <a:gd name="connsiteY305" fmla="*/ 570309 h 883410"/>
                    <a:gd name="connsiteX306" fmla="*/ 106622 w 739589"/>
                    <a:gd name="connsiteY306" fmla="*/ 572829 h 883410"/>
                    <a:gd name="connsiteX307" fmla="*/ 105823 w 739589"/>
                    <a:gd name="connsiteY307" fmla="*/ 574809 h 883410"/>
                    <a:gd name="connsiteX308" fmla="*/ 105455 w 739589"/>
                    <a:gd name="connsiteY308" fmla="*/ 575079 h 883410"/>
                    <a:gd name="connsiteX309" fmla="*/ 103971 w 739589"/>
                    <a:gd name="connsiteY309" fmla="*/ 575665 h 883410"/>
                    <a:gd name="connsiteX310" fmla="*/ 103337 w 739589"/>
                    <a:gd name="connsiteY310" fmla="*/ 575844 h 883410"/>
                    <a:gd name="connsiteX311" fmla="*/ 101866 w 739589"/>
                    <a:gd name="connsiteY311" fmla="*/ 576159 h 883410"/>
                    <a:gd name="connsiteX312" fmla="*/ 101003 w 739589"/>
                    <a:gd name="connsiteY312" fmla="*/ 576293 h 883410"/>
                    <a:gd name="connsiteX313" fmla="*/ 100065 w 739589"/>
                    <a:gd name="connsiteY313" fmla="*/ 576429 h 883410"/>
                    <a:gd name="connsiteX314" fmla="*/ 101003 w 739589"/>
                    <a:gd name="connsiteY314" fmla="*/ 577779 h 883410"/>
                    <a:gd name="connsiteX315" fmla="*/ 101853 w 739589"/>
                    <a:gd name="connsiteY315" fmla="*/ 578769 h 883410"/>
                    <a:gd name="connsiteX316" fmla="*/ 103565 w 739589"/>
                    <a:gd name="connsiteY316" fmla="*/ 580343 h 883410"/>
                    <a:gd name="connsiteX317" fmla="*/ 97908 w 739589"/>
                    <a:gd name="connsiteY317" fmla="*/ 586058 h 883410"/>
                    <a:gd name="connsiteX318" fmla="*/ 97857 w 739589"/>
                    <a:gd name="connsiteY318" fmla="*/ 586103 h 883410"/>
                    <a:gd name="connsiteX319" fmla="*/ 97046 w 739589"/>
                    <a:gd name="connsiteY319" fmla="*/ 585923 h 883410"/>
                    <a:gd name="connsiteX320" fmla="*/ 96285 w 739589"/>
                    <a:gd name="connsiteY320" fmla="*/ 585788 h 883410"/>
                    <a:gd name="connsiteX321" fmla="*/ 95168 w 739589"/>
                    <a:gd name="connsiteY321" fmla="*/ 585653 h 883410"/>
                    <a:gd name="connsiteX322" fmla="*/ 94129 w 739589"/>
                    <a:gd name="connsiteY322" fmla="*/ 585788 h 883410"/>
                    <a:gd name="connsiteX323" fmla="*/ 93811 w 739589"/>
                    <a:gd name="connsiteY323" fmla="*/ 586237 h 883410"/>
                    <a:gd name="connsiteX324" fmla="*/ 93913 w 739589"/>
                    <a:gd name="connsiteY324" fmla="*/ 586643 h 883410"/>
                    <a:gd name="connsiteX325" fmla="*/ 94002 w 739589"/>
                    <a:gd name="connsiteY325" fmla="*/ 586823 h 883410"/>
                    <a:gd name="connsiteX326" fmla="*/ 94268 w 739589"/>
                    <a:gd name="connsiteY326" fmla="*/ 587273 h 883410"/>
                    <a:gd name="connsiteX327" fmla="*/ 94623 w 739589"/>
                    <a:gd name="connsiteY327" fmla="*/ 587768 h 883410"/>
                    <a:gd name="connsiteX328" fmla="*/ 95207 w 739589"/>
                    <a:gd name="connsiteY328" fmla="*/ 588442 h 883410"/>
                    <a:gd name="connsiteX329" fmla="*/ 94534 w 739589"/>
                    <a:gd name="connsiteY329" fmla="*/ 589077 h 883410"/>
                    <a:gd name="connsiteX330" fmla="*/ 93139 w 739589"/>
                    <a:gd name="connsiteY330" fmla="*/ 586782 h 883410"/>
                    <a:gd name="connsiteX331" fmla="*/ 92872 w 739589"/>
                    <a:gd name="connsiteY331" fmla="*/ 586602 h 883410"/>
                    <a:gd name="connsiteX332" fmla="*/ 91972 w 739589"/>
                    <a:gd name="connsiteY332" fmla="*/ 586782 h 883410"/>
                    <a:gd name="connsiteX333" fmla="*/ 91617 w 739589"/>
                    <a:gd name="connsiteY333" fmla="*/ 587142 h 883410"/>
                    <a:gd name="connsiteX334" fmla="*/ 91249 w 739589"/>
                    <a:gd name="connsiteY334" fmla="*/ 587681 h 883410"/>
                    <a:gd name="connsiteX335" fmla="*/ 99874 w 739589"/>
                    <a:gd name="connsiteY335" fmla="*/ 593621 h 883410"/>
                    <a:gd name="connsiteX336" fmla="*/ 105544 w 739589"/>
                    <a:gd name="connsiteY336" fmla="*/ 596187 h 883410"/>
                    <a:gd name="connsiteX337" fmla="*/ 98352 w 739589"/>
                    <a:gd name="connsiteY337" fmla="*/ 597491 h 883410"/>
                    <a:gd name="connsiteX338" fmla="*/ 103388 w 739589"/>
                    <a:gd name="connsiteY338" fmla="*/ 602980 h 883410"/>
                    <a:gd name="connsiteX339" fmla="*/ 104098 w 739589"/>
                    <a:gd name="connsiteY339" fmla="*/ 603790 h 883410"/>
                    <a:gd name="connsiteX340" fmla="*/ 104238 w 739589"/>
                    <a:gd name="connsiteY340" fmla="*/ 603971 h 883410"/>
                    <a:gd name="connsiteX341" fmla="*/ 101815 w 739589"/>
                    <a:gd name="connsiteY341" fmla="*/ 602081 h 883410"/>
                    <a:gd name="connsiteX342" fmla="*/ 101447 w 739589"/>
                    <a:gd name="connsiteY342" fmla="*/ 601856 h 883410"/>
                    <a:gd name="connsiteX343" fmla="*/ 101409 w 739589"/>
                    <a:gd name="connsiteY343" fmla="*/ 604600 h 883410"/>
                    <a:gd name="connsiteX344" fmla="*/ 95968 w 739589"/>
                    <a:gd name="connsiteY344" fmla="*/ 607300 h 883410"/>
                    <a:gd name="connsiteX345" fmla="*/ 84818 w 739589"/>
                    <a:gd name="connsiteY345" fmla="*/ 596321 h 883410"/>
                    <a:gd name="connsiteX346" fmla="*/ 64333 w 739589"/>
                    <a:gd name="connsiteY346" fmla="*/ 606444 h 883410"/>
                    <a:gd name="connsiteX347" fmla="*/ 77538 w 739589"/>
                    <a:gd name="connsiteY347" fmla="*/ 607706 h 883410"/>
                    <a:gd name="connsiteX348" fmla="*/ 90222 w 739589"/>
                    <a:gd name="connsiteY348" fmla="*/ 612430 h 883410"/>
                    <a:gd name="connsiteX349" fmla="*/ 79339 w 739589"/>
                    <a:gd name="connsiteY349" fmla="*/ 620573 h 883410"/>
                    <a:gd name="connsiteX350" fmla="*/ 73593 w 739589"/>
                    <a:gd name="connsiteY350" fmla="*/ 625653 h 883410"/>
                    <a:gd name="connsiteX351" fmla="*/ 61999 w 739589"/>
                    <a:gd name="connsiteY351" fmla="*/ 623809 h 883410"/>
                    <a:gd name="connsiteX352" fmla="*/ 56241 w 739589"/>
                    <a:gd name="connsiteY352" fmla="*/ 616295 h 883410"/>
                    <a:gd name="connsiteX353" fmla="*/ 47032 w 739589"/>
                    <a:gd name="connsiteY353" fmla="*/ 622137 h 883410"/>
                    <a:gd name="connsiteX354" fmla="*/ 48960 w 739589"/>
                    <a:gd name="connsiteY354" fmla="*/ 626277 h 883410"/>
                    <a:gd name="connsiteX355" fmla="*/ 51294 w 739589"/>
                    <a:gd name="connsiteY355" fmla="*/ 628032 h 883410"/>
                    <a:gd name="connsiteX356" fmla="*/ 66540 w 739589"/>
                    <a:gd name="connsiteY356" fmla="*/ 638245 h 883410"/>
                    <a:gd name="connsiteX357" fmla="*/ 67390 w 739589"/>
                    <a:gd name="connsiteY357" fmla="*/ 639101 h 883410"/>
                    <a:gd name="connsiteX358" fmla="*/ 69546 w 739589"/>
                    <a:gd name="connsiteY358" fmla="*/ 641080 h 883410"/>
                    <a:gd name="connsiteX359" fmla="*/ 68646 w 739589"/>
                    <a:gd name="connsiteY359" fmla="*/ 640540 h 883410"/>
                    <a:gd name="connsiteX360" fmla="*/ 67479 w 739589"/>
                    <a:gd name="connsiteY360" fmla="*/ 639956 h 883410"/>
                    <a:gd name="connsiteX361" fmla="*/ 66845 w 739589"/>
                    <a:gd name="connsiteY361" fmla="*/ 639776 h 883410"/>
                    <a:gd name="connsiteX362" fmla="*/ 66261 w 739589"/>
                    <a:gd name="connsiteY362" fmla="*/ 639685 h 883410"/>
                    <a:gd name="connsiteX363" fmla="*/ 65805 w 739589"/>
                    <a:gd name="connsiteY363" fmla="*/ 639731 h 883410"/>
                    <a:gd name="connsiteX364" fmla="*/ 65399 w 739589"/>
                    <a:gd name="connsiteY364" fmla="*/ 639956 h 883410"/>
                    <a:gd name="connsiteX365" fmla="*/ 64815 w 739589"/>
                    <a:gd name="connsiteY365" fmla="*/ 640765 h 883410"/>
                    <a:gd name="connsiteX366" fmla="*/ 57636 w 739589"/>
                    <a:gd name="connsiteY366" fmla="*/ 649495 h 883410"/>
                    <a:gd name="connsiteX367" fmla="*/ 63521 w 739589"/>
                    <a:gd name="connsiteY367" fmla="*/ 650130 h 883410"/>
                    <a:gd name="connsiteX368" fmla="*/ 58169 w 739589"/>
                    <a:gd name="connsiteY368" fmla="*/ 640950 h 883410"/>
                    <a:gd name="connsiteX369" fmla="*/ 43518 w 739589"/>
                    <a:gd name="connsiteY369" fmla="*/ 641985 h 883410"/>
                    <a:gd name="connsiteX370" fmla="*/ 40233 w 739589"/>
                    <a:gd name="connsiteY370" fmla="*/ 652605 h 883410"/>
                    <a:gd name="connsiteX371" fmla="*/ 25456 w 739589"/>
                    <a:gd name="connsiteY371" fmla="*/ 655125 h 883410"/>
                    <a:gd name="connsiteX372" fmla="*/ 20382 w 739589"/>
                    <a:gd name="connsiteY372" fmla="*/ 645990 h 883410"/>
                    <a:gd name="connsiteX373" fmla="*/ 21143 w 739589"/>
                    <a:gd name="connsiteY373" fmla="*/ 648465 h 883410"/>
                    <a:gd name="connsiteX374" fmla="*/ 21321 w 739589"/>
                    <a:gd name="connsiteY374" fmla="*/ 649005 h 883410"/>
                    <a:gd name="connsiteX375" fmla="*/ 21550 w 739589"/>
                    <a:gd name="connsiteY375" fmla="*/ 649767 h 883410"/>
                    <a:gd name="connsiteX376" fmla="*/ 21638 w 739589"/>
                    <a:gd name="connsiteY376" fmla="*/ 650127 h 883410"/>
                    <a:gd name="connsiteX377" fmla="*/ 20738 w 739589"/>
                    <a:gd name="connsiteY377" fmla="*/ 648868 h 883410"/>
                    <a:gd name="connsiteX378" fmla="*/ 19660 w 739589"/>
                    <a:gd name="connsiteY378" fmla="*/ 647518 h 883410"/>
                    <a:gd name="connsiteX379" fmla="*/ 16602 w 739589"/>
                    <a:gd name="connsiteY379" fmla="*/ 645267 h 883410"/>
                    <a:gd name="connsiteX380" fmla="*/ 15880 w 739589"/>
                    <a:gd name="connsiteY380" fmla="*/ 644998 h 883410"/>
                    <a:gd name="connsiteX381" fmla="*/ 14358 w 739589"/>
                    <a:gd name="connsiteY381" fmla="*/ 644727 h 883410"/>
                    <a:gd name="connsiteX382" fmla="*/ 5644 w 739589"/>
                    <a:gd name="connsiteY382" fmla="*/ 643918 h 883410"/>
                    <a:gd name="connsiteX383" fmla="*/ 12835 w 739589"/>
                    <a:gd name="connsiteY383" fmla="*/ 655122 h 883410"/>
                    <a:gd name="connsiteX384" fmla="*/ 28741 w 739589"/>
                    <a:gd name="connsiteY384" fmla="*/ 661331 h 883410"/>
                    <a:gd name="connsiteX385" fmla="*/ 43252 w 739589"/>
                    <a:gd name="connsiteY385" fmla="*/ 668080 h 883410"/>
                    <a:gd name="connsiteX386" fmla="*/ 34678 w 739589"/>
                    <a:gd name="connsiteY386" fmla="*/ 669520 h 883410"/>
                    <a:gd name="connsiteX387" fmla="*/ 28386 w 739589"/>
                    <a:gd name="connsiteY387" fmla="*/ 668666 h 883410"/>
                    <a:gd name="connsiteX388" fmla="*/ 27980 w 739589"/>
                    <a:gd name="connsiteY388" fmla="*/ 666551 h 883410"/>
                    <a:gd name="connsiteX389" fmla="*/ 23706 w 739589"/>
                    <a:gd name="connsiteY389" fmla="*/ 665966 h 883410"/>
                    <a:gd name="connsiteX390" fmla="*/ 21283 w 739589"/>
                    <a:gd name="connsiteY390" fmla="*/ 666505 h 883410"/>
                    <a:gd name="connsiteX391" fmla="*/ 20205 w 739589"/>
                    <a:gd name="connsiteY391" fmla="*/ 666776 h 883410"/>
                    <a:gd name="connsiteX392" fmla="*/ 19977 w 739589"/>
                    <a:gd name="connsiteY392" fmla="*/ 666820 h 883410"/>
                    <a:gd name="connsiteX393" fmla="*/ 20205 w 739589"/>
                    <a:gd name="connsiteY393" fmla="*/ 666641 h 883410"/>
                    <a:gd name="connsiteX394" fmla="*/ 22539 w 739589"/>
                    <a:gd name="connsiteY394" fmla="*/ 665426 h 883410"/>
                    <a:gd name="connsiteX395" fmla="*/ 6227 w 739589"/>
                    <a:gd name="connsiteY395" fmla="*/ 672806 h 883410"/>
                    <a:gd name="connsiteX396" fmla="*/ 557 w 739589"/>
                    <a:gd name="connsiteY396" fmla="*/ 674470 h 883410"/>
                    <a:gd name="connsiteX397" fmla="*/ 12874 w 739589"/>
                    <a:gd name="connsiteY397" fmla="*/ 681489 h 883410"/>
                    <a:gd name="connsiteX398" fmla="*/ 11669 w 739589"/>
                    <a:gd name="connsiteY398" fmla="*/ 683065 h 883410"/>
                    <a:gd name="connsiteX399" fmla="*/ 14535 w 739589"/>
                    <a:gd name="connsiteY399" fmla="*/ 689094 h 883410"/>
                    <a:gd name="connsiteX400" fmla="*/ 11085 w 739589"/>
                    <a:gd name="connsiteY400" fmla="*/ 688373 h 883410"/>
                    <a:gd name="connsiteX401" fmla="*/ -26 w 739589"/>
                    <a:gd name="connsiteY401" fmla="*/ 691254 h 883410"/>
                    <a:gd name="connsiteX402" fmla="*/ 3893 w 739589"/>
                    <a:gd name="connsiteY402" fmla="*/ 691388 h 883410"/>
                    <a:gd name="connsiteX403" fmla="*/ 19431 w 739589"/>
                    <a:gd name="connsiteY403" fmla="*/ 694448 h 883410"/>
                    <a:gd name="connsiteX404" fmla="*/ 10590 w 739589"/>
                    <a:gd name="connsiteY404" fmla="*/ 700925 h 883410"/>
                    <a:gd name="connsiteX405" fmla="*/ 21410 w 739589"/>
                    <a:gd name="connsiteY405" fmla="*/ 706640 h 883410"/>
                    <a:gd name="connsiteX406" fmla="*/ 47920 w 739589"/>
                    <a:gd name="connsiteY406" fmla="*/ 697011 h 883410"/>
                    <a:gd name="connsiteX407" fmla="*/ 68418 w 739589"/>
                    <a:gd name="connsiteY407" fmla="*/ 704525 h 883410"/>
                    <a:gd name="connsiteX408" fmla="*/ 71475 w 739589"/>
                    <a:gd name="connsiteY408" fmla="*/ 689901 h 883410"/>
                    <a:gd name="connsiteX409" fmla="*/ 77905 w 739589"/>
                    <a:gd name="connsiteY409" fmla="*/ 702140 h 883410"/>
                    <a:gd name="connsiteX410" fmla="*/ 60236 w 739589"/>
                    <a:gd name="connsiteY410" fmla="*/ 718293 h 883410"/>
                    <a:gd name="connsiteX411" fmla="*/ 37138 w 739589"/>
                    <a:gd name="connsiteY411" fmla="*/ 710239 h 883410"/>
                    <a:gd name="connsiteX412" fmla="*/ 4692 w 739589"/>
                    <a:gd name="connsiteY412" fmla="*/ 717978 h 883410"/>
                    <a:gd name="connsiteX413" fmla="*/ 1724 w 739589"/>
                    <a:gd name="connsiteY413" fmla="*/ 720003 h 883410"/>
                    <a:gd name="connsiteX414" fmla="*/ 11339 w 739589"/>
                    <a:gd name="connsiteY414" fmla="*/ 722883 h 883410"/>
                    <a:gd name="connsiteX415" fmla="*/ 13102 w 739589"/>
                    <a:gd name="connsiteY415" fmla="*/ 733862 h 883410"/>
                    <a:gd name="connsiteX416" fmla="*/ 11973 w 739589"/>
                    <a:gd name="connsiteY416" fmla="*/ 734673 h 883410"/>
                    <a:gd name="connsiteX417" fmla="*/ 12024 w 739589"/>
                    <a:gd name="connsiteY417" fmla="*/ 736922 h 883410"/>
                    <a:gd name="connsiteX418" fmla="*/ 19076 w 739589"/>
                    <a:gd name="connsiteY418" fmla="*/ 732332 h 883410"/>
                    <a:gd name="connsiteX419" fmla="*/ 20015 w 739589"/>
                    <a:gd name="connsiteY419" fmla="*/ 748715 h 883410"/>
                    <a:gd name="connsiteX420" fmla="*/ 8561 w 739589"/>
                    <a:gd name="connsiteY420" fmla="*/ 748715 h 883410"/>
                    <a:gd name="connsiteX421" fmla="*/ 11440 w 739589"/>
                    <a:gd name="connsiteY421" fmla="*/ 761313 h 883410"/>
                    <a:gd name="connsiteX422" fmla="*/ 22361 w 739589"/>
                    <a:gd name="connsiteY422" fmla="*/ 750964 h 883410"/>
                    <a:gd name="connsiteX423" fmla="*/ 17859 w 739589"/>
                    <a:gd name="connsiteY423" fmla="*/ 762619 h 883410"/>
                    <a:gd name="connsiteX424" fmla="*/ 22171 w 739589"/>
                    <a:gd name="connsiteY424" fmla="*/ 765813 h 883410"/>
                    <a:gd name="connsiteX425" fmla="*/ 21004 w 739589"/>
                    <a:gd name="connsiteY425" fmla="*/ 769863 h 883410"/>
                    <a:gd name="connsiteX426" fmla="*/ 30302 w 739589"/>
                    <a:gd name="connsiteY426" fmla="*/ 757798 h 883410"/>
                    <a:gd name="connsiteX427" fmla="*/ 35210 w 739589"/>
                    <a:gd name="connsiteY427" fmla="*/ 746414 h 883410"/>
                    <a:gd name="connsiteX428" fmla="*/ 46931 w 739589"/>
                    <a:gd name="connsiteY428" fmla="*/ 746773 h 883410"/>
                    <a:gd name="connsiteX429" fmla="*/ 55378 w 739589"/>
                    <a:gd name="connsiteY429" fmla="*/ 744434 h 883410"/>
                    <a:gd name="connsiteX430" fmla="*/ 56558 w 739589"/>
                    <a:gd name="connsiteY430" fmla="*/ 745196 h 883410"/>
                    <a:gd name="connsiteX431" fmla="*/ 44508 w 739589"/>
                    <a:gd name="connsiteY431" fmla="*/ 768729 h 883410"/>
                    <a:gd name="connsiteX432" fmla="*/ 42352 w 739589"/>
                    <a:gd name="connsiteY432" fmla="*/ 751136 h 883410"/>
                    <a:gd name="connsiteX433" fmla="*/ 38660 w 739589"/>
                    <a:gd name="connsiteY433" fmla="*/ 781553 h 883410"/>
                    <a:gd name="connsiteX434" fmla="*/ 12861 w 739589"/>
                    <a:gd name="connsiteY434" fmla="*/ 792442 h 883410"/>
                    <a:gd name="connsiteX435" fmla="*/ 7204 w 739589"/>
                    <a:gd name="connsiteY435" fmla="*/ 799237 h 883410"/>
                    <a:gd name="connsiteX436" fmla="*/ 11339 w 739589"/>
                    <a:gd name="connsiteY436" fmla="*/ 806120 h 883410"/>
                    <a:gd name="connsiteX437" fmla="*/ 14928 w 739589"/>
                    <a:gd name="connsiteY437" fmla="*/ 813769 h 883410"/>
                    <a:gd name="connsiteX438" fmla="*/ 19152 w 739589"/>
                    <a:gd name="connsiteY438" fmla="*/ 813007 h 883410"/>
                    <a:gd name="connsiteX439" fmla="*/ 19786 w 739589"/>
                    <a:gd name="connsiteY439" fmla="*/ 806574 h 883410"/>
                    <a:gd name="connsiteX440" fmla="*/ 45269 w 739589"/>
                    <a:gd name="connsiteY440" fmla="*/ 798114 h 883410"/>
                    <a:gd name="connsiteX441" fmla="*/ 36555 w 739589"/>
                    <a:gd name="connsiteY441" fmla="*/ 811882 h 883410"/>
                    <a:gd name="connsiteX442" fmla="*/ 33004 w 739589"/>
                    <a:gd name="connsiteY442" fmla="*/ 813998 h 883410"/>
                    <a:gd name="connsiteX443" fmla="*/ 38445 w 739589"/>
                    <a:gd name="connsiteY443" fmla="*/ 829296 h 883410"/>
                    <a:gd name="connsiteX444" fmla="*/ 35705 w 739589"/>
                    <a:gd name="connsiteY444" fmla="*/ 837485 h 883410"/>
                    <a:gd name="connsiteX445" fmla="*/ 22348 w 739589"/>
                    <a:gd name="connsiteY445" fmla="*/ 833076 h 883410"/>
                    <a:gd name="connsiteX446" fmla="*/ 16336 w 739589"/>
                    <a:gd name="connsiteY446" fmla="*/ 829656 h 883410"/>
                    <a:gd name="connsiteX447" fmla="*/ 22526 w 739589"/>
                    <a:gd name="connsiteY447" fmla="*/ 855034 h 883410"/>
                    <a:gd name="connsiteX448" fmla="*/ 48009 w 739589"/>
                    <a:gd name="connsiteY448" fmla="*/ 866417 h 883410"/>
                    <a:gd name="connsiteX449" fmla="*/ 49632 w 739589"/>
                    <a:gd name="connsiteY449" fmla="*/ 871370 h 883410"/>
                    <a:gd name="connsiteX450" fmla="*/ 51700 w 739589"/>
                    <a:gd name="connsiteY450" fmla="*/ 869973 h 883410"/>
                    <a:gd name="connsiteX451" fmla="*/ 45814 w 739589"/>
                    <a:gd name="connsiteY451" fmla="*/ 876948 h 883410"/>
                    <a:gd name="connsiteX452" fmla="*/ 45726 w 739589"/>
                    <a:gd name="connsiteY452" fmla="*/ 877583 h 883410"/>
                    <a:gd name="connsiteX453" fmla="*/ 51205 w 739589"/>
                    <a:gd name="connsiteY453" fmla="*/ 880328 h 883410"/>
                    <a:gd name="connsiteX454" fmla="*/ 51116 w 739589"/>
                    <a:gd name="connsiteY454" fmla="*/ 877493 h 883410"/>
                    <a:gd name="connsiteX455" fmla="*/ 50977 w 739589"/>
                    <a:gd name="connsiteY455" fmla="*/ 876858 h 883410"/>
                    <a:gd name="connsiteX456" fmla="*/ 50799 w 739589"/>
                    <a:gd name="connsiteY456" fmla="*/ 876363 h 883410"/>
                    <a:gd name="connsiteX457" fmla="*/ 50799 w 739589"/>
                    <a:gd name="connsiteY457" fmla="*/ 876318 h 883410"/>
                    <a:gd name="connsiteX458" fmla="*/ 51205 w 739589"/>
                    <a:gd name="connsiteY458" fmla="*/ 876408 h 883410"/>
                    <a:gd name="connsiteX459" fmla="*/ 51522 w 739589"/>
                    <a:gd name="connsiteY459" fmla="*/ 876453 h 883410"/>
                    <a:gd name="connsiteX460" fmla="*/ 52867 w 739589"/>
                    <a:gd name="connsiteY460" fmla="*/ 876543 h 883410"/>
                    <a:gd name="connsiteX461" fmla="*/ 52550 w 739589"/>
                    <a:gd name="connsiteY461" fmla="*/ 873799 h 883410"/>
                    <a:gd name="connsiteX462" fmla="*/ 62393 w 739589"/>
                    <a:gd name="connsiteY462" fmla="*/ 878073 h 883410"/>
                    <a:gd name="connsiteX463" fmla="*/ 119687 w 739589"/>
                    <a:gd name="connsiteY463" fmla="*/ 844011 h 883410"/>
                    <a:gd name="connsiteX464" fmla="*/ 122605 w 739589"/>
                    <a:gd name="connsiteY464" fmla="*/ 838341 h 883410"/>
                    <a:gd name="connsiteX465" fmla="*/ 130202 w 739589"/>
                    <a:gd name="connsiteY465" fmla="*/ 822548 h 883410"/>
                    <a:gd name="connsiteX466" fmla="*/ 133082 w 739589"/>
                    <a:gd name="connsiteY466" fmla="*/ 823538 h 883410"/>
                    <a:gd name="connsiteX467" fmla="*/ 134921 w 739589"/>
                    <a:gd name="connsiteY467" fmla="*/ 825653 h 883410"/>
                    <a:gd name="connsiteX468" fmla="*/ 147288 w 739589"/>
                    <a:gd name="connsiteY468" fmla="*/ 829162 h 883410"/>
                    <a:gd name="connsiteX469" fmla="*/ 150700 w 739589"/>
                    <a:gd name="connsiteY469" fmla="*/ 827047 h 883410"/>
                    <a:gd name="connsiteX470" fmla="*/ 150560 w 739589"/>
                    <a:gd name="connsiteY470" fmla="*/ 790196 h 883410"/>
                    <a:gd name="connsiteX471" fmla="*/ 155634 w 739589"/>
                    <a:gd name="connsiteY471" fmla="*/ 800410 h 883410"/>
                    <a:gd name="connsiteX472" fmla="*/ 157435 w 739589"/>
                    <a:gd name="connsiteY472" fmla="*/ 782727 h 883410"/>
                    <a:gd name="connsiteX473" fmla="*/ 161837 w 739589"/>
                    <a:gd name="connsiteY473" fmla="*/ 781421 h 883410"/>
                    <a:gd name="connsiteX474" fmla="*/ 183818 w 739589"/>
                    <a:gd name="connsiteY474" fmla="*/ 829657 h 883410"/>
                    <a:gd name="connsiteX475" fmla="*/ 179544 w 739589"/>
                    <a:gd name="connsiteY475" fmla="*/ 824258 h 883410"/>
                    <a:gd name="connsiteX476" fmla="*/ 185607 w 739589"/>
                    <a:gd name="connsiteY476" fmla="*/ 832628 h 883410"/>
                    <a:gd name="connsiteX477" fmla="*/ 192760 w 739589"/>
                    <a:gd name="connsiteY477" fmla="*/ 816158 h 883410"/>
                    <a:gd name="connsiteX478" fmla="*/ 194283 w 739589"/>
                    <a:gd name="connsiteY478" fmla="*/ 787766 h 883410"/>
                    <a:gd name="connsiteX479" fmla="*/ 202908 w 739589"/>
                    <a:gd name="connsiteY479" fmla="*/ 779082 h 883410"/>
                    <a:gd name="connsiteX480" fmla="*/ 215719 w 739589"/>
                    <a:gd name="connsiteY480" fmla="*/ 757169 h 883410"/>
                    <a:gd name="connsiteX481" fmla="*/ 209516 w 739589"/>
                    <a:gd name="connsiteY481" fmla="*/ 722477 h 883410"/>
                    <a:gd name="connsiteX482" fmla="*/ 219448 w 739589"/>
                    <a:gd name="connsiteY482" fmla="*/ 708888 h 883410"/>
                    <a:gd name="connsiteX483" fmla="*/ 203758 w 739589"/>
                    <a:gd name="connsiteY483" fmla="*/ 619391 h 883410"/>
                    <a:gd name="connsiteX484" fmla="*/ 209516 w 739589"/>
                    <a:gd name="connsiteY484" fmla="*/ 549108 h 883410"/>
                    <a:gd name="connsiteX485" fmla="*/ 232932 w 739589"/>
                    <a:gd name="connsiteY485" fmla="*/ 526475 h 883410"/>
                    <a:gd name="connsiteX486" fmla="*/ 253201 w 739589"/>
                    <a:gd name="connsiteY486" fmla="*/ 530299 h 883410"/>
                    <a:gd name="connsiteX487" fmla="*/ 279977 w 739589"/>
                    <a:gd name="connsiteY487" fmla="*/ 398865 h 883410"/>
                    <a:gd name="connsiteX488" fmla="*/ 349639 w 739589"/>
                    <a:gd name="connsiteY488" fmla="*/ 246015 h 883410"/>
                    <a:gd name="connsiteX489" fmla="*/ 359393 w 739589"/>
                    <a:gd name="connsiteY489" fmla="*/ 249120 h 883410"/>
                    <a:gd name="connsiteX490" fmla="*/ 370529 w 739589"/>
                    <a:gd name="connsiteY490" fmla="*/ 254025 h 883410"/>
                    <a:gd name="connsiteX491" fmla="*/ 373954 w 739589"/>
                    <a:gd name="connsiteY491" fmla="*/ 225001 h 883410"/>
                    <a:gd name="connsiteX492" fmla="*/ 378800 w 739589"/>
                    <a:gd name="connsiteY492" fmla="*/ 209207 h 883410"/>
                    <a:gd name="connsiteX493" fmla="*/ 390038 w 739589"/>
                    <a:gd name="connsiteY493" fmla="*/ 213033 h 883410"/>
                    <a:gd name="connsiteX494" fmla="*/ 401098 w 739589"/>
                    <a:gd name="connsiteY494" fmla="*/ 213795 h 883410"/>
                    <a:gd name="connsiteX495" fmla="*/ 424906 w 739589"/>
                    <a:gd name="connsiteY495" fmla="*/ 222304 h 883410"/>
                    <a:gd name="connsiteX496" fmla="*/ 429447 w 739589"/>
                    <a:gd name="connsiteY496" fmla="*/ 216500 h 883410"/>
                    <a:gd name="connsiteX497" fmla="*/ 429447 w 739589"/>
                    <a:gd name="connsiteY497" fmla="*/ 208985 h 883410"/>
                    <a:gd name="connsiteX498" fmla="*/ 434749 w 739589"/>
                    <a:gd name="connsiteY498" fmla="*/ 195801 h 883410"/>
                    <a:gd name="connsiteX499" fmla="*/ 434749 w 739589"/>
                    <a:gd name="connsiteY499" fmla="*/ 180413 h 883410"/>
                    <a:gd name="connsiteX500" fmla="*/ 436411 w 739589"/>
                    <a:gd name="connsiteY500" fmla="*/ 171549 h 883410"/>
                    <a:gd name="connsiteX501" fmla="*/ 443337 w 739589"/>
                    <a:gd name="connsiteY501" fmla="*/ 170152 h 883410"/>
                    <a:gd name="connsiteX502" fmla="*/ 444998 w 739589"/>
                    <a:gd name="connsiteY502" fmla="*/ 166643 h 883410"/>
                    <a:gd name="connsiteX503" fmla="*/ 454702 w 739589"/>
                    <a:gd name="connsiteY503" fmla="*/ 170108 h 883410"/>
                    <a:gd name="connsiteX504" fmla="*/ 457264 w 739589"/>
                    <a:gd name="connsiteY504" fmla="*/ 158499 h 883410"/>
                    <a:gd name="connsiteX505" fmla="*/ 467513 w 739589"/>
                    <a:gd name="connsiteY505" fmla="*/ 152149 h 883410"/>
                    <a:gd name="connsiteX506" fmla="*/ 487871 w 739589"/>
                    <a:gd name="connsiteY506" fmla="*/ 176268 h 883410"/>
                    <a:gd name="connsiteX507" fmla="*/ 493629 w 739589"/>
                    <a:gd name="connsiteY507" fmla="*/ 195345 h 883410"/>
                    <a:gd name="connsiteX508" fmla="*/ 502661 w 739589"/>
                    <a:gd name="connsiteY508" fmla="*/ 197101 h 883410"/>
                    <a:gd name="connsiteX509" fmla="*/ 512503 w 739589"/>
                    <a:gd name="connsiteY509" fmla="*/ 201419 h 883410"/>
                    <a:gd name="connsiteX510" fmla="*/ 516765 w 739589"/>
                    <a:gd name="connsiteY510" fmla="*/ 203084 h 883410"/>
                    <a:gd name="connsiteX511" fmla="*/ 530515 w 739589"/>
                    <a:gd name="connsiteY511" fmla="*/ 197099 h 883410"/>
                    <a:gd name="connsiteX512" fmla="*/ 539013 w 739589"/>
                    <a:gd name="connsiteY512" fmla="*/ 190259 h 883410"/>
                    <a:gd name="connsiteX513" fmla="*/ 555503 w 739589"/>
                    <a:gd name="connsiteY513" fmla="*/ 198943 h 883410"/>
                    <a:gd name="connsiteX514" fmla="*/ 565257 w 739589"/>
                    <a:gd name="connsiteY514" fmla="*/ 207718 h 883410"/>
                    <a:gd name="connsiteX515" fmla="*/ 572538 w 739589"/>
                    <a:gd name="connsiteY515" fmla="*/ 199348 h 883410"/>
                    <a:gd name="connsiteX516" fmla="*/ 578740 w 739589"/>
                    <a:gd name="connsiteY516" fmla="*/ 184680 h 883410"/>
                    <a:gd name="connsiteX517" fmla="*/ 585882 w 739589"/>
                    <a:gd name="connsiteY517" fmla="*/ 183240 h 883410"/>
                    <a:gd name="connsiteX518" fmla="*/ 597754 w 739589"/>
                    <a:gd name="connsiteY518" fmla="*/ 122766 h 883410"/>
                    <a:gd name="connsiteX519" fmla="*/ 617123 w 739589"/>
                    <a:gd name="connsiteY519" fmla="*/ 100493 h 883410"/>
                    <a:gd name="connsiteX520" fmla="*/ 625570 w 739589"/>
                    <a:gd name="connsiteY520" fmla="*/ 99773 h 883410"/>
                    <a:gd name="connsiteX521" fmla="*/ 636263 w 739589"/>
                    <a:gd name="connsiteY521" fmla="*/ 91538 h 883410"/>
                    <a:gd name="connsiteX522" fmla="*/ 646068 w 739589"/>
                    <a:gd name="connsiteY522" fmla="*/ 87039 h 883410"/>
                    <a:gd name="connsiteX523" fmla="*/ 656761 w 739589"/>
                    <a:gd name="connsiteY523" fmla="*/ 94509 h 883410"/>
                    <a:gd name="connsiteX524" fmla="*/ 688852 w 739589"/>
                    <a:gd name="connsiteY524" fmla="*/ 129605 h 883410"/>
                    <a:gd name="connsiteX525" fmla="*/ 682332 w 739589"/>
                    <a:gd name="connsiteY525" fmla="*/ 165602 h 883410"/>
                    <a:gd name="connsiteX526" fmla="*/ 689385 w 739589"/>
                    <a:gd name="connsiteY526" fmla="*/ 156557 h 883410"/>
                    <a:gd name="connsiteX527" fmla="*/ 706419 w 739589"/>
                    <a:gd name="connsiteY527" fmla="*/ 142159 h 883410"/>
                    <a:gd name="connsiteX528" fmla="*/ 715767 w 739589"/>
                    <a:gd name="connsiteY528" fmla="*/ 124791 h 883410"/>
                    <a:gd name="connsiteX529" fmla="*/ 729429 w 739589"/>
                    <a:gd name="connsiteY529" fmla="*/ 132530 h 883410"/>
                    <a:gd name="connsiteX530" fmla="*/ 736570 w 739589"/>
                    <a:gd name="connsiteY530" fmla="*/ 120921 h 883410"/>
                    <a:gd name="connsiteX531" fmla="*/ 735314 w 739589"/>
                    <a:gd name="connsiteY531" fmla="*/ 111111 h 883410"/>
                    <a:gd name="connsiteX532" fmla="*/ 726689 w 739589"/>
                    <a:gd name="connsiteY532" fmla="*/ 109987 h 883410"/>
                    <a:gd name="connsiteX533" fmla="*/ 722516 w 739589"/>
                    <a:gd name="connsiteY533" fmla="*/ 109761 h 883410"/>
                    <a:gd name="connsiteX534" fmla="*/ 714829 w 739589"/>
                    <a:gd name="connsiteY534" fmla="*/ 110212 h 883410"/>
                    <a:gd name="connsiteX535" fmla="*/ 707637 w 739589"/>
                    <a:gd name="connsiteY535" fmla="*/ 111967 h 883410"/>
                    <a:gd name="connsiteX536" fmla="*/ 696488 w 739589"/>
                    <a:gd name="connsiteY536" fmla="*/ 91943 h 883410"/>
                    <a:gd name="connsiteX537" fmla="*/ 684894 w 739589"/>
                    <a:gd name="connsiteY537" fmla="*/ 83664 h 883410"/>
                    <a:gd name="connsiteX538" fmla="*/ 676091 w 739589"/>
                    <a:gd name="connsiteY538" fmla="*/ 78535 h 883410"/>
                    <a:gd name="connsiteX539" fmla="*/ 738802 w 739589"/>
                    <a:gd name="connsiteY539" fmla="*/ 60322 h 883410"/>
                    <a:gd name="connsiteX540" fmla="*/ 95257 w 739589"/>
                    <a:gd name="connsiteY540" fmla="*/ 589974 h 883410"/>
                    <a:gd name="connsiteX541" fmla="*/ 94991 w 739589"/>
                    <a:gd name="connsiteY541" fmla="*/ 589839 h 883410"/>
                    <a:gd name="connsiteX542" fmla="*/ 94712 w 739589"/>
                    <a:gd name="connsiteY542" fmla="*/ 589434 h 883410"/>
                    <a:gd name="connsiteX543" fmla="*/ 94623 w 739589"/>
                    <a:gd name="connsiteY543" fmla="*/ 589299 h 883410"/>
                    <a:gd name="connsiteX544" fmla="*/ 94534 w 739589"/>
                    <a:gd name="connsiteY544" fmla="*/ 589164 h 883410"/>
                    <a:gd name="connsiteX545" fmla="*/ 94585 w 739589"/>
                    <a:gd name="connsiteY545" fmla="*/ 589164 h 883410"/>
                    <a:gd name="connsiteX546" fmla="*/ 95752 w 739589"/>
                    <a:gd name="connsiteY546" fmla="*/ 588985 h 883410"/>
                    <a:gd name="connsiteX547" fmla="*/ 95803 w 739589"/>
                    <a:gd name="connsiteY547" fmla="*/ 589029 h 883410"/>
                    <a:gd name="connsiteX548" fmla="*/ 95257 w 739589"/>
                    <a:gd name="connsiteY548" fmla="*/ 589974 h 883410"/>
                    <a:gd name="connsiteX549" fmla="*/ 166352 w 739589"/>
                    <a:gd name="connsiteY549" fmla="*/ 554023 h 883410"/>
                    <a:gd name="connsiteX550" fmla="*/ 166352 w 739589"/>
                    <a:gd name="connsiteY550" fmla="*/ 554067 h 883410"/>
                    <a:gd name="connsiteX551" fmla="*/ 165540 w 739589"/>
                    <a:gd name="connsiteY551" fmla="*/ 554702 h 883410"/>
                    <a:gd name="connsiteX552" fmla="*/ 164830 w 739589"/>
                    <a:gd name="connsiteY552" fmla="*/ 555378 h 883410"/>
                    <a:gd name="connsiteX553" fmla="*/ 164107 w 739589"/>
                    <a:gd name="connsiteY553" fmla="*/ 556052 h 883410"/>
                    <a:gd name="connsiteX554" fmla="*/ 163524 w 739589"/>
                    <a:gd name="connsiteY554" fmla="*/ 556814 h 883410"/>
                    <a:gd name="connsiteX555" fmla="*/ 162978 w 739589"/>
                    <a:gd name="connsiteY555" fmla="*/ 557624 h 883410"/>
                    <a:gd name="connsiteX556" fmla="*/ 162534 w 739589"/>
                    <a:gd name="connsiteY556" fmla="*/ 558435 h 883410"/>
                    <a:gd name="connsiteX557" fmla="*/ 162179 w 739589"/>
                    <a:gd name="connsiteY557" fmla="*/ 559380 h 883410"/>
                    <a:gd name="connsiteX558" fmla="*/ 161900 w 739589"/>
                    <a:gd name="connsiteY558" fmla="*/ 560324 h 883410"/>
                    <a:gd name="connsiteX559" fmla="*/ 162445 w 739589"/>
                    <a:gd name="connsiteY559" fmla="*/ 559965 h 883410"/>
                    <a:gd name="connsiteX560" fmla="*/ 165452 w 739589"/>
                    <a:gd name="connsiteY560" fmla="*/ 558389 h 883410"/>
                    <a:gd name="connsiteX561" fmla="*/ 165718 w 739589"/>
                    <a:gd name="connsiteY561" fmla="*/ 558254 h 883410"/>
                    <a:gd name="connsiteX562" fmla="*/ 165946 w 739589"/>
                    <a:gd name="connsiteY562" fmla="*/ 558120 h 883410"/>
                    <a:gd name="connsiteX563" fmla="*/ 165946 w 739589"/>
                    <a:gd name="connsiteY563" fmla="*/ 558162 h 883410"/>
                    <a:gd name="connsiteX564" fmla="*/ 165629 w 739589"/>
                    <a:gd name="connsiteY564" fmla="*/ 560956 h 883410"/>
                    <a:gd name="connsiteX565" fmla="*/ 164779 w 739589"/>
                    <a:gd name="connsiteY565" fmla="*/ 562396 h 883410"/>
                    <a:gd name="connsiteX566" fmla="*/ 141592 w 739589"/>
                    <a:gd name="connsiteY566" fmla="*/ 561361 h 883410"/>
                    <a:gd name="connsiteX567" fmla="*/ 141504 w 739589"/>
                    <a:gd name="connsiteY567" fmla="*/ 560956 h 883410"/>
                    <a:gd name="connsiteX568" fmla="*/ 141504 w 739589"/>
                    <a:gd name="connsiteY568" fmla="*/ 560910 h 883410"/>
                    <a:gd name="connsiteX569" fmla="*/ 142354 w 739589"/>
                    <a:gd name="connsiteY569" fmla="*/ 561361 h 883410"/>
                    <a:gd name="connsiteX570" fmla="*/ 144193 w 739589"/>
                    <a:gd name="connsiteY570" fmla="*/ 561856 h 883410"/>
                    <a:gd name="connsiteX571" fmla="*/ 148696 w 739589"/>
                    <a:gd name="connsiteY571" fmla="*/ 561361 h 883410"/>
                    <a:gd name="connsiteX572" fmla="*/ 153186 w 739589"/>
                    <a:gd name="connsiteY572" fmla="*/ 559425 h 883410"/>
                    <a:gd name="connsiteX573" fmla="*/ 155482 w 739589"/>
                    <a:gd name="connsiteY573" fmla="*/ 558028 h 883410"/>
                    <a:gd name="connsiteX574" fmla="*/ 166898 w 739589"/>
                    <a:gd name="connsiteY574" fmla="*/ 548939 h 883410"/>
                    <a:gd name="connsiteX575" fmla="*/ 166352 w 739589"/>
                    <a:gd name="connsiteY575" fmla="*/ 554023 h 883410"/>
                    <a:gd name="connsiteX576" fmla="*/ 174356 w 739589"/>
                    <a:gd name="connsiteY576" fmla="*/ 538949 h 883410"/>
                    <a:gd name="connsiteX577" fmla="*/ 174939 w 739589"/>
                    <a:gd name="connsiteY577" fmla="*/ 539489 h 883410"/>
                    <a:gd name="connsiteX578" fmla="*/ 177045 w 739589"/>
                    <a:gd name="connsiteY578" fmla="*/ 540388 h 883410"/>
                    <a:gd name="connsiteX579" fmla="*/ 179392 w 739589"/>
                    <a:gd name="connsiteY579" fmla="*/ 541023 h 883410"/>
                    <a:gd name="connsiteX580" fmla="*/ 180736 w 739589"/>
                    <a:gd name="connsiteY580" fmla="*/ 541338 h 883410"/>
                    <a:gd name="connsiteX581" fmla="*/ 168952 w 739589"/>
                    <a:gd name="connsiteY581" fmla="*/ 546963 h 883410"/>
                    <a:gd name="connsiteX582" fmla="*/ 169549 w 739589"/>
                    <a:gd name="connsiteY582" fmla="*/ 546379 h 883410"/>
                    <a:gd name="connsiteX583" fmla="*/ 171121 w 739589"/>
                    <a:gd name="connsiteY583" fmla="*/ 544802 h 883410"/>
                    <a:gd name="connsiteX584" fmla="*/ 173772 w 739589"/>
                    <a:gd name="connsiteY584" fmla="*/ 541923 h 883410"/>
                    <a:gd name="connsiteX585" fmla="*/ 173633 w 739589"/>
                    <a:gd name="connsiteY585" fmla="*/ 541069 h 883410"/>
                    <a:gd name="connsiteX586" fmla="*/ 173493 w 739589"/>
                    <a:gd name="connsiteY586" fmla="*/ 540529 h 883410"/>
                    <a:gd name="connsiteX587" fmla="*/ 173227 w 739589"/>
                    <a:gd name="connsiteY587" fmla="*/ 539989 h 883410"/>
                    <a:gd name="connsiteX588" fmla="*/ 172961 w 739589"/>
                    <a:gd name="connsiteY588" fmla="*/ 539584 h 883410"/>
                    <a:gd name="connsiteX589" fmla="*/ 172605 w 739589"/>
                    <a:gd name="connsiteY589" fmla="*/ 539223 h 883410"/>
                    <a:gd name="connsiteX590" fmla="*/ 172009 w 739589"/>
                    <a:gd name="connsiteY590" fmla="*/ 538864 h 883410"/>
                    <a:gd name="connsiteX591" fmla="*/ 171299 w 739589"/>
                    <a:gd name="connsiteY591" fmla="*/ 538684 h 883410"/>
                    <a:gd name="connsiteX592" fmla="*/ 171299 w 739589"/>
                    <a:gd name="connsiteY592" fmla="*/ 538639 h 883410"/>
                    <a:gd name="connsiteX593" fmla="*/ 174444 w 739589"/>
                    <a:gd name="connsiteY593" fmla="*/ 531169 h 883410"/>
                    <a:gd name="connsiteX594" fmla="*/ 175561 w 739589"/>
                    <a:gd name="connsiteY594" fmla="*/ 530045 h 883410"/>
                    <a:gd name="connsiteX595" fmla="*/ 176817 w 739589"/>
                    <a:gd name="connsiteY595" fmla="*/ 528784 h 883410"/>
                    <a:gd name="connsiteX596" fmla="*/ 179074 w 739589"/>
                    <a:gd name="connsiteY596" fmla="*/ 526490 h 883410"/>
                    <a:gd name="connsiteX597" fmla="*/ 179112 w 739589"/>
                    <a:gd name="connsiteY597" fmla="*/ 526669 h 883410"/>
                    <a:gd name="connsiteX598" fmla="*/ 178478 w 739589"/>
                    <a:gd name="connsiteY598" fmla="*/ 527390 h 883410"/>
                    <a:gd name="connsiteX599" fmla="*/ 179379 w 739589"/>
                    <a:gd name="connsiteY599" fmla="*/ 527750 h 883410"/>
                    <a:gd name="connsiteX600" fmla="*/ 180812 w 739589"/>
                    <a:gd name="connsiteY600" fmla="*/ 534140 h 883410"/>
                    <a:gd name="connsiteX601" fmla="*/ 175599 w 739589"/>
                    <a:gd name="connsiteY601" fmla="*/ 536884 h 883410"/>
                    <a:gd name="connsiteX602" fmla="*/ 174609 w 739589"/>
                    <a:gd name="connsiteY602" fmla="*/ 537694 h 883410"/>
                    <a:gd name="connsiteX603" fmla="*/ 174305 w 739589"/>
                    <a:gd name="connsiteY603" fmla="*/ 538098 h 883410"/>
                    <a:gd name="connsiteX604" fmla="*/ 174356 w 739589"/>
                    <a:gd name="connsiteY604" fmla="*/ 538949 h 8834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</a:cxnLst>
                  <a:rect l="l" t="t" r="r" b="b"/>
                  <a:pathLst>
                    <a:path w="739589" h="883410">
                      <a:moveTo>
                        <a:pt x="738802" y="60322"/>
                      </a:moveTo>
                      <a:lnTo>
                        <a:pt x="739563" y="59421"/>
                      </a:lnTo>
                      <a:cubicBezTo>
                        <a:pt x="733437" y="49274"/>
                        <a:pt x="724532" y="41105"/>
                        <a:pt x="713903" y="35888"/>
                      </a:cubicBezTo>
                      <a:lnTo>
                        <a:pt x="713852" y="35844"/>
                      </a:lnTo>
                      <a:cubicBezTo>
                        <a:pt x="713180" y="35438"/>
                        <a:pt x="712546" y="35082"/>
                        <a:pt x="711874" y="34718"/>
                      </a:cubicBezTo>
                      <a:cubicBezTo>
                        <a:pt x="699494" y="28671"/>
                        <a:pt x="688116" y="20731"/>
                        <a:pt x="678172" y="11185"/>
                      </a:cubicBezTo>
                      <a:cubicBezTo>
                        <a:pt x="677005" y="15416"/>
                        <a:pt x="676016" y="19285"/>
                        <a:pt x="675115" y="22885"/>
                      </a:cubicBezTo>
                      <a:cubicBezTo>
                        <a:pt x="673479" y="30143"/>
                        <a:pt x="671322" y="37271"/>
                        <a:pt x="668646" y="44213"/>
                      </a:cubicBezTo>
                      <a:cubicBezTo>
                        <a:pt x="668075" y="45341"/>
                        <a:pt x="667225" y="46302"/>
                        <a:pt x="666173" y="47007"/>
                      </a:cubicBezTo>
                      <a:cubicBezTo>
                        <a:pt x="663674" y="48912"/>
                        <a:pt x="660604" y="49911"/>
                        <a:pt x="657458" y="49842"/>
                      </a:cubicBezTo>
                      <a:cubicBezTo>
                        <a:pt x="656012" y="49819"/>
                        <a:pt x="654642" y="49257"/>
                        <a:pt x="653590" y="48267"/>
                      </a:cubicBezTo>
                      <a:cubicBezTo>
                        <a:pt x="652194" y="46377"/>
                        <a:pt x="655340" y="43406"/>
                        <a:pt x="656418" y="40842"/>
                      </a:cubicBezTo>
                      <a:cubicBezTo>
                        <a:pt x="656938" y="39543"/>
                        <a:pt x="657192" y="38147"/>
                        <a:pt x="657141" y="36748"/>
                      </a:cubicBezTo>
                      <a:cubicBezTo>
                        <a:pt x="657154" y="35889"/>
                        <a:pt x="656926" y="35046"/>
                        <a:pt x="656469" y="34318"/>
                      </a:cubicBezTo>
                      <a:cubicBezTo>
                        <a:pt x="656203" y="33958"/>
                        <a:pt x="655924" y="33598"/>
                        <a:pt x="655708" y="33282"/>
                      </a:cubicBezTo>
                      <a:cubicBezTo>
                        <a:pt x="654934" y="32225"/>
                        <a:pt x="654275" y="31095"/>
                        <a:pt x="653729" y="29908"/>
                      </a:cubicBezTo>
                      <a:cubicBezTo>
                        <a:pt x="653197" y="28855"/>
                        <a:pt x="652880" y="27708"/>
                        <a:pt x="652778" y="26533"/>
                      </a:cubicBezTo>
                      <a:cubicBezTo>
                        <a:pt x="652474" y="21494"/>
                        <a:pt x="657636" y="18928"/>
                        <a:pt x="663889" y="16230"/>
                      </a:cubicBezTo>
                      <a:cubicBezTo>
                        <a:pt x="665500" y="15554"/>
                        <a:pt x="666451" y="13395"/>
                        <a:pt x="667479" y="11054"/>
                      </a:cubicBezTo>
                      <a:cubicBezTo>
                        <a:pt x="667948" y="9867"/>
                        <a:pt x="668481" y="8709"/>
                        <a:pt x="669103" y="7590"/>
                      </a:cubicBezTo>
                      <a:cubicBezTo>
                        <a:pt x="666655" y="5906"/>
                        <a:pt x="664092" y="4416"/>
                        <a:pt x="661416" y="3136"/>
                      </a:cubicBezTo>
                      <a:cubicBezTo>
                        <a:pt x="661048" y="3000"/>
                        <a:pt x="660744" y="2866"/>
                        <a:pt x="660427" y="2775"/>
                      </a:cubicBezTo>
                      <a:cubicBezTo>
                        <a:pt x="659666" y="2506"/>
                        <a:pt x="658981" y="2236"/>
                        <a:pt x="658359" y="2013"/>
                      </a:cubicBezTo>
                      <a:cubicBezTo>
                        <a:pt x="652245" y="-146"/>
                        <a:pt x="649544" y="-732"/>
                        <a:pt x="647438" y="1068"/>
                      </a:cubicBezTo>
                      <a:cubicBezTo>
                        <a:pt x="644077" y="5836"/>
                        <a:pt x="641311" y="10987"/>
                        <a:pt x="639168" y="16411"/>
                      </a:cubicBezTo>
                      <a:cubicBezTo>
                        <a:pt x="638521" y="17623"/>
                        <a:pt x="637975" y="18887"/>
                        <a:pt x="637544" y="20191"/>
                      </a:cubicBezTo>
                      <a:cubicBezTo>
                        <a:pt x="637100" y="21406"/>
                        <a:pt x="636656" y="22666"/>
                        <a:pt x="636288" y="23970"/>
                      </a:cubicBezTo>
                      <a:cubicBezTo>
                        <a:pt x="634893" y="29930"/>
                        <a:pt x="632990" y="35757"/>
                        <a:pt x="630581" y="41385"/>
                      </a:cubicBezTo>
                      <a:lnTo>
                        <a:pt x="629908" y="42599"/>
                      </a:lnTo>
                      <a:cubicBezTo>
                        <a:pt x="628729" y="44789"/>
                        <a:pt x="627219" y="46778"/>
                        <a:pt x="625418" y="48494"/>
                      </a:cubicBezTo>
                      <a:cubicBezTo>
                        <a:pt x="622032" y="51560"/>
                        <a:pt x="617858" y="53617"/>
                        <a:pt x="613368" y="54434"/>
                      </a:cubicBezTo>
                      <a:cubicBezTo>
                        <a:pt x="613279" y="54434"/>
                        <a:pt x="613178" y="54478"/>
                        <a:pt x="613089" y="54478"/>
                      </a:cubicBezTo>
                      <a:cubicBezTo>
                        <a:pt x="613457" y="50069"/>
                        <a:pt x="613774" y="45704"/>
                        <a:pt x="614078" y="41475"/>
                      </a:cubicBezTo>
                      <a:cubicBezTo>
                        <a:pt x="614307" y="38955"/>
                        <a:pt x="614484" y="36480"/>
                        <a:pt x="614713" y="33960"/>
                      </a:cubicBezTo>
                      <a:cubicBezTo>
                        <a:pt x="615030" y="29236"/>
                        <a:pt x="615436" y="24556"/>
                        <a:pt x="615791" y="19876"/>
                      </a:cubicBezTo>
                      <a:cubicBezTo>
                        <a:pt x="615892" y="18212"/>
                        <a:pt x="616019" y="16592"/>
                        <a:pt x="616159" y="14923"/>
                      </a:cubicBezTo>
                      <a:cubicBezTo>
                        <a:pt x="615525" y="15558"/>
                        <a:pt x="614903" y="16138"/>
                        <a:pt x="614269" y="16768"/>
                      </a:cubicBezTo>
                      <a:cubicBezTo>
                        <a:pt x="606291" y="25900"/>
                        <a:pt x="599137" y="35717"/>
                        <a:pt x="592883" y="46105"/>
                      </a:cubicBezTo>
                      <a:cubicBezTo>
                        <a:pt x="592160" y="47095"/>
                        <a:pt x="591475" y="48085"/>
                        <a:pt x="590765" y="49026"/>
                      </a:cubicBezTo>
                      <a:cubicBezTo>
                        <a:pt x="588659" y="52219"/>
                        <a:pt x="587175" y="55774"/>
                        <a:pt x="586363" y="59510"/>
                      </a:cubicBezTo>
                      <a:cubicBezTo>
                        <a:pt x="585273" y="65393"/>
                        <a:pt x="582634" y="70877"/>
                        <a:pt x="578728" y="75394"/>
                      </a:cubicBezTo>
                      <a:cubicBezTo>
                        <a:pt x="575430" y="78466"/>
                        <a:pt x="571358" y="80568"/>
                        <a:pt x="566944" y="81468"/>
                      </a:cubicBezTo>
                      <a:cubicBezTo>
                        <a:pt x="566450" y="81559"/>
                        <a:pt x="565955" y="81693"/>
                        <a:pt x="565460" y="81783"/>
                      </a:cubicBezTo>
                      <a:cubicBezTo>
                        <a:pt x="568745" y="72020"/>
                        <a:pt x="571840" y="62884"/>
                        <a:pt x="574808" y="54111"/>
                      </a:cubicBezTo>
                      <a:lnTo>
                        <a:pt x="575480" y="52086"/>
                      </a:lnTo>
                      <a:cubicBezTo>
                        <a:pt x="575760" y="51324"/>
                        <a:pt x="575975" y="50601"/>
                        <a:pt x="576241" y="49836"/>
                      </a:cubicBezTo>
                      <a:cubicBezTo>
                        <a:pt x="577459" y="46236"/>
                        <a:pt x="578677" y="42637"/>
                        <a:pt x="579882" y="39128"/>
                      </a:cubicBezTo>
                      <a:cubicBezTo>
                        <a:pt x="582229" y="32153"/>
                        <a:pt x="584512" y="25314"/>
                        <a:pt x="586858" y="18427"/>
                      </a:cubicBezTo>
                      <a:cubicBezTo>
                        <a:pt x="586719" y="18381"/>
                        <a:pt x="586541" y="18337"/>
                        <a:pt x="586363" y="18291"/>
                      </a:cubicBezTo>
                      <a:cubicBezTo>
                        <a:pt x="585285" y="18066"/>
                        <a:pt x="584068" y="17751"/>
                        <a:pt x="582850" y="17482"/>
                      </a:cubicBezTo>
                      <a:cubicBezTo>
                        <a:pt x="581683" y="17211"/>
                        <a:pt x="580465" y="16941"/>
                        <a:pt x="579260" y="16672"/>
                      </a:cubicBezTo>
                      <a:cubicBezTo>
                        <a:pt x="577054" y="16132"/>
                        <a:pt x="574859" y="15592"/>
                        <a:pt x="572792" y="15148"/>
                      </a:cubicBezTo>
                      <a:lnTo>
                        <a:pt x="572703" y="15103"/>
                      </a:lnTo>
                      <a:cubicBezTo>
                        <a:pt x="571485" y="14833"/>
                        <a:pt x="570318" y="14563"/>
                        <a:pt x="569278" y="14293"/>
                      </a:cubicBezTo>
                      <a:cubicBezTo>
                        <a:pt x="568745" y="14203"/>
                        <a:pt x="568251" y="14068"/>
                        <a:pt x="567794" y="13978"/>
                      </a:cubicBezTo>
                      <a:lnTo>
                        <a:pt x="567261" y="13843"/>
                      </a:lnTo>
                      <a:cubicBezTo>
                        <a:pt x="566538" y="14788"/>
                        <a:pt x="565828" y="15778"/>
                        <a:pt x="565193" y="16722"/>
                      </a:cubicBezTo>
                      <a:cubicBezTo>
                        <a:pt x="561693" y="21583"/>
                        <a:pt x="558636" y="26397"/>
                        <a:pt x="555579" y="30851"/>
                      </a:cubicBezTo>
                      <a:cubicBezTo>
                        <a:pt x="553689" y="33645"/>
                        <a:pt x="551799" y="36251"/>
                        <a:pt x="549821" y="38636"/>
                      </a:cubicBezTo>
                      <a:cubicBezTo>
                        <a:pt x="548463" y="40267"/>
                        <a:pt x="547004" y="41814"/>
                        <a:pt x="545470" y="43271"/>
                      </a:cubicBezTo>
                      <a:cubicBezTo>
                        <a:pt x="544138" y="44510"/>
                        <a:pt x="542730" y="45653"/>
                        <a:pt x="541246" y="46691"/>
                      </a:cubicBezTo>
                      <a:cubicBezTo>
                        <a:pt x="540929" y="46870"/>
                        <a:pt x="540700" y="47050"/>
                        <a:pt x="540434" y="47230"/>
                      </a:cubicBezTo>
                      <a:lnTo>
                        <a:pt x="540383" y="47275"/>
                      </a:lnTo>
                      <a:cubicBezTo>
                        <a:pt x="539394" y="47995"/>
                        <a:pt x="538494" y="48672"/>
                        <a:pt x="537694" y="49389"/>
                      </a:cubicBezTo>
                      <a:cubicBezTo>
                        <a:pt x="534878" y="51719"/>
                        <a:pt x="532494" y="54522"/>
                        <a:pt x="530629" y="57670"/>
                      </a:cubicBezTo>
                      <a:cubicBezTo>
                        <a:pt x="528600" y="61227"/>
                        <a:pt x="527179" y="65108"/>
                        <a:pt x="526456" y="69143"/>
                      </a:cubicBezTo>
                      <a:cubicBezTo>
                        <a:pt x="526228" y="70178"/>
                        <a:pt x="526050" y="71169"/>
                        <a:pt x="525911" y="72248"/>
                      </a:cubicBezTo>
                      <a:cubicBezTo>
                        <a:pt x="525860" y="72439"/>
                        <a:pt x="525835" y="72634"/>
                        <a:pt x="525822" y="72832"/>
                      </a:cubicBezTo>
                      <a:cubicBezTo>
                        <a:pt x="525061" y="77602"/>
                        <a:pt x="524566" y="82912"/>
                        <a:pt x="523754" y="90426"/>
                      </a:cubicBezTo>
                      <a:cubicBezTo>
                        <a:pt x="523577" y="92046"/>
                        <a:pt x="523399" y="93711"/>
                        <a:pt x="523171" y="95556"/>
                      </a:cubicBezTo>
                      <a:cubicBezTo>
                        <a:pt x="523133" y="96050"/>
                        <a:pt x="523044" y="96546"/>
                        <a:pt x="522993" y="97041"/>
                      </a:cubicBezTo>
                      <a:cubicBezTo>
                        <a:pt x="522727" y="96590"/>
                        <a:pt x="522461" y="96186"/>
                        <a:pt x="522232" y="95781"/>
                      </a:cubicBezTo>
                      <a:cubicBezTo>
                        <a:pt x="517856" y="87549"/>
                        <a:pt x="512681" y="79772"/>
                        <a:pt x="506770" y="72563"/>
                      </a:cubicBezTo>
                      <a:cubicBezTo>
                        <a:pt x="506567" y="72331"/>
                        <a:pt x="506326" y="72133"/>
                        <a:pt x="506060" y="71978"/>
                      </a:cubicBezTo>
                      <a:cubicBezTo>
                        <a:pt x="503295" y="69895"/>
                        <a:pt x="500048" y="68563"/>
                        <a:pt x="496623" y="68108"/>
                      </a:cubicBezTo>
                      <a:lnTo>
                        <a:pt x="496572" y="68108"/>
                      </a:lnTo>
                      <a:cubicBezTo>
                        <a:pt x="492653" y="67366"/>
                        <a:pt x="488632" y="67229"/>
                        <a:pt x="484662" y="67703"/>
                      </a:cubicBezTo>
                      <a:cubicBezTo>
                        <a:pt x="483444" y="67825"/>
                        <a:pt x="482226" y="68020"/>
                        <a:pt x="481021" y="68288"/>
                      </a:cubicBezTo>
                      <a:cubicBezTo>
                        <a:pt x="478649" y="68732"/>
                        <a:pt x="476366" y="69584"/>
                        <a:pt x="474286" y="70808"/>
                      </a:cubicBezTo>
                      <a:cubicBezTo>
                        <a:pt x="471914" y="71834"/>
                        <a:pt x="470380" y="74166"/>
                        <a:pt x="470380" y="76748"/>
                      </a:cubicBezTo>
                      <a:cubicBezTo>
                        <a:pt x="475225" y="79222"/>
                        <a:pt x="480933" y="82102"/>
                        <a:pt x="486729" y="85027"/>
                      </a:cubicBezTo>
                      <a:cubicBezTo>
                        <a:pt x="486336" y="87141"/>
                        <a:pt x="485930" y="89121"/>
                        <a:pt x="485562" y="91146"/>
                      </a:cubicBezTo>
                      <a:cubicBezTo>
                        <a:pt x="485207" y="92991"/>
                        <a:pt x="484801" y="94925"/>
                        <a:pt x="484395" y="97041"/>
                      </a:cubicBezTo>
                      <a:cubicBezTo>
                        <a:pt x="483951" y="99425"/>
                        <a:pt x="483457" y="102121"/>
                        <a:pt x="482823" y="105320"/>
                      </a:cubicBezTo>
                      <a:cubicBezTo>
                        <a:pt x="482785" y="105653"/>
                        <a:pt x="482721" y="105983"/>
                        <a:pt x="482645" y="106310"/>
                      </a:cubicBezTo>
                      <a:cubicBezTo>
                        <a:pt x="482607" y="106599"/>
                        <a:pt x="482543" y="106885"/>
                        <a:pt x="482468" y="107166"/>
                      </a:cubicBezTo>
                      <a:lnTo>
                        <a:pt x="482468" y="107254"/>
                      </a:lnTo>
                      <a:cubicBezTo>
                        <a:pt x="476443" y="99156"/>
                        <a:pt x="472853" y="94251"/>
                        <a:pt x="470595" y="91191"/>
                      </a:cubicBezTo>
                      <a:cubicBezTo>
                        <a:pt x="469568" y="91912"/>
                        <a:pt x="468578" y="92588"/>
                        <a:pt x="467589" y="93262"/>
                      </a:cubicBezTo>
                      <a:cubicBezTo>
                        <a:pt x="466067" y="94431"/>
                        <a:pt x="464532" y="95511"/>
                        <a:pt x="463010" y="96590"/>
                      </a:cubicBezTo>
                      <a:cubicBezTo>
                        <a:pt x="459953" y="98795"/>
                        <a:pt x="457023" y="100908"/>
                        <a:pt x="454068" y="102940"/>
                      </a:cubicBezTo>
                      <a:cubicBezTo>
                        <a:pt x="452583" y="103930"/>
                        <a:pt x="451099" y="104920"/>
                        <a:pt x="449564" y="105819"/>
                      </a:cubicBezTo>
                      <a:cubicBezTo>
                        <a:pt x="449286" y="106030"/>
                        <a:pt x="448981" y="106226"/>
                        <a:pt x="448677" y="106405"/>
                      </a:cubicBezTo>
                      <a:cubicBezTo>
                        <a:pt x="445544" y="108460"/>
                        <a:pt x="444047" y="112263"/>
                        <a:pt x="444948" y="115899"/>
                      </a:cubicBezTo>
                      <a:cubicBezTo>
                        <a:pt x="445392" y="121614"/>
                        <a:pt x="447319" y="127823"/>
                        <a:pt x="439823" y="130612"/>
                      </a:cubicBezTo>
                      <a:cubicBezTo>
                        <a:pt x="439329" y="130786"/>
                        <a:pt x="438846" y="130998"/>
                        <a:pt x="438377" y="131247"/>
                      </a:cubicBezTo>
                      <a:cubicBezTo>
                        <a:pt x="437667" y="131562"/>
                        <a:pt x="436855" y="131967"/>
                        <a:pt x="435904" y="132373"/>
                      </a:cubicBezTo>
                      <a:lnTo>
                        <a:pt x="436310" y="125758"/>
                      </a:lnTo>
                      <a:cubicBezTo>
                        <a:pt x="436804" y="117884"/>
                        <a:pt x="437261" y="110101"/>
                        <a:pt x="437667" y="102406"/>
                      </a:cubicBezTo>
                      <a:lnTo>
                        <a:pt x="437794" y="100247"/>
                      </a:lnTo>
                      <a:cubicBezTo>
                        <a:pt x="436538" y="99797"/>
                        <a:pt x="435232" y="99392"/>
                        <a:pt x="433976" y="98987"/>
                      </a:cubicBezTo>
                      <a:cubicBezTo>
                        <a:pt x="433659" y="99526"/>
                        <a:pt x="433304" y="100068"/>
                        <a:pt x="432987" y="100607"/>
                      </a:cubicBezTo>
                      <a:cubicBezTo>
                        <a:pt x="429663" y="106096"/>
                        <a:pt x="426340" y="111541"/>
                        <a:pt x="423144" y="116851"/>
                      </a:cubicBezTo>
                      <a:cubicBezTo>
                        <a:pt x="422560" y="117795"/>
                        <a:pt x="422027" y="118740"/>
                        <a:pt x="421431" y="119685"/>
                      </a:cubicBezTo>
                      <a:cubicBezTo>
                        <a:pt x="420898" y="118381"/>
                        <a:pt x="420315" y="116985"/>
                        <a:pt x="419731" y="115545"/>
                      </a:cubicBezTo>
                      <a:cubicBezTo>
                        <a:pt x="418831" y="113386"/>
                        <a:pt x="417892" y="111045"/>
                        <a:pt x="416903" y="108662"/>
                      </a:cubicBezTo>
                      <a:cubicBezTo>
                        <a:pt x="416624" y="107986"/>
                        <a:pt x="416319" y="107312"/>
                        <a:pt x="416041" y="106630"/>
                      </a:cubicBezTo>
                      <a:cubicBezTo>
                        <a:pt x="407732" y="108070"/>
                        <a:pt x="402925" y="111039"/>
                        <a:pt x="401834" y="117025"/>
                      </a:cubicBezTo>
                      <a:cubicBezTo>
                        <a:pt x="401441" y="119523"/>
                        <a:pt x="401530" y="122074"/>
                        <a:pt x="402113" y="124538"/>
                      </a:cubicBezTo>
                      <a:cubicBezTo>
                        <a:pt x="402481" y="126282"/>
                        <a:pt x="402608" y="128067"/>
                        <a:pt x="402506" y="129848"/>
                      </a:cubicBezTo>
                      <a:cubicBezTo>
                        <a:pt x="402519" y="130193"/>
                        <a:pt x="402506" y="130539"/>
                        <a:pt x="402468" y="130883"/>
                      </a:cubicBezTo>
                      <a:cubicBezTo>
                        <a:pt x="402202" y="133696"/>
                        <a:pt x="401124" y="136372"/>
                        <a:pt x="399361" y="138578"/>
                      </a:cubicBezTo>
                      <a:cubicBezTo>
                        <a:pt x="399234" y="138757"/>
                        <a:pt x="399094" y="138893"/>
                        <a:pt x="398955" y="139072"/>
                      </a:cubicBezTo>
                      <a:cubicBezTo>
                        <a:pt x="396735" y="141477"/>
                        <a:pt x="394008" y="143353"/>
                        <a:pt x="390964" y="144562"/>
                      </a:cubicBezTo>
                      <a:cubicBezTo>
                        <a:pt x="389848" y="145057"/>
                        <a:pt x="388706" y="145493"/>
                        <a:pt x="387552" y="145866"/>
                      </a:cubicBezTo>
                      <a:cubicBezTo>
                        <a:pt x="384406" y="137947"/>
                        <a:pt x="379459" y="135517"/>
                        <a:pt x="372813" y="141952"/>
                      </a:cubicBezTo>
                      <a:lnTo>
                        <a:pt x="372762" y="141997"/>
                      </a:lnTo>
                      <a:cubicBezTo>
                        <a:pt x="372331" y="143138"/>
                        <a:pt x="372052" y="144336"/>
                        <a:pt x="371950" y="145553"/>
                      </a:cubicBezTo>
                      <a:lnTo>
                        <a:pt x="371950" y="145687"/>
                      </a:lnTo>
                      <a:cubicBezTo>
                        <a:pt x="371772" y="148208"/>
                        <a:pt x="372001" y="150862"/>
                        <a:pt x="371684" y="153382"/>
                      </a:cubicBezTo>
                      <a:cubicBezTo>
                        <a:pt x="371303" y="157023"/>
                        <a:pt x="368843" y="160112"/>
                        <a:pt x="365392" y="161302"/>
                      </a:cubicBezTo>
                      <a:cubicBezTo>
                        <a:pt x="362703" y="163218"/>
                        <a:pt x="360826" y="166076"/>
                        <a:pt x="360128" y="169310"/>
                      </a:cubicBezTo>
                      <a:cubicBezTo>
                        <a:pt x="359926" y="170066"/>
                        <a:pt x="359963" y="170867"/>
                        <a:pt x="360217" y="171605"/>
                      </a:cubicBezTo>
                      <a:cubicBezTo>
                        <a:pt x="361866" y="174431"/>
                        <a:pt x="362526" y="177722"/>
                        <a:pt x="362107" y="180964"/>
                      </a:cubicBezTo>
                      <a:cubicBezTo>
                        <a:pt x="361993" y="181643"/>
                        <a:pt x="361790" y="182308"/>
                        <a:pt x="361524" y="182944"/>
                      </a:cubicBezTo>
                      <a:lnTo>
                        <a:pt x="361486" y="182944"/>
                      </a:lnTo>
                      <a:cubicBezTo>
                        <a:pt x="360661" y="184685"/>
                        <a:pt x="359444" y="186212"/>
                        <a:pt x="357934" y="187399"/>
                      </a:cubicBezTo>
                      <a:cubicBezTo>
                        <a:pt x="357122" y="188030"/>
                        <a:pt x="356285" y="188617"/>
                        <a:pt x="355410" y="189154"/>
                      </a:cubicBezTo>
                      <a:cubicBezTo>
                        <a:pt x="353660" y="190278"/>
                        <a:pt x="351770" y="191313"/>
                        <a:pt x="350019" y="192348"/>
                      </a:cubicBezTo>
                      <a:cubicBezTo>
                        <a:pt x="349080" y="192934"/>
                        <a:pt x="348180" y="193518"/>
                        <a:pt x="347368" y="194103"/>
                      </a:cubicBezTo>
                      <a:cubicBezTo>
                        <a:pt x="341927" y="197379"/>
                        <a:pt x="336105" y="199963"/>
                        <a:pt x="330016" y="201797"/>
                      </a:cubicBezTo>
                      <a:cubicBezTo>
                        <a:pt x="330473" y="202292"/>
                        <a:pt x="330879" y="202878"/>
                        <a:pt x="331285" y="203418"/>
                      </a:cubicBezTo>
                      <a:cubicBezTo>
                        <a:pt x="333568" y="206297"/>
                        <a:pt x="335724" y="209717"/>
                        <a:pt x="338476" y="210302"/>
                      </a:cubicBezTo>
                      <a:cubicBezTo>
                        <a:pt x="345719" y="211151"/>
                        <a:pt x="353038" y="211285"/>
                        <a:pt x="360306" y="210707"/>
                      </a:cubicBezTo>
                      <a:cubicBezTo>
                        <a:pt x="359329" y="212830"/>
                        <a:pt x="358023" y="214787"/>
                        <a:pt x="356450" y="216511"/>
                      </a:cubicBezTo>
                      <a:cubicBezTo>
                        <a:pt x="348801" y="224566"/>
                        <a:pt x="339149" y="218132"/>
                        <a:pt x="332769" y="217861"/>
                      </a:cubicBezTo>
                      <a:cubicBezTo>
                        <a:pt x="332071" y="217812"/>
                        <a:pt x="331373" y="217857"/>
                        <a:pt x="330701" y="217996"/>
                      </a:cubicBezTo>
                      <a:lnTo>
                        <a:pt x="330701" y="218266"/>
                      </a:lnTo>
                      <a:cubicBezTo>
                        <a:pt x="330612" y="219571"/>
                        <a:pt x="330562" y="220831"/>
                        <a:pt x="330511" y="222046"/>
                      </a:cubicBezTo>
                      <a:cubicBezTo>
                        <a:pt x="330295" y="226185"/>
                        <a:pt x="330118" y="230056"/>
                        <a:pt x="329978" y="233603"/>
                      </a:cubicBezTo>
                      <a:cubicBezTo>
                        <a:pt x="329889" y="234864"/>
                        <a:pt x="329839" y="236078"/>
                        <a:pt x="329801" y="237248"/>
                      </a:cubicBezTo>
                      <a:cubicBezTo>
                        <a:pt x="329661" y="239903"/>
                        <a:pt x="329521" y="242328"/>
                        <a:pt x="329433" y="244447"/>
                      </a:cubicBezTo>
                      <a:cubicBezTo>
                        <a:pt x="329395" y="245082"/>
                        <a:pt x="329344" y="245707"/>
                        <a:pt x="329344" y="246293"/>
                      </a:cubicBezTo>
                      <a:cubicBezTo>
                        <a:pt x="329306" y="246928"/>
                        <a:pt x="329306" y="247553"/>
                        <a:pt x="329255" y="248137"/>
                      </a:cubicBezTo>
                      <a:cubicBezTo>
                        <a:pt x="327949" y="248632"/>
                        <a:pt x="326693" y="249037"/>
                        <a:pt x="325387" y="249442"/>
                      </a:cubicBezTo>
                      <a:cubicBezTo>
                        <a:pt x="322647" y="250297"/>
                        <a:pt x="319996" y="251017"/>
                        <a:pt x="317484" y="251692"/>
                      </a:cubicBezTo>
                      <a:cubicBezTo>
                        <a:pt x="316089" y="252097"/>
                        <a:pt x="314694" y="252454"/>
                        <a:pt x="313438" y="252862"/>
                      </a:cubicBezTo>
                      <a:cubicBezTo>
                        <a:pt x="310787" y="253532"/>
                        <a:pt x="308263" y="254643"/>
                        <a:pt x="305980" y="256147"/>
                      </a:cubicBezTo>
                      <a:cubicBezTo>
                        <a:pt x="305016" y="256779"/>
                        <a:pt x="304179" y="257606"/>
                        <a:pt x="303557" y="258576"/>
                      </a:cubicBezTo>
                      <a:cubicBezTo>
                        <a:pt x="301832" y="261643"/>
                        <a:pt x="300817" y="265056"/>
                        <a:pt x="300589" y="268566"/>
                      </a:cubicBezTo>
                      <a:cubicBezTo>
                        <a:pt x="300500" y="269285"/>
                        <a:pt x="300449" y="270005"/>
                        <a:pt x="300411" y="270725"/>
                      </a:cubicBezTo>
                      <a:cubicBezTo>
                        <a:pt x="300322" y="271805"/>
                        <a:pt x="300272" y="272930"/>
                        <a:pt x="300272" y="274009"/>
                      </a:cubicBezTo>
                      <a:cubicBezTo>
                        <a:pt x="300234" y="274444"/>
                        <a:pt x="300221" y="274879"/>
                        <a:pt x="300221" y="275315"/>
                      </a:cubicBezTo>
                      <a:cubicBezTo>
                        <a:pt x="300132" y="278509"/>
                        <a:pt x="300132" y="281614"/>
                        <a:pt x="299866" y="284314"/>
                      </a:cubicBezTo>
                      <a:cubicBezTo>
                        <a:pt x="297443" y="285394"/>
                        <a:pt x="295058" y="286473"/>
                        <a:pt x="292636" y="287554"/>
                      </a:cubicBezTo>
                      <a:cubicBezTo>
                        <a:pt x="291380" y="288094"/>
                        <a:pt x="290074" y="288679"/>
                        <a:pt x="288729" y="289263"/>
                      </a:cubicBezTo>
                      <a:lnTo>
                        <a:pt x="288678" y="289263"/>
                      </a:lnTo>
                      <a:cubicBezTo>
                        <a:pt x="286345" y="290343"/>
                        <a:pt x="283871" y="291422"/>
                        <a:pt x="281271" y="292593"/>
                      </a:cubicBezTo>
                      <a:cubicBezTo>
                        <a:pt x="278125" y="293943"/>
                        <a:pt x="274751" y="295474"/>
                        <a:pt x="270971" y="297137"/>
                      </a:cubicBezTo>
                      <a:cubicBezTo>
                        <a:pt x="272100" y="297452"/>
                        <a:pt x="273128" y="297772"/>
                        <a:pt x="274168" y="298038"/>
                      </a:cubicBezTo>
                      <a:cubicBezTo>
                        <a:pt x="285038" y="301053"/>
                        <a:pt x="291786" y="302898"/>
                        <a:pt x="298483" y="304788"/>
                      </a:cubicBezTo>
                      <a:cubicBezTo>
                        <a:pt x="295198" y="304766"/>
                        <a:pt x="291913" y="305037"/>
                        <a:pt x="288678" y="305597"/>
                      </a:cubicBezTo>
                      <a:cubicBezTo>
                        <a:pt x="285241" y="306087"/>
                        <a:pt x="281880" y="307009"/>
                        <a:pt x="278658" y="308341"/>
                      </a:cubicBezTo>
                      <a:cubicBezTo>
                        <a:pt x="278481" y="308389"/>
                        <a:pt x="278316" y="308466"/>
                        <a:pt x="278163" y="308567"/>
                      </a:cubicBezTo>
                      <a:cubicBezTo>
                        <a:pt x="277072" y="308989"/>
                        <a:pt x="276007" y="309484"/>
                        <a:pt x="274980" y="310052"/>
                      </a:cubicBezTo>
                      <a:lnTo>
                        <a:pt x="274751" y="310142"/>
                      </a:lnTo>
                      <a:cubicBezTo>
                        <a:pt x="272138" y="311578"/>
                        <a:pt x="269690" y="313280"/>
                        <a:pt x="267433" y="315222"/>
                      </a:cubicBezTo>
                      <a:lnTo>
                        <a:pt x="266342" y="316167"/>
                      </a:lnTo>
                      <a:lnTo>
                        <a:pt x="266342" y="316213"/>
                      </a:lnTo>
                      <a:cubicBezTo>
                        <a:pt x="263615" y="318744"/>
                        <a:pt x="261141" y="321548"/>
                        <a:pt x="258985" y="324582"/>
                      </a:cubicBezTo>
                      <a:lnTo>
                        <a:pt x="258985" y="324626"/>
                      </a:lnTo>
                      <a:cubicBezTo>
                        <a:pt x="258439" y="325310"/>
                        <a:pt x="257932" y="326031"/>
                        <a:pt x="257501" y="326785"/>
                      </a:cubicBezTo>
                      <a:cubicBezTo>
                        <a:pt x="257044" y="327460"/>
                        <a:pt x="256600" y="328135"/>
                        <a:pt x="256194" y="328854"/>
                      </a:cubicBezTo>
                      <a:cubicBezTo>
                        <a:pt x="254127" y="332050"/>
                        <a:pt x="252237" y="335424"/>
                        <a:pt x="250436" y="338887"/>
                      </a:cubicBezTo>
                      <a:lnTo>
                        <a:pt x="249763" y="340103"/>
                      </a:lnTo>
                      <a:cubicBezTo>
                        <a:pt x="249357" y="340913"/>
                        <a:pt x="248952" y="341677"/>
                        <a:pt x="248558" y="342488"/>
                      </a:cubicBezTo>
                      <a:cubicBezTo>
                        <a:pt x="248279" y="342982"/>
                        <a:pt x="248013" y="343477"/>
                        <a:pt x="247785" y="343972"/>
                      </a:cubicBezTo>
                      <a:cubicBezTo>
                        <a:pt x="247518" y="344422"/>
                        <a:pt x="247290" y="344917"/>
                        <a:pt x="247024" y="345412"/>
                      </a:cubicBezTo>
                      <a:cubicBezTo>
                        <a:pt x="246757" y="345952"/>
                        <a:pt x="246440" y="346536"/>
                        <a:pt x="246174" y="347077"/>
                      </a:cubicBezTo>
                      <a:cubicBezTo>
                        <a:pt x="244741" y="349912"/>
                        <a:pt x="243206" y="352701"/>
                        <a:pt x="241684" y="355447"/>
                      </a:cubicBezTo>
                      <a:cubicBezTo>
                        <a:pt x="241049" y="356481"/>
                        <a:pt x="240466" y="357516"/>
                        <a:pt x="239794" y="358551"/>
                      </a:cubicBezTo>
                      <a:cubicBezTo>
                        <a:pt x="238969" y="359978"/>
                        <a:pt x="238069" y="361360"/>
                        <a:pt x="237104" y="362691"/>
                      </a:cubicBezTo>
                      <a:cubicBezTo>
                        <a:pt x="236559" y="363576"/>
                        <a:pt x="235976" y="364432"/>
                        <a:pt x="235342" y="365255"/>
                      </a:cubicBezTo>
                      <a:cubicBezTo>
                        <a:pt x="235303" y="365345"/>
                        <a:pt x="235215" y="365435"/>
                        <a:pt x="235164" y="365525"/>
                      </a:cubicBezTo>
                      <a:cubicBezTo>
                        <a:pt x="242901" y="369440"/>
                        <a:pt x="248964" y="372545"/>
                        <a:pt x="255027" y="375650"/>
                      </a:cubicBezTo>
                      <a:cubicBezTo>
                        <a:pt x="247531" y="374936"/>
                        <a:pt x="240073" y="377419"/>
                        <a:pt x="234492" y="382489"/>
                      </a:cubicBezTo>
                      <a:lnTo>
                        <a:pt x="234352" y="382579"/>
                      </a:lnTo>
                      <a:cubicBezTo>
                        <a:pt x="233768" y="383100"/>
                        <a:pt x="233211" y="383656"/>
                        <a:pt x="232690" y="384244"/>
                      </a:cubicBezTo>
                      <a:cubicBezTo>
                        <a:pt x="230559" y="386574"/>
                        <a:pt x="228682" y="389140"/>
                        <a:pt x="227122" y="391893"/>
                      </a:cubicBezTo>
                      <a:cubicBezTo>
                        <a:pt x="225410" y="394687"/>
                        <a:pt x="223888" y="397653"/>
                        <a:pt x="222403" y="400622"/>
                      </a:cubicBezTo>
                      <a:cubicBezTo>
                        <a:pt x="221820" y="401747"/>
                        <a:pt x="221275" y="402827"/>
                        <a:pt x="220691" y="403952"/>
                      </a:cubicBezTo>
                      <a:cubicBezTo>
                        <a:pt x="218903" y="407448"/>
                        <a:pt x="217863" y="411278"/>
                        <a:pt x="217635" y="415200"/>
                      </a:cubicBezTo>
                      <a:cubicBezTo>
                        <a:pt x="217495" y="416741"/>
                        <a:pt x="217470" y="418290"/>
                        <a:pt x="217545" y="419836"/>
                      </a:cubicBezTo>
                      <a:cubicBezTo>
                        <a:pt x="217825" y="424493"/>
                        <a:pt x="218332" y="429132"/>
                        <a:pt x="219068" y="433738"/>
                      </a:cubicBezTo>
                      <a:cubicBezTo>
                        <a:pt x="219157" y="434414"/>
                        <a:pt x="219245" y="435135"/>
                        <a:pt x="219347" y="435854"/>
                      </a:cubicBezTo>
                      <a:cubicBezTo>
                        <a:pt x="220044" y="440651"/>
                        <a:pt x="220171" y="445516"/>
                        <a:pt x="219702" y="450342"/>
                      </a:cubicBezTo>
                      <a:cubicBezTo>
                        <a:pt x="219689" y="450704"/>
                        <a:pt x="219664" y="451064"/>
                        <a:pt x="219613" y="451422"/>
                      </a:cubicBezTo>
                      <a:cubicBezTo>
                        <a:pt x="218979" y="451648"/>
                        <a:pt x="218396" y="451873"/>
                        <a:pt x="217812" y="452142"/>
                      </a:cubicBezTo>
                      <a:cubicBezTo>
                        <a:pt x="216011" y="452858"/>
                        <a:pt x="214260" y="453685"/>
                        <a:pt x="212561" y="454617"/>
                      </a:cubicBezTo>
                      <a:cubicBezTo>
                        <a:pt x="208958" y="456581"/>
                        <a:pt x="205661" y="459051"/>
                        <a:pt x="202756" y="461952"/>
                      </a:cubicBezTo>
                      <a:cubicBezTo>
                        <a:pt x="200472" y="464249"/>
                        <a:pt x="198443" y="466783"/>
                        <a:pt x="196693" y="469511"/>
                      </a:cubicBezTo>
                      <a:cubicBezTo>
                        <a:pt x="196021" y="470591"/>
                        <a:pt x="195348" y="471761"/>
                        <a:pt x="194714" y="472931"/>
                      </a:cubicBezTo>
                      <a:lnTo>
                        <a:pt x="194714" y="472975"/>
                      </a:lnTo>
                      <a:cubicBezTo>
                        <a:pt x="193902" y="474395"/>
                        <a:pt x="193179" y="475869"/>
                        <a:pt x="192558" y="477386"/>
                      </a:cubicBezTo>
                      <a:lnTo>
                        <a:pt x="192558" y="477430"/>
                      </a:lnTo>
                      <a:lnTo>
                        <a:pt x="192520" y="477475"/>
                      </a:lnTo>
                      <a:lnTo>
                        <a:pt x="187345" y="480985"/>
                      </a:lnTo>
                      <a:cubicBezTo>
                        <a:pt x="186622" y="481808"/>
                        <a:pt x="186013" y="482715"/>
                        <a:pt x="185505" y="483685"/>
                      </a:cubicBezTo>
                      <a:cubicBezTo>
                        <a:pt x="185239" y="484225"/>
                        <a:pt x="184960" y="484810"/>
                        <a:pt x="184744" y="485350"/>
                      </a:cubicBezTo>
                      <a:lnTo>
                        <a:pt x="184605" y="485890"/>
                      </a:lnTo>
                      <a:cubicBezTo>
                        <a:pt x="184212" y="486954"/>
                        <a:pt x="184085" y="488093"/>
                        <a:pt x="184199" y="489220"/>
                      </a:cubicBezTo>
                      <a:cubicBezTo>
                        <a:pt x="184249" y="489489"/>
                        <a:pt x="184287" y="489714"/>
                        <a:pt x="184339" y="489940"/>
                      </a:cubicBezTo>
                      <a:cubicBezTo>
                        <a:pt x="184491" y="490403"/>
                        <a:pt x="184693" y="490843"/>
                        <a:pt x="184973" y="491244"/>
                      </a:cubicBezTo>
                      <a:cubicBezTo>
                        <a:pt x="185467" y="491860"/>
                        <a:pt x="186114" y="492327"/>
                        <a:pt x="186862" y="492594"/>
                      </a:cubicBezTo>
                      <a:cubicBezTo>
                        <a:pt x="187141" y="492696"/>
                        <a:pt x="187421" y="492771"/>
                        <a:pt x="187712" y="492819"/>
                      </a:cubicBezTo>
                      <a:cubicBezTo>
                        <a:pt x="187446" y="494034"/>
                        <a:pt x="187218" y="495248"/>
                        <a:pt x="186989" y="496554"/>
                      </a:cubicBezTo>
                      <a:lnTo>
                        <a:pt x="186989" y="496598"/>
                      </a:lnTo>
                      <a:cubicBezTo>
                        <a:pt x="186723" y="496779"/>
                        <a:pt x="186495" y="496959"/>
                        <a:pt x="186228" y="497138"/>
                      </a:cubicBezTo>
                      <a:cubicBezTo>
                        <a:pt x="186013" y="497318"/>
                        <a:pt x="185784" y="497499"/>
                        <a:pt x="185594" y="497633"/>
                      </a:cubicBezTo>
                      <a:cubicBezTo>
                        <a:pt x="185239" y="497948"/>
                        <a:pt x="184960" y="498219"/>
                        <a:pt x="184744" y="498444"/>
                      </a:cubicBezTo>
                      <a:cubicBezTo>
                        <a:pt x="184592" y="498595"/>
                        <a:pt x="184452" y="498761"/>
                        <a:pt x="184339" y="498939"/>
                      </a:cubicBezTo>
                      <a:lnTo>
                        <a:pt x="184249" y="499074"/>
                      </a:lnTo>
                      <a:cubicBezTo>
                        <a:pt x="184174" y="499211"/>
                        <a:pt x="184123" y="499364"/>
                        <a:pt x="184110" y="499523"/>
                      </a:cubicBezTo>
                      <a:cubicBezTo>
                        <a:pt x="184110" y="499616"/>
                        <a:pt x="184123" y="499709"/>
                        <a:pt x="184161" y="499794"/>
                      </a:cubicBezTo>
                      <a:cubicBezTo>
                        <a:pt x="184199" y="499874"/>
                        <a:pt x="184262" y="499937"/>
                        <a:pt x="184339" y="499973"/>
                      </a:cubicBezTo>
                      <a:cubicBezTo>
                        <a:pt x="184414" y="500048"/>
                        <a:pt x="184503" y="500109"/>
                        <a:pt x="184605" y="500153"/>
                      </a:cubicBezTo>
                      <a:cubicBezTo>
                        <a:pt x="184744" y="500199"/>
                        <a:pt x="184922" y="500243"/>
                        <a:pt x="185100" y="500288"/>
                      </a:cubicBezTo>
                      <a:cubicBezTo>
                        <a:pt x="185505" y="500378"/>
                        <a:pt x="185962" y="500378"/>
                        <a:pt x="186317" y="500424"/>
                      </a:cubicBezTo>
                      <a:cubicBezTo>
                        <a:pt x="186266" y="500873"/>
                        <a:pt x="186178" y="501323"/>
                        <a:pt x="186140" y="501772"/>
                      </a:cubicBezTo>
                      <a:cubicBezTo>
                        <a:pt x="185531" y="502124"/>
                        <a:pt x="184896" y="502440"/>
                        <a:pt x="184249" y="502718"/>
                      </a:cubicBezTo>
                      <a:lnTo>
                        <a:pt x="183882" y="502718"/>
                      </a:lnTo>
                      <a:cubicBezTo>
                        <a:pt x="179709" y="497589"/>
                        <a:pt x="176423" y="496059"/>
                        <a:pt x="173544" y="496418"/>
                      </a:cubicBezTo>
                      <a:lnTo>
                        <a:pt x="173316" y="496283"/>
                      </a:lnTo>
                      <a:cubicBezTo>
                        <a:pt x="172796" y="495848"/>
                        <a:pt x="172060" y="495744"/>
                        <a:pt x="171426" y="496014"/>
                      </a:cubicBezTo>
                      <a:cubicBezTo>
                        <a:pt x="171134" y="496137"/>
                        <a:pt x="170842" y="496287"/>
                        <a:pt x="170576" y="496464"/>
                      </a:cubicBezTo>
                      <a:cubicBezTo>
                        <a:pt x="170424" y="496521"/>
                        <a:pt x="170284" y="496614"/>
                        <a:pt x="170170" y="496733"/>
                      </a:cubicBezTo>
                      <a:cubicBezTo>
                        <a:pt x="169764" y="497003"/>
                        <a:pt x="169232" y="497368"/>
                        <a:pt x="168648" y="497768"/>
                      </a:cubicBezTo>
                      <a:cubicBezTo>
                        <a:pt x="166619" y="499199"/>
                        <a:pt x="164500" y="500507"/>
                        <a:pt x="162306" y="501683"/>
                      </a:cubicBezTo>
                      <a:cubicBezTo>
                        <a:pt x="162953" y="501979"/>
                        <a:pt x="163574" y="502341"/>
                        <a:pt x="164158" y="502763"/>
                      </a:cubicBezTo>
                      <a:cubicBezTo>
                        <a:pt x="163752" y="503124"/>
                        <a:pt x="163397" y="503483"/>
                        <a:pt x="162991" y="503842"/>
                      </a:cubicBezTo>
                      <a:lnTo>
                        <a:pt x="162712" y="504113"/>
                      </a:lnTo>
                      <a:cubicBezTo>
                        <a:pt x="162560" y="503936"/>
                        <a:pt x="162395" y="503771"/>
                        <a:pt x="162217" y="503618"/>
                      </a:cubicBezTo>
                      <a:lnTo>
                        <a:pt x="161684" y="503078"/>
                      </a:lnTo>
                      <a:cubicBezTo>
                        <a:pt x="161317" y="502718"/>
                        <a:pt x="160923" y="502268"/>
                        <a:pt x="160467" y="501818"/>
                      </a:cubicBezTo>
                      <a:cubicBezTo>
                        <a:pt x="161367" y="503393"/>
                        <a:pt x="161317" y="504157"/>
                        <a:pt x="160873" y="504472"/>
                      </a:cubicBezTo>
                      <a:cubicBezTo>
                        <a:pt x="160327" y="504923"/>
                        <a:pt x="158983" y="504563"/>
                        <a:pt x="157993" y="504248"/>
                      </a:cubicBezTo>
                      <a:cubicBezTo>
                        <a:pt x="157740" y="504179"/>
                        <a:pt x="157486" y="504089"/>
                        <a:pt x="157232" y="503978"/>
                      </a:cubicBezTo>
                      <a:cubicBezTo>
                        <a:pt x="157346" y="504063"/>
                        <a:pt x="157473" y="504138"/>
                        <a:pt x="157587" y="504203"/>
                      </a:cubicBezTo>
                      <a:cubicBezTo>
                        <a:pt x="157867" y="504320"/>
                        <a:pt x="158146" y="504455"/>
                        <a:pt x="158399" y="504608"/>
                      </a:cubicBezTo>
                      <a:cubicBezTo>
                        <a:pt x="158577" y="504697"/>
                        <a:pt x="158767" y="504787"/>
                        <a:pt x="158983" y="504923"/>
                      </a:cubicBezTo>
                      <a:cubicBezTo>
                        <a:pt x="159376" y="505441"/>
                        <a:pt x="159744" y="505982"/>
                        <a:pt x="160061" y="506542"/>
                      </a:cubicBezTo>
                      <a:cubicBezTo>
                        <a:pt x="159706" y="506857"/>
                        <a:pt x="159389" y="507218"/>
                        <a:pt x="159033" y="507577"/>
                      </a:cubicBezTo>
                      <a:cubicBezTo>
                        <a:pt x="158539" y="507353"/>
                        <a:pt x="158082" y="507172"/>
                        <a:pt x="157904" y="507307"/>
                      </a:cubicBezTo>
                      <a:cubicBezTo>
                        <a:pt x="157816" y="507397"/>
                        <a:pt x="157816" y="507533"/>
                        <a:pt x="157955" y="507848"/>
                      </a:cubicBezTo>
                      <a:cubicBezTo>
                        <a:pt x="157993" y="508063"/>
                        <a:pt x="158082" y="508265"/>
                        <a:pt x="158222" y="508432"/>
                      </a:cubicBezTo>
                      <a:lnTo>
                        <a:pt x="157816" y="508837"/>
                      </a:lnTo>
                      <a:cubicBezTo>
                        <a:pt x="157625" y="508705"/>
                        <a:pt x="157410" y="508599"/>
                        <a:pt x="157181" y="508522"/>
                      </a:cubicBezTo>
                      <a:cubicBezTo>
                        <a:pt x="156192" y="508117"/>
                        <a:pt x="156015" y="508882"/>
                        <a:pt x="155976" y="509963"/>
                      </a:cubicBezTo>
                      <a:cubicBezTo>
                        <a:pt x="155938" y="510276"/>
                        <a:pt x="155913" y="510591"/>
                        <a:pt x="155926" y="510907"/>
                      </a:cubicBezTo>
                      <a:cubicBezTo>
                        <a:pt x="154987" y="511942"/>
                        <a:pt x="154087" y="513022"/>
                        <a:pt x="153275" y="514102"/>
                      </a:cubicBezTo>
                      <a:lnTo>
                        <a:pt x="153097" y="514102"/>
                      </a:lnTo>
                      <a:cubicBezTo>
                        <a:pt x="152818" y="514147"/>
                        <a:pt x="152603" y="514147"/>
                        <a:pt x="152374" y="514192"/>
                      </a:cubicBezTo>
                      <a:cubicBezTo>
                        <a:pt x="152196" y="514237"/>
                        <a:pt x="152057" y="514282"/>
                        <a:pt x="151930" y="514328"/>
                      </a:cubicBezTo>
                      <a:cubicBezTo>
                        <a:pt x="151474" y="514507"/>
                        <a:pt x="151296" y="514777"/>
                        <a:pt x="151347" y="515137"/>
                      </a:cubicBezTo>
                      <a:cubicBezTo>
                        <a:pt x="151347" y="515297"/>
                        <a:pt x="151398" y="515451"/>
                        <a:pt x="151474" y="515586"/>
                      </a:cubicBezTo>
                      <a:cubicBezTo>
                        <a:pt x="151524" y="515797"/>
                        <a:pt x="151626" y="515995"/>
                        <a:pt x="151753" y="516172"/>
                      </a:cubicBezTo>
                      <a:cubicBezTo>
                        <a:pt x="151207" y="516892"/>
                        <a:pt x="150713" y="517569"/>
                        <a:pt x="150269" y="518286"/>
                      </a:cubicBezTo>
                      <a:cubicBezTo>
                        <a:pt x="150015" y="518252"/>
                        <a:pt x="149748" y="518267"/>
                        <a:pt x="149508" y="518332"/>
                      </a:cubicBezTo>
                      <a:cubicBezTo>
                        <a:pt x="149203" y="518408"/>
                        <a:pt x="148924" y="518563"/>
                        <a:pt x="148696" y="518781"/>
                      </a:cubicBezTo>
                      <a:cubicBezTo>
                        <a:pt x="148366" y="519085"/>
                        <a:pt x="148150" y="519503"/>
                        <a:pt x="148112" y="519951"/>
                      </a:cubicBezTo>
                      <a:cubicBezTo>
                        <a:pt x="147998" y="520622"/>
                        <a:pt x="147985" y="521302"/>
                        <a:pt x="148062" y="521977"/>
                      </a:cubicBezTo>
                      <a:cubicBezTo>
                        <a:pt x="147427" y="523146"/>
                        <a:pt x="146857" y="524270"/>
                        <a:pt x="146311" y="525441"/>
                      </a:cubicBezTo>
                      <a:cubicBezTo>
                        <a:pt x="146222" y="525338"/>
                        <a:pt x="146108" y="525248"/>
                        <a:pt x="145994" y="525171"/>
                      </a:cubicBezTo>
                      <a:cubicBezTo>
                        <a:pt x="145867" y="525090"/>
                        <a:pt x="145766" y="524982"/>
                        <a:pt x="145677" y="524856"/>
                      </a:cubicBezTo>
                      <a:lnTo>
                        <a:pt x="145639" y="524811"/>
                      </a:lnTo>
                      <a:cubicBezTo>
                        <a:pt x="145195" y="524449"/>
                        <a:pt x="144726" y="524119"/>
                        <a:pt x="144244" y="523821"/>
                      </a:cubicBezTo>
                      <a:cubicBezTo>
                        <a:pt x="142265" y="522922"/>
                        <a:pt x="144688" y="528366"/>
                        <a:pt x="143254" y="528996"/>
                      </a:cubicBezTo>
                      <a:cubicBezTo>
                        <a:pt x="142937" y="529670"/>
                        <a:pt x="142709" y="530256"/>
                        <a:pt x="142531" y="530750"/>
                      </a:cubicBezTo>
                      <a:cubicBezTo>
                        <a:pt x="141821" y="533000"/>
                        <a:pt x="142493" y="533450"/>
                        <a:pt x="143394" y="533450"/>
                      </a:cubicBezTo>
                      <a:cubicBezTo>
                        <a:pt x="142924" y="535063"/>
                        <a:pt x="142544" y="536700"/>
                        <a:pt x="142265" y="538355"/>
                      </a:cubicBezTo>
                      <a:cubicBezTo>
                        <a:pt x="141238" y="539117"/>
                        <a:pt x="140058" y="539879"/>
                        <a:pt x="138891" y="540650"/>
                      </a:cubicBezTo>
                      <a:cubicBezTo>
                        <a:pt x="136620" y="542138"/>
                        <a:pt x="134439" y="543776"/>
                        <a:pt x="132384" y="545554"/>
                      </a:cubicBezTo>
                      <a:lnTo>
                        <a:pt x="131699" y="546229"/>
                      </a:lnTo>
                      <a:cubicBezTo>
                        <a:pt x="131522" y="546429"/>
                        <a:pt x="131357" y="546641"/>
                        <a:pt x="131204" y="546864"/>
                      </a:cubicBezTo>
                      <a:cubicBezTo>
                        <a:pt x="130570" y="547674"/>
                        <a:pt x="130317" y="548388"/>
                        <a:pt x="130621" y="548980"/>
                      </a:cubicBezTo>
                      <a:cubicBezTo>
                        <a:pt x="130469" y="549225"/>
                        <a:pt x="130342" y="549479"/>
                        <a:pt x="130228" y="549742"/>
                      </a:cubicBezTo>
                      <a:cubicBezTo>
                        <a:pt x="129187" y="552306"/>
                        <a:pt x="134261" y="550462"/>
                        <a:pt x="138764" y="548706"/>
                      </a:cubicBezTo>
                      <a:cubicBezTo>
                        <a:pt x="139259" y="548526"/>
                        <a:pt x="139753" y="548347"/>
                        <a:pt x="140197" y="548167"/>
                      </a:cubicBezTo>
                      <a:cubicBezTo>
                        <a:pt x="140641" y="548028"/>
                        <a:pt x="141073" y="547863"/>
                        <a:pt x="141504" y="547671"/>
                      </a:cubicBezTo>
                      <a:cubicBezTo>
                        <a:pt x="141504" y="548433"/>
                        <a:pt x="141542" y="549156"/>
                        <a:pt x="141542" y="549876"/>
                      </a:cubicBezTo>
                      <a:cubicBezTo>
                        <a:pt x="141339" y="550067"/>
                        <a:pt x="141111" y="550233"/>
                        <a:pt x="140870" y="550371"/>
                      </a:cubicBezTo>
                      <a:cubicBezTo>
                        <a:pt x="140514" y="550641"/>
                        <a:pt x="140109" y="550957"/>
                        <a:pt x="139703" y="551271"/>
                      </a:cubicBezTo>
                      <a:cubicBezTo>
                        <a:pt x="139030" y="551766"/>
                        <a:pt x="138269" y="552306"/>
                        <a:pt x="137407" y="552891"/>
                      </a:cubicBezTo>
                      <a:cubicBezTo>
                        <a:pt x="137496" y="553497"/>
                        <a:pt x="137622" y="554098"/>
                        <a:pt x="137775" y="554691"/>
                      </a:cubicBezTo>
                      <a:cubicBezTo>
                        <a:pt x="137940" y="555443"/>
                        <a:pt x="138155" y="556180"/>
                        <a:pt x="138447" y="556895"/>
                      </a:cubicBezTo>
                      <a:cubicBezTo>
                        <a:pt x="137229" y="556895"/>
                        <a:pt x="136024" y="556986"/>
                        <a:pt x="134845" y="557076"/>
                      </a:cubicBezTo>
                      <a:cubicBezTo>
                        <a:pt x="132384" y="555951"/>
                        <a:pt x="128287" y="557346"/>
                        <a:pt x="119522" y="562970"/>
                      </a:cubicBezTo>
                      <a:cubicBezTo>
                        <a:pt x="119471" y="563450"/>
                        <a:pt x="119484" y="563935"/>
                        <a:pt x="119573" y="564410"/>
                      </a:cubicBezTo>
                      <a:cubicBezTo>
                        <a:pt x="119611" y="564681"/>
                        <a:pt x="119700" y="564950"/>
                        <a:pt x="119751" y="565130"/>
                      </a:cubicBezTo>
                      <a:cubicBezTo>
                        <a:pt x="119826" y="565286"/>
                        <a:pt x="119915" y="565436"/>
                        <a:pt x="120017" y="565580"/>
                      </a:cubicBezTo>
                      <a:cubicBezTo>
                        <a:pt x="116034" y="563938"/>
                        <a:pt x="111455" y="565173"/>
                        <a:pt x="108830" y="568595"/>
                      </a:cubicBezTo>
                      <a:cubicBezTo>
                        <a:pt x="108246" y="568775"/>
                        <a:pt x="107612" y="569000"/>
                        <a:pt x="106939" y="569230"/>
                      </a:cubicBezTo>
                      <a:cubicBezTo>
                        <a:pt x="106445" y="569250"/>
                        <a:pt x="105950" y="569325"/>
                        <a:pt x="105455" y="569454"/>
                      </a:cubicBezTo>
                      <a:cubicBezTo>
                        <a:pt x="105341" y="569533"/>
                        <a:pt x="105240" y="569625"/>
                        <a:pt x="105138" y="569725"/>
                      </a:cubicBezTo>
                      <a:cubicBezTo>
                        <a:pt x="105100" y="569808"/>
                        <a:pt x="105062" y="569899"/>
                        <a:pt x="105050" y="569994"/>
                      </a:cubicBezTo>
                      <a:cubicBezTo>
                        <a:pt x="105062" y="570105"/>
                        <a:pt x="105100" y="570211"/>
                        <a:pt x="105138" y="570309"/>
                      </a:cubicBezTo>
                      <a:cubicBezTo>
                        <a:pt x="105684" y="571123"/>
                        <a:pt x="106178" y="571964"/>
                        <a:pt x="106622" y="572829"/>
                      </a:cubicBezTo>
                      <a:cubicBezTo>
                        <a:pt x="106356" y="573504"/>
                        <a:pt x="106090" y="574134"/>
                        <a:pt x="105823" y="574809"/>
                      </a:cubicBezTo>
                      <a:cubicBezTo>
                        <a:pt x="105684" y="574899"/>
                        <a:pt x="105595" y="574989"/>
                        <a:pt x="105455" y="575079"/>
                      </a:cubicBezTo>
                      <a:cubicBezTo>
                        <a:pt x="104986" y="575324"/>
                        <a:pt x="104491" y="575520"/>
                        <a:pt x="103971" y="575665"/>
                      </a:cubicBezTo>
                      <a:cubicBezTo>
                        <a:pt x="103768" y="575751"/>
                        <a:pt x="103565" y="575811"/>
                        <a:pt x="103337" y="575844"/>
                      </a:cubicBezTo>
                      <a:cubicBezTo>
                        <a:pt x="102893" y="575934"/>
                        <a:pt x="102449" y="576069"/>
                        <a:pt x="101866" y="576159"/>
                      </a:cubicBezTo>
                      <a:cubicBezTo>
                        <a:pt x="101587" y="576205"/>
                        <a:pt x="101320" y="576249"/>
                        <a:pt x="101003" y="576293"/>
                      </a:cubicBezTo>
                      <a:lnTo>
                        <a:pt x="100065" y="576429"/>
                      </a:lnTo>
                      <a:cubicBezTo>
                        <a:pt x="100382" y="576923"/>
                        <a:pt x="100686" y="577374"/>
                        <a:pt x="101003" y="577779"/>
                      </a:cubicBezTo>
                      <a:cubicBezTo>
                        <a:pt x="101270" y="578130"/>
                        <a:pt x="101549" y="578460"/>
                        <a:pt x="101853" y="578769"/>
                      </a:cubicBezTo>
                      <a:cubicBezTo>
                        <a:pt x="102386" y="579343"/>
                        <a:pt x="102957" y="579870"/>
                        <a:pt x="103565" y="580343"/>
                      </a:cubicBezTo>
                      <a:cubicBezTo>
                        <a:pt x="101954" y="582509"/>
                        <a:pt x="100052" y="584433"/>
                        <a:pt x="97908" y="586058"/>
                      </a:cubicBezTo>
                      <a:lnTo>
                        <a:pt x="97857" y="586103"/>
                      </a:lnTo>
                      <a:cubicBezTo>
                        <a:pt x="97591" y="586022"/>
                        <a:pt x="97325" y="585962"/>
                        <a:pt x="97046" y="585923"/>
                      </a:cubicBezTo>
                      <a:cubicBezTo>
                        <a:pt x="96805" y="585860"/>
                        <a:pt x="96551" y="585816"/>
                        <a:pt x="96285" y="585788"/>
                      </a:cubicBezTo>
                      <a:cubicBezTo>
                        <a:pt x="95917" y="585702"/>
                        <a:pt x="95549" y="585656"/>
                        <a:pt x="95168" y="585653"/>
                      </a:cubicBezTo>
                      <a:cubicBezTo>
                        <a:pt x="94813" y="585592"/>
                        <a:pt x="94458" y="585639"/>
                        <a:pt x="94129" y="585788"/>
                      </a:cubicBezTo>
                      <a:cubicBezTo>
                        <a:pt x="93951" y="585859"/>
                        <a:pt x="93824" y="586037"/>
                        <a:pt x="93811" y="586237"/>
                      </a:cubicBezTo>
                      <a:cubicBezTo>
                        <a:pt x="93811" y="586378"/>
                        <a:pt x="93850" y="586518"/>
                        <a:pt x="93913" y="586643"/>
                      </a:cubicBezTo>
                      <a:cubicBezTo>
                        <a:pt x="93913" y="586688"/>
                        <a:pt x="93913" y="586733"/>
                        <a:pt x="94002" y="586823"/>
                      </a:cubicBezTo>
                      <a:cubicBezTo>
                        <a:pt x="94052" y="586991"/>
                        <a:pt x="94141" y="587144"/>
                        <a:pt x="94268" y="587273"/>
                      </a:cubicBezTo>
                      <a:cubicBezTo>
                        <a:pt x="94357" y="587458"/>
                        <a:pt x="94484" y="587626"/>
                        <a:pt x="94623" y="587768"/>
                      </a:cubicBezTo>
                      <a:cubicBezTo>
                        <a:pt x="94801" y="588014"/>
                        <a:pt x="94991" y="588240"/>
                        <a:pt x="95207" y="588442"/>
                      </a:cubicBezTo>
                      <a:cubicBezTo>
                        <a:pt x="94991" y="588668"/>
                        <a:pt x="94763" y="588847"/>
                        <a:pt x="94534" y="589077"/>
                      </a:cubicBezTo>
                      <a:cubicBezTo>
                        <a:pt x="94192" y="588244"/>
                        <a:pt x="93723" y="587469"/>
                        <a:pt x="93139" y="586782"/>
                      </a:cubicBezTo>
                      <a:cubicBezTo>
                        <a:pt x="93050" y="586692"/>
                        <a:pt x="92962" y="586602"/>
                        <a:pt x="92872" y="586602"/>
                      </a:cubicBezTo>
                      <a:cubicBezTo>
                        <a:pt x="92568" y="586441"/>
                        <a:pt x="92188" y="586516"/>
                        <a:pt x="91972" y="586782"/>
                      </a:cubicBezTo>
                      <a:cubicBezTo>
                        <a:pt x="91845" y="586890"/>
                        <a:pt x="91719" y="587011"/>
                        <a:pt x="91617" y="587142"/>
                      </a:cubicBezTo>
                      <a:cubicBezTo>
                        <a:pt x="91477" y="587307"/>
                        <a:pt x="91350" y="587488"/>
                        <a:pt x="91249" y="587681"/>
                      </a:cubicBezTo>
                      <a:cubicBezTo>
                        <a:pt x="92822" y="593711"/>
                        <a:pt x="94801" y="593261"/>
                        <a:pt x="99874" y="593621"/>
                      </a:cubicBezTo>
                      <a:cubicBezTo>
                        <a:pt x="89905" y="597626"/>
                        <a:pt x="103794" y="594432"/>
                        <a:pt x="105544" y="596187"/>
                      </a:cubicBezTo>
                      <a:cubicBezTo>
                        <a:pt x="104733" y="597671"/>
                        <a:pt x="100014" y="596996"/>
                        <a:pt x="98352" y="597491"/>
                      </a:cubicBezTo>
                      <a:cubicBezTo>
                        <a:pt x="100914" y="600285"/>
                        <a:pt x="102487" y="601991"/>
                        <a:pt x="103388" y="602980"/>
                      </a:cubicBezTo>
                      <a:cubicBezTo>
                        <a:pt x="103705" y="603341"/>
                        <a:pt x="103971" y="603615"/>
                        <a:pt x="104098" y="603790"/>
                      </a:cubicBezTo>
                      <a:lnTo>
                        <a:pt x="104238" y="603971"/>
                      </a:lnTo>
                      <a:cubicBezTo>
                        <a:pt x="103883" y="603746"/>
                        <a:pt x="102754" y="602665"/>
                        <a:pt x="101815" y="602081"/>
                      </a:cubicBezTo>
                      <a:cubicBezTo>
                        <a:pt x="101701" y="601991"/>
                        <a:pt x="101587" y="601914"/>
                        <a:pt x="101447" y="601856"/>
                      </a:cubicBezTo>
                      <a:cubicBezTo>
                        <a:pt x="100509" y="601361"/>
                        <a:pt x="100014" y="601720"/>
                        <a:pt x="101409" y="604600"/>
                      </a:cubicBezTo>
                      <a:cubicBezTo>
                        <a:pt x="83613" y="580618"/>
                        <a:pt x="80239" y="589392"/>
                        <a:pt x="95968" y="607300"/>
                      </a:cubicBezTo>
                      <a:cubicBezTo>
                        <a:pt x="112051" y="624128"/>
                        <a:pt x="89588" y="603116"/>
                        <a:pt x="84818" y="596321"/>
                      </a:cubicBezTo>
                      <a:cubicBezTo>
                        <a:pt x="83524" y="602036"/>
                        <a:pt x="38902" y="588851"/>
                        <a:pt x="64333" y="606444"/>
                      </a:cubicBezTo>
                      <a:cubicBezTo>
                        <a:pt x="44242" y="610089"/>
                        <a:pt x="69902" y="613014"/>
                        <a:pt x="77538" y="607706"/>
                      </a:cubicBezTo>
                      <a:cubicBezTo>
                        <a:pt x="53552" y="622692"/>
                        <a:pt x="88687" y="603521"/>
                        <a:pt x="90222" y="612430"/>
                      </a:cubicBezTo>
                      <a:cubicBezTo>
                        <a:pt x="83613" y="609100"/>
                        <a:pt x="55480" y="622599"/>
                        <a:pt x="79339" y="620573"/>
                      </a:cubicBezTo>
                      <a:cubicBezTo>
                        <a:pt x="80785" y="622643"/>
                        <a:pt x="73364" y="620978"/>
                        <a:pt x="73593" y="625653"/>
                      </a:cubicBezTo>
                      <a:cubicBezTo>
                        <a:pt x="71297" y="621288"/>
                        <a:pt x="60655" y="613324"/>
                        <a:pt x="61999" y="623809"/>
                      </a:cubicBezTo>
                      <a:cubicBezTo>
                        <a:pt x="60021" y="619174"/>
                        <a:pt x="62037" y="615844"/>
                        <a:pt x="56241" y="616295"/>
                      </a:cubicBezTo>
                      <a:cubicBezTo>
                        <a:pt x="56203" y="626103"/>
                        <a:pt x="49455" y="609679"/>
                        <a:pt x="47032" y="622137"/>
                      </a:cubicBezTo>
                      <a:cubicBezTo>
                        <a:pt x="41958" y="613452"/>
                        <a:pt x="28196" y="624028"/>
                        <a:pt x="48960" y="626277"/>
                      </a:cubicBezTo>
                      <a:cubicBezTo>
                        <a:pt x="22311" y="629833"/>
                        <a:pt x="50089" y="628309"/>
                        <a:pt x="51294" y="628032"/>
                      </a:cubicBezTo>
                      <a:cubicBezTo>
                        <a:pt x="59209" y="629556"/>
                        <a:pt x="54579" y="642205"/>
                        <a:pt x="66540" y="638245"/>
                      </a:cubicBezTo>
                      <a:lnTo>
                        <a:pt x="67390" y="639101"/>
                      </a:lnTo>
                      <a:cubicBezTo>
                        <a:pt x="68468" y="640091"/>
                        <a:pt x="69141" y="640721"/>
                        <a:pt x="69546" y="641080"/>
                      </a:cubicBezTo>
                      <a:cubicBezTo>
                        <a:pt x="69318" y="640945"/>
                        <a:pt x="69001" y="640721"/>
                        <a:pt x="68646" y="640540"/>
                      </a:cubicBezTo>
                      <a:cubicBezTo>
                        <a:pt x="68291" y="640360"/>
                        <a:pt x="67885" y="640135"/>
                        <a:pt x="67479" y="639956"/>
                      </a:cubicBezTo>
                      <a:cubicBezTo>
                        <a:pt x="67263" y="639881"/>
                        <a:pt x="67061" y="639820"/>
                        <a:pt x="66845" y="639776"/>
                      </a:cubicBezTo>
                      <a:cubicBezTo>
                        <a:pt x="66654" y="639727"/>
                        <a:pt x="66452" y="639697"/>
                        <a:pt x="66261" y="639685"/>
                      </a:cubicBezTo>
                      <a:cubicBezTo>
                        <a:pt x="66122" y="639685"/>
                        <a:pt x="65944" y="639731"/>
                        <a:pt x="65805" y="639731"/>
                      </a:cubicBezTo>
                      <a:cubicBezTo>
                        <a:pt x="65665" y="639778"/>
                        <a:pt x="65526" y="639856"/>
                        <a:pt x="65399" y="639956"/>
                      </a:cubicBezTo>
                      <a:cubicBezTo>
                        <a:pt x="65107" y="640135"/>
                        <a:pt x="64891" y="640427"/>
                        <a:pt x="64815" y="640765"/>
                      </a:cubicBezTo>
                      <a:cubicBezTo>
                        <a:pt x="56862" y="636580"/>
                        <a:pt x="60325" y="644456"/>
                        <a:pt x="57636" y="649495"/>
                      </a:cubicBezTo>
                      <a:cubicBezTo>
                        <a:pt x="59513" y="651790"/>
                        <a:pt x="62659" y="646165"/>
                        <a:pt x="63521" y="650130"/>
                      </a:cubicBezTo>
                      <a:cubicBezTo>
                        <a:pt x="52638" y="651705"/>
                        <a:pt x="59158" y="648375"/>
                        <a:pt x="58169" y="640950"/>
                      </a:cubicBezTo>
                      <a:cubicBezTo>
                        <a:pt x="48059" y="620432"/>
                        <a:pt x="42986" y="630962"/>
                        <a:pt x="43518" y="641985"/>
                      </a:cubicBezTo>
                      <a:cubicBezTo>
                        <a:pt x="37493" y="625475"/>
                        <a:pt x="15651" y="647065"/>
                        <a:pt x="40233" y="652605"/>
                      </a:cubicBezTo>
                      <a:cubicBezTo>
                        <a:pt x="30340" y="652154"/>
                        <a:pt x="29858" y="644820"/>
                        <a:pt x="25456" y="655125"/>
                      </a:cubicBezTo>
                      <a:cubicBezTo>
                        <a:pt x="27739" y="648600"/>
                        <a:pt x="30035" y="641265"/>
                        <a:pt x="20382" y="645990"/>
                      </a:cubicBezTo>
                      <a:cubicBezTo>
                        <a:pt x="20687" y="647025"/>
                        <a:pt x="20966" y="647835"/>
                        <a:pt x="21143" y="648465"/>
                      </a:cubicBezTo>
                      <a:cubicBezTo>
                        <a:pt x="21232" y="648690"/>
                        <a:pt x="21270" y="648870"/>
                        <a:pt x="21321" y="649005"/>
                      </a:cubicBezTo>
                      <a:cubicBezTo>
                        <a:pt x="21423" y="649251"/>
                        <a:pt x="21499" y="649506"/>
                        <a:pt x="21550" y="649767"/>
                      </a:cubicBezTo>
                      <a:cubicBezTo>
                        <a:pt x="21638" y="649947"/>
                        <a:pt x="21676" y="650082"/>
                        <a:pt x="21638" y="650127"/>
                      </a:cubicBezTo>
                      <a:cubicBezTo>
                        <a:pt x="21587" y="650082"/>
                        <a:pt x="21321" y="649632"/>
                        <a:pt x="20738" y="648868"/>
                      </a:cubicBezTo>
                      <a:cubicBezTo>
                        <a:pt x="20408" y="648391"/>
                        <a:pt x="20053" y="647940"/>
                        <a:pt x="19660" y="647518"/>
                      </a:cubicBezTo>
                      <a:cubicBezTo>
                        <a:pt x="18810" y="646556"/>
                        <a:pt x="17770" y="645788"/>
                        <a:pt x="16602" y="645267"/>
                      </a:cubicBezTo>
                      <a:cubicBezTo>
                        <a:pt x="16374" y="645139"/>
                        <a:pt x="16133" y="645047"/>
                        <a:pt x="15880" y="644998"/>
                      </a:cubicBezTo>
                      <a:cubicBezTo>
                        <a:pt x="15385" y="644858"/>
                        <a:pt x="14878" y="644767"/>
                        <a:pt x="14358" y="644727"/>
                      </a:cubicBezTo>
                      <a:cubicBezTo>
                        <a:pt x="16971" y="662996"/>
                        <a:pt x="15613" y="650127"/>
                        <a:pt x="5644" y="643918"/>
                      </a:cubicBezTo>
                      <a:cubicBezTo>
                        <a:pt x="-331" y="647967"/>
                        <a:pt x="9106" y="650442"/>
                        <a:pt x="12835" y="655122"/>
                      </a:cubicBezTo>
                      <a:cubicBezTo>
                        <a:pt x="-6089" y="665606"/>
                        <a:pt x="16476" y="658805"/>
                        <a:pt x="28741" y="661331"/>
                      </a:cubicBezTo>
                      <a:cubicBezTo>
                        <a:pt x="7039" y="670285"/>
                        <a:pt x="73770" y="657462"/>
                        <a:pt x="43252" y="668080"/>
                      </a:cubicBezTo>
                      <a:cubicBezTo>
                        <a:pt x="39751" y="667406"/>
                        <a:pt x="26725" y="663221"/>
                        <a:pt x="34678" y="669520"/>
                      </a:cubicBezTo>
                      <a:cubicBezTo>
                        <a:pt x="31392" y="671366"/>
                        <a:pt x="30720" y="664440"/>
                        <a:pt x="28386" y="668666"/>
                      </a:cubicBezTo>
                      <a:cubicBezTo>
                        <a:pt x="28589" y="667937"/>
                        <a:pt x="28437" y="667150"/>
                        <a:pt x="27980" y="666551"/>
                      </a:cubicBezTo>
                      <a:cubicBezTo>
                        <a:pt x="26699" y="665751"/>
                        <a:pt x="25152" y="665538"/>
                        <a:pt x="23706" y="665966"/>
                      </a:cubicBezTo>
                      <a:cubicBezTo>
                        <a:pt x="22805" y="666146"/>
                        <a:pt x="21956" y="666326"/>
                        <a:pt x="21283" y="666505"/>
                      </a:cubicBezTo>
                      <a:cubicBezTo>
                        <a:pt x="20788" y="666595"/>
                        <a:pt x="20421" y="666731"/>
                        <a:pt x="20205" y="666776"/>
                      </a:cubicBezTo>
                      <a:cubicBezTo>
                        <a:pt x="20129" y="666808"/>
                        <a:pt x="20053" y="666823"/>
                        <a:pt x="19977" y="666820"/>
                      </a:cubicBezTo>
                      <a:cubicBezTo>
                        <a:pt x="20015" y="666728"/>
                        <a:pt x="20103" y="666662"/>
                        <a:pt x="20205" y="666641"/>
                      </a:cubicBezTo>
                      <a:cubicBezTo>
                        <a:pt x="20560" y="666416"/>
                        <a:pt x="21283" y="666056"/>
                        <a:pt x="22539" y="665426"/>
                      </a:cubicBezTo>
                      <a:cubicBezTo>
                        <a:pt x="13546" y="655077"/>
                        <a:pt x="1547" y="671635"/>
                        <a:pt x="6227" y="672806"/>
                      </a:cubicBezTo>
                      <a:cubicBezTo>
                        <a:pt x="3259" y="673526"/>
                        <a:pt x="925" y="668306"/>
                        <a:pt x="557" y="674470"/>
                      </a:cubicBezTo>
                      <a:cubicBezTo>
                        <a:pt x="-1320" y="682704"/>
                        <a:pt x="16108" y="676046"/>
                        <a:pt x="12874" y="681489"/>
                      </a:cubicBezTo>
                      <a:cubicBezTo>
                        <a:pt x="9106" y="680814"/>
                        <a:pt x="3031" y="679965"/>
                        <a:pt x="11669" y="683065"/>
                      </a:cubicBezTo>
                      <a:cubicBezTo>
                        <a:pt x="-2398" y="683700"/>
                        <a:pt x="12113" y="686259"/>
                        <a:pt x="14535" y="689094"/>
                      </a:cubicBezTo>
                      <a:cubicBezTo>
                        <a:pt x="30758" y="682884"/>
                        <a:pt x="20205" y="691794"/>
                        <a:pt x="11085" y="688373"/>
                      </a:cubicBezTo>
                      <a:cubicBezTo>
                        <a:pt x="7483" y="689544"/>
                        <a:pt x="4616" y="687968"/>
                        <a:pt x="-26" y="691254"/>
                      </a:cubicBezTo>
                      <a:cubicBezTo>
                        <a:pt x="342" y="692468"/>
                        <a:pt x="7254" y="689633"/>
                        <a:pt x="3893" y="691388"/>
                      </a:cubicBezTo>
                      <a:cubicBezTo>
                        <a:pt x="-6038" y="701603"/>
                        <a:pt x="15258" y="690399"/>
                        <a:pt x="19431" y="694448"/>
                      </a:cubicBezTo>
                      <a:cubicBezTo>
                        <a:pt x="10717" y="694133"/>
                        <a:pt x="10058" y="693234"/>
                        <a:pt x="10590" y="700925"/>
                      </a:cubicBezTo>
                      <a:cubicBezTo>
                        <a:pt x="2092" y="683871"/>
                        <a:pt x="-3121" y="720678"/>
                        <a:pt x="21410" y="706640"/>
                      </a:cubicBezTo>
                      <a:cubicBezTo>
                        <a:pt x="37899" y="704074"/>
                        <a:pt x="40918" y="715054"/>
                        <a:pt x="47920" y="697011"/>
                      </a:cubicBezTo>
                      <a:cubicBezTo>
                        <a:pt x="45814" y="707765"/>
                        <a:pt x="59209" y="709565"/>
                        <a:pt x="68418" y="704525"/>
                      </a:cubicBezTo>
                      <a:cubicBezTo>
                        <a:pt x="59158" y="696696"/>
                        <a:pt x="77094" y="684637"/>
                        <a:pt x="71475" y="689901"/>
                      </a:cubicBezTo>
                      <a:cubicBezTo>
                        <a:pt x="65132" y="697191"/>
                        <a:pt x="66261" y="708530"/>
                        <a:pt x="77905" y="702140"/>
                      </a:cubicBezTo>
                      <a:cubicBezTo>
                        <a:pt x="66705" y="710375"/>
                        <a:pt x="58803" y="705649"/>
                        <a:pt x="60236" y="718293"/>
                      </a:cubicBezTo>
                      <a:cubicBezTo>
                        <a:pt x="44470" y="689631"/>
                        <a:pt x="45053" y="722119"/>
                        <a:pt x="37138" y="710239"/>
                      </a:cubicBezTo>
                      <a:cubicBezTo>
                        <a:pt x="25190" y="708799"/>
                        <a:pt x="-3984" y="711636"/>
                        <a:pt x="4692" y="717978"/>
                      </a:cubicBezTo>
                      <a:cubicBezTo>
                        <a:pt x="5948" y="727878"/>
                        <a:pt x="1318" y="713025"/>
                        <a:pt x="1724" y="720003"/>
                      </a:cubicBezTo>
                      <a:cubicBezTo>
                        <a:pt x="1280" y="727202"/>
                        <a:pt x="10134" y="728512"/>
                        <a:pt x="11339" y="722883"/>
                      </a:cubicBezTo>
                      <a:cubicBezTo>
                        <a:pt x="23795" y="720859"/>
                        <a:pt x="1141" y="725898"/>
                        <a:pt x="13102" y="733862"/>
                      </a:cubicBezTo>
                      <a:cubicBezTo>
                        <a:pt x="15080" y="736517"/>
                        <a:pt x="12024" y="733682"/>
                        <a:pt x="11973" y="734673"/>
                      </a:cubicBezTo>
                      <a:cubicBezTo>
                        <a:pt x="15524" y="739082"/>
                        <a:pt x="10489" y="734132"/>
                        <a:pt x="12024" y="736922"/>
                      </a:cubicBezTo>
                      <a:cubicBezTo>
                        <a:pt x="-4250" y="709204"/>
                        <a:pt x="3069" y="757710"/>
                        <a:pt x="19076" y="732332"/>
                      </a:cubicBezTo>
                      <a:cubicBezTo>
                        <a:pt x="23300" y="726438"/>
                        <a:pt x="22805" y="742681"/>
                        <a:pt x="20015" y="748715"/>
                      </a:cubicBezTo>
                      <a:cubicBezTo>
                        <a:pt x="14218" y="754250"/>
                        <a:pt x="8383" y="734046"/>
                        <a:pt x="8561" y="748715"/>
                      </a:cubicBezTo>
                      <a:cubicBezTo>
                        <a:pt x="6493" y="752675"/>
                        <a:pt x="5999" y="760780"/>
                        <a:pt x="11440" y="761313"/>
                      </a:cubicBezTo>
                      <a:cubicBezTo>
                        <a:pt x="11073" y="772698"/>
                        <a:pt x="19520" y="751235"/>
                        <a:pt x="22361" y="750964"/>
                      </a:cubicBezTo>
                      <a:cubicBezTo>
                        <a:pt x="15030" y="761448"/>
                        <a:pt x="22894" y="757399"/>
                        <a:pt x="17859" y="762619"/>
                      </a:cubicBezTo>
                      <a:cubicBezTo>
                        <a:pt x="16641" y="771753"/>
                        <a:pt x="24201" y="754110"/>
                        <a:pt x="22171" y="765813"/>
                      </a:cubicBezTo>
                      <a:cubicBezTo>
                        <a:pt x="19203" y="769098"/>
                        <a:pt x="27930" y="768648"/>
                        <a:pt x="21004" y="769863"/>
                      </a:cubicBezTo>
                      <a:cubicBezTo>
                        <a:pt x="25050" y="780437"/>
                        <a:pt x="25684" y="763113"/>
                        <a:pt x="30302" y="757798"/>
                      </a:cubicBezTo>
                      <a:cubicBezTo>
                        <a:pt x="38483" y="761847"/>
                        <a:pt x="33460" y="748438"/>
                        <a:pt x="35210" y="746414"/>
                      </a:cubicBezTo>
                      <a:cubicBezTo>
                        <a:pt x="35337" y="759241"/>
                        <a:pt x="53628" y="737459"/>
                        <a:pt x="46931" y="746773"/>
                      </a:cubicBezTo>
                      <a:cubicBezTo>
                        <a:pt x="47742" y="752938"/>
                        <a:pt x="63826" y="732422"/>
                        <a:pt x="55378" y="744434"/>
                      </a:cubicBezTo>
                      <a:cubicBezTo>
                        <a:pt x="59830" y="743399"/>
                        <a:pt x="64460" y="746909"/>
                        <a:pt x="56558" y="745196"/>
                      </a:cubicBezTo>
                      <a:cubicBezTo>
                        <a:pt x="46398" y="747131"/>
                        <a:pt x="45814" y="760765"/>
                        <a:pt x="44508" y="768729"/>
                      </a:cubicBezTo>
                      <a:cubicBezTo>
                        <a:pt x="42440" y="763329"/>
                        <a:pt x="52182" y="741821"/>
                        <a:pt x="42352" y="751136"/>
                      </a:cubicBezTo>
                      <a:cubicBezTo>
                        <a:pt x="31963" y="762789"/>
                        <a:pt x="8104" y="797482"/>
                        <a:pt x="38660" y="781553"/>
                      </a:cubicBezTo>
                      <a:cubicBezTo>
                        <a:pt x="-711" y="812736"/>
                        <a:pt x="22615" y="781148"/>
                        <a:pt x="12861" y="792442"/>
                      </a:cubicBezTo>
                      <a:cubicBezTo>
                        <a:pt x="14751" y="797841"/>
                        <a:pt x="11250" y="789067"/>
                        <a:pt x="7204" y="799237"/>
                      </a:cubicBezTo>
                      <a:cubicBezTo>
                        <a:pt x="5897" y="799596"/>
                        <a:pt x="10172" y="816382"/>
                        <a:pt x="11339" y="806120"/>
                      </a:cubicBezTo>
                      <a:cubicBezTo>
                        <a:pt x="13089" y="820024"/>
                        <a:pt x="12011" y="799686"/>
                        <a:pt x="14928" y="813769"/>
                      </a:cubicBezTo>
                      <a:cubicBezTo>
                        <a:pt x="20281" y="811475"/>
                        <a:pt x="17364" y="800721"/>
                        <a:pt x="19152" y="813007"/>
                      </a:cubicBezTo>
                      <a:cubicBezTo>
                        <a:pt x="23833" y="811162"/>
                        <a:pt x="30390" y="803874"/>
                        <a:pt x="19786" y="806574"/>
                      </a:cubicBezTo>
                      <a:cubicBezTo>
                        <a:pt x="27397" y="801553"/>
                        <a:pt x="36187" y="798635"/>
                        <a:pt x="45269" y="798114"/>
                      </a:cubicBezTo>
                      <a:cubicBezTo>
                        <a:pt x="33219" y="800499"/>
                        <a:pt x="24822" y="812873"/>
                        <a:pt x="36555" y="811882"/>
                      </a:cubicBezTo>
                      <a:cubicBezTo>
                        <a:pt x="34754" y="812827"/>
                        <a:pt x="31253" y="810533"/>
                        <a:pt x="33004" y="813998"/>
                      </a:cubicBezTo>
                      <a:cubicBezTo>
                        <a:pt x="56101" y="804503"/>
                        <a:pt x="5364" y="833841"/>
                        <a:pt x="38445" y="829296"/>
                      </a:cubicBezTo>
                      <a:cubicBezTo>
                        <a:pt x="32547" y="831680"/>
                        <a:pt x="27524" y="834831"/>
                        <a:pt x="35705" y="837485"/>
                      </a:cubicBezTo>
                      <a:cubicBezTo>
                        <a:pt x="31570" y="840950"/>
                        <a:pt x="27295" y="827361"/>
                        <a:pt x="22348" y="833076"/>
                      </a:cubicBezTo>
                      <a:cubicBezTo>
                        <a:pt x="21816" y="842930"/>
                        <a:pt x="20509" y="820122"/>
                        <a:pt x="16336" y="829656"/>
                      </a:cubicBezTo>
                      <a:cubicBezTo>
                        <a:pt x="21676" y="827991"/>
                        <a:pt x="9499" y="847879"/>
                        <a:pt x="22526" y="855034"/>
                      </a:cubicBezTo>
                      <a:cubicBezTo>
                        <a:pt x="27739" y="857779"/>
                        <a:pt x="44419" y="877577"/>
                        <a:pt x="48009" y="866417"/>
                      </a:cubicBezTo>
                      <a:cubicBezTo>
                        <a:pt x="52638" y="864893"/>
                        <a:pt x="45003" y="869298"/>
                        <a:pt x="49632" y="871370"/>
                      </a:cubicBezTo>
                      <a:cubicBezTo>
                        <a:pt x="50571" y="870735"/>
                        <a:pt x="51243" y="870245"/>
                        <a:pt x="51700" y="869973"/>
                      </a:cubicBezTo>
                      <a:cubicBezTo>
                        <a:pt x="50216" y="871189"/>
                        <a:pt x="46347" y="874428"/>
                        <a:pt x="45814" y="876948"/>
                      </a:cubicBezTo>
                      <a:cubicBezTo>
                        <a:pt x="45764" y="877156"/>
                        <a:pt x="45726" y="877369"/>
                        <a:pt x="45726" y="877583"/>
                      </a:cubicBezTo>
                      <a:cubicBezTo>
                        <a:pt x="45726" y="879068"/>
                        <a:pt x="47121" y="880193"/>
                        <a:pt x="51205" y="880328"/>
                      </a:cubicBezTo>
                      <a:cubicBezTo>
                        <a:pt x="51294" y="879383"/>
                        <a:pt x="51268" y="878430"/>
                        <a:pt x="51116" y="877493"/>
                      </a:cubicBezTo>
                      <a:cubicBezTo>
                        <a:pt x="51066" y="877268"/>
                        <a:pt x="51028" y="877043"/>
                        <a:pt x="50977" y="876858"/>
                      </a:cubicBezTo>
                      <a:cubicBezTo>
                        <a:pt x="50951" y="876684"/>
                        <a:pt x="50888" y="876518"/>
                        <a:pt x="50799" y="876363"/>
                      </a:cubicBezTo>
                      <a:lnTo>
                        <a:pt x="50799" y="876318"/>
                      </a:lnTo>
                      <a:cubicBezTo>
                        <a:pt x="50939" y="876363"/>
                        <a:pt x="51066" y="876363"/>
                        <a:pt x="51205" y="876408"/>
                      </a:cubicBezTo>
                      <a:cubicBezTo>
                        <a:pt x="51345" y="876408"/>
                        <a:pt x="51433" y="876453"/>
                        <a:pt x="51522" y="876453"/>
                      </a:cubicBezTo>
                      <a:cubicBezTo>
                        <a:pt x="51966" y="876511"/>
                        <a:pt x="52410" y="876542"/>
                        <a:pt x="52867" y="876543"/>
                      </a:cubicBezTo>
                      <a:cubicBezTo>
                        <a:pt x="52956" y="876363"/>
                        <a:pt x="51066" y="872673"/>
                        <a:pt x="52550" y="873799"/>
                      </a:cubicBezTo>
                      <a:cubicBezTo>
                        <a:pt x="59019" y="877622"/>
                        <a:pt x="50482" y="882527"/>
                        <a:pt x="62393" y="878073"/>
                      </a:cubicBezTo>
                      <a:cubicBezTo>
                        <a:pt x="60059" y="898277"/>
                        <a:pt x="124634" y="855441"/>
                        <a:pt x="119687" y="844011"/>
                      </a:cubicBezTo>
                      <a:cubicBezTo>
                        <a:pt x="124050" y="842301"/>
                        <a:pt x="131864" y="837352"/>
                        <a:pt x="122605" y="838341"/>
                      </a:cubicBezTo>
                      <a:cubicBezTo>
                        <a:pt x="123239" y="833886"/>
                        <a:pt x="143280" y="834427"/>
                        <a:pt x="130202" y="822548"/>
                      </a:cubicBezTo>
                      <a:cubicBezTo>
                        <a:pt x="132041" y="823719"/>
                        <a:pt x="133437" y="820433"/>
                        <a:pt x="133082" y="823538"/>
                      </a:cubicBezTo>
                      <a:cubicBezTo>
                        <a:pt x="134198" y="829657"/>
                        <a:pt x="134071" y="822638"/>
                        <a:pt x="134921" y="825653"/>
                      </a:cubicBezTo>
                      <a:cubicBezTo>
                        <a:pt x="142645" y="838386"/>
                        <a:pt x="145664" y="822638"/>
                        <a:pt x="147288" y="829162"/>
                      </a:cubicBezTo>
                      <a:cubicBezTo>
                        <a:pt x="151689" y="829657"/>
                        <a:pt x="148455" y="816744"/>
                        <a:pt x="150700" y="827047"/>
                      </a:cubicBezTo>
                      <a:cubicBezTo>
                        <a:pt x="157423" y="815672"/>
                        <a:pt x="157359" y="801522"/>
                        <a:pt x="150560" y="790196"/>
                      </a:cubicBezTo>
                      <a:cubicBezTo>
                        <a:pt x="150700" y="783311"/>
                        <a:pt x="157258" y="796180"/>
                        <a:pt x="155634" y="800410"/>
                      </a:cubicBezTo>
                      <a:cubicBezTo>
                        <a:pt x="166910" y="798565"/>
                        <a:pt x="154061" y="789161"/>
                        <a:pt x="157435" y="782727"/>
                      </a:cubicBezTo>
                      <a:cubicBezTo>
                        <a:pt x="166784" y="768147"/>
                        <a:pt x="165337" y="797665"/>
                        <a:pt x="161837" y="781421"/>
                      </a:cubicBezTo>
                      <a:cubicBezTo>
                        <a:pt x="155279" y="836412"/>
                        <a:pt x="178199" y="809996"/>
                        <a:pt x="183818" y="829657"/>
                      </a:cubicBezTo>
                      <a:cubicBezTo>
                        <a:pt x="182296" y="826238"/>
                        <a:pt x="180799" y="824618"/>
                        <a:pt x="179544" y="824258"/>
                      </a:cubicBezTo>
                      <a:cubicBezTo>
                        <a:pt x="182740" y="827543"/>
                        <a:pt x="179594" y="837847"/>
                        <a:pt x="185607" y="832628"/>
                      </a:cubicBezTo>
                      <a:cubicBezTo>
                        <a:pt x="191632" y="827452"/>
                        <a:pt x="191771" y="825833"/>
                        <a:pt x="192760" y="816158"/>
                      </a:cubicBezTo>
                      <a:cubicBezTo>
                        <a:pt x="193750" y="806529"/>
                        <a:pt x="190008" y="794741"/>
                        <a:pt x="194283" y="787766"/>
                      </a:cubicBezTo>
                      <a:cubicBezTo>
                        <a:pt x="198595" y="780791"/>
                        <a:pt x="196528" y="781152"/>
                        <a:pt x="202908" y="779082"/>
                      </a:cubicBezTo>
                      <a:cubicBezTo>
                        <a:pt x="211495" y="775368"/>
                        <a:pt x="216696" y="766492"/>
                        <a:pt x="215719" y="757169"/>
                      </a:cubicBezTo>
                      <a:cubicBezTo>
                        <a:pt x="214095" y="746999"/>
                        <a:pt x="206548" y="729586"/>
                        <a:pt x="209516" y="722477"/>
                      </a:cubicBezTo>
                      <a:cubicBezTo>
                        <a:pt x="212485" y="715323"/>
                        <a:pt x="218953" y="717482"/>
                        <a:pt x="219448" y="708888"/>
                      </a:cubicBezTo>
                      <a:cubicBezTo>
                        <a:pt x="219981" y="700339"/>
                        <a:pt x="203047" y="631855"/>
                        <a:pt x="203758" y="619391"/>
                      </a:cubicBezTo>
                      <a:cubicBezTo>
                        <a:pt x="204481" y="606973"/>
                        <a:pt x="199039" y="563686"/>
                        <a:pt x="209516" y="549108"/>
                      </a:cubicBezTo>
                      <a:cubicBezTo>
                        <a:pt x="215694" y="540041"/>
                        <a:pt x="223659" y="532337"/>
                        <a:pt x="232932" y="526475"/>
                      </a:cubicBezTo>
                      <a:cubicBezTo>
                        <a:pt x="234999" y="525440"/>
                        <a:pt x="251083" y="531379"/>
                        <a:pt x="253201" y="530299"/>
                      </a:cubicBezTo>
                      <a:cubicBezTo>
                        <a:pt x="255357" y="529220"/>
                        <a:pt x="261775" y="438012"/>
                        <a:pt x="279977" y="398865"/>
                      </a:cubicBezTo>
                      <a:cubicBezTo>
                        <a:pt x="298229" y="359719"/>
                        <a:pt x="349639" y="246015"/>
                        <a:pt x="349639" y="246015"/>
                      </a:cubicBezTo>
                      <a:cubicBezTo>
                        <a:pt x="353139" y="245974"/>
                        <a:pt x="356552" y="247062"/>
                        <a:pt x="359393" y="249120"/>
                      </a:cubicBezTo>
                      <a:cubicBezTo>
                        <a:pt x="363566" y="252450"/>
                        <a:pt x="368918" y="262074"/>
                        <a:pt x="370529" y="254025"/>
                      </a:cubicBezTo>
                      <a:cubicBezTo>
                        <a:pt x="371049" y="244287"/>
                        <a:pt x="372191" y="234592"/>
                        <a:pt x="373954" y="225001"/>
                      </a:cubicBezTo>
                      <a:cubicBezTo>
                        <a:pt x="376960" y="215418"/>
                        <a:pt x="373193" y="209973"/>
                        <a:pt x="378800" y="209207"/>
                      </a:cubicBezTo>
                      <a:cubicBezTo>
                        <a:pt x="384469" y="208446"/>
                        <a:pt x="383252" y="213302"/>
                        <a:pt x="390038" y="213033"/>
                      </a:cubicBezTo>
                      <a:cubicBezTo>
                        <a:pt x="396773" y="212762"/>
                        <a:pt x="387209" y="207859"/>
                        <a:pt x="401098" y="213795"/>
                      </a:cubicBezTo>
                      <a:cubicBezTo>
                        <a:pt x="414975" y="219731"/>
                        <a:pt x="419833" y="223785"/>
                        <a:pt x="424906" y="222304"/>
                      </a:cubicBezTo>
                      <a:cubicBezTo>
                        <a:pt x="429993" y="220823"/>
                        <a:pt x="429447" y="224014"/>
                        <a:pt x="429447" y="216500"/>
                      </a:cubicBezTo>
                      <a:cubicBezTo>
                        <a:pt x="429447" y="208985"/>
                        <a:pt x="427342" y="218659"/>
                        <a:pt x="429447" y="208985"/>
                      </a:cubicBezTo>
                      <a:cubicBezTo>
                        <a:pt x="431604" y="199356"/>
                        <a:pt x="433583" y="203541"/>
                        <a:pt x="434749" y="195801"/>
                      </a:cubicBezTo>
                      <a:cubicBezTo>
                        <a:pt x="435879" y="188062"/>
                        <a:pt x="434115" y="185588"/>
                        <a:pt x="434749" y="180413"/>
                      </a:cubicBezTo>
                      <a:cubicBezTo>
                        <a:pt x="435333" y="175193"/>
                        <a:pt x="429942" y="171684"/>
                        <a:pt x="436411" y="171549"/>
                      </a:cubicBezTo>
                      <a:cubicBezTo>
                        <a:pt x="440330" y="171504"/>
                        <a:pt x="441675" y="169839"/>
                        <a:pt x="443337" y="170152"/>
                      </a:cubicBezTo>
                      <a:cubicBezTo>
                        <a:pt x="442614" y="168668"/>
                        <a:pt x="442309" y="167543"/>
                        <a:pt x="444998" y="166643"/>
                      </a:cubicBezTo>
                      <a:cubicBezTo>
                        <a:pt x="449806" y="165023"/>
                        <a:pt x="451023" y="173077"/>
                        <a:pt x="454702" y="170108"/>
                      </a:cubicBezTo>
                      <a:cubicBezTo>
                        <a:pt x="458393" y="167187"/>
                        <a:pt x="456148" y="163268"/>
                        <a:pt x="457264" y="158499"/>
                      </a:cubicBezTo>
                      <a:cubicBezTo>
                        <a:pt x="458393" y="153775"/>
                        <a:pt x="461627" y="148914"/>
                        <a:pt x="467513" y="152149"/>
                      </a:cubicBezTo>
                      <a:cubicBezTo>
                        <a:pt x="476620" y="157901"/>
                        <a:pt x="483723" y="166323"/>
                        <a:pt x="487871" y="176268"/>
                      </a:cubicBezTo>
                      <a:cubicBezTo>
                        <a:pt x="492146" y="187562"/>
                        <a:pt x="488683" y="193500"/>
                        <a:pt x="493629" y="195345"/>
                      </a:cubicBezTo>
                      <a:cubicBezTo>
                        <a:pt x="498564" y="197191"/>
                        <a:pt x="494974" y="194356"/>
                        <a:pt x="502661" y="197101"/>
                      </a:cubicBezTo>
                      <a:cubicBezTo>
                        <a:pt x="506022" y="198352"/>
                        <a:pt x="509307" y="199793"/>
                        <a:pt x="512503" y="201419"/>
                      </a:cubicBezTo>
                      <a:cubicBezTo>
                        <a:pt x="516765" y="203084"/>
                        <a:pt x="508774" y="207896"/>
                        <a:pt x="516765" y="203084"/>
                      </a:cubicBezTo>
                      <a:cubicBezTo>
                        <a:pt x="524807" y="198269"/>
                        <a:pt x="527648" y="199709"/>
                        <a:pt x="530515" y="197099"/>
                      </a:cubicBezTo>
                      <a:cubicBezTo>
                        <a:pt x="533394" y="194489"/>
                        <a:pt x="537669" y="188145"/>
                        <a:pt x="539013" y="190259"/>
                      </a:cubicBezTo>
                      <a:cubicBezTo>
                        <a:pt x="540371" y="192374"/>
                        <a:pt x="554564" y="195839"/>
                        <a:pt x="555503" y="198943"/>
                      </a:cubicBezTo>
                      <a:cubicBezTo>
                        <a:pt x="556403" y="202004"/>
                        <a:pt x="560183" y="212893"/>
                        <a:pt x="565257" y="207718"/>
                      </a:cubicBezTo>
                      <a:cubicBezTo>
                        <a:pt x="570343" y="202543"/>
                        <a:pt x="569938" y="206909"/>
                        <a:pt x="572538" y="199348"/>
                      </a:cubicBezTo>
                      <a:cubicBezTo>
                        <a:pt x="575189" y="191835"/>
                        <a:pt x="571548" y="186120"/>
                        <a:pt x="578740" y="184680"/>
                      </a:cubicBezTo>
                      <a:cubicBezTo>
                        <a:pt x="585882" y="183240"/>
                        <a:pt x="584271" y="188054"/>
                        <a:pt x="585882" y="183240"/>
                      </a:cubicBezTo>
                      <a:cubicBezTo>
                        <a:pt x="587505" y="178425"/>
                        <a:pt x="591957" y="133114"/>
                        <a:pt x="597754" y="122766"/>
                      </a:cubicBezTo>
                      <a:cubicBezTo>
                        <a:pt x="603551" y="112461"/>
                        <a:pt x="611910" y="100898"/>
                        <a:pt x="617123" y="100493"/>
                      </a:cubicBezTo>
                      <a:cubicBezTo>
                        <a:pt x="622336" y="100088"/>
                        <a:pt x="619190" y="103147"/>
                        <a:pt x="625570" y="99773"/>
                      </a:cubicBezTo>
                      <a:cubicBezTo>
                        <a:pt x="631950" y="96353"/>
                        <a:pt x="630428" y="94194"/>
                        <a:pt x="636263" y="91538"/>
                      </a:cubicBezTo>
                      <a:cubicBezTo>
                        <a:pt x="642149" y="88839"/>
                        <a:pt x="640893" y="84655"/>
                        <a:pt x="646068" y="87039"/>
                      </a:cubicBezTo>
                      <a:cubicBezTo>
                        <a:pt x="649886" y="89135"/>
                        <a:pt x="653476" y="91640"/>
                        <a:pt x="656761" y="94509"/>
                      </a:cubicBezTo>
                      <a:cubicBezTo>
                        <a:pt x="660350" y="96893"/>
                        <a:pt x="689473" y="121506"/>
                        <a:pt x="688852" y="129605"/>
                      </a:cubicBezTo>
                      <a:cubicBezTo>
                        <a:pt x="687304" y="141710"/>
                        <a:pt x="685123" y="153724"/>
                        <a:pt x="682332" y="165602"/>
                      </a:cubicBezTo>
                      <a:cubicBezTo>
                        <a:pt x="683994" y="162110"/>
                        <a:pt x="686404" y="159022"/>
                        <a:pt x="689385" y="156557"/>
                      </a:cubicBezTo>
                      <a:cubicBezTo>
                        <a:pt x="695562" y="152381"/>
                        <a:pt x="701270" y="147554"/>
                        <a:pt x="706419" y="142159"/>
                      </a:cubicBezTo>
                      <a:cubicBezTo>
                        <a:pt x="710732" y="136580"/>
                        <a:pt x="716034" y="130145"/>
                        <a:pt x="715767" y="124791"/>
                      </a:cubicBezTo>
                      <a:cubicBezTo>
                        <a:pt x="715539" y="119436"/>
                        <a:pt x="726689" y="132755"/>
                        <a:pt x="729429" y="132530"/>
                      </a:cubicBezTo>
                      <a:cubicBezTo>
                        <a:pt x="732130" y="132305"/>
                        <a:pt x="738726" y="130909"/>
                        <a:pt x="736570" y="120921"/>
                      </a:cubicBezTo>
                      <a:cubicBezTo>
                        <a:pt x="735923" y="117685"/>
                        <a:pt x="735504" y="114407"/>
                        <a:pt x="735314" y="111111"/>
                      </a:cubicBezTo>
                      <a:cubicBezTo>
                        <a:pt x="732473" y="110560"/>
                        <a:pt x="729581" y="110184"/>
                        <a:pt x="726689" y="109987"/>
                      </a:cubicBezTo>
                      <a:cubicBezTo>
                        <a:pt x="725293" y="109852"/>
                        <a:pt x="723898" y="109761"/>
                        <a:pt x="722516" y="109761"/>
                      </a:cubicBezTo>
                      <a:cubicBezTo>
                        <a:pt x="719941" y="109753"/>
                        <a:pt x="717379" y="109902"/>
                        <a:pt x="714829" y="110212"/>
                      </a:cubicBezTo>
                      <a:cubicBezTo>
                        <a:pt x="712381" y="110568"/>
                        <a:pt x="709971" y="111156"/>
                        <a:pt x="707637" y="111967"/>
                      </a:cubicBezTo>
                      <a:cubicBezTo>
                        <a:pt x="704809" y="104834"/>
                        <a:pt x="701067" y="98102"/>
                        <a:pt x="696488" y="91943"/>
                      </a:cubicBezTo>
                      <a:cubicBezTo>
                        <a:pt x="693012" y="88674"/>
                        <a:pt x="689118" y="85889"/>
                        <a:pt x="684894" y="83664"/>
                      </a:cubicBezTo>
                      <a:cubicBezTo>
                        <a:pt x="681977" y="81955"/>
                        <a:pt x="678971" y="80334"/>
                        <a:pt x="676091" y="78535"/>
                      </a:cubicBezTo>
                      <a:cubicBezTo>
                        <a:pt x="698746" y="86043"/>
                        <a:pt x="723670" y="78801"/>
                        <a:pt x="738802" y="60322"/>
                      </a:cubicBezTo>
                      <a:close/>
                      <a:moveTo>
                        <a:pt x="95257" y="589974"/>
                      </a:moveTo>
                      <a:cubicBezTo>
                        <a:pt x="95156" y="589967"/>
                        <a:pt x="95055" y="589919"/>
                        <a:pt x="94991" y="589839"/>
                      </a:cubicBezTo>
                      <a:cubicBezTo>
                        <a:pt x="94877" y="589720"/>
                        <a:pt x="94788" y="589583"/>
                        <a:pt x="94712" y="589434"/>
                      </a:cubicBezTo>
                      <a:lnTo>
                        <a:pt x="94623" y="589299"/>
                      </a:lnTo>
                      <a:lnTo>
                        <a:pt x="94534" y="589164"/>
                      </a:lnTo>
                      <a:lnTo>
                        <a:pt x="94585" y="589164"/>
                      </a:lnTo>
                      <a:lnTo>
                        <a:pt x="95752" y="588985"/>
                      </a:lnTo>
                      <a:lnTo>
                        <a:pt x="95803" y="589029"/>
                      </a:lnTo>
                      <a:cubicBezTo>
                        <a:pt x="95612" y="589705"/>
                        <a:pt x="95435" y="589974"/>
                        <a:pt x="95257" y="589974"/>
                      </a:cubicBezTo>
                      <a:close/>
                      <a:moveTo>
                        <a:pt x="166352" y="554023"/>
                      </a:moveTo>
                      <a:lnTo>
                        <a:pt x="166352" y="554067"/>
                      </a:lnTo>
                      <a:cubicBezTo>
                        <a:pt x="166073" y="554265"/>
                        <a:pt x="165807" y="554476"/>
                        <a:pt x="165540" y="554702"/>
                      </a:cubicBezTo>
                      <a:cubicBezTo>
                        <a:pt x="165287" y="554904"/>
                        <a:pt x="165046" y="555130"/>
                        <a:pt x="164830" y="555378"/>
                      </a:cubicBezTo>
                      <a:cubicBezTo>
                        <a:pt x="164551" y="555566"/>
                        <a:pt x="164310" y="555793"/>
                        <a:pt x="164107" y="556052"/>
                      </a:cubicBezTo>
                      <a:cubicBezTo>
                        <a:pt x="163892" y="556296"/>
                        <a:pt x="163701" y="556550"/>
                        <a:pt x="163524" y="556814"/>
                      </a:cubicBezTo>
                      <a:cubicBezTo>
                        <a:pt x="163295" y="557055"/>
                        <a:pt x="163118" y="557328"/>
                        <a:pt x="162978" y="557624"/>
                      </a:cubicBezTo>
                      <a:cubicBezTo>
                        <a:pt x="162813" y="557885"/>
                        <a:pt x="162661" y="558155"/>
                        <a:pt x="162534" y="558435"/>
                      </a:cubicBezTo>
                      <a:cubicBezTo>
                        <a:pt x="162369" y="558733"/>
                        <a:pt x="162255" y="559051"/>
                        <a:pt x="162179" y="559380"/>
                      </a:cubicBezTo>
                      <a:cubicBezTo>
                        <a:pt x="162039" y="559679"/>
                        <a:pt x="161951" y="559998"/>
                        <a:pt x="161900" y="560324"/>
                      </a:cubicBezTo>
                      <a:cubicBezTo>
                        <a:pt x="162039" y="560234"/>
                        <a:pt x="162217" y="560100"/>
                        <a:pt x="162445" y="559965"/>
                      </a:cubicBezTo>
                      <a:cubicBezTo>
                        <a:pt x="163409" y="559382"/>
                        <a:pt x="164424" y="558856"/>
                        <a:pt x="165452" y="558389"/>
                      </a:cubicBezTo>
                      <a:lnTo>
                        <a:pt x="165718" y="558254"/>
                      </a:lnTo>
                      <a:lnTo>
                        <a:pt x="165946" y="558120"/>
                      </a:lnTo>
                      <a:lnTo>
                        <a:pt x="165946" y="558162"/>
                      </a:lnTo>
                      <a:cubicBezTo>
                        <a:pt x="165858" y="559106"/>
                        <a:pt x="165769" y="560007"/>
                        <a:pt x="165629" y="560956"/>
                      </a:cubicBezTo>
                      <a:cubicBezTo>
                        <a:pt x="165096" y="561226"/>
                        <a:pt x="164754" y="561790"/>
                        <a:pt x="164779" y="562396"/>
                      </a:cubicBezTo>
                      <a:cubicBezTo>
                        <a:pt x="157004" y="561810"/>
                        <a:pt x="148823" y="570224"/>
                        <a:pt x="141592" y="561361"/>
                      </a:cubicBezTo>
                      <a:cubicBezTo>
                        <a:pt x="141504" y="561271"/>
                        <a:pt x="141504" y="561136"/>
                        <a:pt x="141504" y="560956"/>
                      </a:cubicBezTo>
                      <a:lnTo>
                        <a:pt x="141504" y="560910"/>
                      </a:lnTo>
                      <a:cubicBezTo>
                        <a:pt x="141770" y="561086"/>
                        <a:pt x="142062" y="561238"/>
                        <a:pt x="142354" y="561361"/>
                      </a:cubicBezTo>
                      <a:cubicBezTo>
                        <a:pt x="142950" y="561600"/>
                        <a:pt x="143559" y="561766"/>
                        <a:pt x="144193" y="561856"/>
                      </a:cubicBezTo>
                      <a:cubicBezTo>
                        <a:pt x="145715" y="561989"/>
                        <a:pt x="147237" y="561820"/>
                        <a:pt x="148696" y="561361"/>
                      </a:cubicBezTo>
                      <a:cubicBezTo>
                        <a:pt x="150243" y="560853"/>
                        <a:pt x="151753" y="560205"/>
                        <a:pt x="153186" y="559425"/>
                      </a:cubicBezTo>
                      <a:cubicBezTo>
                        <a:pt x="153947" y="558976"/>
                        <a:pt x="154708" y="558526"/>
                        <a:pt x="155482" y="558028"/>
                      </a:cubicBezTo>
                      <a:cubicBezTo>
                        <a:pt x="159566" y="555374"/>
                        <a:pt x="163384" y="552330"/>
                        <a:pt x="166898" y="548939"/>
                      </a:cubicBezTo>
                      <a:cubicBezTo>
                        <a:pt x="166707" y="550647"/>
                        <a:pt x="166530" y="552312"/>
                        <a:pt x="166352" y="554023"/>
                      </a:cubicBezTo>
                      <a:close/>
                      <a:moveTo>
                        <a:pt x="174356" y="538949"/>
                      </a:moveTo>
                      <a:cubicBezTo>
                        <a:pt x="174508" y="539161"/>
                        <a:pt x="174711" y="539344"/>
                        <a:pt x="174939" y="539489"/>
                      </a:cubicBezTo>
                      <a:cubicBezTo>
                        <a:pt x="175599" y="539879"/>
                        <a:pt x="176309" y="540181"/>
                        <a:pt x="177045" y="540388"/>
                      </a:cubicBezTo>
                      <a:cubicBezTo>
                        <a:pt x="177679" y="540613"/>
                        <a:pt x="178491" y="540793"/>
                        <a:pt x="179392" y="541023"/>
                      </a:cubicBezTo>
                      <a:cubicBezTo>
                        <a:pt x="179835" y="541113"/>
                        <a:pt x="180279" y="541203"/>
                        <a:pt x="180736" y="541338"/>
                      </a:cubicBezTo>
                      <a:cubicBezTo>
                        <a:pt x="179658" y="544938"/>
                        <a:pt x="176335" y="547233"/>
                        <a:pt x="168952" y="546963"/>
                      </a:cubicBezTo>
                      <a:lnTo>
                        <a:pt x="169549" y="546379"/>
                      </a:lnTo>
                      <a:lnTo>
                        <a:pt x="171121" y="544802"/>
                      </a:lnTo>
                      <a:cubicBezTo>
                        <a:pt x="172111" y="543769"/>
                        <a:pt x="172999" y="542778"/>
                        <a:pt x="173772" y="541923"/>
                      </a:cubicBezTo>
                      <a:cubicBezTo>
                        <a:pt x="173747" y="541635"/>
                        <a:pt x="173696" y="541349"/>
                        <a:pt x="173633" y="541069"/>
                      </a:cubicBezTo>
                      <a:lnTo>
                        <a:pt x="173493" y="540529"/>
                      </a:lnTo>
                      <a:lnTo>
                        <a:pt x="173227" y="539989"/>
                      </a:lnTo>
                      <a:lnTo>
                        <a:pt x="172961" y="539584"/>
                      </a:lnTo>
                      <a:lnTo>
                        <a:pt x="172605" y="539223"/>
                      </a:lnTo>
                      <a:cubicBezTo>
                        <a:pt x="172428" y="539072"/>
                        <a:pt x="172225" y="538950"/>
                        <a:pt x="172009" y="538864"/>
                      </a:cubicBezTo>
                      <a:cubicBezTo>
                        <a:pt x="171781" y="538778"/>
                        <a:pt x="171540" y="538717"/>
                        <a:pt x="171299" y="538684"/>
                      </a:cubicBezTo>
                      <a:lnTo>
                        <a:pt x="171299" y="538639"/>
                      </a:lnTo>
                      <a:cubicBezTo>
                        <a:pt x="172326" y="536118"/>
                        <a:pt x="173405" y="533686"/>
                        <a:pt x="174444" y="531169"/>
                      </a:cubicBezTo>
                      <a:lnTo>
                        <a:pt x="175561" y="530045"/>
                      </a:lnTo>
                      <a:lnTo>
                        <a:pt x="176817" y="528784"/>
                      </a:lnTo>
                      <a:cubicBezTo>
                        <a:pt x="177717" y="527840"/>
                        <a:pt x="178491" y="527075"/>
                        <a:pt x="179074" y="526490"/>
                      </a:cubicBezTo>
                      <a:lnTo>
                        <a:pt x="179112" y="526669"/>
                      </a:lnTo>
                      <a:cubicBezTo>
                        <a:pt x="178935" y="526850"/>
                        <a:pt x="178757" y="527120"/>
                        <a:pt x="178478" y="527390"/>
                      </a:cubicBezTo>
                      <a:cubicBezTo>
                        <a:pt x="178795" y="527524"/>
                        <a:pt x="179062" y="527614"/>
                        <a:pt x="179379" y="527750"/>
                      </a:cubicBezTo>
                      <a:cubicBezTo>
                        <a:pt x="179975" y="529853"/>
                        <a:pt x="180457" y="531986"/>
                        <a:pt x="180812" y="534140"/>
                      </a:cubicBezTo>
                      <a:cubicBezTo>
                        <a:pt x="179062" y="535084"/>
                        <a:pt x="176956" y="535984"/>
                        <a:pt x="175599" y="536884"/>
                      </a:cubicBezTo>
                      <a:cubicBezTo>
                        <a:pt x="175231" y="537095"/>
                        <a:pt x="174901" y="537369"/>
                        <a:pt x="174609" y="537694"/>
                      </a:cubicBezTo>
                      <a:cubicBezTo>
                        <a:pt x="174483" y="537806"/>
                        <a:pt x="174381" y="537943"/>
                        <a:pt x="174305" y="538098"/>
                      </a:cubicBezTo>
                      <a:cubicBezTo>
                        <a:pt x="174191" y="538374"/>
                        <a:pt x="174204" y="538689"/>
                        <a:pt x="174356" y="538949"/>
                      </a:cubicBezTo>
                      <a:close/>
                    </a:path>
                  </a:pathLst>
                </a:custGeom>
                <a:grpFill/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55" name="Vrije vorm 454">
                  <a:extLst>
                    <a:ext uri="{FF2B5EF4-FFF2-40B4-BE49-F238E27FC236}">
                      <a16:creationId xmlns:a16="http://schemas.microsoft.com/office/drawing/2014/main" id="{E81C936C-F852-8843-B3F8-616F52120AFB}"/>
                    </a:ext>
                  </a:extLst>
                </p:cNvPr>
                <p:cNvSpPr/>
                <p:nvPr/>
              </p:nvSpPr>
              <p:spPr>
                <a:xfrm>
                  <a:off x="5919544" y="1669848"/>
                  <a:ext cx="40487" cy="39784"/>
                </a:xfrm>
                <a:custGeom>
                  <a:avLst/>
                  <a:gdLst>
                    <a:gd name="connsiteX0" fmla="*/ 24530 w 40487"/>
                    <a:gd name="connsiteY0" fmla="*/ 13882 h 39784"/>
                    <a:gd name="connsiteX1" fmla="*/ 19799 w 40487"/>
                    <a:gd name="connsiteY1" fmla="*/ 1 h 39784"/>
                    <a:gd name="connsiteX2" fmla="*/ -26 w 40487"/>
                    <a:gd name="connsiteY2" fmla="*/ 11740 h 39784"/>
                    <a:gd name="connsiteX3" fmla="*/ 11808 w 40487"/>
                    <a:gd name="connsiteY3" fmla="*/ 39785 h 39784"/>
                    <a:gd name="connsiteX4" fmla="*/ 40462 w 40487"/>
                    <a:gd name="connsiteY4" fmla="*/ 21520 h 39784"/>
                    <a:gd name="connsiteX5" fmla="*/ 38026 w 40487"/>
                    <a:gd name="connsiteY5" fmla="*/ 1100 h 397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0487" h="39784">
                      <a:moveTo>
                        <a:pt x="24530" y="13882"/>
                      </a:moveTo>
                      <a:cubicBezTo>
                        <a:pt x="22184" y="6996"/>
                        <a:pt x="20573" y="2293"/>
                        <a:pt x="19799" y="1"/>
                      </a:cubicBezTo>
                      <a:lnTo>
                        <a:pt x="-26" y="11740"/>
                      </a:lnTo>
                      <a:lnTo>
                        <a:pt x="11808" y="39785"/>
                      </a:lnTo>
                      <a:lnTo>
                        <a:pt x="40462" y="21520"/>
                      </a:lnTo>
                      <a:cubicBezTo>
                        <a:pt x="39751" y="15491"/>
                        <a:pt x="39028" y="9433"/>
                        <a:pt x="38026" y="1100"/>
                      </a:cubicBezTo>
                      <a:close/>
                    </a:path>
                  </a:pathLst>
                </a:custGeom>
                <a:grpFill/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56" name="Vrije vorm 455">
                  <a:extLst>
                    <a:ext uri="{FF2B5EF4-FFF2-40B4-BE49-F238E27FC236}">
                      <a16:creationId xmlns:a16="http://schemas.microsoft.com/office/drawing/2014/main" id="{EEE8A725-32DF-CE4C-BFDA-31D9EC81CF90}"/>
                    </a:ext>
                  </a:extLst>
                </p:cNvPr>
                <p:cNvSpPr/>
                <p:nvPr/>
              </p:nvSpPr>
              <p:spPr>
                <a:xfrm>
                  <a:off x="6029825" y="1575481"/>
                  <a:ext cx="17474" cy="16668"/>
                </a:xfrm>
                <a:custGeom>
                  <a:avLst/>
                  <a:gdLst>
                    <a:gd name="connsiteX0" fmla="*/ 1809 w 17474"/>
                    <a:gd name="connsiteY0" fmla="*/ 2020 h 16668"/>
                    <a:gd name="connsiteX1" fmla="*/ 1022 w 17474"/>
                    <a:gd name="connsiteY1" fmla="*/ 12911 h 16668"/>
                    <a:gd name="connsiteX2" fmla="*/ 17448 w 17474"/>
                    <a:gd name="connsiteY2" fmla="*/ 9609 h 16668"/>
                    <a:gd name="connsiteX3" fmla="*/ 1809 w 17474"/>
                    <a:gd name="connsiteY3" fmla="*/ 2020 h 166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7474" h="16668">
                      <a:moveTo>
                        <a:pt x="1809" y="2020"/>
                      </a:moveTo>
                      <a:cubicBezTo>
                        <a:pt x="-322" y="5268"/>
                        <a:pt x="-614" y="9390"/>
                        <a:pt x="1022" y="12911"/>
                      </a:cubicBezTo>
                      <a:cubicBezTo>
                        <a:pt x="7529" y="20458"/>
                        <a:pt x="12590" y="15219"/>
                        <a:pt x="17448" y="9609"/>
                      </a:cubicBezTo>
                      <a:cubicBezTo>
                        <a:pt x="13985" y="2495"/>
                        <a:pt x="9800" y="-3179"/>
                        <a:pt x="1809" y="2020"/>
                      </a:cubicBezTo>
                      <a:close/>
                    </a:path>
                  </a:pathLst>
                </a:custGeom>
                <a:grpFill/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57" name="Vrije vorm 456">
                  <a:extLst>
                    <a:ext uri="{FF2B5EF4-FFF2-40B4-BE49-F238E27FC236}">
                      <a16:creationId xmlns:a16="http://schemas.microsoft.com/office/drawing/2014/main" id="{6C5C46A6-42E2-1343-B403-8F8A55F22661}"/>
                    </a:ext>
                  </a:extLst>
                </p:cNvPr>
                <p:cNvSpPr/>
                <p:nvPr/>
              </p:nvSpPr>
              <p:spPr>
                <a:xfrm>
                  <a:off x="6124761" y="1523483"/>
                  <a:ext cx="14764" cy="7579"/>
                </a:xfrm>
                <a:custGeom>
                  <a:avLst/>
                  <a:gdLst>
                    <a:gd name="connsiteX0" fmla="*/ 608 w 14764"/>
                    <a:gd name="connsiteY0" fmla="*/ 7371 h 7579"/>
                    <a:gd name="connsiteX1" fmla="*/ 8954 w 14764"/>
                    <a:gd name="connsiteY1" fmla="*/ 7188 h 7579"/>
                    <a:gd name="connsiteX2" fmla="*/ 14738 w 14764"/>
                    <a:gd name="connsiteY2" fmla="*/ 2730 h 7579"/>
                    <a:gd name="connsiteX3" fmla="*/ 13292 w 14764"/>
                    <a:gd name="connsiteY3" fmla="*/ 1 h 7579"/>
                    <a:gd name="connsiteX4" fmla="*/ -26 w 14764"/>
                    <a:gd name="connsiteY4" fmla="*/ 3316 h 75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764" h="7579">
                      <a:moveTo>
                        <a:pt x="608" y="7371"/>
                      </a:moveTo>
                      <a:cubicBezTo>
                        <a:pt x="3386" y="7702"/>
                        <a:pt x="6189" y="7641"/>
                        <a:pt x="8954" y="7188"/>
                      </a:cubicBezTo>
                      <a:cubicBezTo>
                        <a:pt x="11136" y="6526"/>
                        <a:pt x="12836" y="4277"/>
                        <a:pt x="14738" y="2730"/>
                      </a:cubicBezTo>
                      <a:lnTo>
                        <a:pt x="13292" y="1"/>
                      </a:lnTo>
                      <a:lnTo>
                        <a:pt x="-26" y="3316"/>
                      </a:lnTo>
                      <a:close/>
                    </a:path>
                  </a:pathLst>
                </a:custGeom>
                <a:grpFill/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58" name="Vrije vorm 457">
                  <a:extLst>
                    <a:ext uri="{FF2B5EF4-FFF2-40B4-BE49-F238E27FC236}">
                      <a16:creationId xmlns:a16="http://schemas.microsoft.com/office/drawing/2014/main" id="{2500D007-04CC-A941-B9A8-03B543314FB0}"/>
                    </a:ext>
                  </a:extLst>
                </p:cNvPr>
                <p:cNvSpPr/>
                <p:nvPr/>
              </p:nvSpPr>
              <p:spPr>
                <a:xfrm>
                  <a:off x="5976870" y="1617254"/>
                  <a:ext cx="27277" cy="28992"/>
                </a:xfrm>
                <a:custGeom>
                  <a:avLst/>
                  <a:gdLst>
                    <a:gd name="connsiteX0" fmla="*/ 27251 w 27277"/>
                    <a:gd name="connsiteY0" fmla="*/ 13638 h 28992"/>
                    <a:gd name="connsiteX1" fmla="*/ 27036 w 27277"/>
                    <a:gd name="connsiteY1" fmla="*/ 14132 h 28992"/>
                    <a:gd name="connsiteX2" fmla="*/ 26985 w 27277"/>
                    <a:gd name="connsiteY2" fmla="*/ 14178 h 28992"/>
                    <a:gd name="connsiteX3" fmla="*/ 1680 w 27277"/>
                    <a:gd name="connsiteY3" fmla="*/ 28576 h 28992"/>
                    <a:gd name="connsiteX4" fmla="*/ 17320 w 27277"/>
                    <a:gd name="connsiteY4" fmla="*/ 1 h 28992"/>
                    <a:gd name="connsiteX5" fmla="*/ 26807 w 27277"/>
                    <a:gd name="connsiteY5" fmla="*/ 14352 h 28992"/>
                    <a:gd name="connsiteX6" fmla="*/ 26896 w 27277"/>
                    <a:gd name="connsiteY6" fmla="*/ 14263 h 28992"/>
                    <a:gd name="connsiteX7" fmla="*/ 26846 w 27277"/>
                    <a:gd name="connsiteY7" fmla="*/ 14263 h 28992"/>
                    <a:gd name="connsiteX8" fmla="*/ 27023 w 27277"/>
                    <a:gd name="connsiteY8" fmla="*/ 13948 h 28992"/>
                    <a:gd name="connsiteX9" fmla="*/ 27251 w 27277"/>
                    <a:gd name="connsiteY9" fmla="*/ 13638 h 289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7277" h="28992">
                      <a:moveTo>
                        <a:pt x="27251" y="13638"/>
                      </a:moveTo>
                      <a:cubicBezTo>
                        <a:pt x="27163" y="13793"/>
                        <a:pt x="27086" y="13960"/>
                        <a:pt x="27036" y="14132"/>
                      </a:cubicBezTo>
                      <a:lnTo>
                        <a:pt x="26985" y="14178"/>
                      </a:lnTo>
                      <a:cubicBezTo>
                        <a:pt x="23256" y="24576"/>
                        <a:pt x="12513" y="30693"/>
                        <a:pt x="1680" y="28576"/>
                      </a:cubicBezTo>
                      <a:cubicBezTo>
                        <a:pt x="-5284" y="12153"/>
                        <a:pt x="10901" y="10623"/>
                        <a:pt x="17320" y="1"/>
                      </a:cubicBezTo>
                      <a:cubicBezTo>
                        <a:pt x="21366" y="6166"/>
                        <a:pt x="24068" y="10306"/>
                        <a:pt x="26807" y="14352"/>
                      </a:cubicBezTo>
                      <a:lnTo>
                        <a:pt x="26896" y="14263"/>
                      </a:lnTo>
                      <a:lnTo>
                        <a:pt x="26846" y="14263"/>
                      </a:lnTo>
                      <a:lnTo>
                        <a:pt x="27023" y="13948"/>
                      </a:lnTo>
                      <a:cubicBezTo>
                        <a:pt x="27086" y="13838"/>
                        <a:pt x="27163" y="13734"/>
                        <a:pt x="27251" y="13638"/>
                      </a:cubicBezTo>
                      <a:close/>
                    </a:path>
                  </a:pathLst>
                </a:custGeom>
                <a:grpFill/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363" name="Graphic 5">
              <a:extLst>
                <a:ext uri="{FF2B5EF4-FFF2-40B4-BE49-F238E27FC236}">
                  <a16:creationId xmlns:a16="http://schemas.microsoft.com/office/drawing/2014/main" id="{18833BA1-5D1E-5649-A862-556CDA95508B}"/>
                </a:ext>
              </a:extLst>
            </p:cNvPr>
            <p:cNvGrpSpPr/>
            <p:nvPr/>
          </p:nvGrpSpPr>
          <p:grpSpPr>
            <a:xfrm>
              <a:off x="6265632" y="1370010"/>
              <a:ext cx="4637223" cy="1749797"/>
              <a:chOff x="6265632" y="1370010"/>
              <a:chExt cx="4637223" cy="1749797"/>
            </a:xfrm>
            <a:solidFill>
              <a:schemeClr val="bg2"/>
            </a:solidFill>
          </p:grpSpPr>
          <p:grpSp>
            <p:nvGrpSpPr>
              <p:cNvPr id="430" name="Graphic 5">
                <a:extLst>
                  <a:ext uri="{FF2B5EF4-FFF2-40B4-BE49-F238E27FC236}">
                    <a16:creationId xmlns:a16="http://schemas.microsoft.com/office/drawing/2014/main" id="{EF9BEC03-7495-C847-947C-B952DF7A90CC}"/>
                  </a:ext>
                </a:extLst>
              </p:cNvPr>
              <p:cNvGrpSpPr/>
              <p:nvPr/>
            </p:nvGrpSpPr>
            <p:grpSpPr>
              <a:xfrm>
                <a:off x="9617090" y="2919971"/>
                <a:ext cx="141531" cy="101189"/>
                <a:chOff x="9617090" y="2919971"/>
                <a:chExt cx="141531" cy="101189"/>
              </a:xfrm>
              <a:grpFill/>
            </p:grpSpPr>
            <p:sp>
              <p:nvSpPr>
                <p:cNvPr id="447" name="Vrije vorm 446">
                  <a:extLst>
                    <a:ext uri="{FF2B5EF4-FFF2-40B4-BE49-F238E27FC236}">
                      <a16:creationId xmlns:a16="http://schemas.microsoft.com/office/drawing/2014/main" id="{F8F1D819-7AF5-3F4F-AB3F-F4E4AFC0223F}"/>
                    </a:ext>
                  </a:extLst>
                </p:cNvPr>
                <p:cNvSpPr/>
                <p:nvPr/>
              </p:nvSpPr>
              <p:spPr>
                <a:xfrm>
                  <a:off x="9730238" y="2919971"/>
                  <a:ext cx="28383" cy="25096"/>
                </a:xfrm>
                <a:custGeom>
                  <a:avLst/>
                  <a:gdLst>
                    <a:gd name="connsiteX0" fmla="*/ 24266 w 28383"/>
                    <a:gd name="connsiteY0" fmla="*/ 775 h 25096"/>
                    <a:gd name="connsiteX1" fmla="*/ 2792 w 28383"/>
                    <a:gd name="connsiteY1" fmla="*/ 24118 h 25096"/>
                    <a:gd name="connsiteX2" fmla="*/ 24266 w 28383"/>
                    <a:gd name="connsiteY2" fmla="*/ 775 h 250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8383" h="25096">
                      <a:moveTo>
                        <a:pt x="24266" y="775"/>
                      </a:moveTo>
                      <a:cubicBezTo>
                        <a:pt x="19510" y="1029"/>
                        <a:pt x="-8953" y="30810"/>
                        <a:pt x="2792" y="24118"/>
                      </a:cubicBezTo>
                      <a:cubicBezTo>
                        <a:pt x="7739" y="25629"/>
                        <a:pt x="39475" y="-5219"/>
                        <a:pt x="24266" y="775"/>
                      </a:cubicBezTo>
                      <a:close/>
                    </a:path>
                  </a:pathLst>
                </a:custGeom>
                <a:grpFill/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48" name="Vrije vorm 447">
                  <a:extLst>
                    <a:ext uri="{FF2B5EF4-FFF2-40B4-BE49-F238E27FC236}">
                      <a16:creationId xmlns:a16="http://schemas.microsoft.com/office/drawing/2014/main" id="{E08CF655-E0CF-A241-A3C3-100696CA0A30}"/>
                    </a:ext>
                  </a:extLst>
                </p:cNvPr>
                <p:cNvSpPr/>
                <p:nvPr/>
              </p:nvSpPr>
              <p:spPr>
                <a:xfrm>
                  <a:off x="9657438" y="2948515"/>
                  <a:ext cx="54201" cy="42787"/>
                </a:xfrm>
                <a:custGeom>
                  <a:avLst/>
                  <a:gdLst>
                    <a:gd name="connsiteX0" fmla="*/ 22370 w 54201"/>
                    <a:gd name="connsiteY0" fmla="*/ 20897 h 42787"/>
                    <a:gd name="connsiteX1" fmla="*/ 38732 w 54201"/>
                    <a:gd name="connsiteY1" fmla="*/ 12299 h 42787"/>
                    <a:gd name="connsiteX2" fmla="*/ 53522 w 54201"/>
                    <a:gd name="connsiteY2" fmla="*/ 4527 h 42787"/>
                    <a:gd name="connsiteX3" fmla="*/ 31972 w 54201"/>
                    <a:gd name="connsiteY3" fmla="*/ 11004 h 42787"/>
                    <a:gd name="connsiteX4" fmla="*/ 5233 w 54201"/>
                    <a:gd name="connsiteY4" fmla="*/ 29381 h 42787"/>
                    <a:gd name="connsiteX5" fmla="*/ 1073 w 54201"/>
                    <a:gd name="connsiteY5" fmla="*/ 39198 h 42787"/>
                    <a:gd name="connsiteX6" fmla="*/ 22370 w 54201"/>
                    <a:gd name="connsiteY6" fmla="*/ 20897 h 427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4201" h="42787">
                      <a:moveTo>
                        <a:pt x="22370" y="20897"/>
                      </a:moveTo>
                      <a:cubicBezTo>
                        <a:pt x="27901" y="28301"/>
                        <a:pt x="33380" y="15119"/>
                        <a:pt x="38732" y="12299"/>
                      </a:cubicBezTo>
                      <a:cubicBezTo>
                        <a:pt x="42499" y="9175"/>
                        <a:pt x="57454" y="10255"/>
                        <a:pt x="53522" y="4527"/>
                      </a:cubicBezTo>
                      <a:cubicBezTo>
                        <a:pt x="55247" y="-9824"/>
                        <a:pt x="39722" y="14890"/>
                        <a:pt x="31972" y="11004"/>
                      </a:cubicBezTo>
                      <a:cubicBezTo>
                        <a:pt x="29562" y="-3830"/>
                        <a:pt x="16383" y="29622"/>
                        <a:pt x="5233" y="29381"/>
                      </a:cubicBezTo>
                      <a:cubicBezTo>
                        <a:pt x="14366" y="35553"/>
                        <a:pt x="-2732" y="35693"/>
                        <a:pt x="1073" y="39198"/>
                      </a:cubicBezTo>
                      <a:cubicBezTo>
                        <a:pt x="-5713" y="52215"/>
                        <a:pt x="21089" y="26041"/>
                        <a:pt x="22370" y="20897"/>
                      </a:cubicBezTo>
                      <a:close/>
                    </a:path>
                  </a:pathLst>
                </a:custGeom>
                <a:grpFill/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49" name="Vrije vorm 448">
                  <a:extLst>
                    <a:ext uri="{FF2B5EF4-FFF2-40B4-BE49-F238E27FC236}">
                      <a16:creationId xmlns:a16="http://schemas.microsoft.com/office/drawing/2014/main" id="{AB9D3D83-5A71-1444-A111-2A05F35F8B3E}"/>
                    </a:ext>
                  </a:extLst>
                </p:cNvPr>
                <p:cNvSpPr/>
                <p:nvPr/>
              </p:nvSpPr>
              <p:spPr>
                <a:xfrm>
                  <a:off x="9617090" y="2991050"/>
                  <a:ext cx="29770" cy="30110"/>
                </a:xfrm>
                <a:custGeom>
                  <a:avLst/>
                  <a:gdLst>
                    <a:gd name="connsiteX0" fmla="*/ 718 w 29770"/>
                    <a:gd name="connsiteY0" fmla="*/ 28743 h 30110"/>
                    <a:gd name="connsiteX1" fmla="*/ 10890 w 29770"/>
                    <a:gd name="connsiteY1" fmla="*/ 17669 h 30110"/>
                    <a:gd name="connsiteX2" fmla="*/ 27799 w 29770"/>
                    <a:gd name="connsiteY2" fmla="*/ 1438 h 30110"/>
                    <a:gd name="connsiteX3" fmla="*/ 718 w 29770"/>
                    <a:gd name="connsiteY3" fmla="*/ 28743 h 301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9770" h="30110">
                      <a:moveTo>
                        <a:pt x="718" y="28743"/>
                      </a:moveTo>
                      <a:cubicBezTo>
                        <a:pt x="1796" y="34890"/>
                        <a:pt x="4701" y="18380"/>
                        <a:pt x="10890" y="17669"/>
                      </a:cubicBezTo>
                      <a:cubicBezTo>
                        <a:pt x="10383" y="8817"/>
                        <a:pt x="37032" y="2454"/>
                        <a:pt x="27799" y="1438"/>
                      </a:cubicBezTo>
                      <a:cubicBezTo>
                        <a:pt x="17486" y="-7084"/>
                        <a:pt x="-4318" y="24920"/>
                        <a:pt x="718" y="28743"/>
                      </a:cubicBezTo>
                      <a:close/>
                    </a:path>
                  </a:pathLst>
                </a:custGeom>
                <a:grpFill/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431" name="Vrije vorm 430">
                <a:extLst>
                  <a:ext uri="{FF2B5EF4-FFF2-40B4-BE49-F238E27FC236}">
                    <a16:creationId xmlns:a16="http://schemas.microsoft.com/office/drawing/2014/main" id="{275EC402-769E-5042-80C4-E09C2E4B0B0D}"/>
                  </a:ext>
                </a:extLst>
              </p:cNvPr>
              <p:cNvSpPr/>
              <p:nvPr/>
            </p:nvSpPr>
            <p:spPr>
              <a:xfrm>
                <a:off x="9512328" y="2556821"/>
                <a:ext cx="81887" cy="376572"/>
              </a:xfrm>
              <a:custGeom>
                <a:avLst/>
                <a:gdLst>
                  <a:gd name="connsiteX0" fmla="*/ 81861 w 81887"/>
                  <a:gd name="connsiteY0" fmla="*/ 260610 h 376572"/>
                  <a:gd name="connsiteX1" fmla="*/ 39040 w 81887"/>
                  <a:gd name="connsiteY1" fmla="*/ 339084 h 376572"/>
                  <a:gd name="connsiteX2" fmla="*/ 46054 w 81887"/>
                  <a:gd name="connsiteY2" fmla="*/ 339719 h 376572"/>
                  <a:gd name="connsiteX3" fmla="*/ 46358 w 81887"/>
                  <a:gd name="connsiteY3" fmla="*/ 371481 h 376572"/>
                  <a:gd name="connsiteX4" fmla="*/ 42414 w 81887"/>
                  <a:gd name="connsiteY4" fmla="*/ 351377 h 376572"/>
                  <a:gd name="connsiteX5" fmla="*/ 8204 w 81887"/>
                  <a:gd name="connsiteY5" fmla="*/ 376574 h 376572"/>
                  <a:gd name="connsiteX6" fmla="*/ 4843 w 81887"/>
                  <a:gd name="connsiteY6" fmla="*/ 252698 h 376572"/>
                  <a:gd name="connsiteX7" fmla="*/ 3626 w 81887"/>
                  <a:gd name="connsiteY7" fmla="*/ 64751 h 376572"/>
                  <a:gd name="connsiteX8" fmla="*/ 13062 w 81887"/>
                  <a:gd name="connsiteY8" fmla="*/ 45806 h 376572"/>
                  <a:gd name="connsiteX9" fmla="*/ 24973 w 81887"/>
                  <a:gd name="connsiteY9" fmla="*/ 42073 h 376572"/>
                  <a:gd name="connsiteX10" fmla="*/ 26774 w 81887"/>
                  <a:gd name="connsiteY10" fmla="*/ 26413 h 376572"/>
                  <a:gd name="connsiteX11" fmla="*/ 24300 w 81887"/>
                  <a:gd name="connsiteY11" fmla="*/ 32219 h 376572"/>
                  <a:gd name="connsiteX12" fmla="*/ 22500 w 81887"/>
                  <a:gd name="connsiteY12" fmla="*/ 16830 h 376572"/>
                  <a:gd name="connsiteX13" fmla="*/ 20787 w 81887"/>
                  <a:gd name="connsiteY13" fmla="*/ 4591 h 376572"/>
                  <a:gd name="connsiteX14" fmla="*/ 24884 w 81887"/>
                  <a:gd name="connsiteY14" fmla="*/ 1 h 376572"/>
                  <a:gd name="connsiteX15" fmla="*/ 31353 w 81887"/>
                  <a:gd name="connsiteY15" fmla="*/ 23040 h 376572"/>
                  <a:gd name="connsiteX16" fmla="*/ 29958 w 81887"/>
                  <a:gd name="connsiteY16" fmla="*/ 25153 h 376572"/>
                  <a:gd name="connsiteX17" fmla="*/ 33509 w 81887"/>
                  <a:gd name="connsiteY17" fmla="*/ 31093 h 376572"/>
                  <a:gd name="connsiteX18" fmla="*/ 31036 w 81887"/>
                  <a:gd name="connsiteY18" fmla="*/ 27988 h 376572"/>
                  <a:gd name="connsiteX19" fmla="*/ 81861 w 81887"/>
                  <a:gd name="connsiteY19" fmla="*/ 260610 h 376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81887" h="376572">
                    <a:moveTo>
                      <a:pt x="81861" y="260610"/>
                    </a:moveTo>
                    <a:cubicBezTo>
                      <a:pt x="30364" y="168332"/>
                      <a:pt x="9688" y="313976"/>
                      <a:pt x="39040" y="339084"/>
                    </a:cubicBezTo>
                    <a:cubicBezTo>
                      <a:pt x="38862" y="338410"/>
                      <a:pt x="43581" y="339807"/>
                      <a:pt x="46054" y="339719"/>
                    </a:cubicBezTo>
                    <a:cubicBezTo>
                      <a:pt x="52662" y="339985"/>
                      <a:pt x="50316" y="363341"/>
                      <a:pt x="46358" y="371481"/>
                    </a:cubicBezTo>
                    <a:cubicBezTo>
                      <a:pt x="45154" y="366223"/>
                      <a:pt x="45509" y="344760"/>
                      <a:pt x="42414" y="351377"/>
                    </a:cubicBezTo>
                    <a:cubicBezTo>
                      <a:pt x="16792" y="333648"/>
                      <a:pt x="15764" y="356635"/>
                      <a:pt x="8204" y="376574"/>
                    </a:cubicBezTo>
                    <a:cubicBezTo>
                      <a:pt x="-6839" y="337788"/>
                      <a:pt x="16436" y="289592"/>
                      <a:pt x="4843" y="252698"/>
                    </a:cubicBezTo>
                    <a:cubicBezTo>
                      <a:pt x="26102" y="182150"/>
                      <a:pt x="-11380" y="129635"/>
                      <a:pt x="3626" y="64751"/>
                    </a:cubicBezTo>
                    <a:cubicBezTo>
                      <a:pt x="-5634" y="54626"/>
                      <a:pt x="7849" y="34873"/>
                      <a:pt x="13062" y="45806"/>
                    </a:cubicBezTo>
                    <a:cubicBezTo>
                      <a:pt x="13785" y="56741"/>
                      <a:pt x="22056" y="41397"/>
                      <a:pt x="24973" y="42073"/>
                    </a:cubicBezTo>
                    <a:cubicBezTo>
                      <a:pt x="8204" y="31992"/>
                      <a:pt x="36211" y="40002"/>
                      <a:pt x="26774" y="26413"/>
                    </a:cubicBezTo>
                    <a:cubicBezTo>
                      <a:pt x="25062" y="30148"/>
                      <a:pt x="24440" y="31858"/>
                      <a:pt x="24300" y="32219"/>
                    </a:cubicBezTo>
                    <a:cubicBezTo>
                      <a:pt x="24618" y="31093"/>
                      <a:pt x="27979" y="20654"/>
                      <a:pt x="22500" y="16830"/>
                    </a:cubicBezTo>
                    <a:cubicBezTo>
                      <a:pt x="19037" y="7785"/>
                      <a:pt x="9740" y="5400"/>
                      <a:pt x="20787" y="4591"/>
                    </a:cubicBezTo>
                    <a:cubicBezTo>
                      <a:pt x="20153" y="11025"/>
                      <a:pt x="25328" y="3829"/>
                      <a:pt x="24884" y="1"/>
                    </a:cubicBezTo>
                    <a:cubicBezTo>
                      <a:pt x="33028" y="4573"/>
                      <a:pt x="35919" y="14888"/>
                      <a:pt x="31353" y="23040"/>
                    </a:cubicBezTo>
                    <a:cubicBezTo>
                      <a:pt x="30947" y="23779"/>
                      <a:pt x="30478" y="24485"/>
                      <a:pt x="29958" y="25153"/>
                    </a:cubicBezTo>
                    <a:cubicBezTo>
                      <a:pt x="32748" y="24345"/>
                      <a:pt x="32926" y="28213"/>
                      <a:pt x="33509" y="31093"/>
                    </a:cubicBezTo>
                    <a:cubicBezTo>
                      <a:pt x="32875" y="28889"/>
                      <a:pt x="32165" y="26234"/>
                      <a:pt x="31036" y="27988"/>
                    </a:cubicBezTo>
                    <a:cubicBezTo>
                      <a:pt x="53056" y="99435"/>
                      <a:pt x="32025" y="150603"/>
                      <a:pt x="81861" y="26061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432" name="Graphic 5">
                <a:extLst>
                  <a:ext uri="{FF2B5EF4-FFF2-40B4-BE49-F238E27FC236}">
                    <a16:creationId xmlns:a16="http://schemas.microsoft.com/office/drawing/2014/main" id="{1FC8C117-79E7-FB43-95C6-83F5A044C0A5}"/>
                  </a:ext>
                </a:extLst>
              </p:cNvPr>
              <p:cNvGrpSpPr/>
              <p:nvPr/>
            </p:nvGrpSpPr>
            <p:grpSpPr>
              <a:xfrm>
                <a:off x="6265632" y="1370010"/>
                <a:ext cx="4637223" cy="1749797"/>
                <a:chOff x="6265632" y="1370010"/>
                <a:chExt cx="4637223" cy="1749797"/>
              </a:xfrm>
              <a:grpFill/>
            </p:grpSpPr>
            <p:sp>
              <p:nvSpPr>
                <p:cNvPr id="433" name="Vrije vorm 432">
                  <a:extLst>
                    <a:ext uri="{FF2B5EF4-FFF2-40B4-BE49-F238E27FC236}">
                      <a16:creationId xmlns:a16="http://schemas.microsoft.com/office/drawing/2014/main" id="{242AC88B-E86B-504C-8838-38720B4E1EFE}"/>
                    </a:ext>
                  </a:extLst>
                </p:cNvPr>
                <p:cNvSpPr/>
                <p:nvPr/>
              </p:nvSpPr>
              <p:spPr>
                <a:xfrm>
                  <a:off x="10815043" y="2036236"/>
                  <a:ext cx="87813" cy="50771"/>
                </a:xfrm>
                <a:custGeom>
                  <a:avLst/>
                  <a:gdLst>
                    <a:gd name="connsiteX0" fmla="*/ 25507 w 87813"/>
                    <a:gd name="connsiteY0" fmla="*/ 12041 h 50771"/>
                    <a:gd name="connsiteX1" fmla="*/ -26 w 87813"/>
                    <a:gd name="connsiteY1" fmla="*/ 11301 h 50771"/>
                    <a:gd name="connsiteX2" fmla="*/ 52791 w 87813"/>
                    <a:gd name="connsiteY2" fmla="*/ 37775 h 50771"/>
                    <a:gd name="connsiteX3" fmla="*/ 64575 w 87813"/>
                    <a:gd name="connsiteY3" fmla="*/ 48951 h 50771"/>
                    <a:gd name="connsiteX4" fmla="*/ 87787 w 87813"/>
                    <a:gd name="connsiteY4" fmla="*/ 30469 h 50771"/>
                    <a:gd name="connsiteX5" fmla="*/ 25507 w 87813"/>
                    <a:gd name="connsiteY5" fmla="*/ 12041 h 507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7813" h="50771">
                      <a:moveTo>
                        <a:pt x="25507" y="12041"/>
                      </a:moveTo>
                      <a:cubicBezTo>
                        <a:pt x="2194" y="11359"/>
                        <a:pt x="6202" y="-14214"/>
                        <a:pt x="-26" y="11301"/>
                      </a:cubicBezTo>
                      <a:cubicBezTo>
                        <a:pt x="2359" y="46594"/>
                        <a:pt x="27549" y="887"/>
                        <a:pt x="52791" y="37775"/>
                      </a:cubicBezTo>
                      <a:cubicBezTo>
                        <a:pt x="63788" y="38959"/>
                        <a:pt x="55340" y="56336"/>
                        <a:pt x="64575" y="48951"/>
                      </a:cubicBezTo>
                      <a:cubicBezTo>
                        <a:pt x="65538" y="23972"/>
                        <a:pt x="86023" y="48430"/>
                        <a:pt x="87787" y="30469"/>
                      </a:cubicBezTo>
                      <a:cubicBezTo>
                        <a:pt x="58080" y="29852"/>
                        <a:pt x="44749" y="-9273"/>
                        <a:pt x="25507" y="12041"/>
                      </a:cubicBezTo>
                      <a:close/>
                    </a:path>
                  </a:pathLst>
                </a:custGeom>
                <a:grpFill/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34" name="Vrije vorm 433">
                  <a:extLst>
                    <a:ext uri="{FF2B5EF4-FFF2-40B4-BE49-F238E27FC236}">
                      <a16:creationId xmlns:a16="http://schemas.microsoft.com/office/drawing/2014/main" id="{8E1E7E40-5237-E546-9229-9265EEB4E91C}"/>
                    </a:ext>
                  </a:extLst>
                </p:cNvPr>
                <p:cNvSpPr/>
                <p:nvPr/>
              </p:nvSpPr>
              <p:spPr>
                <a:xfrm>
                  <a:off x="10125467" y="2308237"/>
                  <a:ext cx="36695" cy="38230"/>
                </a:xfrm>
                <a:custGeom>
                  <a:avLst/>
                  <a:gdLst>
                    <a:gd name="connsiteX0" fmla="*/ 36669 w 36695"/>
                    <a:gd name="connsiteY0" fmla="*/ 11660 h 38230"/>
                    <a:gd name="connsiteX1" fmla="*/ 10679 w 36695"/>
                    <a:gd name="connsiteY1" fmla="*/ 10111 h 38230"/>
                    <a:gd name="connsiteX2" fmla="*/ -26 w 36695"/>
                    <a:gd name="connsiteY2" fmla="*/ 35790 h 38230"/>
                    <a:gd name="connsiteX3" fmla="*/ 20053 w 36695"/>
                    <a:gd name="connsiteY3" fmla="*/ 22415 h 38230"/>
                    <a:gd name="connsiteX4" fmla="*/ 36669 w 36695"/>
                    <a:gd name="connsiteY4" fmla="*/ 11660 h 38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695" h="38230">
                      <a:moveTo>
                        <a:pt x="36669" y="11660"/>
                      </a:moveTo>
                      <a:cubicBezTo>
                        <a:pt x="36048" y="-10997"/>
                        <a:pt x="24581" y="5544"/>
                        <a:pt x="10679" y="10111"/>
                      </a:cubicBezTo>
                      <a:cubicBezTo>
                        <a:pt x="16565" y="10619"/>
                        <a:pt x="5428" y="33879"/>
                        <a:pt x="-26" y="35790"/>
                      </a:cubicBezTo>
                      <a:cubicBezTo>
                        <a:pt x="1319" y="45250"/>
                        <a:pt x="12201" y="24305"/>
                        <a:pt x="20053" y="22415"/>
                      </a:cubicBezTo>
                      <a:cubicBezTo>
                        <a:pt x="22882" y="16714"/>
                        <a:pt x="36631" y="21682"/>
                        <a:pt x="36669" y="11660"/>
                      </a:cubicBezTo>
                      <a:close/>
                    </a:path>
                  </a:pathLst>
                </a:custGeom>
                <a:grpFill/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35" name="Vrije vorm 434">
                  <a:extLst>
                    <a:ext uri="{FF2B5EF4-FFF2-40B4-BE49-F238E27FC236}">
                      <a16:creationId xmlns:a16="http://schemas.microsoft.com/office/drawing/2014/main" id="{D99E303D-2B25-254E-A04F-DCD7DEB10A85}"/>
                    </a:ext>
                  </a:extLst>
                </p:cNvPr>
                <p:cNvSpPr/>
                <p:nvPr/>
              </p:nvSpPr>
              <p:spPr>
                <a:xfrm>
                  <a:off x="10133509" y="2318349"/>
                  <a:ext cx="2663" cy="716"/>
                </a:xfrm>
                <a:custGeom>
                  <a:avLst/>
                  <a:gdLst>
                    <a:gd name="connsiteX0" fmla="*/ 2637 w 2663"/>
                    <a:gd name="connsiteY0" fmla="*/ 3 h 716"/>
                    <a:gd name="connsiteX1" fmla="*/ -26 w 2663"/>
                    <a:gd name="connsiteY1" fmla="*/ 718 h 716"/>
                    <a:gd name="connsiteX2" fmla="*/ 2637 w 2663"/>
                    <a:gd name="connsiteY2" fmla="*/ 3 h 7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663" h="716">
                      <a:moveTo>
                        <a:pt x="2637" y="3"/>
                      </a:moveTo>
                      <a:cubicBezTo>
                        <a:pt x="1699" y="-22"/>
                        <a:pt x="773" y="226"/>
                        <a:pt x="-26" y="718"/>
                      </a:cubicBezTo>
                      <a:cubicBezTo>
                        <a:pt x="874" y="534"/>
                        <a:pt x="1762" y="295"/>
                        <a:pt x="2637" y="3"/>
                      </a:cubicBezTo>
                      <a:close/>
                    </a:path>
                  </a:pathLst>
                </a:custGeom>
                <a:grpFill/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36" name="Vrije vorm 435">
                  <a:extLst>
                    <a:ext uri="{FF2B5EF4-FFF2-40B4-BE49-F238E27FC236}">
                      <a16:creationId xmlns:a16="http://schemas.microsoft.com/office/drawing/2014/main" id="{019224CE-E9A0-914D-94A1-9665C54A6112}"/>
                    </a:ext>
                  </a:extLst>
                </p:cNvPr>
                <p:cNvSpPr/>
                <p:nvPr/>
              </p:nvSpPr>
              <p:spPr>
                <a:xfrm>
                  <a:off x="9892644" y="2725363"/>
                  <a:ext cx="26504" cy="32187"/>
                </a:xfrm>
                <a:custGeom>
                  <a:avLst/>
                  <a:gdLst>
                    <a:gd name="connsiteX0" fmla="*/ 26108 w 26504"/>
                    <a:gd name="connsiteY0" fmla="*/ 6356 h 32187"/>
                    <a:gd name="connsiteX1" fmla="*/ 10861 w 26504"/>
                    <a:gd name="connsiteY1" fmla="*/ 17024 h 32187"/>
                    <a:gd name="connsiteX2" fmla="*/ 1272 w 26504"/>
                    <a:gd name="connsiteY2" fmla="*/ 25102 h 32187"/>
                    <a:gd name="connsiteX3" fmla="*/ 26108 w 26504"/>
                    <a:gd name="connsiteY3" fmla="*/ 6356 h 321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6504" h="32187">
                      <a:moveTo>
                        <a:pt x="26108" y="6356"/>
                      </a:moveTo>
                      <a:cubicBezTo>
                        <a:pt x="23432" y="-13481"/>
                        <a:pt x="17305" y="19704"/>
                        <a:pt x="10861" y="17024"/>
                      </a:cubicBezTo>
                      <a:cubicBezTo>
                        <a:pt x="8160" y="19412"/>
                        <a:pt x="-3966" y="20631"/>
                        <a:pt x="1272" y="25102"/>
                      </a:cubicBezTo>
                      <a:cubicBezTo>
                        <a:pt x="-4702" y="44964"/>
                        <a:pt x="30433" y="17977"/>
                        <a:pt x="26108" y="6356"/>
                      </a:cubicBezTo>
                      <a:close/>
                    </a:path>
                  </a:pathLst>
                </a:custGeom>
                <a:grpFill/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37" name="Vrije vorm 436">
                  <a:extLst>
                    <a:ext uri="{FF2B5EF4-FFF2-40B4-BE49-F238E27FC236}">
                      <a16:creationId xmlns:a16="http://schemas.microsoft.com/office/drawing/2014/main" id="{F0D60650-511D-1A44-90B0-9B2D3C3410CA}"/>
                    </a:ext>
                  </a:extLst>
                </p:cNvPr>
                <p:cNvSpPr/>
                <p:nvPr/>
              </p:nvSpPr>
              <p:spPr>
                <a:xfrm>
                  <a:off x="6265632" y="1399978"/>
                  <a:ext cx="4598650" cy="1719830"/>
                </a:xfrm>
                <a:custGeom>
                  <a:avLst/>
                  <a:gdLst>
                    <a:gd name="connsiteX0" fmla="*/ 4539289 w 4598650"/>
                    <a:gd name="connsiteY0" fmla="*/ 413786 h 1719830"/>
                    <a:gd name="connsiteX1" fmla="*/ 4502479 w 4598650"/>
                    <a:gd name="connsiteY1" fmla="*/ 418330 h 1719830"/>
                    <a:gd name="connsiteX2" fmla="*/ 4479026 w 4598650"/>
                    <a:gd name="connsiteY2" fmla="*/ 408161 h 1719830"/>
                    <a:gd name="connsiteX3" fmla="*/ 4471390 w 4598650"/>
                    <a:gd name="connsiteY3" fmla="*/ 454102 h 1719830"/>
                    <a:gd name="connsiteX4" fmla="*/ 4456689 w 4598650"/>
                    <a:gd name="connsiteY4" fmla="*/ 407216 h 1719830"/>
                    <a:gd name="connsiteX5" fmla="*/ 4442850 w 4598650"/>
                    <a:gd name="connsiteY5" fmla="*/ 364925 h 1719830"/>
                    <a:gd name="connsiteX6" fmla="*/ 4434809 w 4598650"/>
                    <a:gd name="connsiteY6" fmla="*/ 355206 h 1719830"/>
                    <a:gd name="connsiteX7" fmla="*/ 4383793 w 4598650"/>
                    <a:gd name="connsiteY7" fmla="*/ 320200 h 1719830"/>
                    <a:gd name="connsiteX8" fmla="*/ 4366720 w 4598650"/>
                    <a:gd name="connsiteY8" fmla="*/ 306926 h 1719830"/>
                    <a:gd name="connsiteX9" fmla="*/ 4320702 w 4598650"/>
                    <a:gd name="connsiteY9" fmla="*/ 264900 h 1719830"/>
                    <a:gd name="connsiteX10" fmla="*/ 4320702 w 4598650"/>
                    <a:gd name="connsiteY10" fmla="*/ 243926 h 1719830"/>
                    <a:gd name="connsiteX11" fmla="*/ 4290590 w 4598650"/>
                    <a:gd name="connsiteY11" fmla="*/ 223364 h 1719830"/>
                    <a:gd name="connsiteX12" fmla="*/ 4226864 w 4598650"/>
                    <a:gd name="connsiteY12" fmla="*/ 190382 h 1719830"/>
                    <a:gd name="connsiteX13" fmla="*/ 4220040 w 4598650"/>
                    <a:gd name="connsiteY13" fmla="*/ 187321 h 1719830"/>
                    <a:gd name="connsiteX14" fmla="*/ 4156264 w 4598650"/>
                    <a:gd name="connsiteY14" fmla="*/ 189437 h 1719830"/>
                    <a:gd name="connsiteX15" fmla="*/ 4150556 w 4598650"/>
                    <a:gd name="connsiteY15" fmla="*/ 190426 h 1719830"/>
                    <a:gd name="connsiteX16" fmla="*/ 4138607 w 4598650"/>
                    <a:gd name="connsiteY16" fmla="*/ 188581 h 1719830"/>
                    <a:gd name="connsiteX17" fmla="*/ 4135056 w 4598650"/>
                    <a:gd name="connsiteY17" fmla="*/ 186917 h 1719830"/>
                    <a:gd name="connsiteX18" fmla="*/ 4073487 w 4598650"/>
                    <a:gd name="connsiteY18" fmla="*/ 171033 h 1719830"/>
                    <a:gd name="connsiteX19" fmla="*/ 4072320 w 4598650"/>
                    <a:gd name="connsiteY19" fmla="*/ 174947 h 1719830"/>
                    <a:gd name="connsiteX20" fmla="*/ 4062655 w 4598650"/>
                    <a:gd name="connsiteY20" fmla="*/ 207480 h 1719830"/>
                    <a:gd name="connsiteX21" fmla="*/ 4081795 w 4598650"/>
                    <a:gd name="connsiteY21" fmla="*/ 256615 h 1719830"/>
                    <a:gd name="connsiteX22" fmla="*/ 4068540 w 4598650"/>
                    <a:gd name="connsiteY22" fmla="*/ 271014 h 1719830"/>
                    <a:gd name="connsiteX23" fmla="*/ 4066346 w 4598650"/>
                    <a:gd name="connsiteY23" fmla="*/ 271824 h 1719830"/>
                    <a:gd name="connsiteX24" fmla="*/ 4066295 w 4598650"/>
                    <a:gd name="connsiteY24" fmla="*/ 271824 h 1719830"/>
                    <a:gd name="connsiteX25" fmla="*/ 4060638 w 4598650"/>
                    <a:gd name="connsiteY25" fmla="*/ 273221 h 1719830"/>
                    <a:gd name="connsiteX26" fmla="*/ 4038973 w 4598650"/>
                    <a:gd name="connsiteY26" fmla="*/ 273717 h 1719830"/>
                    <a:gd name="connsiteX27" fmla="*/ 4003876 w 4598650"/>
                    <a:gd name="connsiteY27" fmla="*/ 239300 h 1719830"/>
                    <a:gd name="connsiteX28" fmla="*/ 3997763 w 4598650"/>
                    <a:gd name="connsiteY28" fmla="*/ 209243 h 1719830"/>
                    <a:gd name="connsiteX29" fmla="*/ 3987475 w 4598650"/>
                    <a:gd name="connsiteY29" fmla="*/ 198308 h 1719830"/>
                    <a:gd name="connsiteX30" fmla="*/ 3987374 w 4598650"/>
                    <a:gd name="connsiteY30" fmla="*/ 198218 h 1719830"/>
                    <a:gd name="connsiteX31" fmla="*/ 3987197 w 4598650"/>
                    <a:gd name="connsiteY31" fmla="*/ 198083 h 1719830"/>
                    <a:gd name="connsiteX32" fmla="*/ 3984634 w 4598650"/>
                    <a:gd name="connsiteY32" fmla="*/ 202178 h 1719830"/>
                    <a:gd name="connsiteX33" fmla="*/ 3967295 w 4598650"/>
                    <a:gd name="connsiteY33" fmla="*/ 216487 h 1719830"/>
                    <a:gd name="connsiteX34" fmla="*/ 3934088 w 4598650"/>
                    <a:gd name="connsiteY34" fmla="*/ 214057 h 1719830"/>
                    <a:gd name="connsiteX35" fmla="*/ 3882362 w 4598650"/>
                    <a:gd name="connsiteY35" fmla="*/ 201008 h 1719830"/>
                    <a:gd name="connsiteX36" fmla="*/ 3877643 w 4598650"/>
                    <a:gd name="connsiteY36" fmla="*/ 201998 h 1719830"/>
                    <a:gd name="connsiteX37" fmla="*/ 3874992 w 4598650"/>
                    <a:gd name="connsiteY37" fmla="*/ 202492 h 1719830"/>
                    <a:gd name="connsiteX38" fmla="*/ 3871478 w 4598650"/>
                    <a:gd name="connsiteY38" fmla="*/ 202448 h 1719830"/>
                    <a:gd name="connsiteX39" fmla="*/ 3826361 w 4598650"/>
                    <a:gd name="connsiteY39" fmla="*/ 213562 h 1719830"/>
                    <a:gd name="connsiteX40" fmla="*/ 3826310 w 4598650"/>
                    <a:gd name="connsiteY40" fmla="*/ 213606 h 1719830"/>
                    <a:gd name="connsiteX41" fmla="*/ 3814260 w 4598650"/>
                    <a:gd name="connsiteY41" fmla="*/ 221706 h 1719830"/>
                    <a:gd name="connsiteX42" fmla="*/ 3813144 w 4598650"/>
                    <a:gd name="connsiteY42" fmla="*/ 222605 h 1719830"/>
                    <a:gd name="connsiteX43" fmla="*/ 3813144 w 4598650"/>
                    <a:gd name="connsiteY43" fmla="*/ 222786 h 1719830"/>
                    <a:gd name="connsiteX44" fmla="*/ 3809098 w 4598650"/>
                    <a:gd name="connsiteY44" fmla="*/ 220491 h 1719830"/>
                    <a:gd name="connsiteX45" fmla="*/ 3804874 w 4598650"/>
                    <a:gd name="connsiteY45" fmla="*/ 218152 h 1719830"/>
                    <a:gd name="connsiteX46" fmla="*/ 3803568 w 4598650"/>
                    <a:gd name="connsiteY46" fmla="*/ 230930 h 1719830"/>
                    <a:gd name="connsiteX47" fmla="*/ 3801906 w 4598650"/>
                    <a:gd name="connsiteY47" fmla="*/ 248028 h 1719830"/>
                    <a:gd name="connsiteX48" fmla="*/ 3801323 w 4598650"/>
                    <a:gd name="connsiteY48" fmla="*/ 246949 h 1719830"/>
                    <a:gd name="connsiteX49" fmla="*/ 3801323 w 4598650"/>
                    <a:gd name="connsiteY49" fmla="*/ 246859 h 1719830"/>
                    <a:gd name="connsiteX50" fmla="*/ 3797010 w 4598650"/>
                    <a:gd name="connsiteY50" fmla="*/ 228545 h 1719830"/>
                    <a:gd name="connsiteX51" fmla="*/ 3796338 w 4598650"/>
                    <a:gd name="connsiteY51" fmla="*/ 223552 h 1719830"/>
                    <a:gd name="connsiteX52" fmla="*/ 3794219 w 4598650"/>
                    <a:gd name="connsiteY52" fmla="*/ 209287 h 1719830"/>
                    <a:gd name="connsiteX53" fmla="*/ 3760251 w 4598650"/>
                    <a:gd name="connsiteY53" fmla="*/ 182335 h 1719830"/>
                    <a:gd name="connsiteX54" fmla="*/ 3761329 w 4598650"/>
                    <a:gd name="connsiteY54" fmla="*/ 177520 h 1719830"/>
                    <a:gd name="connsiteX55" fmla="*/ 3764564 w 4598650"/>
                    <a:gd name="connsiteY55" fmla="*/ 168790 h 1719830"/>
                    <a:gd name="connsiteX56" fmla="*/ 3765782 w 4598650"/>
                    <a:gd name="connsiteY56" fmla="*/ 134774 h 1719830"/>
                    <a:gd name="connsiteX57" fmla="*/ 3743356 w 4598650"/>
                    <a:gd name="connsiteY57" fmla="*/ 106737 h 1719830"/>
                    <a:gd name="connsiteX58" fmla="*/ 3685338 w 4598650"/>
                    <a:gd name="connsiteY58" fmla="*/ 86219 h 1719830"/>
                    <a:gd name="connsiteX59" fmla="*/ 3605124 w 4598650"/>
                    <a:gd name="connsiteY59" fmla="*/ 98504 h 1719830"/>
                    <a:gd name="connsiteX60" fmla="*/ 3601305 w 4598650"/>
                    <a:gd name="connsiteY60" fmla="*/ 99943 h 1719830"/>
                    <a:gd name="connsiteX61" fmla="*/ 3574745 w 4598650"/>
                    <a:gd name="connsiteY61" fmla="*/ 106420 h 1719830"/>
                    <a:gd name="connsiteX62" fmla="*/ 3563469 w 4598650"/>
                    <a:gd name="connsiteY62" fmla="*/ 107635 h 1719830"/>
                    <a:gd name="connsiteX63" fmla="*/ 3540586 w 4598650"/>
                    <a:gd name="connsiteY63" fmla="*/ 92336 h 1719830"/>
                    <a:gd name="connsiteX64" fmla="*/ 3529259 w 4598650"/>
                    <a:gd name="connsiteY64" fmla="*/ 67952 h 1719830"/>
                    <a:gd name="connsiteX65" fmla="*/ 3507151 w 4598650"/>
                    <a:gd name="connsiteY65" fmla="*/ 61293 h 1719830"/>
                    <a:gd name="connsiteX66" fmla="*/ 3456414 w 4598650"/>
                    <a:gd name="connsiteY66" fmla="*/ 31145 h 1719830"/>
                    <a:gd name="connsiteX67" fmla="*/ 3457048 w 4598650"/>
                    <a:gd name="connsiteY67" fmla="*/ 27231 h 1719830"/>
                    <a:gd name="connsiteX68" fmla="*/ 3479931 w 4598650"/>
                    <a:gd name="connsiteY68" fmla="*/ 18457 h 1719830"/>
                    <a:gd name="connsiteX69" fmla="*/ 3483964 w 4598650"/>
                    <a:gd name="connsiteY69" fmla="*/ 17917 h 1719830"/>
                    <a:gd name="connsiteX70" fmla="*/ 3481821 w 4598650"/>
                    <a:gd name="connsiteY70" fmla="*/ 10 h 1719830"/>
                    <a:gd name="connsiteX71" fmla="*/ 3384698 w 4598650"/>
                    <a:gd name="connsiteY71" fmla="*/ 10 h 1719830"/>
                    <a:gd name="connsiteX72" fmla="*/ 3384660 w 4598650"/>
                    <a:gd name="connsiteY72" fmla="*/ 999 h 1719830"/>
                    <a:gd name="connsiteX73" fmla="*/ 3363896 w 4598650"/>
                    <a:gd name="connsiteY73" fmla="*/ 28087 h 1719830"/>
                    <a:gd name="connsiteX74" fmla="*/ 3354953 w 4598650"/>
                    <a:gd name="connsiteY74" fmla="*/ 31912 h 1719830"/>
                    <a:gd name="connsiteX75" fmla="*/ 3341825 w 4598650"/>
                    <a:gd name="connsiteY75" fmla="*/ 32137 h 1719830"/>
                    <a:gd name="connsiteX76" fmla="*/ 3343169 w 4598650"/>
                    <a:gd name="connsiteY76" fmla="*/ 24713 h 1719830"/>
                    <a:gd name="connsiteX77" fmla="*/ 3343449 w 4598650"/>
                    <a:gd name="connsiteY77" fmla="*/ 23407 h 1719830"/>
                    <a:gd name="connsiteX78" fmla="*/ 3344653 w 4598650"/>
                    <a:gd name="connsiteY78" fmla="*/ 16703 h 1719830"/>
                    <a:gd name="connsiteX79" fmla="*/ 3345605 w 4598650"/>
                    <a:gd name="connsiteY79" fmla="*/ 11304 h 1719830"/>
                    <a:gd name="connsiteX80" fmla="*/ 3360572 w 4598650"/>
                    <a:gd name="connsiteY80" fmla="*/ 9729 h 1719830"/>
                    <a:gd name="connsiteX81" fmla="*/ 3363807 w 4598650"/>
                    <a:gd name="connsiteY81" fmla="*/ 9369 h 1719830"/>
                    <a:gd name="connsiteX82" fmla="*/ 3362729 w 4598650"/>
                    <a:gd name="connsiteY82" fmla="*/ 10 h 1719830"/>
                    <a:gd name="connsiteX83" fmla="*/ 3195462 w 4598650"/>
                    <a:gd name="connsiteY83" fmla="*/ 10 h 1719830"/>
                    <a:gd name="connsiteX84" fmla="*/ 3199635 w 4598650"/>
                    <a:gd name="connsiteY84" fmla="*/ 48605 h 1719830"/>
                    <a:gd name="connsiteX85" fmla="*/ 3192405 w 4598650"/>
                    <a:gd name="connsiteY85" fmla="*/ 50720 h 1719830"/>
                    <a:gd name="connsiteX86" fmla="*/ 3180673 w 4598650"/>
                    <a:gd name="connsiteY86" fmla="*/ 54184 h 1719830"/>
                    <a:gd name="connsiteX87" fmla="*/ 3179874 w 4598650"/>
                    <a:gd name="connsiteY87" fmla="*/ 54455 h 1719830"/>
                    <a:gd name="connsiteX88" fmla="*/ 3178618 w 4598650"/>
                    <a:gd name="connsiteY88" fmla="*/ 54814 h 1719830"/>
                    <a:gd name="connsiteX89" fmla="*/ 3170474 w 4598650"/>
                    <a:gd name="connsiteY89" fmla="*/ 40910 h 1719830"/>
                    <a:gd name="connsiteX90" fmla="*/ 3122655 w 4598650"/>
                    <a:gd name="connsiteY90" fmla="*/ 44376 h 1719830"/>
                    <a:gd name="connsiteX91" fmla="*/ 3139373 w 4598650"/>
                    <a:gd name="connsiteY91" fmla="*/ 55670 h 1719830"/>
                    <a:gd name="connsiteX92" fmla="*/ 3152451 w 4598650"/>
                    <a:gd name="connsiteY92" fmla="*/ 64534 h 1719830"/>
                    <a:gd name="connsiteX93" fmla="*/ 3141491 w 4598650"/>
                    <a:gd name="connsiteY93" fmla="*/ 84917 h 1719830"/>
                    <a:gd name="connsiteX94" fmla="*/ 3136417 w 4598650"/>
                    <a:gd name="connsiteY94" fmla="*/ 77627 h 1719830"/>
                    <a:gd name="connsiteX95" fmla="*/ 3136367 w 4598650"/>
                    <a:gd name="connsiteY95" fmla="*/ 77627 h 1719830"/>
                    <a:gd name="connsiteX96" fmla="*/ 3127019 w 4598650"/>
                    <a:gd name="connsiteY96" fmla="*/ 64489 h 1719830"/>
                    <a:gd name="connsiteX97" fmla="*/ 3073771 w 4598650"/>
                    <a:gd name="connsiteY97" fmla="*/ 42486 h 1719830"/>
                    <a:gd name="connsiteX98" fmla="*/ 3054262 w 4598650"/>
                    <a:gd name="connsiteY98" fmla="*/ 54140 h 1719830"/>
                    <a:gd name="connsiteX99" fmla="*/ 3050266 w 4598650"/>
                    <a:gd name="connsiteY99" fmla="*/ 57061 h 1719830"/>
                    <a:gd name="connsiteX100" fmla="*/ 3030759 w 4598650"/>
                    <a:gd name="connsiteY100" fmla="*/ 58186 h 1719830"/>
                    <a:gd name="connsiteX101" fmla="*/ 3004642 w 4598650"/>
                    <a:gd name="connsiteY101" fmla="*/ 37710 h 1719830"/>
                    <a:gd name="connsiteX102" fmla="*/ 2991285 w 4598650"/>
                    <a:gd name="connsiteY102" fmla="*/ 20250 h 1719830"/>
                    <a:gd name="connsiteX103" fmla="*/ 2989852 w 4598650"/>
                    <a:gd name="connsiteY103" fmla="*/ 18270 h 1719830"/>
                    <a:gd name="connsiteX104" fmla="*/ 2971599 w 4598650"/>
                    <a:gd name="connsiteY104" fmla="*/ 76817 h 1719830"/>
                    <a:gd name="connsiteX105" fmla="*/ 2971155 w 4598650"/>
                    <a:gd name="connsiteY105" fmla="*/ 78302 h 1719830"/>
                    <a:gd name="connsiteX106" fmla="*/ 2949808 w 4598650"/>
                    <a:gd name="connsiteY106" fmla="*/ 116548 h 1719830"/>
                    <a:gd name="connsiteX107" fmla="*/ 2949579 w 4598650"/>
                    <a:gd name="connsiteY107" fmla="*/ 116367 h 1719830"/>
                    <a:gd name="connsiteX108" fmla="*/ 2935513 w 4598650"/>
                    <a:gd name="connsiteY108" fmla="*/ 104624 h 1719830"/>
                    <a:gd name="connsiteX109" fmla="*/ 2933407 w 4598650"/>
                    <a:gd name="connsiteY109" fmla="*/ 102870 h 1719830"/>
                    <a:gd name="connsiteX110" fmla="*/ 2900200 w 4598650"/>
                    <a:gd name="connsiteY110" fmla="*/ 62958 h 1719830"/>
                    <a:gd name="connsiteX111" fmla="*/ 2887338 w 4598650"/>
                    <a:gd name="connsiteY111" fmla="*/ 32361 h 1719830"/>
                    <a:gd name="connsiteX112" fmla="*/ 2885867 w 4598650"/>
                    <a:gd name="connsiteY112" fmla="*/ 28986 h 1719830"/>
                    <a:gd name="connsiteX113" fmla="*/ 2873145 w 4598650"/>
                    <a:gd name="connsiteY113" fmla="*/ 639 h 1719830"/>
                    <a:gd name="connsiteX114" fmla="*/ 2872827 w 4598650"/>
                    <a:gd name="connsiteY114" fmla="*/ 4 h 1719830"/>
                    <a:gd name="connsiteX115" fmla="*/ 1566699 w 4598650"/>
                    <a:gd name="connsiteY115" fmla="*/ 4 h 1719830"/>
                    <a:gd name="connsiteX116" fmla="*/ 1583772 w 4598650"/>
                    <a:gd name="connsiteY116" fmla="*/ 13412 h 1719830"/>
                    <a:gd name="connsiteX117" fmla="*/ 1598676 w 4598650"/>
                    <a:gd name="connsiteY117" fmla="*/ 46446 h 1719830"/>
                    <a:gd name="connsiteX118" fmla="*/ 1598283 w 4598650"/>
                    <a:gd name="connsiteY118" fmla="*/ 47428 h 1719830"/>
                    <a:gd name="connsiteX119" fmla="*/ 1598156 w 4598650"/>
                    <a:gd name="connsiteY119" fmla="*/ 104527 h 1719830"/>
                    <a:gd name="connsiteX120" fmla="*/ 1603635 w 4598650"/>
                    <a:gd name="connsiteY120" fmla="*/ 127296 h 1719830"/>
                    <a:gd name="connsiteX121" fmla="*/ 1599500 w 4598650"/>
                    <a:gd name="connsiteY121" fmla="*/ 146104 h 1719830"/>
                    <a:gd name="connsiteX122" fmla="*/ 1597978 w 4598650"/>
                    <a:gd name="connsiteY122" fmla="*/ 147049 h 1719830"/>
                    <a:gd name="connsiteX123" fmla="*/ 1590254 w 4598650"/>
                    <a:gd name="connsiteY123" fmla="*/ 154923 h 1719830"/>
                    <a:gd name="connsiteX124" fmla="*/ 1585129 w 4598650"/>
                    <a:gd name="connsiteY124" fmla="*/ 172112 h 1719830"/>
                    <a:gd name="connsiteX125" fmla="*/ 1583949 w 4598650"/>
                    <a:gd name="connsiteY125" fmla="*/ 171527 h 1719830"/>
                    <a:gd name="connsiteX126" fmla="*/ 1573942 w 4598650"/>
                    <a:gd name="connsiteY126" fmla="*/ 156454 h 1719830"/>
                    <a:gd name="connsiteX127" fmla="*/ 1573942 w 4598650"/>
                    <a:gd name="connsiteY127" fmla="*/ 156408 h 1719830"/>
                    <a:gd name="connsiteX128" fmla="*/ 1577493 w 4598650"/>
                    <a:gd name="connsiteY128" fmla="*/ 147724 h 1719830"/>
                    <a:gd name="connsiteX129" fmla="*/ 1578203 w 4598650"/>
                    <a:gd name="connsiteY129" fmla="*/ 146327 h 1719830"/>
                    <a:gd name="connsiteX130" fmla="*/ 1578203 w 4598650"/>
                    <a:gd name="connsiteY130" fmla="*/ 146285 h 1719830"/>
                    <a:gd name="connsiteX131" fmla="*/ 1581438 w 4598650"/>
                    <a:gd name="connsiteY131" fmla="*/ 110739 h 1719830"/>
                    <a:gd name="connsiteX132" fmla="*/ 1581438 w 4598650"/>
                    <a:gd name="connsiteY132" fmla="*/ 110649 h 1719830"/>
                    <a:gd name="connsiteX133" fmla="*/ 1577975 w 4598650"/>
                    <a:gd name="connsiteY133" fmla="*/ 103585 h 1719830"/>
                    <a:gd name="connsiteX134" fmla="*/ 1574931 w 4598650"/>
                    <a:gd name="connsiteY134" fmla="*/ 98859 h 1719830"/>
                    <a:gd name="connsiteX135" fmla="*/ 1573802 w 4598650"/>
                    <a:gd name="connsiteY135" fmla="*/ 102009 h 1719830"/>
                    <a:gd name="connsiteX136" fmla="*/ 1564720 w 4598650"/>
                    <a:gd name="connsiteY136" fmla="*/ 127663 h 1719830"/>
                    <a:gd name="connsiteX137" fmla="*/ 1563465 w 4598650"/>
                    <a:gd name="connsiteY137" fmla="*/ 127258 h 1719830"/>
                    <a:gd name="connsiteX138" fmla="*/ 1561802 w 4598650"/>
                    <a:gd name="connsiteY138" fmla="*/ 126764 h 1719830"/>
                    <a:gd name="connsiteX139" fmla="*/ 1561802 w 4598650"/>
                    <a:gd name="connsiteY139" fmla="*/ 67542 h 1719830"/>
                    <a:gd name="connsiteX140" fmla="*/ 1579687 w 4598650"/>
                    <a:gd name="connsiteY140" fmla="*/ 53008 h 1719830"/>
                    <a:gd name="connsiteX141" fmla="*/ 1589353 w 4598650"/>
                    <a:gd name="connsiteY141" fmla="*/ 28624 h 1719830"/>
                    <a:gd name="connsiteX142" fmla="*/ 1569261 w 4598650"/>
                    <a:gd name="connsiteY142" fmla="*/ 27184 h 1719830"/>
                    <a:gd name="connsiteX143" fmla="*/ 1527619 w 4598650"/>
                    <a:gd name="connsiteY143" fmla="*/ 14406 h 1719830"/>
                    <a:gd name="connsiteX144" fmla="*/ 1525983 w 4598650"/>
                    <a:gd name="connsiteY144" fmla="*/ 10762 h 1719830"/>
                    <a:gd name="connsiteX145" fmla="*/ 1517763 w 4598650"/>
                    <a:gd name="connsiteY145" fmla="*/ 7 h 1719830"/>
                    <a:gd name="connsiteX146" fmla="*/ 1442749 w 4598650"/>
                    <a:gd name="connsiteY146" fmla="*/ 7 h 1719830"/>
                    <a:gd name="connsiteX147" fmla="*/ 1446656 w 4598650"/>
                    <a:gd name="connsiteY147" fmla="*/ 5272 h 1719830"/>
                    <a:gd name="connsiteX148" fmla="*/ 1442254 w 4598650"/>
                    <a:gd name="connsiteY148" fmla="*/ 13731 h 1719830"/>
                    <a:gd name="connsiteX149" fmla="*/ 1442216 w 4598650"/>
                    <a:gd name="connsiteY149" fmla="*/ 13776 h 1719830"/>
                    <a:gd name="connsiteX150" fmla="*/ 1438931 w 4598650"/>
                    <a:gd name="connsiteY150" fmla="*/ 16746 h 1719830"/>
                    <a:gd name="connsiteX151" fmla="*/ 1419512 w 4598650"/>
                    <a:gd name="connsiteY151" fmla="*/ 9322 h 1719830"/>
                    <a:gd name="connsiteX152" fmla="*/ 1395386 w 4598650"/>
                    <a:gd name="connsiteY152" fmla="*/ 6351 h 1719830"/>
                    <a:gd name="connsiteX153" fmla="*/ 1388461 w 4598650"/>
                    <a:gd name="connsiteY153" fmla="*/ 12111 h 1719830"/>
                    <a:gd name="connsiteX154" fmla="*/ 1428543 w 4598650"/>
                    <a:gd name="connsiteY154" fmla="*/ 62866 h 1719830"/>
                    <a:gd name="connsiteX155" fmla="*/ 1435735 w 4598650"/>
                    <a:gd name="connsiteY155" fmla="*/ 65476 h 1719830"/>
                    <a:gd name="connsiteX156" fmla="*/ 1437219 w 4598650"/>
                    <a:gd name="connsiteY156" fmla="*/ 66196 h 1719830"/>
                    <a:gd name="connsiteX157" fmla="*/ 1453302 w 4598650"/>
                    <a:gd name="connsiteY157" fmla="*/ 83789 h 1719830"/>
                    <a:gd name="connsiteX158" fmla="*/ 1470781 w 4598650"/>
                    <a:gd name="connsiteY158" fmla="*/ 96794 h 1719830"/>
                    <a:gd name="connsiteX159" fmla="*/ 1468853 w 4598650"/>
                    <a:gd name="connsiteY159" fmla="*/ 97874 h 1719830"/>
                    <a:gd name="connsiteX160" fmla="*/ 1462511 w 4598650"/>
                    <a:gd name="connsiteY160" fmla="*/ 100348 h 1719830"/>
                    <a:gd name="connsiteX161" fmla="*/ 1454596 w 4598650"/>
                    <a:gd name="connsiteY161" fmla="*/ 101519 h 1719830"/>
                    <a:gd name="connsiteX162" fmla="*/ 1453885 w 4598650"/>
                    <a:gd name="connsiteY162" fmla="*/ 101473 h 1719830"/>
                    <a:gd name="connsiteX163" fmla="*/ 1449929 w 4598650"/>
                    <a:gd name="connsiteY163" fmla="*/ 100889 h 1719830"/>
                    <a:gd name="connsiteX164" fmla="*/ 1438741 w 4598650"/>
                    <a:gd name="connsiteY164" fmla="*/ 90983 h 1719830"/>
                    <a:gd name="connsiteX165" fmla="*/ 1418383 w 4598650"/>
                    <a:gd name="connsiteY165" fmla="*/ 78654 h 1719830"/>
                    <a:gd name="connsiteX166" fmla="*/ 1365312 w 4598650"/>
                    <a:gd name="connsiteY166" fmla="*/ 63040 h 1719830"/>
                    <a:gd name="connsiteX167" fmla="*/ 1365807 w 4598650"/>
                    <a:gd name="connsiteY167" fmla="*/ 51521 h 1719830"/>
                    <a:gd name="connsiteX168" fmla="*/ 1366162 w 4598650"/>
                    <a:gd name="connsiteY168" fmla="*/ 46752 h 1719830"/>
                    <a:gd name="connsiteX169" fmla="*/ 1364640 w 4598650"/>
                    <a:gd name="connsiteY169" fmla="*/ 30868 h 1719830"/>
                    <a:gd name="connsiteX170" fmla="*/ 1366212 w 4598650"/>
                    <a:gd name="connsiteY170" fmla="*/ 3600 h 1719830"/>
                    <a:gd name="connsiteX171" fmla="*/ 1367697 w 4598650"/>
                    <a:gd name="connsiteY171" fmla="*/ 1 h 1719830"/>
                    <a:gd name="connsiteX172" fmla="*/ 1348189 w 4598650"/>
                    <a:gd name="connsiteY172" fmla="*/ 1 h 1719830"/>
                    <a:gd name="connsiteX173" fmla="*/ 1343204 w 4598650"/>
                    <a:gd name="connsiteY173" fmla="*/ 2746 h 1719830"/>
                    <a:gd name="connsiteX174" fmla="*/ 1342924 w 4598650"/>
                    <a:gd name="connsiteY174" fmla="*/ 2880 h 1719830"/>
                    <a:gd name="connsiteX175" fmla="*/ 1312229 w 4598650"/>
                    <a:gd name="connsiteY175" fmla="*/ 30373 h 1719830"/>
                    <a:gd name="connsiteX176" fmla="*/ 1307878 w 4598650"/>
                    <a:gd name="connsiteY176" fmla="*/ 43782 h 1719830"/>
                    <a:gd name="connsiteX177" fmla="*/ 1303515 w 4598650"/>
                    <a:gd name="connsiteY177" fmla="*/ 51431 h 1719830"/>
                    <a:gd name="connsiteX178" fmla="*/ 1320232 w 4598650"/>
                    <a:gd name="connsiteY178" fmla="*/ 86573 h 1719830"/>
                    <a:gd name="connsiteX179" fmla="*/ 1332105 w 4598650"/>
                    <a:gd name="connsiteY179" fmla="*/ 112452 h 1719830"/>
                    <a:gd name="connsiteX180" fmla="*/ 1332155 w 4598650"/>
                    <a:gd name="connsiteY180" fmla="*/ 144220 h 1719830"/>
                    <a:gd name="connsiteX181" fmla="*/ 1320917 w 4598650"/>
                    <a:gd name="connsiteY181" fmla="*/ 172837 h 1719830"/>
                    <a:gd name="connsiteX182" fmla="*/ 1319839 w 4598650"/>
                    <a:gd name="connsiteY182" fmla="*/ 175401 h 1719830"/>
                    <a:gd name="connsiteX183" fmla="*/ 1317011 w 4598650"/>
                    <a:gd name="connsiteY183" fmla="*/ 192410 h 1719830"/>
                    <a:gd name="connsiteX184" fmla="*/ 1323657 w 4598650"/>
                    <a:gd name="connsiteY184" fmla="*/ 249150 h 1719830"/>
                    <a:gd name="connsiteX185" fmla="*/ 1358171 w 4598650"/>
                    <a:gd name="connsiteY185" fmla="*/ 245685 h 1719830"/>
                    <a:gd name="connsiteX186" fmla="*/ 1396591 w 4598650"/>
                    <a:gd name="connsiteY186" fmla="*/ 246090 h 1719830"/>
                    <a:gd name="connsiteX187" fmla="*/ 1429938 w 4598650"/>
                    <a:gd name="connsiteY187" fmla="*/ 266743 h 1719830"/>
                    <a:gd name="connsiteX188" fmla="*/ 1443916 w 4598650"/>
                    <a:gd name="connsiteY188" fmla="*/ 316598 h 1719830"/>
                    <a:gd name="connsiteX189" fmla="*/ 1440998 w 4598650"/>
                    <a:gd name="connsiteY189" fmla="*/ 317544 h 1719830"/>
                    <a:gd name="connsiteX190" fmla="*/ 1430889 w 4598650"/>
                    <a:gd name="connsiteY190" fmla="*/ 324564 h 1719830"/>
                    <a:gd name="connsiteX191" fmla="*/ 1428467 w 4598650"/>
                    <a:gd name="connsiteY191" fmla="*/ 352641 h 1719830"/>
                    <a:gd name="connsiteX192" fmla="*/ 1465898 w 4598650"/>
                    <a:gd name="connsiteY192" fmla="*/ 366724 h 1719830"/>
                    <a:gd name="connsiteX193" fmla="*/ 1462346 w 4598650"/>
                    <a:gd name="connsiteY193" fmla="*/ 367669 h 1719830"/>
                    <a:gd name="connsiteX194" fmla="*/ 1457133 w 4598650"/>
                    <a:gd name="connsiteY194" fmla="*/ 368794 h 1719830"/>
                    <a:gd name="connsiteX195" fmla="*/ 1451514 w 4598650"/>
                    <a:gd name="connsiteY195" fmla="*/ 369604 h 1719830"/>
                    <a:gd name="connsiteX196" fmla="*/ 1418662 w 4598650"/>
                    <a:gd name="connsiteY196" fmla="*/ 356376 h 1719830"/>
                    <a:gd name="connsiteX197" fmla="*/ 1418789 w 4598650"/>
                    <a:gd name="connsiteY197" fmla="*/ 325103 h 1719830"/>
                    <a:gd name="connsiteX198" fmla="*/ 1418789 w 4598650"/>
                    <a:gd name="connsiteY198" fmla="*/ 323438 h 1719830"/>
                    <a:gd name="connsiteX199" fmla="*/ 1418433 w 4598650"/>
                    <a:gd name="connsiteY199" fmla="*/ 308409 h 1719830"/>
                    <a:gd name="connsiteX200" fmla="*/ 1412954 w 4598650"/>
                    <a:gd name="connsiteY200" fmla="*/ 289740 h 1719830"/>
                    <a:gd name="connsiteX201" fmla="*/ 1395475 w 4598650"/>
                    <a:gd name="connsiteY201" fmla="*/ 260403 h 1719830"/>
                    <a:gd name="connsiteX202" fmla="*/ 1366391 w 4598650"/>
                    <a:gd name="connsiteY202" fmla="*/ 269039 h 1719830"/>
                    <a:gd name="connsiteX203" fmla="*/ 1343558 w 4598650"/>
                    <a:gd name="connsiteY203" fmla="*/ 282043 h 1719830"/>
                    <a:gd name="connsiteX204" fmla="*/ 1344776 w 4598650"/>
                    <a:gd name="connsiteY204" fmla="*/ 317730 h 1719830"/>
                    <a:gd name="connsiteX205" fmla="*/ 1339157 w 4598650"/>
                    <a:gd name="connsiteY205" fmla="*/ 371590 h 1719830"/>
                    <a:gd name="connsiteX206" fmla="*/ 1337812 w 4598650"/>
                    <a:gd name="connsiteY206" fmla="*/ 372987 h 1719830"/>
                    <a:gd name="connsiteX207" fmla="*/ 1326803 w 4598650"/>
                    <a:gd name="connsiteY207" fmla="*/ 395441 h 1719830"/>
                    <a:gd name="connsiteX208" fmla="*/ 1326397 w 4598650"/>
                    <a:gd name="connsiteY208" fmla="*/ 397421 h 1719830"/>
                    <a:gd name="connsiteX209" fmla="*/ 1304466 w 4598650"/>
                    <a:gd name="connsiteY209" fmla="*/ 428648 h 1719830"/>
                    <a:gd name="connsiteX210" fmla="*/ 1300280 w 4598650"/>
                    <a:gd name="connsiteY210" fmla="*/ 430807 h 1719830"/>
                    <a:gd name="connsiteX211" fmla="*/ 1284590 w 4598650"/>
                    <a:gd name="connsiteY211" fmla="*/ 443900 h 1719830"/>
                    <a:gd name="connsiteX212" fmla="*/ 1283119 w 4598650"/>
                    <a:gd name="connsiteY212" fmla="*/ 451189 h 1719830"/>
                    <a:gd name="connsiteX213" fmla="*/ 1283119 w 4598650"/>
                    <a:gd name="connsiteY213" fmla="*/ 451235 h 1719830"/>
                    <a:gd name="connsiteX214" fmla="*/ 1274037 w 4598650"/>
                    <a:gd name="connsiteY214" fmla="*/ 463113 h 1719830"/>
                    <a:gd name="connsiteX215" fmla="*/ 1252245 w 4598650"/>
                    <a:gd name="connsiteY215" fmla="*/ 458795 h 1719830"/>
                    <a:gd name="connsiteX216" fmla="*/ 1234170 w 4598650"/>
                    <a:gd name="connsiteY216" fmla="*/ 458300 h 1719830"/>
                    <a:gd name="connsiteX217" fmla="*/ 1212150 w 4598650"/>
                    <a:gd name="connsiteY217" fmla="*/ 452675 h 1719830"/>
                    <a:gd name="connsiteX218" fmla="*/ 1211250 w 4598650"/>
                    <a:gd name="connsiteY218" fmla="*/ 451011 h 1719830"/>
                    <a:gd name="connsiteX219" fmla="*/ 1212061 w 4598650"/>
                    <a:gd name="connsiteY219" fmla="*/ 452630 h 1719830"/>
                    <a:gd name="connsiteX220" fmla="*/ 1187569 w 4598650"/>
                    <a:gd name="connsiteY220" fmla="*/ 432608 h 1719830"/>
                    <a:gd name="connsiteX221" fmla="*/ 1188152 w 4598650"/>
                    <a:gd name="connsiteY221" fmla="*/ 425903 h 1719830"/>
                    <a:gd name="connsiteX222" fmla="*/ 1224505 w 4598650"/>
                    <a:gd name="connsiteY222" fmla="*/ 435667 h 1719830"/>
                    <a:gd name="connsiteX223" fmla="*/ 1225545 w 4598650"/>
                    <a:gd name="connsiteY223" fmla="*/ 436971 h 1719830"/>
                    <a:gd name="connsiteX224" fmla="*/ 1230898 w 4598650"/>
                    <a:gd name="connsiteY224" fmla="*/ 443992 h 1719830"/>
                    <a:gd name="connsiteX225" fmla="*/ 1253539 w 4598650"/>
                    <a:gd name="connsiteY225" fmla="*/ 429278 h 1719830"/>
                    <a:gd name="connsiteX226" fmla="*/ 1259120 w 4598650"/>
                    <a:gd name="connsiteY226" fmla="*/ 420459 h 1719830"/>
                    <a:gd name="connsiteX227" fmla="*/ 1271119 w 4598650"/>
                    <a:gd name="connsiteY227" fmla="*/ 399040 h 1719830"/>
                    <a:gd name="connsiteX228" fmla="*/ 1271754 w 4598650"/>
                    <a:gd name="connsiteY228" fmla="*/ 398140 h 1719830"/>
                    <a:gd name="connsiteX229" fmla="*/ 1275660 w 4598650"/>
                    <a:gd name="connsiteY229" fmla="*/ 391706 h 1719830"/>
                    <a:gd name="connsiteX230" fmla="*/ 1279301 w 4598650"/>
                    <a:gd name="connsiteY230" fmla="*/ 383967 h 1719830"/>
                    <a:gd name="connsiteX231" fmla="*/ 1286620 w 4598650"/>
                    <a:gd name="connsiteY231" fmla="*/ 369478 h 1719830"/>
                    <a:gd name="connsiteX232" fmla="*/ 1296424 w 4598650"/>
                    <a:gd name="connsiteY232" fmla="*/ 358544 h 1719830"/>
                    <a:gd name="connsiteX233" fmla="*/ 1299697 w 4598650"/>
                    <a:gd name="connsiteY233" fmla="*/ 354674 h 1719830"/>
                    <a:gd name="connsiteX234" fmla="*/ 1302170 w 4598650"/>
                    <a:gd name="connsiteY234" fmla="*/ 344686 h 1719830"/>
                    <a:gd name="connsiteX235" fmla="*/ 1308284 w 4598650"/>
                    <a:gd name="connsiteY235" fmla="*/ 307834 h 1719830"/>
                    <a:gd name="connsiteX236" fmla="*/ 1311379 w 4598650"/>
                    <a:gd name="connsiteY236" fmla="*/ 300679 h 1719830"/>
                    <a:gd name="connsiteX237" fmla="*/ 1315742 w 4598650"/>
                    <a:gd name="connsiteY237" fmla="*/ 290241 h 1719830"/>
                    <a:gd name="connsiteX238" fmla="*/ 1299481 w 4598650"/>
                    <a:gd name="connsiteY238" fmla="*/ 279446 h 1719830"/>
                    <a:gd name="connsiteX239" fmla="*/ 1284286 w 4598650"/>
                    <a:gd name="connsiteY239" fmla="*/ 242819 h 1719830"/>
                    <a:gd name="connsiteX240" fmla="*/ 1285098 w 4598650"/>
                    <a:gd name="connsiteY240" fmla="*/ 179827 h 1719830"/>
                    <a:gd name="connsiteX241" fmla="*/ 1285237 w 4598650"/>
                    <a:gd name="connsiteY241" fmla="*/ 162639 h 1719830"/>
                    <a:gd name="connsiteX242" fmla="*/ 1285947 w 4598650"/>
                    <a:gd name="connsiteY242" fmla="*/ 147924 h 1719830"/>
                    <a:gd name="connsiteX243" fmla="*/ 1289815 w 4598650"/>
                    <a:gd name="connsiteY243" fmla="*/ 132311 h 1719830"/>
                    <a:gd name="connsiteX244" fmla="*/ 1272692 w 4598650"/>
                    <a:gd name="connsiteY244" fmla="*/ 66482 h 1719830"/>
                    <a:gd name="connsiteX245" fmla="*/ 1266934 w 4598650"/>
                    <a:gd name="connsiteY245" fmla="*/ 59243 h 1719830"/>
                    <a:gd name="connsiteX246" fmla="*/ 1268379 w 4598650"/>
                    <a:gd name="connsiteY246" fmla="*/ 43224 h 1719830"/>
                    <a:gd name="connsiteX247" fmla="*/ 1268824 w 4598650"/>
                    <a:gd name="connsiteY247" fmla="*/ 42685 h 1719830"/>
                    <a:gd name="connsiteX248" fmla="*/ 1287203 w 4598650"/>
                    <a:gd name="connsiteY248" fmla="*/ 29 h 1719830"/>
                    <a:gd name="connsiteX249" fmla="*/ 1175303 w 4598650"/>
                    <a:gd name="connsiteY249" fmla="*/ 29 h 1719830"/>
                    <a:gd name="connsiteX250" fmla="*/ 1164966 w 4598650"/>
                    <a:gd name="connsiteY250" fmla="*/ 30626 h 1719830"/>
                    <a:gd name="connsiteX251" fmla="*/ 1164966 w 4598650"/>
                    <a:gd name="connsiteY251" fmla="*/ 30672 h 1719830"/>
                    <a:gd name="connsiteX252" fmla="*/ 1143174 w 4598650"/>
                    <a:gd name="connsiteY252" fmla="*/ 58434 h 1719830"/>
                    <a:gd name="connsiteX253" fmla="*/ 1142324 w 4598650"/>
                    <a:gd name="connsiteY253" fmla="*/ 59108 h 1719830"/>
                    <a:gd name="connsiteX254" fmla="*/ 1130820 w 4598650"/>
                    <a:gd name="connsiteY254" fmla="*/ 66848 h 1719830"/>
                    <a:gd name="connsiteX255" fmla="*/ 1127762 w 4598650"/>
                    <a:gd name="connsiteY255" fmla="*/ 69997 h 1719830"/>
                    <a:gd name="connsiteX256" fmla="*/ 1123311 w 4598650"/>
                    <a:gd name="connsiteY256" fmla="*/ 82461 h 1719830"/>
                    <a:gd name="connsiteX257" fmla="*/ 1120609 w 4598650"/>
                    <a:gd name="connsiteY257" fmla="*/ 106219 h 1719830"/>
                    <a:gd name="connsiteX258" fmla="*/ 1139305 w 4598650"/>
                    <a:gd name="connsiteY258" fmla="*/ 110179 h 1719830"/>
                    <a:gd name="connsiteX259" fmla="*/ 1133420 w 4598650"/>
                    <a:gd name="connsiteY259" fmla="*/ 172543 h 1719830"/>
                    <a:gd name="connsiteX260" fmla="*/ 1128473 w 4598650"/>
                    <a:gd name="connsiteY260" fmla="*/ 184558 h 1719830"/>
                    <a:gd name="connsiteX261" fmla="*/ 1124211 w 4598650"/>
                    <a:gd name="connsiteY261" fmla="*/ 190811 h 1719830"/>
                    <a:gd name="connsiteX262" fmla="*/ 1123932 w 4598650"/>
                    <a:gd name="connsiteY262" fmla="*/ 199991 h 1719830"/>
                    <a:gd name="connsiteX263" fmla="*/ 1160247 w 4598650"/>
                    <a:gd name="connsiteY263" fmla="*/ 219930 h 1719830"/>
                    <a:gd name="connsiteX264" fmla="*/ 1186668 w 4598650"/>
                    <a:gd name="connsiteY264" fmla="*/ 267221 h 1719830"/>
                    <a:gd name="connsiteX265" fmla="*/ 1186770 w 4598650"/>
                    <a:gd name="connsiteY265" fmla="*/ 267221 h 1719830"/>
                    <a:gd name="connsiteX266" fmla="*/ 1189725 w 4598650"/>
                    <a:gd name="connsiteY266" fmla="*/ 268525 h 1719830"/>
                    <a:gd name="connsiteX267" fmla="*/ 1169151 w 4598650"/>
                    <a:gd name="connsiteY267" fmla="*/ 321935 h 1719830"/>
                    <a:gd name="connsiteX268" fmla="*/ 1168111 w 4598650"/>
                    <a:gd name="connsiteY268" fmla="*/ 320630 h 1719830"/>
                    <a:gd name="connsiteX269" fmla="*/ 1108837 w 4598650"/>
                    <a:gd name="connsiteY269" fmla="*/ 262045 h 1719830"/>
                    <a:gd name="connsiteX270" fmla="*/ 1094188 w 4598650"/>
                    <a:gd name="connsiteY270" fmla="*/ 255611 h 1719830"/>
                    <a:gd name="connsiteX271" fmla="*/ 1094010 w 4598650"/>
                    <a:gd name="connsiteY271" fmla="*/ 255521 h 1719830"/>
                    <a:gd name="connsiteX272" fmla="*/ 1080526 w 4598650"/>
                    <a:gd name="connsiteY272" fmla="*/ 249132 h 1719830"/>
                    <a:gd name="connsiteX273" fmla="*/ 1068299 w 4598650"/>
                    <a:gd name="connsiteY273" fmla="*/ 238464 h 1719830"/>
                    <a:gd name="connsiteX274" fmla="*/ 1003356 w 4598650"/>
                    <a:gd name="connsiteY274" fmla="*/ 200982 h 1719830"/>
                    <a:gd name="connsiteX275" fmla="*/ 955232 w 4598650"/>
                    <a:gd name="connsiteY275" fmla="*/ 192346 h 1719830"/>
                    <a:gd name="connsiteX276" fmla="*/ 937475 w 4598650"/>
                    <a:gd name="connsiteY276" fmla="*/ 211015 h 1719830"/>
                    <a:gd name="connsiteX277" fmla="*/ 935369 w 4598650"/>
                    <a:gd name="connsiteY277" fmla="*/ 213265 h 1719830"/>
                    <a:gd name="connsiteX278" fmla="*/ 952303 w 4598650"/>
                    <a:gd name="connsiteY278" fmla="*/ 246112 h 1719830"/>
                    <a:gd name="connsiteX279" fmla="*/ 951947 w 4598650"/>
                    <a:gd name="connsiteY279" fmla="*/ 270725 h 1719830"/>
                    <a:gd name="connsiteX280" fmla="*/ 950819 w 4598650"/>
                    <a:gd name="connsiteY280" fmla="*/ 271984 h 1719830"/>
                    <a:gd name="connsiteX281" fmla="*/ 929471 w 4598650"/>
                    <a:gd name="connsiteY281" fmla="*/ 287373 h 1719830"/>
                    <a:gd name="connsiteX282" fmla="*/ 926921 w 4598650"/>
                    <a:gd name="connsiteY282" fmla="*/ 289128 h 1719830"/>
                    <a:gd name="connsiteX283" fmla="*/ 928266 w 4598650"/>
                    <a:gd name="connsiteY283" fmla="*/ 297903 h 1719830"/>
                    <a:gd name="connsiteX284" fmla="*/ 923053 w 4598650"/>
                    <a:gd name="connsiteY284" fmla="*/ 306272 h 1719830"/>
                    <a:gd name="connsiteX285" fmla="*/ 918423 w 4598650"/>
                    <a:gd name="connsiteY285" fmla="*/ 309646 h 1719830"/>
                    <a:gd name="connsiteX286" fmla="*/ 903861 w 4598650"/>
                    <a:gd name="connsiteY286" fmla="*/ 298487 h 1719830"/>
                    <a:gd name="connsiteX287" fmla="*/ 903950 w 4598650"/>
                    <a:gd name="connsiteY287" fmla="*/ 287692 h 1719830"/>
                    <a:gd name="connsiteX288" fmla="*/ 903950 w 4598650"/>
                    <a:gd name="connsiteY288" fmla="*/ 287647 h 1719830"/>
                    <a:gd name="connsiteX289" fmla="*/ 904800 w 4598650"/>
                    <a:gd name="connsiteY289" fmla="*/ 286072 h 1719830"/>
                    <a:gd name="connsiteX290" fmla="*/ 908174 w 4598650"/>
                    <a:gd name="connsiteY290" fmla="*/ 279007 h 1719830"/>
                    <a:gd name="connsiteX291" fmla="*/ 901299 w 4598650"/>
                    <a:gd name="connsiteY291" fmla="*/ 265464 h 1719830"/>
                    <a:gd name="connsiteX292" fmla="*/ 898876 w 4598650"/>
                    <a:gd name="connsiteY292" fmla="*/ 263394 h 1719830"/>
                    <a:gd name="connsiteX293" fmla="*/ 894513 w 4598650"/>
                    <a:gd name="connsiteY293" fmla="*/ 259524 h 1719830"/>
                    <a:gd name="connsiteX294" fmla="*/ 874878 w 4598650"/>
                    <a:gd name="connsiteY294" fmla="*/ 274418 h 1719830"/>
                    <a:gd name="connsiteX295" fmla="*/ 869931 w 4598650"/>
                    <a:gd name="connsiteY295" fmla="*/ 278197 h 1719830"/>
                    <a:gd name="connsiteX296" fmla="*/ 862334 w 4598650"/>
                    <a:gd name="connsiteY296" fmla="*/ 283912 h 1719830"/>
                    <a:gd name="connsiteX297" fmla="*/ 857438 w 4598650"/>
                    <a:gd name="connsiteY297" fmla="*/ 287647 h 1719830"/>
                    <a:gd name="connsiteX298" fmla="*/ 848178 w 4598650"/>
                    <a:gd name="connsiteY298" fmla="*/ 294711 h 1719830"/>
                    <a:gd name="connsiteX299" fmla="*/ 794295 w 4598650"/>
                    <a:gd name="connsiteY299" fmla="*/ 298761 h 1719830"/>
                    <a:gd name="connsiteX300" fmla="*/ 783729 w 4598650"/>
                    <a:gd name="connsiteY300" fmla="*/ 315229 h 1719830"/>
                    <a:gd name="connsiteX301" fmla="*/ 782118 w 4598650"/>
                    <a:gd name="connsiteY301" fmla="*/ 320898 h 1719830"/>
                    <a:gd name="connsiteX302" fmla="*/ 773354 w 4598650"/>
                    <a:gd name="connsiteY302" fmla="*/ 320044 h 1719830"/>
                    <a:gd name="connsiteX303" fmla="*/ 769257 w 4598650"/>
                    <a:gd name="connsiteY303" fmla="*/ 319639 h 1719830"/>
                    <a:gd name="connsiteX304" fmla="*/ 761938 w 4598650"/>
                    <a:gd name="connsiteY304" fmla="*/ 318918 h 1719830"/>
                    <a:gd name="connsiteX305" fmla="*/ 761532 w 4598650"/>
                    <a:gd name="connsiteY305" fmla="*/ 318874 h 1719830"/>
                    <a:gd name="connsiteX306" fmla="*/ 741351 w 4598650"/>
                    <a:gd name="connsiteY306" fmla="*/ 316759 h 1719830"/>
                    <a:gd name="connsiteX307" fmla="*/ 739462 w 4598650"/>
                    <a:gd name="connsiteY307" fmla="*/ 314059 h 1719830"/>
                    <a:gd name="connsiteX308" fmla="*/ 738434 w 4598650"/>
                    <a:gd name="connsiteY308" fmla="*/ 312260 h 1719830"/>
                    <a:gd name="connsiteX309" fmla="*/ 753313 w 4598650"/>
                    <a:gd name="connsiteY309" fmla="*/ 303530 h 1719830"/>
                    <a:gd name="connsiteX310" fmla="*/ 753757 w 4598650"/>
                    <a:gd name="connsiteY310" fmla="*/ 303261 h 1719830"/>
                    <a:gd name="connsiteX311" fmla="*/ 753757 w 4598650"/>
                    <a:gd name="connsiteY311" fmla="*/ 270250 h 1719830"/>
                    <a:gd name="connsiteX312" fmla="*/ 747237 w 4598650"/>
                    <a:gd name="connsiteY312" fmla="*/ 269259 h 1719830"/>
                    <a:gd name="connsiteX313" fmla="*/ 726257 w 4598650"/>
                    <a:gd name="connsiteY313" fmla="*/ 278978 h 1719830"/>
                    <a:gd name="connsiteX314" fmla="*/ 718304 w 4598650"/>
                    <a:gd name="connsiteY314" fmla="*/ 301476 h 1719830"/>
                    <a:gd name="connsiteX315" fmla="*/ 714258 w 4598650"/>
                    <a:gd name="connsiteY315" fmla="*/ 313356 h 1719830"/>
                    <a:gd name="connsiteX316" fmla="*/ 714258 w 4598650"/>
                    <a:gd name="connsiteY316" fmla="*/ 313400 h 1719830"/>
                    <a:gd name="connsiteX317" fmla="*/ 713446 w 4598650"/>
                    <a:gd name="connsiteY317" fmla="*/ 315110 h 1719830"/>
                    <a:gd name="connsiteX318" fmla="*/ 712812 w 4598650"/>
                    <a:gd name="connsiteY318" fmla="*/ 314075 h 1719830"/>
                    <a:gd name="connsiteX319" fmla="*/ 701625 w 4598650"/>
                    <a:gd name="connsiteY319" fmla="*/ 295851 h 1719830"/>
                    <a:gd name="connsiteX320" fmla="*/ 690881 w 4598650"/>
                    <a:gd name="connsiteY320" fmla="*/ 301881 h 1719830"/>
                    <a:gd name="connsiteX321" fmla="*/ 690831 w 4598650"/>
                    <a:gd name="connsiteY321" fmla="*/ 301881 h 1719830"/>
                    <a:gd name="connsiteX322" fmla="*/ 686645 w 4598650"/>
                    <a:gd name="connsiteY322" fmla="*/ 304176 h 1719830"/>
                    <a:gd name="connsiteX323" fmla="*/ 686429 w 4598650"/>
                    <a:gd name="connsiteY323" fmla="*/ 304311 h 1719830"/>
                    <a:gd name="connsiteX324" fmla="*/ 653805 w 4598650"/>
                    <a:gd name="connsiteY324" fmla="*/ 323525 h 1719830"/>
                    <a:gd name="connsiteX325" fmla="*/ 620674 w 4598650"/>
                    <a:gd name="connsiteY325" fmla="*/ 347327 h 1719830"/>
                    <a:gd name="connsiteX326" fmla="*/ 609081 w 4598650"/>
                    <a:gd name="connsiteY326" fmla="*/ 355963 h 1719830"/>
                    <a:gd name="connsiteX327" fmla="*/ 594304 w 4598650"/>
                    <a:gd name="connsiteY327" fmla="*/ 366987 h 1719830"/>
                    <a:gd name="connsiteX328" fmla="*/ 587112 w 4598650"/>
                    <a:gd name="connsiteY328" fmla="*/ 372297 h 1719830"/>
                    <a:gd name="connsiteX329" fmla="*/ 578385 w 4598650"/>
                    <a:gd name="connsiteY329" fmla="*/ 417967 h 1719830"/>
                    <a:gd name="connsiteX330" fmla="*/ 573083 w 4598650"/>
                    <a:gd name="connsiteY330" fmla="*/ 418641 h 1719830"/>
                    <a:gd name="connsiteX331" fmla="*/ 535424 w 4598650"/>
                    <a:gd name="connsiteY331" fmla="*/ 423546 h 1719830"/>
                    <a:gd name="connsiteX332" fmla="*/ 504868 w 4598650"/>
                    <a:gd name="connsiteY332" fmla="*/ 388450 h 1719830"/>
                    <a:gd name="connsiteX333" fmla="*/ 501950 w 4598650"/>
                    <a:gd name="connsiteY333" fmla="*/ 381926 h 1719830"/>
                    <a:gd name="connsiteX334" fmla="*/ 502179 w 4598650"/>
                    <a:gd name="connsiteY334" fmla="*/ 376796 h 1719830"/>
                    <a:gd name="connsiteX335" fmla="*/ 503574 w 4598650"/>
                    <a:gd name="connsiteY335" fmla="*/ 374726 h 1719830"/>
                    <a:gd name="connsiteX336" fmla="*/ 503574 w 4598650"/>
                    <a:gd name="connsiteY336" fmla="*/ 374682 h 1719830"/>
                    <a:gd name="connsiteX337" fmla="*/ 510575 w 4598650"/>
                    <a:gd name="connsiteY337" fmla="*/ 362577 h 1719830"/>
                    <a:gd name="connsiteX338" fmla="*/ 511337 w 4598650"/>
                    <a:gd name="connsiteY338" fmla="*/ 361542 h 1719830"/>
                    <a:gd name="connsiteX339" fmla="*/ 528739 w 4598650"/>
                    <a:gd name="connsiteY339" fmla="*/ 351643 h 1719830"/>
                    <a:gd name="connsiteX340" fmla="*/ 545546 w 4598650"/>
                    <a:gd name="connsiteY340" fmla="*/ 348493 h 1719830"/>
                    <a:gd name="connsiteX341" fmla="*/ 549579 w 4598650"/>
                    <a:gd name="connsiteY341" fmla="*/ 347594 h 1719830"/>
                    <a:gd name="connsiteX342" fmla="*/ 522131 w 4598650"/>
                    <a:gd name="connsiteY342" fmla="*/ 299133 h 1719830"/>
                    <a:gd name="connsiteX343" fmla="*/ 476557 w 4598650"/>
                    <a:gd name="connsiteY343" fmla="*/ 293238 h 1719830"/>
                    <a:gd name="connsiteX344" fmla="*/ 476468 w 4598650"/>
                    <a:gd name="connsiteY344" fmla="*/ 293193 h 1719830"/>
                    <a:gd name="connsiteX345" fmla="*/ 458989 w 4598650"/>
                    <a:gd name="connsiteY345" fmla="*/ 292473 h 1719830"/>
                    <a:gd name="connsiteX346" fmla="*/ 481059 w 4598650"/>
                    <a:gd name="connsiteY346" fmla="*/ 341249 h 1719830"/>
                    <a:gd name="connsiteX347" fmla="*/ 469377 w 4598650"/>
                    <a:gd name="connsiteY347" fmla="*/ 391104 h 1719830"/>
                    <a:gd name="connsiteX348" fmla="*/ 487706 w 4598650"/>
                    <a:gd name="connsiteY348" fmla="*/ 437811 h 1719830"/>
                    <a:gd name="connsiteX349" fmla="*/ 486945 w 4598650"/>
                    <a:gd name="connsiteY349" fmla="*/ 440732 h 1719830"/>
                    <a:gd name="connsiteX350" fmla="*/ 486311 w 4598650"/>
                    <a:gd name="connsiteY350" fmla="*/ 443025 h 1719830"/>
                    <a:gd name="connsiteX351" fmla="*/ 477140 w 4598650"/>
                    <a:gd name="connsiteY351" fmla="*/ 474749 h 1719830"/>
                    <a:gd name="connsiteX352" fmla="*/ 475973 w 4598650"/>
                    <a:gd name="connsiteY352" fmla="*/ 478888 h 1719830"/>
                    <a:gd name="connsiteX353" fmla="*/ 425642 w 4598650"/>
                    <a:gd name="connsiteY353" fmla="*/ 448650 h 1719830"/>
                    <a:gd name="connsiteX354" fmla="*/ 411753 w 4598650"/>
                    <a:gd name="connsiteY354" fmla="*/ 464039 h 1719830"/>
                    <a:gd name="connsiteX355" fmla="*/ 397331 w 4598650"/>
                    <a:gd name="connsiteY355" fmla="*/ 478933 h 1719830"/>
                    <a:gd name="connsiteX356" fmla="*/ 371493 w 4598650"/>
                    <a:gd name="connsiteY356" fmla="*/ 499586 h 1719830"/>
                    <a:gd name="connsiteX357" fmla="*/ 364441 w 4598650"/>
                    <a:gd name="connsiteY357" fmla="*/ 506561 h 1719830"/>
                    <a:gd name="connsiteX358" fmla="*/ 355626 w 4598650"/>
                    <a:gd name="connsiteY358" fmla="*/ 525009 h 1719830"/>
                    <a:gd name="connsiteX359" fmla="*/ 366191 w 4598650"/>
                    <a:gd name="connsiteY359" fmla="*/ 544357 h 1719830"/>
                    <a:gd name="connsiteX360" fmla="*/ 373738 w 4598650"/>
                    <a:gd name="connsiteY360" fmla="*/ 573965 h 1719830"/>
                    <a:gd name="connsiteX361" fmla="*/ 373155 w 4598650"/>
                    <a:gd name="connsiteY361" fmla="*/ 575989 h 1719830"/>
                    <a:gd name="connsiteX362" fmla="*/ 358556 w 4598650"/>
                    <a:gd name="connsiteY362" fmla="*/ 578148 h 1719830"/>
                    <a:gd name="connsiteX363" fmla="*/ 354103 w 4598650"/>
                    <a:gd name="connsiteY363" fmla="*/ 578329 h 1719830"/>
                    <a:gd name="connsiteX364" fmla="*/ 333783 w 4598650"/>
                    <a:gd name="connsiteY364" fmla="*/ 571175 h 1719830"/>
                    <a:gd name="connsiteX365" fmla="*/ 313019 w 4598650"/>
                    <a:gd name="connsiteY365" fmla="*/ 567035 h 1719830"/>
                    <a:gd name="connsiteX366" fmla="*/ 307908 w 4598650"/>
                    <a:gd name="connsiteY366" fmla="*/ 566450 h 1719830"/>
                    <a:gd name="connsiteX367" fmla="*/ 306500 w 4598650"/>
                    <a:gd name="connsiteY367" fmla="*/ 564291 h 1719830"/>
                    <a:gd name="connsiteX368" fmla="*/ 276527 w 4598650"/>
                    <a:gd name="connsiteY368" fmla="*/ 539093 h 1719830"/>
                    <a:gd name="connsiteX369" fmla="*/ 274244 w 4598650"/>
                    <a:gd name="connsiteY369" fmla="*/ 543458 h 1719830"/>
                    <a:gd name="connsiteX370" fmla="*/ 270020 w 4598650"/>
                    <a:gd name="connsiteY370" fmla="*/ 551647 h 1719830"/>
                    <a:gd name="connsiteX371" fmla="*/ 266278 w 4598650"/>
                    <a:gd name="connsiteY371" fmla="*/ 558759 h 1719830"/>
                    <a:gd name="connsiteX372" fmla="*/ 264718 w 4598650"/>
                    <a:gd name="connsiteY372" fmla="*/ 561729 h 1719830"/>
                    <a:gd name="connsiteX373" fmla="*/ 303354 w 4598650"/>
                    <a:gd name="connsiteY373" fmla="*/ 590304 h 1719830"/>
                    <a:gd name="connsiteX374" fmla="*/ 307628 w 4598650"/>
                    <a:gd name="connsiteY374" fmla="*/ 617390 h 1719830"/>
                    <a:gd name="connsiteX375" fmla="*/ 304889 w 4598650"/>
                    <a:gd name="connsiteY375" fmla="*/ 618965 h 1719830"/>
                    <a:gd name="connsiteX376" fmla="*/ 289199 w 4598650"/>
                    <a:gd name="connsiteY376" fmla="*/ 627920 h 1719830"/>
                    <a:gd name="connsiteX377" fmla="*/ 245971 w 4598650"/>
                    <a:gd name="connsiteY377" fmla="*/ 601192 h 1719830"/>
                    <a:gd name="connsiteX378" fmla="*/ 238690 w 4598650"/>
                    <a:gd name="connsiteY378" fmla="*/ 596827 h 1719830"/>
                    <a:gd name="connsiteX379" fmla="*/ 237346 w 4598650"/>
                    <a:gd name="connsiteY379" fmla="*/ 596378 h 1719830"/>
                    <a:gd name="connsiteX380" fmla="*/ 230966 w 4598650"/>
                    <a:gd name="connsiteY380" fmla="*/ 594442 h 1719830"/>
                    <a:gd name="connsiteX381" fmla="*/ 214920 w 4598650"/>
                    <a:gd name="connsiteY381" fmla="*/ 577838 h 1719830"/>
                    <a:gd name="connsiteX382" fmla="*/ 214336 w 4598650"/>
                    <a:gd name="connsiteY382" fmla="*/ 574059 h 1719830"/>
                    <a:gd name="connsiteX383" fmla="*/ 213969 w 4598650"/>
                    <a:gd name="connsiteY383" fmla="*/ 571000 h 1719830"/>
                    <a:gd name="connsiteX384" fmla="*/ 213575 w 4598650"/>
                    <a:gd name="connsiteY384" fmla="*/ 567491 h 1719830"/>
                    <a:gd name="connsiteX385" fmla="*/ 211774 w 4598650"/>
                    <a:gd name="connsiteY385" fmla="*/ 555791 h 1719830"/>
                    <a:gd name="connsiteX386" fmla="*/ 210696 w 4598650"/>
                    <a:gd name="connsiteY386" fmla="*/ 549896 h 1719830"/>
                    <a:gd name="connsiteX387" fmla="*/ 210341 w 4598650"/>
                    <a:gd name="connsiteY387" fmla="*/ 547872 h 1719830"/>
                    <a:gd name="connsiteX388" fmla="*/ 205749 w 4598650"/>
                    <a:gd name="connsiteY388" fmla="*/ 524474 h 1719830"/>
                    <a:gd name="connsiteX389" fmla="*/ 205343 w 4598650"/>
                    <a:gd name="connsiteY389" fmla="*/ 522358 h 1719830"/>
                    <a:gd name="connsiteX390" fmla="*/ 210696 w 4598650"/>
                    <a:gd name="connsiteY390" fmla="*/ 510119 h 1719830"/>
                    <a:gd name="connsiteX391" fmla="*/ 212408 w 4598650"/>
                    <a:gd name="connsiteY391" fmla="*/ 503910 h 1719830"/>
                    <a:gd name="connsiteX392" fmla="*/ 213081 w 4598650"/>
                    <a:gd name="connsiteY392" fmla="*/ 495856 h 1719830"/>
                    <a:gd name="connsiteX393" fmla="*/ 188042 w 4598650"/>
                    <a:gd name="connsiteY393" fmla="*/ 464269 h 1719830"/>
                    <a:gd name="connsiteX394" fmla="*/ 178833 w 4598650"/>
                    <a:gd name="connsiteY394" fmla="*/ 457115 h 1719830"/>
                    <a:gd name="connsiteX395" fmla="*/ 175282 w 4598650"/>
                    <a:gd name="connsiteY395" fmla="*/ 453831 h 1719830"/>
                    <a:gd name="connsiteX396" fmla="*/ 169802 w 4598650"/>
                    <a:gd name="connsiteY396" fmla="*/ 448071 h 1719830"/>
                    <a:gd name="connsiteX397" fmla="*/ 166961 w 4598650"/>
                    <a:gd name="connsiteY397" fmla="*/ 444651 h 1719830"/>
                    <a:gd name="connsiteX398" fmla="*/ 165388 w 4598650"/>
                    <a:gd name="connsiteY398" fmla="*/ 442581 h 1719830"/>
                    <a:gd name="connsiteX399" fmla="*/ 161076 w 4598650"/>
                    <a:gd name="connsiteY399" fmla="*/ 436597 h 1719830"/>
                    <a:gd name="connsiteX400" fmla="*/ 143952 w 4598650"/>
                    <a:gd name="connsiteY400" fmla="*/ 404560 h 1719830"/>
                    <a:gd name="connsiteX401" fmla="*/ 142874 w 4598650"/>
                    <a:gd name="connsiteY401" fmla="*/ 402084 h 1719830"/>
                    <a:gd name="connsiteX402" fmla="*/ 150116 w 4598650"/>
                    <a:gd name="connsiteY402" fmla="*/ 400825 h 1719830"/>
                    <a:gd name="connsiteX403" fmla="*/ 154924 w 4598650"/>
                    <a:gd name="connsiteY403" fmla="*/ 402309 h 1719830"/>
                    <a:gd name="connsiteX404" fmla="*/ 196452 w 4598650"/>
                    <a:gd name="connsiteY404" fmla="*/ 432187 h 1719830"/>
                    <a:gd name="connsiteX405" fmla="*/ 229304 w 4598650"/>
                    <a:gd name="connsiteY405" fmla="*/ 449375 h 1719830"/>
                    <a:gd name="connsiteX406" fmla="*/ 315810 w 4598650"/>
                    <a:gd name="connsiteY406" fmla="*/ 476104 h 1719830"/>
                    <a:gd name="connsiteX407" fmla="*/ 321023 w 4598650"/>
                    <a:gd name="connsiteY407" fmla="*/ 476014 h 1719830"/>
                    <a:gd name="connsiteX408" fmla="*/ 389365 w 4598650"/>
                    <a:gd name="connsiteY408" fmla="*/ 432547 h 1719830"/>
                    <a:gd name="connsiteX409" fmla="*/ 395936 w 4598650"/>
                    <a:gd name="connsiteY409" fmla="*/ 418464 h 1719830"/>
                    <a:gd name="connsiteX410" fmla="*/ 396925 w 4598650"/>
                    <a:gd name="connsiteY410" fmla="*/ 398170 h 1719830"/>
                    <a:gd name="connsiteX411" fmla="*/ 387260 w 4598650"/>
                    <a:gd name="connsiteY411" fmla="*/ 359519 h 1719830"/>
                    <a:gd name="connsiteX412" fmla="*/ 369553 w 4598650"/>
                    <a:gd name="connsiteY412" fmla="*/ 346109 h 1719830"/>
                    <a:gd name="connsiteX413" fmla="*/ 351085 w 4598650"/>
                    <a:gd name="connsiteY413" fmla="*/ 332116 h 1719830"/>
                    <a:gd name="connsiteX414" fmla="*/ 338147 w 4598650"/>
                    <a:gd name="connsiteY414" fmla="*/ 322126 h 1719830"/>
                    <a:gd name="connsiteX415" fmla="*/ 306106 w 4598650"/>
                    <a:gd name="connsiteY415" fmla="*/ 296434 h 1719830"/>
                    <a:gd name="connsiteX416" fmla="*/ 243865 w 4598650"/>
                    <a:gd name="connsiteY416" fmla="*/ 245274 h 1719830"/>
                    <a:gd name="connsiteX417" fmla="*/ 227008 w 4598650"/>
                    <a:gd name="connsiteY417" fmla="*/ 241360 h 1719830"/>
                    <a:gd name="connsiteX418" fmla="*/ 207144 w 4598650"/>
                    <a:gd name="connsiteY418" fmla="*/ 238074 h 1719830"/>
                    <a:gd name="connsiteX419" fmla="*/ 175168 w 4598650"/>
                    <a:gd name="connsiteY419" fmla="*/ 242899 h 1719830"/>
                    <a:gd name="connsiteX420" fmla="*/ 174876 w 4598650"/>
                    <a:gd name="connsiteY420" fmla="*/ 243294 h 1719830"/>
                    <a:gd name="connsiteX421" fmla="*/ 172897 w 4598650"/>
                    <a:gd name="connsiteY421" fmla="*/ 236230 h 1719830"/>
                    <a:gd name="connsiteX422" fmla="*/ 167684 w 4598650"/>
                    <a:gd name="connsiteY422" fmla="*/ 229480 h 1719830"/>
                    <a:gd name="connsiteX423" fmla="*/ 135593 w 4598650"/>
                    <a:gd name="connsiteY423" fmla="*/ 206713 h 1719830"/>
                    <a:gd name="connsiteX424" fmla="*/ 136861 w 4598650"/>
                    <a:gd name="connsiteY424" fmla="*/ 206217 h 1719830"/>
                    <a:gd name="connsiteX425" fmla="*/ 164082 w 4598650"/>
                    <a:gd name="connsiteY425" fmla="*/ 204193 h 1719830"/>
                    <a:gd name="connsiteX426" fmla="*/ 165566 w 4598650"/>
                    <a:gd name="connsiteY426" fmla="*/ 202167 h 1719830"/>
                    <a:gd name="connsiteX427" fmla="*/ 136138 w 4598650"/>
                    <a:gd name="connsiteY427" fmla="*/ 186059 h 1719830"/>
                    <a:gd name="connsiteX428" fmla="*/ 135098 w 4598650"/>
                    <a:gd name="connsiteY428" fmla="*/ 187679 h 1719830"/>
                    <a:gd name="connsiteX429" fmla="*/ 132143 w 4598650"/>
                    <a:gd name="connsiteY429" fmla="*/ 192404 h 1719830"/>
                    <a:gd name="connsiteX430" fmla="*/ 129441 w 4598650"/>
                    <a:gd name="connsiteY430" fmla="*/ 196544 h 1719830"/>
                    <a:gd name="connsiteX431" fmla="*/ 124989 w 4598650"/>
                    <a:gd name="connsiteY431" fmla="*/ 203563 h 1719830"/>
                    <a:gd name="connsiteX432" fmla="*/ 123289 w 4598650"/>
                    <a:gd name="connsiteY432" fmla="*/ 206262 h 1719830"/>
                    <a:gd name="connsiteX433" fmla="*/ 107865 w 4598650"/>
                    <a:gd name="connsiteY433" fmla="*/ 202077 h 1719830"/>
                    <a:gd name="connsiteX434" fmla="*/ 107827 w 4598650"/>
                    <a:gd name="connsiteY434" fmla="*/ 202077 h 1719830"/>
                    <a:gd name="connsiteX435" fmla="*/ 100775 w 4598650"/>
                    <a:gd name="connsiteY435" fmla="*/ 200593 h 1719830"/>
                    <a:gd name="connsiteX436" fmla="*/ 102031 w 4598650"/>
                    <a:gd name="connsiteY436" fmla="*/ 210402 h 1719830"/>
                    <a:gd name="connsiteX437" fmla="*/ 94877 w 4598650"/>
                    <a:gd name="connsiteY437" fmla="*/ 222011 h 1719830"/>
                    <a:gd name="connsiteX438" fmla="*/ 81216 w 4598650"/>
                    <a:gd name="connsiteY438" fmla="*/ 214272 h 1719830"/>
                    <a:gd name="connsiteX439" fmla="*/ 71868 w 4598650"/>
                    <a:gd name="connsiteY439" fmla="*/ 231640 h 1719830"/>
                    <a:gd name="connsiteX440" fmla="*/ 54833 w 4598650"/>
                    <a:gd name="connsiteY440" fmla="*/ 246038 h 1719830"/>
                    <a:gd name="connsiteX441" fmla="*/ 47780 w 4598650"/>
                    <a:gd name="connsiteY441" fmla="*/ 255083 h 1719830"/>
                    <a:gd name="connsiteX442" fmla="*/ 45675 w 4598650"/>
                    <a:gd name="connsiteY442" fmla="*/ 261878 h 1719830"/>
                    <a:gd name="connsiteX443" fmla="*/ 45624 w 4598650"/>
                    <a:gd name="connsiteY443" fmla="*/ 262012 h 1719830"/>
                    <a:gd name="connsiteX444" fmla="*/ 31469 w 4598650"/>
                    <a:gd name="connsiteY444" fmla="*/ 273261 h 1719830"/>
                    <a:gd name="connsiteX445" fmla="*/ 36859 w 4598650"/>
                    <a:gd name="connsiteY445" fmla="*/ 278256 h 1719830"/>
                    <a:gd name="connsiteX446" fmla="*/ 34170 w 4598650"/>
                    <a:gd name="connsiteY446" fmla="*/ 314477 h 1719830"/>
                    <a:gd name="connsiteX447" fmla="*/ 67378 w 4598650"/>
                    <a:gd name="connsiteY447" fmla="*/ 356143 h 1719830"/>
                    <a:gd name="connsiteX448" fmla="*/ 67378 w 4598650"/>
                    <a:gd name="connsiteY448" fmla="*/ 377337 h 1719830"/>
                    <a:gd name="connsiteX449" fmla="*/ 56457 w 4598650"/>
                    <a:gd name="connsiteY449" fmla="*/ 408744 h 1719830"/>
                    <a:gd name="connsiteX450" fmla="*/ 54845 w 4598650"/>
                    <a:gd name="connsiteY450" fmla="*/ 436597 h 1719830"/>
                    <a:gd name="connsiteX451" fmla="*/ 78743 w 4598650"/>
                    <a:gd name="connsiteY451" fmla="*/ 509580 h 1719830"/>
                    <a:gd name="connsiteX452" fmla="*/ 70701 w 4598650"/>
                    <a:gd name="connsiteY452" fmla="*/ 512280 h 1719830"/>
                    <a:gd name="connsiteX453" fmla="*/ 65627 w 4598650"/>
                    <a:gd name="connsiteY453" fmla="*/ 539773 h 1719830"/>
                    <a:gd name="connsiteX454" fmla="*/ 69356 w 4598650"/>
                    <a:gd name="connsiteY454" fmla="*/ 545217 h 1719830"/>
                    <a:gd name="connsiteX455" fmla="*/ 76053 w 4598650"/>
                    <a:gd name="connsiteY455" fmla="*/ 591608 h 1719830"/>
                    <a:gd name="connsiteX456" fmla="*/ 98124 w 4598650"/>
                    <a:gd name="connsiteY456" fmla="*/ 650328 h 1719830"/>
                    <a:gd name="connsiteX457" fmla="*/ 110973 w 4598650"/>
                    <a:gd name="connsiteY457" fmla="*/ 690014 h 1719830"/>
                    <a:gd name="connsiteX458" fmla="*/ 91693 w 4598650"/>
                    <a:gd name="connsiteY458" fmla="*/ 744729 h 1719830"/>
                    <a:gd name="connsiteX459" fmla="*/ 15296 w 4598650"/>
                    <a:gd name="connsiteY459" fmla="*/ 831616 h 1719830"/>
                    <a:gd name="connsiteX460" fmla="*/ 23744 w 4598650"/>
                    <a:gd name="connsiteY460" fmla="*/ 831167 h 1719830"/>
                    <a:gd name="connsiteX461" fmla="*/ 30669 w 4598650"/>
                    <a:gd name="connsiteY461" fmla="*/ 825407 h 1719830"/>
                    <a:gd name="connsiteX462" fmla="*/ 33181 w 4598650"/>
                    <a:gd name="connsiteY462" fmla="*/ 824237 h 1719830"/>
                    <a:gd name="connsiteX463" fmla="*/ 38584 w 4598650"/>
                    <a:gd name="connsiteY463" fmla="*/ 822212 h 1719830"/>
                    <a:gd name="connsiteX464" fmla="*/ 38940 w 4598650"/>
                    <a:gd name="connsiteY464" fmla="*/ 822167 h 1719830"/>
                    <a:gd name="connsiteX465" fmla="*/ 39168 w 4598650"/>
                    <a:gd name="connsiteY465" fmla="*/ 822167 h 1719830"/>
                    <a:gd name="connsiteX466" fmla="*/ 39206 w 4598650"/>
                    <a:gd name="connsiteY466" fmla="*/ 822617 h 1719830"/>
                    <a:gd name="connsiteX467" fmla="*/ 39079 w 4598650"/>
                    <a:gd name="connsiteY467" fmla="*/ 822797 h 1719830"/>
                    <a:gd name="connsiteX468" fmla="*/ 38762 w 4598650"/>
                    <a:gd name="connsiteY468" fmla="*/ 823067 h 1719830"/>
                    <a:gd name="connsiteX469" fmla="*/ 37811 w 4598650"/>
                    <a:gd name="connsiteY469" fmla="*/ 823742 h 1719830"/>
                    <a:gd name="connsiteX470" fmla="*/ 45409 w 4598650"/>
                    <a:gd name="connsiteY470" fmla="*/ 846870 h 1719830"/>
                    <a:gd name="connsiteX471" fmla="*/ 73808 w 4598650"/>
                    <a:gd name="connsiteY471" fmla="*/ 859019 h 1719830"/>
                    <a:gd name="connsiteX472" fmla="*/ 80556 w 4598650"/>
                    <a:gd name="connsiteY472" fmla="*/ 870223 h 1719830"/>
                    <a:gd name="connsiteX473" fmla="*/ 44330 w 4598650"/>
                    <a:gd name="connsiteY473" fmla="*/ 873144 h 1719830"/>
                    <a:gd name="connsiteX474" fmla="*/ 19076 w 4598650"/>
                    <a:gd name="connsiteY474" fmla="*/ 886868 h 1719830"/>
                    <a:gd name="connsiteX475" fmla="*/ 22082 w 4598650"/>
                    <a:gd name="connsiteY475" fmla="*/ 894651 h 1719830"/>
                    <a:gd name="connsiteX476" fmla="*/ 20015 w 4598650"/>
                    <a:gd name="connsiteY476" fmla="*/ 901763 h 1719830"/>
                    <a:gd name="connsiteX477" fmla="*/ 8561 w 4598650"/>
                    <a:gd name="connsiteY477" fmla="*/ 918458 h 1719830"/>
                    <a:gd name="connsiteX478" fmla="*/ 11707 w 4598650"/>
                    <a:gd name="connsiteY478" fmla="*/ 918997 h 1719830"/>
                    <a:gd name="connsiteX479" fmla="*/ 5821 w 4598650"/>
                    <a:gd name="connsiteY479" fmla="*/ 959223 h 1719830"/>
                    <a:gd name="connsiteX480" fmla="*/ 6037 w 4598650"/>
                    <a:gd name="connsiteY480" fmla="*/ 971288 h 1719830"/>
                    <a:gd name="connsiteX481" fmla="*/ 4426 w 4598650"/>
                    <a:gd name="connsiteY481" fmla="*/ 986947 h 1719830"/>
                    <a:gd name="connsiteX482" fmla="*/ -26 w 4598650"/>
                    <a:gd name="connsiteY482" fmla="*/ 995991 h 1719830"/>
                    <a:gd name="connsiteX483" fmla="*/ 3386 w 4598650"/>
                    <a:gd name="connsiteY483" fmla="*/ 998511 h 1719830"/>
                    <a:gd name="connsiteX484" fmla="*/ 9639 w 4598650"/>
                    <a:gd name="connsiteY484" fmla="*/ 1008906 h 1719830"/>
                    <a:gd name="connsiteX485" fmla="*/ 12201 w 4598650"/>
                    <a:gd name="connsiteY485" fmla="*/ 1024160 h 1719830"/>
                    <a:gd name="connsiteX486" fmla="*/ 16108 w 4598650"/>
                    <a:gd name="connsiteY486" fmla="*/ 1037432 h 1719830"/>
                    <a:gd name="connsiteX487" fmla="*/ 22399 w 4598650"/>
                    <a:gd name="connsiteY487" fmla="*/ 1050662 h 1719830"/>
                    <a:gd name="connsiteX488" fmla="*/ 22945 w 4598650"/>
                    <a:gd name="connsiteY488" fmla="*/ 1069064 h 1719830"/>
                    <a:gd name="connsiteX489" fmla="*/ 22945 w 4598650"/>
                    <a:gd name="connsiteY489" fmla="*/ 1074870 h 1719830"/>
                    <a:gd name="connsiteX490" fmla="*/ 29908 w 4598650"/>
                    <a:gd name="connsiteY490" fmla="*/ 1072035 h 1719830"/>
                    <a:gd name="connsiteX491" fmla="*/ 35566 w 4598650"/>
                    <a:gd name="connsiteY491" fmla="*/ 1074870 h 1719830"/>
                    <a:gd name="connsiteX492" fmla="*/ 44013 w 4598650"/>
                    <a:gd name="connsiteY492" fmla="*/ 1076174 h 1719830"/>
                    <a:gd name="connsiteX493" fmla="*/ 55480 w 4598650"/>
                    <a:gd name="connsiteY493" fmla="*/ 1076579 h 1719830"/>
                    <a:gd name="connsiteX494" fmla="*/ 57091 w 4598650"/>
                    <a:gd name="connsiteY494" fmla="*/ 1085534 h 1719830"/>
                    <a:gd name="connsiteX495" fmla="*/ 67745 w 4598650"/>
                    <a:gd name="connsiteY495" fmla="*/ 1088455 h 1719830"/>
                    <a:gd name="connsiteX496" fmla="*/ 81634 w 4598650"/>
                    <a:gd name="connsiteY496" fmla="*/ 1084180 h 1719830"/>
                    <a:gd name="connsiteX497" fmla="*/ 94090 w 4598650"/>
                    <a:gd name="connsiteY497" fmla="*/ 1094439 h 1719830"/>
                    <a:gd name="connsiteX498" fmla="*/ 101904 w 4598650"/>
                    <a:gd name="connsiteY498" fmla="*/ 1102808 h 1719830"/>
                    <a:gd name="connsiteX499" fmla="*/ 97820 w 4598650"/>
                    <a:gd name="connsiteY499" fmla="*/ 1131200 h 1719830"/>
                    <a:gd name="connsiteX500" fmla="*/ 107066 w 4598650"/>
                    <a:gd name="connsiteY500" fmla="*/ 1145551 h 1719830"/>
                    <a:gd name="connsiteX501" fmla="*/ 117505 w 4598650"/>
                    <a:gd name="connsiteY501" fmla="*/ 1167600 h 1719830"/>
                    <a:gd name="connsiteX502" fmla="*/ 129099 w 4598650"/>
                    <a:gd name="connsiteY502" fmla="*/ 1177588 h 1719830"/>
                    <a:gd name="connsiteX503" fmla="*/ 129099 w 4598650"/>
                    <a:gd name="connsiteY503" fmla="*/ 1186543 h 1719830"/>
                    <a:gd name="connsiteX504" fmla="*/ 145093 w 4598650"/>
                    <a:gd name="connsiteY504" fmla="*/ 1192842 h 1719830"/>
                    <a:gd name="connsiteX505" fmla="*/ 151385 w 4598650"/>
                    <a:gd name="connsiteY505" fmla="*/ 1201887 h 1719830"/>
                    <a:gd name="connsiteX506" fmla="*/ 143254 w 4598650"/>
                    <a:gd name="connsiteY506" fmla="*/ 1211876 h 1719830"/>
                    <a:gd name="connsiteX507" fmla="*/ 128236 w 4598650"/>
                    <a:gd name="connsiteY507" fmla="*/ 1218175 h 1719830"/>
                    <a:gd name="connsiteX508" fmla="*/ 112381 w 4598650"/>
                    <a:gd name="connsiteY508" fmla="*/ 1217540 h 1719830"/>
                    <a:gd name="connsiteX509" fmla="*/ 118178 w 4598650"/>
                    <a:gd name="connsiteY509" fmla="*/ 1234324 h 1719830"/>
                    <a:gd name="connsiteX510" fmla="*/ 120651 w 4598650"/>
                    <a:gd name="connsiteY510" fmla="*/ 1254436 h 1719830"/>
                    <a:gd name="connsiteX511" fmla="*/ 125814 w 4598650"/>
                    <a:gd name="connsiteY511" fmla="*/ 1264558 h 1719830"/>
                    <a:gd name="connsiteX512" fmla="*/ 130177 w 4598650"/>
                    <a:gd name="connsiteY512" fmla="*/ 1268660 h 1719830"/>
                    <a:gd name="connsiteX513" fmla="*/ 138041 w 4598650"/>
                    <a:gd name="connsiteY513" fmla="*/ 1264520 h 1719830"/>
                    <a:gd name="connsiteX514" fmla="*/ 147694 w 4598650"/>
                    <a:gd name="connsiteY514" fmla="*/ 1255389 h 1719830"/>
                    <a:gd name="connsiteX515" fmla="*/ 158475 w 4598650"/>
                    <a:gd name="connsiteY515" fmla="*/ 1258843 h 1719830"/>
                    <a:gd name="connsiteX516" fmla="*/ 175510 w 4598650"/>
                    <a:gd name="connsiteY516" fmla="*/ 1256735 h 1719830"/>
                    <a:gd name="connsiteX517" fmla="*/ 187687 w 4598650"/>
                    <a:gd name="connsiteY517" fmla="*/ 1257852 h 1719830"/>
                    <a:gd name="connsiteX518" fmla="*/ 195412 w 4598650"/>
                    <a:gd name="connsiteY518" fmla="*/ 1279455 h 1719830"/>
                    <a:gd name="connsiteX519" fmla="*/ 196401 w 4598650"/>
                    <a:gd name="connsiteY519" fmla="*/ 1287329 h 1719830"/>
                    <a:gd name="connsiteX520" fmla="*/ 197390 w 4598650"/>
                    <a:gd name="connsiteY520" fmla="*/ 1305287 h 1719830"/>
                    <a:gd name="connsiteX521" fmla="*/ 210607 w 4598650"/>
                    <a:gd name="connsiteY521" fmla="*/ 1308081 h 1719830"/>
                    <a:gd name="connsiteX522" fmla="*/ 223634 w 4598650"/>
                    <a:gd name="connsiteY522" fmla="*/ 1313745 h 1719830"/>
                    <a:gd name="connsiteX523" fmla="*/ 228492 w 4598650"/>
                    <a:gd name="connsiteY523" fmla="*/ 1325086 h 1719830"/>
                    <a:gd name="connsiteX524" fmla="*/ 232678 w 4598650"/>
                    <a:gd name="connsiteY524" fmla="*/ 1341279 h 1719830"/>
                    <a:gd name="connsiteX525" fmla="*/ 239996 w 4598650"/>
                    <a:gd name="connsiteY525" fmla="*/ 1342409 h 1719830"/>
                    <a:gd name="connsiteX526" fmla="*/ 257475 w 4598650"/>
                    <a:gd name="connsiteY526" fmla="*/ 1346460 h 1719830"/>
                    <a:gd name="connsiteX527" fmla="*/ 268447 w 4598650"/>
                    <a:gd name="connsiteY527" fmla="*/ 1347400 h 1719830"/>
                    <a:gd name="connsiteX528" fmla="*/ 280713 w 4598650"/>
                    <a:gd name="connsiteY528" fmla="*/ 1343171 h 1719830"/>
                    <a:gd name="connsiteX529" fmla="*/ 282235 w 4598650"/>
                    <a:gd name="connsiteY529" fmla="*/ 1341368 h 1719830"/>
                    <a:gd name="connsiteX530" fmla="*/ 286281 w 4598650"/>
                    <a:gd name="connsiteY530" fmla="*/ 1345965 h 1719830"/>
                    <a:gd name="connsiteX531" fmla="*/ 298598 w 4598650"/>
                    <a:gd name="connsiteY531" fmla="*/ 1358970 h 1719830"/>
                    <a:gd name="connsiteX532" fmla="*/ 308263 w 4598650"/>
                    <a:gd name="connsiteY532" fmla="*/ 1357255 h 1719830"/>
                    <a:gd name="connsiteX533" fmla="*/ 316977 w 4598650"/>
                    <a:gd name="connsiteY533" fmla="*/ 1362297 h 1719830"/>
                    <a:gd name="connsiteX534" fmla="*/ 325564 w 4598650"/>
                    <a:gd name="connsiteY534" fmla="*/ 1364596 h 1719830"/>
                    <a:gd name="connsiteX535" fmla="*/ 337424 w 4598650"/>
                    <a:gd name="connsiteY535" fmla="*/ 1368914 h 1719830"/>
                    <a:gd name="connsiteX536" fmla="*/ 340519 w 4598650"/>
                    <a:gd name="connsiteY536" fmla="*/ 1372063 h 1719830"/>
                    <a:gd name="connsiteX537" fmla="*/ 354725 w 4598650"/>
                    <a:gd name="connsiteY537" fmla="*/ 1380115 h 1719830"/>
                    <a:gd name="connsiteX538" fmla="*/ 359532 w 4598650"/>
                    <a:gd name="connsiteY538" fmla="*/ 1377194 h 1719830"/>
                    <a:gd name="connsiteX539" fmla="*/ 362450 w 4598650"/>
                    <a:gd name="connsiteY539" fmla="*/ 1386910 h 1719830"/>
                    <a:gd name="connsiteX540" fmla="*/ 359177 w 4598650"/>
                    <a:gd name="connsiteY540" fmla="*/ 1398975 h 1719830"/>
                    <a:gd name="connsiteX541" fmla="*/ 354547 w 4598650"/>
                    <a:gd name="connsiteY541" fmla="*/ 1405998 h 1719830"/>
                    <a:gd name="connsiteX542" fmla="*/ 349157 w 4598650"/>
                    <a:gd name="connsiteY542" fmla="*/ 1418139 h 1719830"/>
                    <a:gd name="connsiteX543" fmla="*/ 354547 w 4598650"/>
                    <a:gd name="connsiteY543" fmla="*/ 1431728 h 1719830"/>
                    <a:gd name="connsiteX544" fmla="*/ 355042 w 4598650"/>
                    <a:gd name="connsiteY544" fmla="*/ 1444873 h 1719830"/>
                    <a:gd name="connsiteX545" fmla="*/ 351085 w 4598650"/>
                    <a:gd name="connsiteY545" fmla="*/ 1454321 h 1719830"/>
                    <a:gd name="connsiteX546" fmla="*/ 334417 w 4598650"/>
                    <a:gd name="connsiteY546" fmla="*/ 1453597 h 1719830"/>
                    <a:gd name="connsiteX547" fmla="*/ 324575 w 4598650"/>
                    <a:gd name="connsiteY547" fmla="*/ 1456925 h 1719830"/>
                    <a:gd name="connsiteX548" fmla="*/ 319045 w 4598650"/>
                    <a:gd name="connsiteY548" fmla="*/ 1465485 h 1719830"/>
                    <a:gd name="connsiteX549" fmla="*/ 310051 w 4598650"/>
                    <a:gd name="connsiteY549" fmla="*/ 1471873 h 1719830"/>
                    <a:gd name="connsiteX550" fmla="*/ 308935 w 4598650"/>
                    <a:gd name="connsiteY550" fmla="*/ 1483430 h 1719830"/>
                    <a:gd name="connsiteX551" fmla="*/ 316888 w 4598650"/>
                    <a:gd name="connsiteY551" fmla="*/ 1480902 h 1719830"/>
                    <a:gd name="connsiteX552" fmla="*/ 323002 w 4598650"/>
                    <a:gd name="connsiteY552" fmla="*/ 1477664 h 1719830"/>
                    <a:gd name="connsiteX553" fmla="*/ 323268 w 4598650"/>
                    <a:gd name="connsiteY553" fmla="*/ 1477537 h 1719830"/>
                    <a:gd name="connsiteX554" fmla="*/ 316888 w 4598650"/>
                    <a:gd name="connsiteY554" fmla="*/ 1482071 h 1719830"/>
                    <a:gd name="connsiteX555" fmla="*/ 342231 w 4598650"/>
                    <a:gd name="connsiteY555" fmla="*/ 1483481 h 1719830"/>
                    <a:gd name="connsiteX556" fmla="*/ 313882 w 4598650"/>
                    <a:gd name="connsiteY556" fmla="*/ 1499356 h 1719830"/>
                    <a:gd name="connsiteX557" fmla="*/ 298636 w 4598650"/>
                    <a:gd name="connsiteY557" fmla="*/ 1503864 h 1719830"/>
                    <a:gd name="connsiteX558" fmla="*/ 307590 w 4598650"/>
                    <a:gd name="connsiteY558" fmla="*/ 1524463 h 1719830"/>
                    <a:gd name="connsiteX559" fmla="*/ 304749 w 4598650"/>
                    <a:gd name="connsiteY559" fmla="*/ 1528070 h 1719830"/>
                    <a:gd name="connsiteX560" fmla="*/ 291722 w 4598650"/>
                    <a:gd name="connsiteY560" fmla="*/ 1543094 h 1719830"/>
                    <a:gd name="connsiteX561" fmla="*/ 292166 w 4598650"/>
                    <a:gd name="connsiteY561" fmla="*/ 1545571 h 1719830"/>
                    <a:gd name="connsiteX562" fmla="*/ 295984 w 4598650"/>
                    <a:gd name="connsiteY562" fmla="*/ 1553889 h 1719830"/>
                    <a:gd name="connsiteX563" fmla="*/ 278823 w 4598650"/>
                    <a:gd name="connsiteY563" fmla="*/ 1556912 h 1719830"/>
                    <a:gd name="connsiteX564" fmla="*/ 278239 w 4598650"/>
                    <a:gd name="connsiteY564" fmla="*/ 1556099 h 1719830"/>
                    <a:gd name="connsiteX565" fmla="*/ 270147 w 4598650"/>
                    <a:gd name="connsiteY565" fmla="*/ 1555020 h 1719830"/>
                    <a:gd name="connsiteX566" fmla="*/ 272975 w 4598650"/>
                    <a:gd name="connsiteY566" fmla="*/ 1556912 h 1719830"/>
                    <a:gd name="connsiteX567" fmla="*/ 285025 w 4598650"/>
                    <a:gd name="connsiteY567" fmla="*/ 1579861 h 1719830"/>
                    <a:gd name="connsiteX568" fmla="*/ 361067 w 4598650"/>
                    <a:gd name="connsiteY568" fmla="*/ 1628184 h 1719830"/>
                    <a:gd name="connsiteX569" fmla="*/ 368487 w 4598650"/>
                    <a:gd name="connsiteY569" fmla="*/ 1626914 h 1719830"/>
                    <a:gd name="connsiteX570" fmla="*/ 378051 w 4598650"/>
                    <a:gd name="connsiteY570" fmla="*/ 1627511 h 1719830"/>
                    <a:gd name="connsiteX571" fmla="*/ 392118 w 4598650"/>
                    <a:gd name="connsiteY571" fmla="*/ 1633722 h 1719830"/>
                    <a:gd name="connsiteX572" fmla="*/ 405373 w 4598650"/>
                    <a:gd name="connsiteY572" fmla="*/ 1637671 h 1719830"/>
                    <a:gd name="connsiteX573" fmla="*/ 415850 w 4598650"/>
                    <a:gd name="connsiteY573" fmla="*/ 1639297 h 1719830"/>
                    <a:gd name="connsiteX574" fmla="*/ 426365 w 4598650"/>
                    <a:gd name="connsiteY574" fmla="*/ 1639297 h 1719830"/>
                    <a:gd name="connsiteX575" fmla="*/ 437603 w 4598650"/>
                    <a:gd name="connsiteY575" fmla="*/ 1641596 h 1719830"/>
                    <a:gd name="connsiteX576" fmla="*/ 454461 w 4598650"/>
                    <a:gd name="connsiteY576" fmla="*/ 1653241 h 1719830"/>
                    <a:gd name="connsiteX577" fmla="*/ 467893 w 4598650"/>
                    <a:gd name="connsiteY577" fmla="*/ 1663503 h 1719830"/>
                    <a:gd name="connsiteX578" fmla="*/ 471305 w 4598650"/>
                    <a:gd name="connsiteY578" fmla="*/ 1665713 h 1719830"/>
                    <a:gd name="connsiteX579" fmla="*/ 477558 w 4598650"/>
                    <a:gd name="connsiteY579" fmla="*/ 1659312 h 1719830"/>
                    <a:gd name="connsiteX580" fmla="*/ 488873 w 4598650"/>
                    <a:gd name="connsiteY580" fmla="*/ 1658017 h 1719830"/>
                    <a:gd name="connsiteX581" fmla="*/ 494949 w 4598650"/>
                    <a:gd name="connsiteY581" fmla="*/ 1663503 h 1719830"/>
                    <a:gd name="connsiteX582" fmla="*/ 501506 w 4598650"/>
                    <a:gd name="connsiteY582" fmla="*/ 1658017 h 1719830"/>
                    <a:gd name="connsiteX583" fmla="*/ 508153 w 4598650"/>
                    <a:gd name="connsiteY583" fmla="*/ 1662868 h 1719830"/>
                    <a:gd name="connsiteX584" fmla="*/ 518579 w 4598650"/>
                    <a:gd name="connsiteY584" fmla="*/ 1666653 h 1719830"/>
                    <a:gd name="connsiteX585" fmla="*/ 519835 w 4598650"/>
                    <a:gd name="connsiteY585" fmla="*/ 1675251 h 1719830"/>
                    <a:gd name="connsiteX586" fmla="*/ 529589 w 4598650"/>
                    <a:gd name="connsiteY586" fmla="*/ 1685550 h 1719830"/>
                    <a:gd name="connsiteX587" fmla="*/ 541956 w 4598650"/>
                    <a:gd name="connsiteY587" fmla="*/ 1690999 h 1719830"/>
                    <a:gd name="connsiteX588" fmla="*/ 550531 w 4598650"/>
                    <a:gd name="connsiteY588" fmla="*/ 1692485 h 1719830"/>
                    <a:gd name="connsiteX589" fmla="*/ 558890 w 4598650"/>
                    <a:gd name="connsiteY589" fmla="*/ 1703635 h 1719830"/>
                    <a:gd name="connsiteX590" fmla="*/ 566399 w 4598650"/>
                    <a:gd name="connsiteY590" fmla="*/ 1713401 h 1719830"/>
                    <a:gd name="connsiteX591" fmla="*/ 579210 w 4598650"/>
                    <a:gd name="connsiteY591" fmla="*/ 1717364 h 1719830"/>
                    <a:gd name="connsiteX592" fmla="*/ 590714 w 4598650"/>
                    <a:gd name="connsiteY592" fmla="*/ 1708144 h 1719830"/>
                    <a:gd name="connsiteX593" fmla="*/ 602574 w 4598650"/>
                    <a:gd name="connsiteY593" fmla="*/ 1689640 h 1719830"/>
                    <a:gd name="connsiteX594" fmla="*/ 594811 w 4598650"/>
                    <a:gd name="connsiteY594" fmla="*/ 1678438 h 1719830"/>
                    <a:gd name="connsiteX595" fmla="*/ 572386 w 4598650"/>
                    <a:gd name="connsiteY595" fmla="*/ 1628400 h 1719830"/>
                    <a:gd name="connsiteX596" fmla="*/ 573413 w 4598650"/>
                    <a:gd name="connsiteY596" fmla="*/ 1622787 h 1719830"/>
                    <a:gd name="connsiteX597" fmla="*/ 573819 w 4598650"/>
                    <a:gd name="connsiteY597" fmla="*/ 1621212 h 1719830"/>
                    <a:gd name="connsiteX598" fmla="*/ 574047 w 4598650"/>
                    <a:gd name="connsiteY598" fmla="*/ 1620310 h 1719830"/>
                    <a:gd name="connsiteX599" fmla="*/ 574491 w 4598650"/>
                    <a:gd name="connsiteY599" fmla="*/ 1618736 h 1719830"/>
                    <a:gd name="connsiteX600" fmla="*/ 574986 w 4598650"/>
                    <a:gd name="connsiteY600" fmla="*/ 1616881 h 1719830"/>
                    <a:gd name="connsiteX601" fmla="*/ 575163 w 4598650"/>
                    <a:gd name="connsiteY601" fmla="*/ 1615992 h 1719830"/>
                    <a:gd name="connsiteX602" fmla="*/ 575075 w 4598650"/>
                    <a:gd name="connsiteY602" fmla="*/ 1616030 h 1719830"/>
                    <a:gd name="connsiteX603" fmla="*/ 574897 w 4598650"/>
                    <a:gd name="connsiteY603" fmla="*/ 1616259 h 1719830"/>
                    <a:gd name="connsiteX604" fmla="*/ 574897 w 4598650"/>
                    <a:gd name="connsiteY604" fmla="*/ 1616297 h 1719830"/>
                    <a:gd name="connsiteX605" fmla="*/ 574352 w 4598650"/>
                    <a:gd name="connsiteY605" fmla="*/ 1617339 h 1719830"/>
                    <a:gd name="connsiteX606" fmla="*/ 571752 w 4598650"/>
                    <a:gd name="connsiteY606" fmla="*/ 1622774 h 1719830"/>
                    <a:gd name="connsiteX607" fmla="*/ 571523 w 4598650"/>
                    <a:gd name="connsiteY607" fmla="*/ 1619625 h 1719830"/>
                    <a:gd name="connsiteX608" fmla="*/ 572386 w 4598650"/>
                    <a:gd name="connsiteY608" fmla="*/ 1618456 h 1719830"/>
                    <a:gd name="connsiteX609" fmla="*/ 572335 w 4598650"/>
                    <a:gd name="connsiteY609" fmla="*/ 1616259 h 1719830"/>
                    <a:gd name="connsiteX610" fmla="*/ 572157 w 4598650"/>
                    <a:gd name="connsiteY610" fmla="*/ 1615269 h 1719830"/>
                    <a:gd name="connsiteX611" fmla="*/ 571980 w 4598650"/>
                    <a:gd name="connsiteY611" fmla="*/ 1614507 h 1719830"/>
                    <a:gd name="connsiteX612" fmla="*/ 571663 w 4598650"/>
                    <a:gd name="connsiteY612" fmla="*/ 1613516 h 1719830"/>
                    <a:gd name="connsiteX613" fmla="*/ 571257 w 4598650"/>
                    <a:gd name="connsiteY613" fmla="*/ 1612525 h 1719830"/>
                    <a:gd name="connsiteX614" fmla="*/ 570813 w 4598650"/>
                    <a:gd name="connsiteY614" fmla="*/ 1611535 h 1719830"/>
                    <a:gd name="connsiteX615" fmla="*/ 570267 w 4598650"/>
                    <a:gd name="connsiteY615" fmla="*/ 1610595 h 1719830"/>
                    <a:gd name="connsiteX616" fmla="*/ 569544 w 4598650"/>
                    <a:gd name="connsiteY616" fmla="*/ 1609465 h 1719830"/>
                    <a:gd name="connsiteX617" fmla="*/ 553321 w 4598650"/>
                    <a:gd name="connsiteY617" fmla="*/ 1583595 h 1719830"/>
                    <a:gd name="connsiteX618" fmla="*/ 555668 w 4598650"/>
                    <a:gd name="connsiteY618" fmla="*/ 1579404 h 1719830"/>
                    <a:gd name="connsiteX619" fmla="*/ 571346 w 4598650"/>
                    <a:gd name="connsiteY619" fmla="*/ 1554702 h 1719830"/>
                    <a:gd name="connsiteX620" fmla="*/ 571891 w 4598650"/>
                    <a:gd name="connsiteY620" fmla="*/ 1552721 h 1719830"/>
                    <a:gd name="connsiteX621" fmla="*/ 572157 w 4598650"/>
                    <a:gd name="connsiteY621" fmla="*/ 1551426 h 1719830"/>
                    <a:gd name="connsiteX622" fmla="*/ 572386 w 4598650"/>
                    <a:gd name="connsiteY622" fmla="*/ 1549749 h 1719830"/>
                    <a:gd name="connsiteX623" fmla="*/ 572386 w 4598650"/>
                    <a:gd name="connsiteY623" fmla="*/ 1549711 h 1719830"/>
                    <a:gd name="connsiteX624" fmla="*/ 574758 w 4598650"/>
                    <a:gd name="connsiteY624" fmla="*/ 1545533 h 1719830"/>
                    <a:gd name="connsiteX625" fmla="*/ 575937 w 4598650"/>
                    <a:gd name="connsiteY625" fmla="*/ 1547285 h 1719830"/>
                    <a:gd name="connsiteX626" fmla="*/ 576064 w 4598650"/>
                    <a:gd name="connsiteY626" fmla="*/ 1543145 h 1719830"/>
                    <a:gd name="connsiteX627" fmla="*/ 577409 w 4598650"/>
                    <a:gd name="connsiteY627" fmla="*/ 1540758 h 1719830"/>
                    <a:gd name="connsiteX628" fmla="*/ 578094 w 4598650"/>
                    <a:gd name="connsiteY628" fmla="*/ 1541431 h 1719830"/>
                    <a:gd name="connsiteX629" fmla="*/ 579349 w 4598650"/>
                    <a:gd name="connsiteY629" fmla="*/ 1542828 h 1719830"/>
                    <a:gd name="connsiteX630" fmla="*/ 581138 w 4598650"/>
                    <a:gd name="connsiteY630" fmla="*/ 1544542 h 1719830"/>
                    <a:gd name="connsiteX631" fmla="*/ 581455 w 4598650"/>
                    <a:gd name="connsiteY631" fmla="*/ 1544720 h 1719830"/>
                    <a:gd name="connsiteX632" fmla="*/ 581823 w 4598650"/>
                    <a:gd name="connsiteY632" fmla="*/ 1543641 h 1719830"/>
                    <a:gd name="connsiteX633" fmla="*/ 599707 w 4598650"/>
                    <a:gd name="connsiteY633" fmla="*/ 1531804 h 1719830"/>
                    <a:gd name="connsiteX634" fmla="*/ 607977 w 4598650"/>
                    <a:gd name="connsiteY634" fmla="*/ 1533379 h 1719830"/>
                    <a:gd name="connsiteX635" fmla="*/ 605948 w 4598650"/>
                    <a:gd name="connsiteY635" fmla="*/ 1524972 h 1719830"/>
                    <a:gd name="connsiteX636" fmla="*/ 606798 w 4598650"/>
                    <a:gd name="connsiteY636" fmla="*/ 1524336 h 1719830"/>
                    <a:gd name="connsiteX637" fmla="*/ 607521 w 4598650"/>
                    <a:gd name="connsiteY637" fmla="*/ 1524832 h 1719830"/>
                    <a:gd name="connsiteX638" fmla="*/ 607838 w 4598650"/>
                    <a:gd name="connsiteY638" fmla="*/ 1525137 h 1719830"/>
                    <a:gd name="connsiteX639" fmla="*/ 608193 w 4598650"/>
                    <a:gd name="connsiteY639" fmla="*/ 1525505 h 1719830"/>
                    <a:gd name="connsiteX640" fmla="*/ 609411 w 4598650"/>
                    <a:gd name="connsiteY640" fmla="*/ 1527080 h 1719830"/>
                    <a:gd name="connsiteX641" fmla="*/ 609855 w 4598650"/>
                    <a:gd name="connsiteY641" fmla="*/ 1525010 h 1719830"/>
                    <a:gd name="connsiteX642" fmla="*/ 609855 w 4598650"/>
                    <a:gd name="connsiteY642" fmla="*/ 1525010 h 1719830"/>
                    <a:gd name="connsiteX643" fmla="*/ 611250 w 4598650"/>
                    <a:gd name="connsiteY643" fmla="*/ 1526216 h 1719830"/>
                    <a:gd name="connsiteX644" fmla="*/ 612912 w 4598650"/>
                    <a:gd name="connsiteY644" fmla="*/ 1525911 h 1719830"/>
                    <a:gd name="connsiteX645" fmla="*/ 617820 w 4598650"/>
                    <a:gd name="connsiteY645" fmla="*/ 1519561 h 1719830"/>
                    <a:gd name="connsiteX646" fmla="*/ 618797 w 4598650"/>
                    <a:gd name="connsiteY646" fmla="*/ 1516043 h 1719830"/>
                    <a:gd name="connsiteX647" fmla="*/ 604198 w 4598650"/>
                    <a:gd name="connsiteY647" fmla="*/ 1506277 h 1719830"/>
                    <a:gd name="connsiteX648" fmla="*/ 605187 w 4598650"/>
                    <a:gd name="connsiteY648" fmla="*/ 1498047 h 1719830"/>
                    <a:gd name="connsiteX649" fmla="*/ 608776 w 4598650"/>
                    <a:gd name="connsiteY649" fmla="*/ 1487748 h 1719830"/>
                    <a:gd name="connsiteX650" fmla="*/ 594672 w 4598650"/>
                    <a:gd name="connsiteY650" fmla="*/ 1464392 h 1719830"/>
                    <a:gd name="connsiteX651" fmla="*/ 585501 w 4598650"/>
                    <a:gd name="connsiteY651" fmla="*/ 1454309 h 1719830"/>
                    <a:gd name="connsiteX652" fmla="*/ 571840 w 4598650"/>
                    <a:gd name="connsiteY652" fmla="*/ 1453991 h 1719830"/>
                    <a:gd name="connsiteX653" fmla="*/ 566361 w 4598650"/>
                    <a:gd name="connsiteY653" fmla="*/ 1457598 h 1719830"/>
                    <a:gd name="connsiteX654" fmla="*/ 560018 w 4598650"/>
                    <a:gd name="connsiteY654" fmla="*/ 1441888 h 1719830"/>
                    <a:gd name="connsiteX655" fmla="*/ 546992 w 4598650"/>
                    <a:gd name="connsiteY655" fmla="*/ 1429785 h 1719830"/>
                    <a:gd name="connsiteX656" fmla="*/ 548210 w 4598650"/>
                    <a:gd name="connsiteY656" fmla="*/ 1413910 h 1719830"/>
                    <a:gd name="connsiteX657" fmla="*/ 566589 w 4598650"/>
                    <a:gd name="connsiteY657" fmla="*/ 1349788 h 1719830"/>
                    <a:gd name="connsiteX658" fmla="*/ 577510 w 4598650"/>
                    <a:gd name="connsiteY658" fmla="*/ 1341952 h 1719830"/>
                    <a:gd name="connsiteX659" fmla="*/ 590714 w 4598650"/>
                    <a:gd name="connsiteY659" fmla="*/ 1362119 h 1719830"/>
                    <a:gd name="connsiteX660" fmla="*/ 601724 w 4598650"/>
                    <a:gd name="connsiteY660" fmla="*/ 1363199 h 1719830"/>
                    <a:gd name="connsiteX661" fmla="*/ 605910 w 4598650"/>
                    <a:gd name="connsiteY661" fmla="*/ 1335526 h 1719830"/>
                    <a:gd name="connsiteX662" fmla="*/ 616197 w 4598650"/>
                    <a:gd name="connsiteY662" fmla="*/ 1324629 h 1719830"/>
                    <a:gd name="connsiteX663" fmla="*/ 629008 w 4598650"/>
                    <a:gd name="connsiteY663" fmla="*/ 1308208 h 1719830"/>
                    <a:gd name="connsiteX664" fmla="*/ 655835 w 4598650"/>
                    <a:gd name="connsiteY664" fmla="*/ 1295876 h 1719830"/>
                    <a:gd name="connsiteX665" fmla="*/ 667796 w 4598650"/>
                    <a:gd name="connsiteY665" fmla="*/ 1282744 h 1719830"/>
                    <a:gd name="connsiteX666" fmla="*/ 678222 w 4598650"/>
                    <a:gd name="connsiteY666" fmla="*/ 1292498 h 1719830"/>
                    <a:gd name="connsiteX667" fmla="*/ 695067 w 4598650"/>
                    <a:gd name="connsiteY667" fmla="*/ 1285983 h 1719830"/>
                    <a:gd name="connsiteX668" fmla="*/ 706711 w 4598650"/>
                    <a:gd name="connsiteY668" fmla="*/ 1282744 h 1719830"/>
                    <a:gd name="connsiteX669" fmla="*/ 718888 w 4598650"/>
                    <a:gd name="connsiteY669" fmla="*/ 1296372 h 1719830"/>
                    <a:gd name="connsiteX670" fmla="*/ 733678 w 4598650"/>
                    <a:gd name="connsiteY670" fmla="*/ 1295660 h 1719830"/>
                    <a:gd name="connsiteX671" fmla="*/ 746261 w 4598650"/>
                    <a:gd name="connsiteY671" fmla="*/ 1303255 h 1719830"/>
                    <a:gd name="connsiteX672" fmla="*/ 763334 w 4598650"/>
                    <a:gd name="connsiteY672" fmla="*/ 1318241 h 1719830"/>
                    <a:gd name="connsiteX673" fmla="*/ 772402 w 4598650"/>
                    <a:gd name="connsiteY673" fmla="*/ 1335526 h 1719830"/>
                    <a:gd name="connsiteX674" fmla="*/ 775281 w 4598650"/>
                    <a:gd name="connsiteY674" fmla="*/ 1321352 h 1719830"/>
                    <a:gd name="connsiteX675" fmla="*/ 797580 w 4598650"/>
                    <a:gd name="connsiteY675" fmla="*/ 1329722 h 1719830"/>
                    <a:gd name="connsiteX676" fmla="*/ 810785 w 4598650"/>
                    <a:gd name="connsiteY676" fmla="*/ 1323334 h 1719830"/>
                    <a:gd name="connsiteX677" fmla="*/ 824268 w 4598650"/>
                    <a:gd name="connsiteY677" fmla="*/ 1313745 h 1719830"/>
                    <a:gd name="connsiteX678" fmla="*/ 850194 w 4598650"/>
                    <a:gd name="connsiteY678" fmla="*/ 1313745 h 1719830"/>
                    <a:gd name="connsiteX679" fmla="*/ 863132 w 4598650"/>
                    <a:gd name="connsiteY679" fmla="*/ 1315904 h 1719830"/>
                    <a:gd name="connsiteX680" fmla="*/ 874916 w 4598650"/>
                    <a:gd name="connsiteY680" fmla="*/ 1305236 h 1719830"/>
                    <a:gd name="connsiteX681" fmla="*/ 891000 w 4598650"/>
                    <a:gd name="connsiteY681" fmla="*/ 1322330 h 1719830"/>
                    <a:gd name="connsiteX682" fmla="*/ 917561 w 4598650"/>
                    <a:gd name="connsiteY682" fmla="*/ 1334256 h 1719830"/>
                    <a:gd name="connsiteX683" fmla="*/ 928888 w 4598650"/>
                    <a:gd name="connsiteY683" fmla="*/ 1324629 h 1719830"/>
                    <a:gd name="connsiteX684" fmla="*/ 945783 w 4598650"/>
                    <a:gd name="connsiteY684" fmla="*/ 1328858 h 1719830"/>
                    <a:gd name="connsiteX685" fmla="*/ 970136 w 4598650"/>
                    <a:gd name="connsiteY685" fmla="*/ 1318241 h 1719830"/>
                    <a:gd name="connsiteX686" fmla="*/ 963845 w 4598650"/>
                    <a:gd name="connsiteY686" fmla="*/ 1296372 h 1719830"/>
                    <a:gd name="connsiteX687" fmla="*/ 942764 w 4598650"/>
                    <a:gd name="connsiteY687" fmla="*/ 1284764 h 1719830"/>
                    <a:gd name="connsiteX688" fmla="*/ 934722 w 4598650"/>
                    <a:gd name="connsiteY688" fmla="*/ 1276661 h 1719830"/>
                    <a:gd name="connsiteX689" fmla="*/ 934722 w 4598650"/>
                    <a:gd name="connsiteY689" fmla="*/ 1264520 h 1719830"/>
                    <a:gd name="connsiteX690" fmla="*/ 946722 w 4598650"/>
                    <a:gd name="connsiteY690" fmla="*/ 1252950 h 1719830"/>
                    <a:gd name="connsiteX691" fmla="*/ 947850 w 4598650"/>
                    <a:gd name="connsiteY691" fmla="*/ 1231938 h 1719830"/>
                    <a:gd name="connsiteX692" fmla="*/ 961777 w 4598650"/>
                    <a:gd name="connsiteY692" fmla="*/ 1219653 h 1719830"/>
                    <a:gd name="connsiteX693" fmla="*/ 980296 w 4598650"/>
                    <a:gd name="connsiteY693" fmla="*/ 1219564 h 1719830"/>
                    <a:gd name="connsiteX694" fmla="*/ 960661 w 4598650"/>
                    <a:gd name="connsiteY694" fmla="*/ 1204806 h 1719830"/>
                    <a:gd name="connsiteX695" fmla="*/ 964923 w 4598650"/>
                    <a:gd name="connsiteY695" fmla="*/ 1197741 h 1719830"/>
                    <a:gd name="connsiteX696" fmla="*/ 954053 w 4598650"/>
                    <a:gd name="connsiteY696" fmla="*/ 1189462 h 1719830"/>
                    <a:gd name="connsiteX697" fmla="*/ 959355 w 4598650"/>
                    <a:gd name="connsiteY697" fmla="*/ 1177582 h 1719830"/>
                    <a:gd name="connsiteX698" fmla="*/ 973422 w 4598650"/>
                    <a:gd name="connsiteY698" fmla="*/ 1175558 h 1719830"/>
                    <a:gd name="connsiteX699" fmla="*/ 1006400 w 4598650"/>
                    <a:gd name="connsiteY699" fmla="*/ 1174388 h 1719830"/>
                    <a:gd name="connsiteX700" fmla="*/ 1023702 w 4598650"/>
                    <a:gd name="connsiteY700" fmla="*/ 1167098 h 1719830"/>
                    <a:gd name="connsiteX701" fmla="*/ 1045366 w 4598650"/>
                    <a:gd name="connsiteY701" fmla="*/ 1161339 h 1719830"/>
                    <a:gd name="connsiteX702" fmla="*/ 1062579 w 4598650"/>
                    <a:gd name="connsiteY702" fmla="*/ 1158545 h 1719830"/>
                    <a:gd name="connsiteX703" fmla="*/ 1073145 w 4598650"/>
                    <a:gd name="connsiteY703" fmla="*/ 1157148 h 1719830"/>
                    <a:gd name="connsiteX704" fmla="*/ 1083838 w 4598650"/>
                    <a:gd name="connsiteY704" fmla="*/ 1144321 h 1719830"/>
                    <a:gd name="connsiteX705" fmla="*/ 1099921 w 4598650"/>
                    <a:gd name="connsiteY705" fmla="*/ 1144321 h 1719830"/>
                    <a:gd name="connsiteX706" fmla="*/ 1132240 w 4598650"/>
                    <a:gd name="connsiteY706" fmla="*/ 1140451 h 1719830"/>
                    <a:gd name="connsiteX707" fmla="*/ 1149186 w 4598650"/>
                    <a:gd name="connsiteY707" fmla="*/ 1134646 h 1719830"/>
                    <a:gd name="connsiteX708" fmla="*/ 1159879 w 4598650"/>
                    <a:gd name="connsiteY708" fmla="*/ 1120473 h 1719830"/>
                    <a:gd name="connsiteX709" fmla="*/ 1173768 w 4598650"/>
                    <a:gd name="connsiteY709" fmla="*/ 1109538 h 1719830"/>
                    <a:gd name="connsiteX710" fmla="*/ 1192287 w 4598650"/>
                    <a:gd name="connsiteY710" fmla="*/ 1109134 h 1719830"/>
                    <a:gd name="connsiteX711" fmla="*/ 1206709 w 4598650"/>
                    <a:gd name="connsiteY711" fmla="*/ 1113229 h 1719830"/>
                    <a:gd name="connsiteX712" fmla="*/ 1217757 w 4598650"/>
                    <a:gd name="connsiteY712" fmla="*/ 1114264 h 1719830"/>
                    <a:gd name="connsiteX713" fmla="*/ 1231824 w 4598650"/>
                    <a:gd name="connsiteY713" fmla="*/ 1117413 h 1719830"/>
                    <a:gd name="connsiteX714" fmla="*/ 1239155 w 4598650"/>
                    <a:gd name="connsiteY714" fmla="*/ 1134467 h 1719830"/>
                    <a:gd name="connsiteX715" fmla="*/ 1245624 w 4598650"/>
                    <a:gd name="connsiteY715" fmla="*/ 1146120 h 1719830"/>
                    <a:gd name="connsiteX716" fmla="*/ 1243595 w 4598650"/>
                    <a:gd name="connsiteY716" fmla="*/ 1158359 h 1719830"/>
                    <a:gd name="connsiteX717" fmla="*/ 1242390 w 4598650"/>
                    <a:gd name="connsiteY717" fmla="*/ 1164709 h 1719830"/>
                    <a:gd name="connsiteX718" fmla="*/ 1248858 w 4598650"/>
                    <a:gd name="connsiteY718" fmla="*/ 1165835 h 1719830"/>
                    <a:gd name="connsiteX719" fmla="*/ 1270333 w 4598650"/>
                    <a:gd name="connsiteY719" fmla="*/ 1165073 h 1719830"/>
                    <a:gd name="connsiteX720" fmla="*/ 1281977 w 4598650"/>
                    <a:gd name="connsiteY720" fmla="*/ 1171327 h 1719830"/>
                    <a:gd name="connsiteX721" fmla="*/ 1297033 w 4598650"/>
                    <a:gd name="connsiteY721" fmla="*/ 1170067 h 1719830"/>
                    <a:gd name="connsiteX722" fmla="*/ 1307776 w 4598650"/>
                    <a:gd name="connsiteY722" fmla="*/ 1175422 h 1719830"/>
                    <a:gd name="connsiteX723" fmla="*/ 1309032 w 4598650"/>
                    <a:gd name="connsiteY723" fmla="*/ 1191170 h 1719830"/>
                    <a:gd name="connsiteX724" fmla="*/ 1331408 w 4598650"/>
                    <a:gd name="connsiteY724" fmla="*/ 1194860 h 1719830"/>
                    <a:gd name="connsiteX725" fmla="*/ 1349520 w 4598650"/>
                    <a:gd name="connsiteY725" fmla="*/ 1186536 h 1719830"/>
                    <a:gd name="connsiteX726" fmla="*/ 1364031 w 4598650"/>
                    <a:gd name="connsiteY726" fmla="*/ 1175556 h 1719830"/>
                    <a:gd name="connsiteX727" fmla="*/ 1384883 w 4598650"/>
                    <a:gd name="connsiteY727" fmla="*/ 1162868 h 1719830"/>
                    <a:gd name="connsiteX728" fmla="*/ 1401157 w 4598650"/>
                    <a:gd name="connsiteY728" fmla="*/ 1154679 h 1719830"/>
                    <a:gd name="connsiteX729" fmla="*/ 1395716 w 4598650"/>
                    <a:gd name="connsiteY729" fmla="*/ 1166871 h 1719830"/>
                    <a:gd name="connsiteX730" fmla="*/ 1450144 w 4598650"/>
                    <a:gd name="connsiteY730" fmla="*/ 1240845 h 1719830"/>
                    <a:gd name="connsiteX731" fmla="*/ 1474320 w 4598650"/>
                    <a:gd name="connsiteY731" fmla="*/ 1285932 h 1719830"/>
                    <a:gd name="connsiteX732" fmla="*/ 1490454 w 4598650"/>
                    <a:gd name="connsiteY732" fmla="*/ 1320222 h 1719830"/>
                    <a:gd name="connsiteX733" fmla="*/ 1501552 w 4598650"/>
                    <a:gd name="connsiteY733" fmla="*/ 1317072 h 1719830"/>
                    <a:gd name="connsiteX734" fmla="*/ 1511573 w 4598650"/>
                    <a:gd name="connsiteY734" fmla="*/ 1304119 h 1719830"/>
                    <a:gd name="connsiteX735" fmla="*/ 1525374 w 4598650"/>
                    <a:gd name="connsiteY735" fmla="*/ 1308208 h 1719830"/>
                    <a:gd name="connsiteX736" fmla="*/ 1527848 w 4598650"/>
                    <a:gd name="connsiteY736" fmla="*/ 1321391 h 1719830"/>
                    <a:gd name="connsiteX737" fmla="*/ 1564289 w 4598650"/>
                    <a:gd name="connsiteY737" fmla="*/ 1326610 h 1719830"/>
                    <a:gd name="connsiteX738" fmla="*/ 1575438 w 4598650"/>
                    <a:gd name="connsiteY738" fmla="*/ 1318241 h 1719830"/>
                    <a:gd name="connsiteX739" fmla="*/ 1593361 w 4598650"/>
                    <a:gd name="connsiteY739" fmla="*/ 1319231 h 1719830"/>
                    <a:gd name="connsiteX740" fmla="*/ 1612235 w 4598650"/>
                    <a:gd name="connsiteY740" fmla="*/ 1339615 h 1719830"/>
                    <a:gd name="connsiteX741" fmla="*/ 1627025 w 4598650"/>
                    <a:gd name="connsiteY741" fmla="*/ 1349242 h 1719830"/>
                    <a:gd name="connsiteX742" fmla="*/ 1637984 w 4598650"/>
                    <a:gd name="connsiteY742" fmla="*/ 1371517 h 1719830"/>
                    <a:gd name="connsiteX743" fmla="*/ 1655691 w 4598650"/>
                    <a:gd name="connsiteY743" fmla="*/ 1381830 h 1719830"/>
                    <a:gd name="connsiteX744" fmla="*/ 1679689 w 4598650"/>
                    <a:gd name="connsiteY744" fmla="*/ 1372063 h 1719830"/>
                    <a:gd name="connsiteX745" fmla="*/ 1684763 w 4598650"/>
                    <a:gd name="connsiteY745" fmla="*/ 1383532 h 1719830"/>
                    <a:gd name="connsiteX746" fmla="*/ 1698830 w 4598650"/>
                    <a:gd name="connsiteY746" fmla="*/ 1397438 h 1719830"/>
                    <a:gd name="connsiteX747" fmla="*/ 1698602 w 4598650"/>
                    <a:gd name="connsiteY747" fmla="*/ 1398568 h 1719830"/>
                    <a:gd name="connsiteX748" fmla="*/ 1705439 w 4598650"/>
                    <a:gd name="connsiteY748" fmla="*/ 1399013 h 1719830"/>
                    <a:gd name="connsiteX749" fmla="*/ 1713354 w 4598650"/>
                    <a:gd name="connsiteY749" fmla="*/ 1396765 h 1719830"/>
                    <a:gd name="connsiteX750" fmla="*/ 1721027 w 4598650"/>
                    <a:gd name="connsiteY750" fmla="*/ 1392764 h 1719830"/>
                    <a:gd name="connsiteX751" fmla="*/ 1727103 w 4598650"/>
                    <a:gd name="connsiteY751" fmla="*/ 1386465 h 1719830"/>
                    <a:gd name="connsiteX752" fmla="*/ 1734789 w 4598650"/>
                    <a:gd name="connsiteY752" fmla="*/ 1383494 h 1719830"/>
                    <a:gd name="connsiteX753" fmla="*/ 1745115 w 4598650"/>
                    <a:gd name="connsiteY753" fmla="*/ 1384611 h 1719830"/>
                    <a:gd name="connsiteX754" fmla="*/ 1750607 w 4598650"/>
                    <a:gd name="connsiteY754" fmla="*/ 1377639 h 1719830"/>
                    <a:gd name="connsiteX755" fmla="*/ 1764673 w 4598650"/>
                    <a:gd name="connsiteY755" fmla="*/ 1373372 h 1719830"/>
                    <a:gd name="connsiteX756" fmla="*/ 1776622 w 4598650"/>
                    <a:gd name="connsiteY756" fmla="*/ 1359376 h 1719830"/>
                    <a:gd name="connsiteX757" fmla="*/ 1786871 w 4598650"/>
                    <a:gd name="connsiteY757" fmla="*/ 1352671 h 1719830"/>
                    <a:gd name="connsiteX758" fmla="*/ 1801750 w 4598650"/>
                    <a:gd name="connsiteY758" fmla="*/ 1345381 h 1719830"/>
                    <a:gd name="connsiteX759" fmla="*/ 1810413 w 4598650"/>
                    <a:gd name="connsiteY759" fmla="*/ 1340110 h 1719830"/>
                    <a:gd name="connsiteX760" fmla="*/ 1824213 w 4598650"/>
                    <a:gd name="connsiteY760" fmla="*/ 1333455 h 1719830"/>
                    <a:gd name="connsiteX761" fmla="*/ 1833828 w 4598650"/>
                    <a:gd name="connsiteY761" fmla="*/ 1332820 h 1719830"/>
                    <a:gd name="connsiteX762" fmla="*/ 1842453 w 4598650"/>
                    <a:gd name="connsiteY762" fmla="*/ 1321391 h 1719830"/>
                    <a:gd name="connsiteX763" fmla="*/ 1849823 w 4598650"/>
                    <a:gd name="connsiteY763" fmla="*/ 1327372 h 1719830"/>
                    <a:gd name="connsiteX764" fmla="*/ 1857738 w 4598650"/>
                    <a:gd name="connsiteY764" fmla="*/ 1323689 h 1719830"/>
                    <a:gd name="connsiteX765" fmla="*/ 1862596 w 4598650"/>
                    <a:gd name="connsiteY765" fmla="*/ 1331106 h 1719830"/>
                    <a:gd name="connsiteX766" fmla="*/ 1882268 w 4598650"/>
                    <a:gd name="connsiteY766" fmla="*/ 1333443 h 1719830"/>
                    <a:gd name="connsiteX767" fmla="*/ 1895346 w 4598650"/>
                    <a:gd name="connsiteY767" fmla="*/ 1338942 h 1719830"/>
                    <a:gd name="connsiteX768" fmla="*/ 1907269 w 4598650"/>
                    <a:gd name="connsiteY768" fmla="*/ 1356849 h 1719830"/>
                    <a:gd name="connsiteX769" fmla="*/ 1917239 w 4598650"/>
                    <a:gd name="connsiteY769" fmla="*/ 1361027 h 1719830"/>
                    <a:gd name="connsiteX770" fmla="*/ 1929504 w 4598650"/>
                    <a:gd name="connsiteY770" fmla="*/ 1363008 h 1719830"/>
                    <a:gd name="connsiteX771" fmla="*/ 1938320 w 4598650"/>
                    <a:gd name="connsiteY771" fmla="*/ 1363008 h 1719830"/>
                    <a:gd name="connsiteX772" fmla="*/ 1949419 w 4598650"/>
                    <a:gd name="connsiteY772" fmla="*/ 1362069 h 1719830"/>
                    <a:gd name="connsiteX773" fmla="*/ 1958590 w 4598650"/>
                    <a:gd name="connsiteY773" fmla="*/ 1366298 h 1719830"/>
                    <a:gd name="connsiteX774" fmla="*/ 1967747 w 4598650"/>
                    <a:gd name="connsiteY774" fmla="*/ 1365396 h 1719830"/>
                    <a:gd name="connsiteX775" fmla="*/ 1983881 w 4598650"/>
                    <a:gd name="connsiteY775" fmla="*/ 1371924 h 1719830"/>
                    <a:gd name="connsiteX776" fmla="*/ 1998671 w 4598650"/>
                    <a:gd name="connsiteY776" fmla="*/ 1363681 h 1719830"/>
                    <a:gd name="connsiteX777" fmla="*/ 2007614 w 4598650"/>
                    <a:gd name="connsiteY777" fmla="*/ 1356849 h 1719830"/>
                    <a:gd name="connsiteX778" fmla="*/ 2009631 w 4598650"/>
                    <a:gd name="connsiteY778" fmla="*/ 1342853 h 1719830"/>
                    <a:gd name="connsiteX779" fmla="*/ 2002045 w 4598650"/>
                    <a:gd name="connsiteY779" fmla="*/ 1315993 h 1719830"/>
                    <a:gd name="connsiteX780" fmla="*/ 2005546 w 4598650"/>
                    <a:gd name="connsiteY780" fmla="*/ 1294530 h 1719830"/>
                    <a:gd name="connsiteX781" fmla="*/ 2026259 w 4598650"/>
                    <a:gd name="connsiteY781" fmla="*/ 1273156 h 1719830"/>
                    <a:gd name="connsiteX782" fmla="*/ 2034707 w 4598650"/>
                    <a:gd name="connsiteY782" fmla="*/ 1264025 h 1719830"/>
                    <a:gd name="connsiteX783" fmla="*/ 2061446 w 4598650"/>
                    <a:gd name="connsiteY783" fmla="*/ 1281970 h 1719830"/>
                    <a:gd name="connsiteX784" fmla="*/ 2088780 w 4598650"/>
                    <a:gd name="connsiteY784" fmla="*/ 1288815 h 1719830"/>
                    <a:gd name="connsiteX785" fmla="*/ 2106208 w 4598650"/>
                    <a:gd name="connsiteY785" fmla="*/ 1293489 h 1719830"/>
                    <a:gd name="connsiteX786" fmla="*/ 2119869 w 4598650"/>
                    <a:gd name="connsiteY786" fmla="*/ 1305858 h 1719830"/>
                    <a:gd name="connsiteX787" fmla="*/ 2128988 w 4598650"/>
                    <a:gd name="connsiteY787" fmla="*/ 1331512 h 1719830"/>
                    <a:gd name="connsiteX788" fmla="*/ 2136548 w 4598650"/>
                    <a:gd name="connsiteY788" fmla="*/ 1343539 h 1719830"/>
                    <a:gd name="connsiteX789" fmla="*/ 2147825 w 4598650"/>
                    <a:gd name="connsiteY789" fmla="*/ 1345381 h 1719830"/>
                    <a:gd name="connsiteX790" fmla="*/ 2156501 w 4598650"/>
                    <a:gd name="connsiteY790" fmla="*/ 1351807 h 1719830"/>
                    <a:gd name="connsiteX791" fmla="*/ 2168640 w 4598650"/>
                    <a:gd name="connsiteY791" fmla="*/ 1353788 h 1719830"/>
                    <a:gd name="connsiteX792" fmla="*/ 2177849 w 4598650"/>
                    <a:gd name="connsiteY792" fmla="*/ 1348746 h 1719830"/>
                    <a:gd name="connsiteX793" fmla="*/ 2188312 w 4598650"/>
                    <a:gd name="connsiteY793" fmla="*/ 1344885 h 1719830"/>
                    <a:gd name="connsiteX794" fmla="*/ 2207593 w 4598650"/>
                    <a:gd name="connsiteY794" fmla="*/ 1341736 h 1719830"/>
                    <a:gd name="connsiteX795" fmla="*/ 2223194 w 4598650"/>
                    <a:gd name="connsiteY795" fmla="*/ 1338942 h 1719830"/>
                    <a:gd name="connsiteX796" fmla="*/ 2238390 w 4598650"/>
                    <a:gd name="connsiteY796" fmla="*/ 1344111 h 1719830"/>
                    <a:gd name="connsiteX797" fmla="*/ 2252178 w 4598650"/>
                    <a:gd name="connsiteY797" fmla="*/ 1346181 h 1719830"/>
                    <a:gd name="connsiteX798" fmla="*/ 2259281 w 4598650"/>
                    <a:gd name="connsiteY798" fmla="*/ 1353026 h 1719830"/>
                    <a:gd name="connsiteX799" fmla="*/ 2271343 w 4598650"/>
                    <a:gd name="connsiteY799" fmla="*/ 1361027 h 1719830"/>
                    <a:gd name="connsiteX800" fmla="*/ 2287693 w 4598650"/>
                    <a:gd name="connsiteY800" fmla="*/ 1364672 h 1719830"/>
                    <a:gd name="connsiteX801" fmla="*/ 2287693 w 4598650"/>
                    <a:gd name="connsiteY801" fmla="*/ 1374616 h 1719830"/>
                    <a:gd name="connsiteX802" fmla="*/ 2296864 w 4598650"/>
                    <a:gd name="connsiteY802" fmla="*/ 1384205 h 1719830"/>
                    <a:gd name="connsiteX803" fmla="*/ 2312555 w 4598650"/>
                    <a:gd name="connsiteY803" fmla="*/ 1387761 h 1719830"/>
                    <a:gd name="connsiteX804" fmla="*/ 2323741 w 4598650"/>
                    <a:gd name="connsiteY804" fmla="*/ 1390377 h 1719830"/>
                    <a:gd name="connsiteX805" fmla="*/ 2337808 w 4598650"/>
                    <a:gd name="connsiteY805" fmla="*/ 1396625 h 1719830"/>
                    <a:gd name="connsiteX806" fmla="*/ 2356949 w 4598650"/>
                    <a:gd name="connsiteY806" fmla="*/ 1394327 h 1719830"/>
                    <a:gd name="connsiteX807" fmla="*/ 2373984 w 4598650"/>
                    <a:gd name="connsiteY807" fmla="*/ 1393158 h 1719830"/>
                    <a:gd name="connsiteX808" fmla="*/ 2387962 w 4598650"/>
                    <a:gd name="connsiteY808" fmla="*/ 1388205 h 1719830"/>
                    <a:gd name="connsiteX809" fmla="*/ 2412405 w 4598650"/>
                    <a:gd name="connsiteY809" fmla="*/ 1379798 h 1719830"/>
                    <a:gd name="connsiteX810" fmla="*/ 2429794 w 4598650"/>
                    <a:gd name="connsiteY810" fmla="*/ 1374896 h 1719830"/>
                    <a:gd name="connsiteX811" fmla="*/ 2442478 w 4598650"/>
                    <a:gd name="connsiteY811" fmla="*/ 1361980 h 1719830"/>
                    <a:gd name="connsiteX812" fmla="*/ 2453133 w 4598650"/>
                    <a:gd name="connsiteY812" fmla="*/ 1353026 h 1719830"/>
                    <a:gd name="connsiteX813" fmla="*/ 2466477 w 4598650"/>
                    <a:gd name="connsiteY813" fmla="*/ 1349292 h 1719830"/>
                    <a:gd name="connsiteX814" fmla="*/ 2478298 w 4598650"/>
                    <a:gd name="connsiteY814" fmla="*/ 1351312 h 1719830"/>
                    <a:gd name="connsiteX815" fmla="*/ 2491198 w 4598650"/>
                    <a:gd name="connsiteY815" fmla="*/ 1359363 h 1719830"/>
                    <a:gd name="connsiteX816" fmla="*/ 2503147 w 4598650"/>
                    <a:gd name="connsiteY816" fmla="*/ 1367784 h 1719830"/>
                    <a:gd name="connsiteX817" fmla="*/ 2516136 w 4598650"/>
                    <a:gd name="connsiteY817" fmla="*/ 1361027 h 1719830"/>
                    <a:gd name="connsiteX818" fmla="*/ 2527234 w 4598650"/>
                    <a:gd name="connsiteY818" fmla="*/ 1362564 h 1719830"/>
                    <a:gd name="connsiteX819" fmla="*/ 2534109 w 4598650"/>
                    <a:gd name="connsiteY819" fmla="*/ 1369358 h 1719830"/>
                    <a:gd name="connsiteX820" fmla="*/ 2542607 w 4598650"/>
                    <a:gd name="connsiteY820" fmla="*/ 1371924 h 1719830"/>
                    <a:gd name="connsiteX821" fmla="*/ 2554429 w 4598650"/>
                    <a:gd name="connsiteY821" fmla="*/ 1377855 h 1719830"/>
                    <a:gd name="connsiteX822" fmla="*/ 2572758 w 4598650"/>
                    <a:gd name="connsiteY822" fmla="*/ 1374616 h 1719830"/>
                    <a:gd name="connsiteX823" fmla="*/ 2590643 w 4598650"/>
                    <a:gd name="connsiteY823" fmla="*/ 1363593 h 1719830"/>
                    <a:gd name="connsiteX824" fmla="*/ 2604088 w 4598650"/>
                    <a:gd name="connsiteY824" fmla="*/ 1359363 h 1719830"/>
                    <a:gd name="connsiteX825" fmla="*/ 2609072 w 4598650"/>
                    <a:gd name="connsiteY825" fmla="*/ 1347756 h 1719830"/>
                    <a:gd name="connsiteX826" fmla="*/ 2605394 w 4598650"/>
                    <a:gd name="connsiteY826" fmla="*/ 1341723 h 1719830"/>
                    <a:gd name="connsiteX827" fmla="*/ 2611774 w 4598650"/>
                    <a:gd name="connsiteY827" fmla="*/ 1329353 h 1719830"/>
                    <a:gd name="connsiteX828" fmla="*/ 2618370 w 4598650"/>
                    <a:gd name="connsiteY828" fmla="*/ 1310595 h 1719830"/>
                    <a:gd name="connsiteX829" fmla="*/ 2627452 w 4598650"/>
                    <a:gd name="connsiteY829" fmla="*/ 1288091 h 1719830"/>
                    <a:gd name="connsiteX830" fmla="*/ 2637840 w 4598650"/>
                    <a:gd name="connsiteY830" fmla="*/ 1274959 h 1719830"/>
                    <a:gd name="connsiteX831" fmla="*/ 2648127 w 4598650"/>
                    <a:gd name="connsiteY831" fmla="*/ 1266095 h 1719830"/>
                    <a:gd name="connsiteX832" fmla="*/ 2649205 w 4598650"/>
                    <a:gd name="connsiteY832" fmla="*/ 1251060 h 1719830"/>
                    <a:gd name="connsiteX833" fmla="*/ 2642775 w 4598650"/>
                    <a:gd name="connsiteY833" fmla="*/ 1241297 h 1719830"/>
                    <a:gd name="connsiteX834" fmla="*/ 2630953 w 4598650"/>
                    <a:gd name="connsiteY834" fmla="*/ 1238732 h 1719830"/>
                    <a:gd name="connsiteX835" fmla="*/ 2633337 w 4598650"/>
                    <a:gd name="connsiteY835" fmla="*/ 1231172 h 1719830"/>
                    <a:gd name="connsiteX836" fmla="*/ 2649700 w 4598650"/>
                    <a:gd name="connsiteY836" fmla="*/ 1213444 h 1719830"/>
                    <a:gd name="connsiteX837" fmla="*/ 2659809 w 4598650"/>
                    <a:gd name="connsiteY837" fmla="*/ 1208491 h 1719830"/>
                    <a:gd name="connsiteX838" fmla="*/ 2667724 w 4598650"/>
                    <a:gd name="connsiteY838" fmla="*/ 1206782 h 1719830"/>
                    <a:gd name="connsiteX839" fmla="*/ 2675855 w 4598650"/>
                    <a:gd name="connsiteY839" fmla="*/ 1205342 h 1719830"/>
                    <a:gd name="connsiteX840" fmla="*/ 2691000 w 4598650"/>
                    <a:gd name="connsiteY840" fmla="*/ 1199041 h 1719830"/>
                    <a:gd name="connsiteX841" fmla="*/ 2698775 w 4598650"/>
                    <a:gd name="connsiteY841" fmla="*/ 1201787 h 1719830"/>
                    <a:gd name="connsiteX842" fmla="*/ 2709075 w 4598650"/>
                    <a:gd name="connsiteY842" fmla="*/ 1200662 h 1719830"/>
                    <a:gd name="connsiteX843" fmla="*/ 2717789 w 4598650"/>
                    <a:gd name="connsiteY843" fmla="*/ 1196471 h 1719830"/>
                    <a:gd name="connsiteX844" fmla="*/ 2727276 w 4598650"/>
                    <a:gd name="connsiteY844" fmla="*/ 1196471 h 1719830"/>
                    <a:gd name="connsiteX845" fmla="*/ 2736523 w 4598650"/>
                    <a:gd name="connsiteY845" fmla="*/ 1199035 h 1719830"/>
                    <a:gd name="connsiteX846" fmla="*/ 2742193 w 4598650"/>
                    <a:gd name="connsiteY846" fmla="*/ 1203131 h 1719830"/>
                    <a:gd name="connsiteX847" fmla="*/ 2751580 w 4598650"/>
                    <a:gd name="connsiteY847" fmla="*/ 1209430 h 1719830"/>
                    <a:gd name="connsiteX848" fmla="*/ 2758543 w 4598650"/>
                    <a:gd name="connsiteY848" fmla="*/ 1215009 h 1719830"/>
                    <a:gd name="connsiteX849" fmla="*/ 2766674 w 4598650"/>
                    <a:gd name="connsiteY849" fmla="*/ 1213524 h 1719830"/>
                    <a:gd name="connsiteX850" fmla="*/ 2776161 w 4598650"/>
                    <a:gd name="connsiteY850" fmla="*/ 1215009 h 1719830"/>
                    <a:gd name="connsiteX851" fmla="*/ 2787121 w 4598650"/>
                    <a:gd name="connsiteY851" fmla="*/ 1217438 h 1719830"/>
                    <a:gd name="connsiteX852" fmla="*/ 2792194 w 4598650"/>
                    <a:gd name="connsiteY852" fmla="*/ 1226347 h 1719830"/>
                    <a:gd name="connsiteX853" fmla="*/ 2800642 w 4598650"/>
                    <a:gd name="connsiteY853" fmla="*/ 1236380 h 1719830"/>
                    <a:gd name="connsiteX854" fmla="*/ 2805144 w 4598650"/>
                    <a:gd name="connsiteY854" fmla="*/ 1245425 h 1719830"/>
                    <a:gd name="connsiteX855" fmla="*/ 2818895 w 4598650"/>
                    <a:gd name="connsiteY855" fmla="*/ 1286681 h 1719830"/>
                    <a:gd name="connsiteX856" fmla="*/ 2824247 w 4598650"/>
                    <a:gd name="connsiteY856" fmla="*/ 1302341 h 1719830"/>
                    <a:gd name="connsiteX857" fmla="*/ 2849095 w 4598650"/>
                    <a:gd name="connsiteY857" fmla="*/ 1374603 h 1719830"/>
                    <a:gd name="connsiteX858" fmla="*/ 2856997 w 4598650"/>
                    <a:gd name="connsiteY858" fmla="*/ 1379290 h 1719830"/>
                    <a:gd name="connsiteX859" fmla="*/ 2871432 w 4598650"/>
                    <a:gd name="connsiteY859" fmla="*/ 1378617 h 1719830"/>
                    <a:gd name="connsiteX860" fmla="*/ 2878713 w 4598650"/>
                    <a:gd name="connsiteY860" fmla="*/ 1384967 h 1719830"/>
                    <a:gd name="connsiteX861" fmla="*/ 2893046 w 4598650"/>
                    <a:gd name="connsiteY861" fmla="*/ 1383443 h 1719830"/>
                    <a:gd name="connsiteX862" fmla="*/ 2902749 w 4598650"/>
                    <a:gd name="connsiteY862" fmla="*/ 1391622 h 1719830"/>
                    <a:gd name="connsiteX863" fmla="*/ 2910969 w 4598650"/>
                    <a:gd name="connsiteY863" fmla="*/ 1402340 h 1719830"/>
                    <a:gd name="connsiteX864" fmla="*/ 2920634 w 4598650"/>
                    <a:gd name="connsiteY864" fmla="*/ 1408005 h 1719830"/>
                    <a:gd name="connsiteX865" fmla="*/ 2929627 w 4598650"/>
                    <a:gd name="connsiteY865" fmla="*/ 1413592 h 1719830"/>
                    <a:gd name="connsiteX866" fmla="*/ 2928676 w 4598650"/>
                    <a:gd name="connsiteY866" fmla="*/ 1423168 h 1719830"/>
                    <a:gd name="connsiteX867" fmla="*/ 2932989 w 4598650"/>
                    <a:gd name="connsiteY867" fmla="*/ 1435729 h 1719830"/>
                    <a:gd name="connsiteX868" fmla="*/ 2936718 w 4598650"/>
                    <a:gd name="connsiteY868" fmla="*/ 1453585 h 1719830"/>
                    <a:gd name="connsiteX869" fmla="*/ 2947195 w 4598650"/>
                    <a:gd name="connsiteY869" fmla="*/ 1457458 h 1719830"/>
                    <a:gd name="connsiteX870" fmla="*/ 2955008 w 4598650"/>
                    <a:gd name="connsiteY870" fmla="*/ 1460608 h 1719830"/>
                    <a:gd name="connsiteX871" fmla="*/ 2967997 w 4598650"/>
                    <a:gd name="connsiteY871" fmla="*/ 1458081 h 1719830"/>
                    <a:gd name="connsiteX872" fmla="*/ 2978296 w 4598650"/>
                    <a:gd name="connsiteY872" fmla="*/ 1458081 h 1719830"/>
                    <a:gd name="connsiteX873" fmla="*/ 2988900 w 4598650"/>
                    <a:gd name="connsiteY873" fmla="*/ 1449178 h 1719830"/>
                    <a:gd name="connsiteX874" fmla="*/ 2995902 w 4598650"/>
                    <a:gd name="connsiteY874" fmla="*/ 1442561 h 1719830"/>
                    <a:gd name="connsiteX875" fmla="*/ 3005745 w 4598650"/>
                    <a:gd name="connsiteY875" fmla="*/ 1441977 h 1719830"/>
                    <a:gd name="connsiteX876" fmla="*/ 3012899 w 4598650"/>
                    <a:gd name="connsiteY876" fmla="*/ 1435729 h 1719830"/>
                    <a:gd name="connsiteX877" fmla="*/ 3029706 w 4598650"/>
                    <a:gd name="connsiteY877" fmla="*/ 1431766 h 1719830"/>
                    <a:gd name="connsiteX878" fmla="*/ 3040982 w 4598650"/>
                    <a:gd name="connsiteY878" fmla="*/ 1434687 h 1719830"/>
                    <a:gd name="connsiteX879" fmla="*/ 3043227 w 4598650"/>
                    <a:gd name="connsiteY879" fmla="*/ 1455922 h 1719830"/>
                    <a:gd name="connsiteX880" fmla="*/ 3033295 w 4598650"/>
                    <a:gd name="connsiteY880" fmla="*/ 1470412 h 1719830"/>
                    <a:gd name="connsiteX881" fmla="*/ 3020991 w 4598650"/>
                    <a:gd name="connsiteY881" fmla="*/ 1510239 h 1719830"/>
                    <a:gd name="connsiteX882" fmla="*/ 3017884 w 4598650"/>
                    <a:gd name="connsiteY882" fmla="*/ 1523232 h 1719830"/>
                    <a:gd name="connsiteX883" fmla="*/ 3010958 w 4598650"/>
                    <a:gd name="connsiteY883" fmla="*/ 1532109 h 1719830"/>
                    <a:gd name="connsiteX884" fmla="*/ 3003589 w 4598650"/>
                    <a:gd name="connsiteY884" fmla="*/ 1551362 h 1719830"/>
                    <a:gd name="connsiteX885" fmla="*/ 2995902 w 4598650"/>
                    <a:gd name="connsiteY885" fmla="*/ 1568050 h 1719830"/>
                    <a:gd name="connsiteX886" fmla="*/ 2991640 w 4598650"/>
                    <a:gd name="connsiteY886" fmla="*/ 1568329 h 1719830"/>
                    <a:gd name="connsiteX887" fmla="*/ 2975049 w 4598650"/>
                    <a:gd name="connsiteY887" fmla="*/ 1584573 h 1719830"/>
                    <a:gd name="connsiteX888" fmla="*/ 2972309 w 4598650"/>
                    <a:gd name="connsiteY888" fmla="*/ 1559325 h 1719830"/>
                    <a:gd name="connsiteX889" fmla="*/ 2964724 w 4598650"/>
                    <a:gd name="connsiteY889" fmla="*/ 1556264 h 1719830"/>
                    <a:gd name="connsiteX890" fmla="*/ 2958560 w 4598650"/>
                    <a:gd name="connsiteY890" fmla="*/ 1562475 h 1719830"/>
                    <a:gd name="connsiteX891" fmla="*/ 2951419 w 4598650"/>
                    <a:gd name="connsiteY891" fmla="*/ 1568774 h 1719830"/>
                    <a:gd name="connsiteX892" fmla="*/ 2944899 w 4598650"/>
                    <a:gd name="connsiteY892" fmla="*/ 1571022 h 1719830"/>
                    <a:gd name="connsiteX893" fmla="*/ 2941132 w 4598650"/>
                    <a:gd name="connsiteY893" fmla="*/ 1572368 h 1719830"/>
                    <a:gd name="connsiteX894" fmla="*/ 2944988 w 4598650"/>
                    <a:gd name="connsiteY894" fmla="*/ 1624933 h 1719830"/>
                    <a:gd name="connsiteX895" fmla="*/ 2944316 w 4598650"/>
                    <a:gd name="connsiteY895" fmla="*/ 1642434 h 1719830"/>
                    <a:gd name="connsiteX896" fmla="*/ 2935145 w 4598650"/>
                    <a:gd name="connsiteY896" fmla="*/ 1657864 h 1719830"/>
                    <a:gd name="connsiteX897" fmla="*/ 2923374 w 4598650"/>
                    <a:gd name="connsiteY897" fmla="*/ 1658855 h 1719830"/>
                    <a:gd name="connsiteX898" fmla="*/ 2923514 w 4598650"/>
                    <a:gd name="connsiteY898" fmla="*/ 1658995 h 1719830"/>
                    <a:gd name="connsiteX899" fmla="*/ 2926786 w 4598650"/>
                    <a:gd name="connsiteY899" fmla="*/ 1662462 h 1719830"/>
                    <a:gd name="connsiteX900" fmla="*/ 2928676 w 4598650"/>
                    <a:gd name="connsiteY900" fmla="*/ 1672711 h 1719830"/>
                    <a:gd name="connsiteX901" fmla="*/ 2930160 w 4598650"/>
                    <a:gd name="connsiteY901" fmla="*/ 1674958 h 1719830"/>
                    <a:gd name="connsiteX902" fmla="*/ 2936679 w 4598650"/>
                    <a:gd name="connsiteY902" fmla="*/ 1667046 h 1719830"/>
                    <a:gd name="connsiteX903" fmla="*/ 2935551 w 4598650"/>
                    <a:gd name="connsiteY903" fmla="*/ 1660074 h 1719830"/>
                    <a:gd name="connsiteX904" fmla="*/ 2934473 w 4598650"/>
                    <a:gd name="connsiteY904" fmla="*/ 1661827 h 1719830"/>
                    <a:gd name="connsiteX905" fmla="*/ 2937352 w 4598650"/>
                    <a:gd name="connsiteY905" fmla="*/ 1662411 h 1719830"/>
                    <a:gd name="connsiteX906" fmla="*/ 2944100 w 4598650"/>
                    <a:gd name="connsiteY906" fmla="*/ 1663224 h 1719830"/>
                    <a:gd name="connsiteX907" fmla="*/ 2946434 w 4598650"/>
                    <a:gd name="connsiteY907" fmla="*/ 1662462 h 1719830"/>
                    <a:gd name="connsiteX908" fmla="*/ 2953892 w 4598650"/>
                    <a:gd name="connsiteY908" fmla="*/ 1652924 h 1719830"/>
                    <a:gd name="connsiteX909" fmla="*/ 2962162 w 4598650"/>
                    <a:gd name="connsiteY909" fmla="*/ 1641265 h 1719830"/>
                    <a:gd name="connsiteX910" fmla="*/ 2964496 w 4598650"/>
                    <a:gd name="connsiteY910" fmla="*/ 1636579 h 1719830"/>
                    <a:gd name="connsiteX911" fmla="*/ 2964547 w 4598650"/>
                    <a:gd name="connsiteY911" fmla="*/ 1644948 h 1719830"/>
                    <a:gd name="connsiteX912" fmla="*/ 2976851 w 4598650"/>
                    <a:gd name="connsiteY912" fmla="*/ 1637671 h 1719830"/>
                    <a:gd name="connsiteX913" fmla="*/ 2980047 w 4598650"/>
                    <a:gd name="connsiteY913" fmla="*/ 1651476 h 1719830"/>
                    <a:gd name="connsiteX914" fmla="*/ 2989839 w 4598650"/>
                    <a:gd name="connsiteY914" fmla="*/ 1652022 h 1719830"/>
                    <a:gd name="connsiteX915" fmla="*/ 3203581 w 4598650"/>
                    <a:gd name="connsiteY915" fmla="*/ 1403636 h 1719830"/>
                    <a:gd name="connsiteX916" fmla="*/ 3221326 w 4598650"/>
                    <a:gd name="connsiteY916" fmla="*/ 1293133 h 1719830"/>
                    <a:gd name="connsiteX917" fmla="*/ 3238715 w 4598650"/>
                    <a:gd name="connsiteY917" fmla="*/ 1262043 h 1719830"/>
                    <a:gd name="connsiteX918" fmla="*/ 3216480 w 4598650"/>
                    <a:gd name="connsiteY918" fmla="*/ 1217493 h 1719830"/>
                    <a:gd name="connsiteX919" fmla="*/ 3231523 w 4598650"/>
                    <a:gd name="connsiteY919" fmla="*/ 1221768 h 1719830"/>
                    <a:gd name="connsiteX920" fmla="*/ 3234441 w 4598650"/>
                    <a:gd name="connsiteY920" fmla="*/ 1219383 h 1719830"/>
                    <a:gd name="connsiteX921" fmla="*/ 3222226 w 4598650"/>
                    <a:gd name="connsiteY921" fmla="*/ 1200889 h 1719830"/>
                    <a:gd name="connsiteX922" fmla="*/ 3210760 w 4598650"/>
                    <a:gd name="connsiteY922" fmla="*/ 1189236 h 1719830"/>
                    <a:gd name="connsiteX923" fmla="*/ 3189995 w 4598650"/>
                    <a:gd name="connsiteY923" fmla="*/ 1161423 h 1719830"/>
                    <a:gd name="connsiteX924" fmla="*/ 3153287 w 4598650"/>
                    <a:gd name="connsiteY924" fmla="*/ 1197690 h 1719830"/>
                    <a:gd name="connsiteX925" fmla="*/ 3148974 w 4598650"/>
                    <a:gd name="connsiteY925" fmla="*/ 1194450 h 1719830"/>
                    <a:gd name="connsiteX926" fmla="*/ 3116707 w 4598650"/>
                    <a:gd name="connsiteY926" fmla="*/ 1195574 h 1719830"/>
                    <a:gd name="connsiteX927" fmla="*/ 3135136 w 4598650"/>
                    <a:gd name="connsiteY927" fmla="*/ 1177397 h 1719830"/>
                    <a:gd name="connsiteX928" fmla="*/ 3123670 w 4598650"/>
                    <a:gd name="connsiteY928" fmla="*/ 1169972 h 1719830"/>
                    <a:gd name="connsiteX929" fmla="*/ 3127132 w 4598650"/>
                    <a:gd name="connsiteY929" fmla="*/ 1166777 h 1719830"/>
                    <a:gd name="connsiteX930" fmla="*/ 3121869 w 4598650"/>
                    <a:gd name="connsiteY930" fmla="*/ 1160883 h 1719830"/>
                    <a:gd name="connsiteX931" fmla="*/ 3118901 w 4598650"/>
                    <a:gd name="connsiteY931" fmla="*/ 1174111 h 1719830"/>
                    <a:gd name="connsiteX932" fmla="*/ 3106141 w 4598650"/>
                    <a:gd name="connsiteY932" fmla="*/ 1154853 h 1719830"/>
                    <a:gd name="connsiteX933" fmla="*/ 3058866 w 4598650"/>
                    <a:gd name="connsiteY933" fmla="*/ 1135821 h 1719830"/>
                    <a:gd name="connsiteX934" fmla="*/ 3063902 w 4598650"/>
                    <a:gd name="connsiteY934" fmla="*/ 1131006 h 1719830"/>
                    <a:gd name="connsiteX935" fmla="*/ 3064130 w 4598650"/>
                    <a:gd name="connsiteY935" fmla="*/ 1131050 h 1719830"/>
                    <a:gd name="connsiteX936" fmla="*/ 3064346 w 4598650"/>
                    <a:gd name="connsiteY936" fmla="*/ 1130601 h 1719830"/>
                    <a:gd name="connsiteX937" fmla="*/ 3101510 w 4598650"/>
                    <a:gd name="connsiteY937" fmla="*/ 1095009 h 1719830"/>
                    <a:gd name="connsiteX938" fmla="*/ 3112483 w 4598650"/>
                    <a:gd name="connsiteY938" fmla="*/ 1085109 h 1719830"/>
                    <a:gd name="connsiteX939" fmla="*/ 3146184 w 4598650"/>
                    <a:gd name="connsiteY939" fmla="*/ 1049022 h 1719830"/>
                    <a:gd name="connsiteX940" fmla="*/ 3184478 w 4598650"/>
                    <a:gd name="connsiteY940" fmla="*/ 1003711 h 1719830"/>
                    <a:gd name="connsiteX941" fmla="*/ 3220513 w 4598650"/>
                    <a:gd name="connsiteY941" fmla="*/ 958986 h 1719830"/>
                    <a:gd name="connsiteX942" fmla="*/ 3220742 w 4598650"/>
                    <a:gd name="connsiteY942" fmla="*/ 958041 h 1719830"/>
                    <a:gd name="connsiteX943" fmla="*/ 3231980 w 4598650"/>
                    <a:gd name="connsiteY943" fmla="*/ 944183 h 1719830"/>
                    <a:gd name="connsiteX944" fmla="*/ 3256068 w 4598650"/>
                    <a:gd name="connsiteY944" fmla="*/ 917500 h 1719830"/>
                    <a:gd name="connsiteX945" fmla="*/ 3295249 w 4598650"/>
                    <a:gd name="connsiteY945" fmla="*/ 893921 h 1719830"/>
                    <a:gd name="connsiteX946" fmla="*/ 3357667 w 4598650"/>
                    <a:gd name="connsiteY946" fmla="*/ 891492 h 1719830"/>
                    <a:gd name="connsiteX947" fmla="*/ 3370884 w 4598650"/>
                    <a:gd name="connsiteY947" fmla="*/ 901076 h 1719830"/>
                    <a:gd name="connsiteX948" fmla="*/ 3375603 w 4598650"/>
                    <a:gd name="connsiteY948" fmla="*/ 902336 h 1719830"/>
                    <a:gd name="connsiteX949" fmla="*/ 3375958 w 4598650"/>
                    <a:gd name="connsiteY949" fmla="*/ 902426 h 1719830"/>
                    <a:gd name="connsiteX950" fmla="*/ 3381362 w 4598650"/>
                    <a:gd name="connsiteY950" fmla="*/ 894147 h 1719830"/>
                    <a:gd name="connsiteX951" fmla="*/ 3382706 w 4598650"/>
                    <a:gd name="connsiteY951" fmla="*/ 892077 h 1719830"/>
                    <a:gd name="connsiteX952" fmla="*/ 3442703 w 4598650"/>
                    <a:gd name="connsiteY952" fmla="*/ 895811 h 1719830"/>
                    <a:gd name="connsiteX953" fmla="*/ 3444453 w 4598650"/>
                    <a:gd name="connsiteY953" fmla="*/ 895947 h 1719830"/>
                    <a:gd name="connsiteX954" fmla="*/ 3448131 w 4598650"/>
                    <a:gd name="connsiteY954" fmla="*/ 892391 h 1719830"/>
                    <a:gd name="connsiteX955" fmla="*/ 3453256 w 4598650"/>
                    <a:gd name="connsiteY955" fmla="*/ 887396 h 1719830"/>
                    <a:gd name="connsiteX956" fmla="*/ 3464532 w 4598650"/>
                    <a:gd name="connsiteY956" fmla="*/ 876553 h 1719830"/>
                    <a:gd name="connsiteX957" fmla="*/ 3468844 w 4598650"/>
                    <a:gd name="connsiteY957" fmla="*/ 872547 h 1719830"/>
                    <a:gd name="connsiteX958" fmla="*/ 3530997 w 4598650"/>
                    <a:gd name="connsiteY958" fmla="*/ 888930 h 1719830"/>
                    <a:gd name="connsiteX959" fmla="*/ 3547854 w 4598650"/>
                    <a:gd name="connsiteY959" fmla="*/ 903958 h 1719830"/>
                    <a:gd name="connsiteX960" fmla="*/ 3542464 w 4598650"/>
                    <a:gd name="connsiteY960" fmla="*/ 905308 h 1719830"/>
                    <a:gd name="connsiteX961" fmla="*/ 3515319 w 4598650"/>
                    <a:gd name="connsiteY961" fmla="*/ 912058 h 1719830"/>
                    <a:gd name="connsiteX962" fmla="*/ 3516347 w 4598650"/>
                    <a:gd name="connsiteY962" fmla="*/ 912693 h 1719830"/>
                    <a:gd name="connsiteX963" fmla="*/ 3529919 w 4598650"/>
                    <a:gd name="connsiteY963" fmla="*/ 920072 h 1719830"/>
                    <a:gd name="connsiteX964" fmla="*/ 3545292 w 4598650"/>
                    <a:gd name="connsiteY964" fmla="*/ 917102 h 1719830"/>
                    <a:gd name="connsiteX965" fmla="*/ 3546992 w 4598650"/>
                    <a:gd name="connsiteY965" fmla="*/ 916832 h 1719830"/>
                    <a:gd name="connsiteX966" fmla="*/ 3571675 w 4598650"/>
                    <a:gd name="connsiteY966" fmla="*/ 910488 h 1719830"/>
                    <a:gd name="connsiteX967" fmla="*/ 3577916 w 4598650"/>
                    <a:gd name="connsiteY967" fmla="*/ 906978 h 1719830"/>
                    <a:gd name="connsiteX968" fmla="*/ 3585108 w 4598650"/>
                    <a:gd name="connsiteY968" fmla="*/ 900454 h 1719830"/>
                    <a:gd name="connsiteX969" fmla="*/ 3604388 w 4598650"/>
                    <a:gd name="connsiteY969" fmla="*/ 907068 h 1719830"/>
                    <a:gd name="connsiteX970" fmla="*/ 3607305 w 4598650"/>
                    <a:gd name="connsiteY970" fmla="*/ 906798 h 1719830"/>
                    <a:gd name="connsiteX971" fmla="*/ 3625418 w 4598650"/>
                    <a:gd name="connsiteY971" fmla="*/ 900994 h 1719830"/>
                    <a:gd name="connsiteX972" fmla="*/ 3629908 w 4598650"/>
                    <a:gd name="connsiteY972" fmla="*/ 899239 h 1719830"/>
                    <a:gd name="connsiteX973" fmla="*/ 3603259 w 4598650"/>
                    <a:gd name="connsiteY973" fmla="*/ 886865 h 1719830"/>
                    <a:gd name="connsiteX974" fmla="*/ 3605770 w 4598650"/>
                    <a:gd name="connsiteY974" fmla="*/ 869857 h 1719830"/>
                    <a:gd name="connsiteX975" fmla="*/ 3605960 w 4598650"/>
                    <a:gd name="connsiteY975" fmla="*/ 869272 h 1719830"/>
                    <a:gd name="connsiteX976" fmla="*/ 3621600 w 4598650"/>
                    <a:gd name="connsiteY976" fmla="*/ 842679 h 1719830"/>
                    <a:gd name="connsiteX977" fmla="*/ 3629058 w 4598650"/>
                    <a:gd name="connsiteY977" fmla="*/ 835030 h 1719830"/>
                    <a:gd name="connsiteX978" fmla="*/ 3646309 w 4598650"/>
                    <a:gd name="connsiteY978" fmla="*/ 816896 h 1719830"/>
                    <a:gd name="connsiteX979" fmla="*/ 3674798 w 4598650"/>
                    <a:gd name="connsiteY979" fmla="*/ 773970 h 1719830"/>
                    <a:gd name="connsiteX980" fmla="*/ 3677943 w 4598650"/>
                    <a:gd name="connsiteY980" fmla="*/ 768706 h 1719830"/>
                    <a:gd name="connsiteX981" fmla="*/ 3677943 w 4598650"/>
                    <a:gd name="connsiteY981" fmla="*/ 768661 h 1719830"/>
                    <a:gd name="connsiteX982" fmla="*/ 3679834 w 4598650"/>
                    <a:gd name="connsiteY982" fmla="*/ 766771 h 1719830"/>
                    <a:gd name="connsiteX983" fmla="*/ 3681812 w 4598650"/>
                    <a:gd name="connsiteY983" fmla="*/ 765061 h 1719830"/>
                    <a:gd name="connsiteX984" fmla="*/ 3683474 w 4598650"/>
                    <a:gd name="connsiteY984" fmla="*/ 763846 h 1719830"/>
                    <a:gd name="connsiteX985" fmla="*/ 3689410 w 4598650"/>
                    <a:gd name="connsiteY985" fmla="*/ 760966 h 1719830"/>
                    <a:gd name="connsiteX986" fmla="*/ 3691211 w 4598650"/>
                    <a:gd name="connsiteY986" fmla="*/ 760471 h 1719830"/>
                    <a:gd name="connsiteX987" fmla="*/ 3691604 w 4598650"/>
                    <a:gd name="connsiteY987" fmla="*/ 760336 h 1719830"/>
                    <a:gd name="connsiteX988" fmla="*/ 3694394 w 4598650"/>
                    <a:gd name="connsiteY988" fmla="*/ 759887 h 1719830"/>
                    <a:gd name="connsiteX989" fmla="*/ 3697541 w 4598650"/>
                    <a:gd name="connsiteY989" fmla="*/ 759706 h 1719830"/>
                    <a:gd name="connsiteX990" fmla="*/ 3707662 w 4598650"/>
                    <a:gd name="connsiteY990" fmla="*/ 761103 h 1719830"/>
                    <a:gd name="connsiteX991" fmla="*/ 3732371 w 4598650"/>
                    <a:gd name="connsiteY991" fmla="*/ 751654 h 1719830"/>
                    <a:gd name="connsiteX992" fmla="*/ 3749546 w 4598650"/>
                    <a:gd name="connsiteY992" fmla="*/ 758044 h 1719830"/>
                    <a:gd name="connsiteX993" fmla="*/ 3749635 w 4598650"/>
                    <a:gd name="connsiteY993" fmla="*/ 765783 h 1719830"/>
                    <a:gd name="connsiteX994" fmla="*/ 3749939 w 4598650"/>
                    <a:gd name="connsiteY994" fmla="*/ 766188 h 1719830"/>
                    <a:gd name="connsiteX995" fmla="*/ 3751157 w 4598650"/>
                    <a:gd name="connsiteY995" fmla="*/ 766684 h 1719830"/>
                    <a:gd name="connsiteX996" fmla="*/ 3752057 w 4598650"/>
                    <a:gd name="connsiteY996" fmla="*/ 766503 h 1719830"/>
                    <a:gd name="connsiteX997" fmla="*/ 3753046 w 4598650"/>
                    <a:gd name="connsiteY997" fmla="*/ 766098 h 1719830"/>
                    <a:gd name="connsiteX998" fmla="*/ 3766529 w 4598650"/>
                    <a:gd name="connsiteY998" fmla="*/ 754130 h 1719830"/>
                    <a:gd name="connsiteX999" fmla="*/ 3768737 w 4598650"/>
                    <a:gd name="connsiteY999" fmla="*/ 752104 h 1719830"/>
                    <a:gd name="connsiteX1000" fmla="*/ 3772999 w 4598650"/>
                    <a:gd name="connsiteY1000" fmla="*/ 749810 h 1719830"/>
                    <a:gd name="connsiteX1001" fmla="*/ 3773050 w 4598650"/>
                    <a:gd name="connsiteY1001" fmla="*/ 750035 h 1719830"/>
                    <a:gd name="connsiteX1002" fmla="*/ 3773455 w 4598650"/>
                    <a:gd name="connsiteY1002" fmla="*/ 751520 h 1719830"/>
                    <a:gd name="connsiteX1003" fmla="*/ 3773899 w 4598650"/>
                    <a:gd name="connsiteY1003" fmla="*/ 754174 h 1719830"/>
                    <a:gd name="connsiteX1004" fmla="*/ 3773950 w 4598650"/>
                    <a:gd name="connsiteY1004" fmla="*/ 754760 h 1719830"/>
                    <a:gd name="connsiteX1005" fmla="*/ 3774026 w 4598650"/>
                    <a:gd name="connsiteY1005" fmla="*/ 756649 h 1719830"/>
                    <a:gd name="connsiteX1006" fmla="*/ 3758120 w 4598650"/>
                    <a:gd name="connsiteY1006" fmla="*/ 788821 h 1719830"/>
                    <a:gd name="connsiteX1007" fmla="*/ 3762306 w 4598650"/>
                    <a:gd name="connsiteY1007" fmla="*/ 799575 h 1719830"/>
                    <a:gd name="connsiteX1008" fmla="*/ 3773544 w 4598650"/>
                    <a:gd name="connsiteY1008" fmla="*/ 802681 h 1719830"/>
                    <a:gd name="connsiteX1009" fmla="*/ 3767836 w 4598650"/>
                    <a:gd name="connsiteY1009" fmla="*/ 815414 h 1719830"/>
                    <a:gd name="connsiteX1010" fmla="*/ 3770081 w 4598650"/>
                    <a:gd name="connsiteY1010" fmla="*/ 828328 h 1719830"/>
                    <a:gd name="connsiteX1011" fmla="*/ 3779430 w 4598650"/>
                    <a:gd name="connsiteY1011" fmla="*/ 820499 h 1719830"/>
                    <a:gd name="connsiteX1012" fmla="*/ 3782486 w 4598650"/>
                    <a:gd name="connsiteY1012" fmla="*/ 819193 h 1719830"/>
                    <a:gd name="connsiteX1013" fmla="*/ 3785581 w 4598650"/>
                    <a:gd name="connsiteY1013" fmla="*/ 819955 h 1719830"/>
                    <a:gd name="connsiteX1014" fmla="*/ 3791429 w 4598650"/>
                    <a:gd name="connsiteY1014" fmla="*/ 809965 h 1719830"/>
                    <a:gd name="connsiteX1015" fmla="*/ 3793002 w 4598650"/>
                    <a:gd name="connsiteY1015" fmla="*/ 808661 h 1719830"/>
                    <a:gd name="connsiteX1016" fmla="*/ 3811026 w 4598650"/>
                    <a:gd name="connsiteY1016" fmla="*/ 789357 h 1719830"/>
                    <a:gd name="connsiteX1017" fmla="*/ 3813677 w 4598650"/>
                    <a:gd name="connsiteY1017" fmla="*/ 787062 h 1719830"/>
                    <a:gd name="connsiteX1018" fmla="*/ 3816594 w 4598650"/>
                    <a:gd name="connsiteY1018" fmla="*/ 784452 h 1719830"/>
                    <a:gd name="connsiteX1019" fmla="*/ 3816950 w 4598650"/>
                    <a:gd name="connsiteY1019" fmla="*/ 784139 h 1719830"/>
                    <a:gd name="connsiteX1020" fmla="*/ 3819473 w 4598650"/>
                    <a:gd name="connsiteY1020" fmla="*/ 781663 h 1719830"/>
                    <a:gd name="connsiteX1021" fmla="*/ 3822302 w 4598650"/>
                    <a:gd name="connsiteY1021" fmla="*/ 778648 h 1719830"/>
                    <a:gd name="connsiteX1022" fmla="*/ 3823697 w 4598650"/>
                    <a:gd name="connsiteY1022" fmla="*/ 777029 h 1719830"/>
                    <a:gd name="connsiteX1023" fmla="*/ 3826298 w 4598650"/>
                    <a:gd name="connsiteY1023" fmla="*/ 773744 h 1719830"/>
                    <a:gd name="connsiteX1024" fmla="*/ 3831016 w 4598650"/>
                    <a:gd name="connsiteY1024" fmla="*/ 769244 h 1719830"/>
                    <a:gd name="connsiteX1025" fmla="*/ 3834263 w 4598650"/>
                    <a:gd name="connsiteY1025" fmla="*/ 766859 h 1719830"/>
                    <a:gd name="connsiteX1026" fmla="*/ 3835329 w 4598650"/>
                    <a:gd name="connsiteY1026" fmla="*/ 767400 h 1719830"/>
                    <a:gd name="connsiteX1027" fmla="*/ 3840821 w 4598650"/>
                    <a:gd name="connsiteY1027" fmla="*/ 769514 h 1719830"/>
                    <a:gd name="connsiteX1028" fmla="*/ 3841087 w 4598650"/>
                    <a:gd name="connsiteY1028" fmla="*/ 769559 h 1719830"/>
                    <a:gd name="connsiteX1029" fmla="*/ 3841087 w 4598650"/>
                    <a:gd name="connsiteY1029" fmla="*/ 769525 h 1719830"/>
                    <a:gd name="connsiteX1030" fmla="*/ 3840999 w 4598650"/>
                    <a:gd name="connsiteY1030" fmla="*/ 769434 h 1719830"/>
                    <a:gd name="connsiteX1031" fmla="*/ 3838969 w 4598650"/>
                    <a:gd name="connsiteY1031" fmla="*/ 768444 h 1719830"/>
                    <a:gd name="connsiteX1032" fmla="*/ 3844093 w 4598650"/>
                    <a:gd name="connsiteY1032" fmla="*/ 768805 h 1719830"/>
                    <a:gd name="connsiteX1033" fmla="*/ 3848545 w 4598650"/>
                    <a:gd name="connsiteY1033" fmla="*/ 774744 h 1719830"/>
                    <a:gd name="connsiteX1034" fmla="*/ 3850207 w 4598650"/>
                    <a:gd name="connsiteY1034" fmla="*/ 770694 h 1719830"/>
                    <a:gd name="connsiteX1035" fmla="*/ 3857222 w 4598650"/>
                    <a:gd name="connsiteY1035" fmla="*/ 764217 h 1719830"/>
                    <a:gd name="connsiteX1036" fmla="*/ 3855471 w 4598650"/>
                    <a:gd name="connsiteY1036" fmla="*/ 763228 h 1719830"/>
                    <a:gd name="connsiteX1037" fmla="*/ 3852592 w 4598650"/>
                    <a:gd name="connsiteY1037" fmla="*/ 760843 h 1719830"/>
                    <a:gd name="connsiteX1038" fmla="*/ 3851653 w 4598650"/>
                    <a:gd name="connsiteY1038" fmla="*/ 759628 h 1719830"/>
                    <a:gd name="connsiteX1039" fmla="*/ 3856549 w 4598650"/>
                    <a:gd name="connsiteY1039" fmla="*/ 757738 h 1719830"/>
                    <a:gd name="connsiteX1040" fmla="*/ 3862295 w 4598650"/>
                    <a:gd name="connsiteY1040" fmla="*/ 710358 h 1719830"/>
                    <a:gd name="connsiteX1041" fmla="*/ 3862663 w 4598650"/>
                    <a:gd name="connsiteY1041" fmla="*/ 708961 h 1719830"/>
                    <a:gd name="connsiteX1042" fmla="*/ 3863196 w 4598650"/>
                    <a:gd name="connsiteY1042" fmla="*/ 708467 h 1719830"/>
                    <a:gd name="connsiteX1043" fmla="*/ 3916355 w 4598650"/>
                    <a:gd name="connsiteY1043" fmla="*/ 713547 h 1719830"/>
                    <a:gd name="connsiteX1044" fmla="*/ 3916000 w 4598650"/>
                    <a:gd name="connsiteY1044" fmla="*/ 714087 h 1719830"/>
                    <a:gd name="connsiteX1045" fmla="*/ 3912677 w 4598650"/>
                    <a:gd name="connsiteY1045" fmla="*/ 714492 h 1719830"/>
                    <a:gd name="connsiteX1046" fmla="*/ 3892902 w 4598650"/>
                    <a:gd name="connsiteY1046" fmla="*/ 719892 h 1719830"/>
                    <a:gd name="connsiteX1047" fmla="*/ 3892813 w 4598650"/>
                    <a:gd name="connsiteY1047" fmla="*/ 719936 h 1719830"/>
                    <a:gd name="connsiteX1048" fmla="*/ 3886878 w 4598650"/>
                    <a:gd name="connsiteY1048" fmla="*/ 723086 h 1719830"/>
                    <a:gd name="connsiteX1049" fmla="*/ 3886788 w 4598650"/>
                    <a:gd name="connsiteY1049" fmla="*/ 723130 h 1719830"/>
                    <a:gd name="connsiteX1050" fmla="*/ 3884492 w 4598650"/>
                    <a:gd name="connsiteY1050" fmla="*/ 725425 h 1719830"/>
                    <a:gd name="connsiteX1051" fmla="*/ 3884404 w 4598650"/>
                    <a:gd name="connsiteY1051" fmla="*/ 725561 h 1719830"/>
                    <a:gd name="connsiteX1052" fmla="*/ 3883516 w 4598650"/>
                    <a:gd name="connsiteY1052" fmla="*/ 726731 h 1719830"/>
                    <a:gd name="connsiteX1053" fmla="*/ 3883288 w 4598650"/>
                    <a:gd name="connsiteY1053" fmla="*/ 727001 h 1719830"/>
                    <a:gd name="connsiteX1054" fmla="*/ 3882438 w 4598650"/>
                    <a:gd name="connsiteY1054" fmla="*/ 728350 h 1719830"/>
                    <a:gd name="connsiteX1055" fmla="*/ 3881575 w 4598650"/>
                    <a:gd name="connsiteY1055" fmla="*/ 729925 h 1719830"/>
                    <a:gd name="connsiteX1056" fmla="*/ 3879914 w 4598650"/>
                    <a:gd name="connsiteY1056" fmla="*/ 734290 h 1719830"/>
                    <a:gd name="connsiteX1057" fmla="*/ 3879508 w 4598650"/>
                    <a:gd name="connsiteY1057" fmla="*/ 735774 h 1719830"/>
                    <a:gd name="connsiteX1058" fmla="*/ 3879381 w 4598650"/>
                    <a:gd name="connsiteY1058" fmla="*/ 736450 h 1719830"/>
                    <a:gd name="connsiteX1059" fmla="*/ 3879064 w 4598650"/>
                    <a:gd name="connsiteY1059" fmla="*/ 738430 h 1719830"/>
                    <a:gd name="connsiteX1060" fmla="*/ 3878797 w 4598650"/>
                    <a:gd name="connsiteY1060" fmla="*/ 740904 h 1719830"/>
                    <a:gd name="connsiteX1061" fmla="*/ 3878696 w 4598650"/>
                    <a:gd name="connsiteY1061" fmla="*/ 743514 h 1719830"/>
                    <a:gd name="connsiteX1062" fmla="*/ 3878924 w 4598650"/>
                    <a:gd name="connsiteY1062" fmla="*/ 747789 h 1719830"/>
                    <a:gd name="connsiteX1063" fmla="*/ 3870071 w 4598650"/>
                    <a:gd name="connsiteY1063" fmla="*/ 780906 h 1719830"/>
                    <a:gd name="connsiteX1064" fmla="*/ 3874523 w 4598650"/>
                    <a:gd name="connsiteY1064" fmla="*/ 791390 h 1719830"/>
                    <a:gd name="connsiteX1065" fmla="*/ 3864236 w 4598650"/>
                    <a:gd name="connsiteY1065" fmla="*/ 802058 h 1719830"/>
                    <a:gd name="connsiteX1066" fmla="*/ 3864363 w 4598650"/>
                    <a:gd name="connsiteY1066" fmla="*/ 803092 h 1719830"/>
                    <a:gd name="connsiteX1067" fmla="*/ 3864629 w 4598650"/>
                    <a:gd name="connsiteY1067" fmla="*/ 803992 h 1719830"/>
                    <a:gd name="connsiteX1068" fmla="*/ 3864909 w 4598650"/>
                    <a:gd name="connsiteY1068" fmla="*/ 804578 h 1719830"/>
                    <a:gd name="connsiteX1069" fmla="*/ 3868231 w 4598650"/>
                    <a:gd name="connsiteY1069" fmla="*/ 809481 h 1719830"/>
                    <a:gd name="connsiteX1070" fmla="*/ 3857754 w 4598650"/>
                    <a:gd name="connsiteY1070" fmla="*/ 815831 h 1719830"/>
                    <a:gd name="connsiteX1071" fmla="*/ 3854837 w 4598650"/>
                    <a:gd name="connsiteY1071" fmla="*/ 816866 h 1719830"/>
                    <a:gd name="connsiteX1072" fmla="*/ 3854482 w 4598650"/>
                    <a:gd name="connsiteY1072" fmla="*/ 816822 h 1719830"/>
                    <a:gd name="connsiteX1073" fmla="*/ 3853670 w 4598650"/>
                    <a:gd name="connsiteY1073" fmla="*/ 816822 h 1719830"/>
                    <a:gd name="connsiteX1074" fmla="*/ 3852642 w 4598650"/>
                    <a:gd name="connsiteY1074" fmla="*/ 817362 h 1719830"/>
                    <a:gd name="connsiteX1075" fmla="*/ 3852554 w 4598650"/>
                    <a:gd name="connsiteY1075" fmla="*/ 817452 h 1719830"/>
                    <a:gd name="connsiteX1076" fmla="*/ 3851919 w 4598650"/>
                    <a:gd name="connsiteY1076" fmla="*/ 818087 h 1719830"/>
                    <a:gd name="connsiteX1077" fmla="*/ 3851881 w 4598650"/>
                    <a:gd name="connsiteY1077" fmla="*/ 818087 h 1719830"/>
                    <a:gd name="connsiteX1078" fmla="*/ 3845857 w 4598650"/>
                    <a:gd name="connsiteY1078" fmla="*/ 821416 h 1719830"/>
                    <a:gd name="connsiteX1079" fmla="*/ 3830166 w 4598650"/>
                    <a:gd name="connsiteY1079" fmla="*/ 829875 h 1719830"/>
                    <a:gd name="connsiteX1080" fmla="*/ 3827921 w 4598650"/>
                    <a:gd name="connsiteY1080" fmla="*/ 831399 h 1719830"/>
                    <a:gd name="connsiteX1081" fmla="*/ 3817495 w 4598650"/>
                    <a:gd name="connsiteY1081" fmla="*/ 843143 h 1719830"/>
                    <a:gd name="connsiteX1082" fmla="*/ 3817406 w 4598650"/>
                    <a:gd name="connsiteY1082" fmla="*/ 844088 h 1719830"/>
                    <a:gd name="connsiteX1083" fmla="*/ 3817495 w 4598650"/>
                    <a:gd name="connsiteY1083" fmla="*/ 844942 h 1719830"/>
                    <a:gd name="connsiteX1084" fmla="*/ 3677372 w 4598650"/>
                    <a:gd name="connsiteY1084" fmla="*/ 980561 h 1719830"/>
                    <a:gd name="connsiteX1085" fmla="*/ 3663534 w 4598650"/>
                    <a:gd name="connsiteY1085" fmla="*/ 1294860 h 1719830"/>
                    <a:gd name="connsiteX1086" fmla="*/ 3671132 w 4598650"/>
                    <a:gd name="connsiteY1086" fmla="*/ 1312005 h 1719830"/>
                    <a:gd name="connsiteX1087" fmla="*/ 3673288 w 4598650"/>
                    <a:gd name="connsiteY1087" fmla="*/ 1316501 h 1719830"/>
                    <a:gd name="connsiteX1088" fmla="*/ 3721057 w 4598650"/>
                    <a:gd name="connsiteY1088" fmla="*/ 1253282 h 1719830"/>
                    <a:gd name="connsiteX1089" fmla="*/ 3718228 w 4598650"/>
                    <a:gd name="connsiteY1089" fmla="*/ 1250942 h 1719830"/>
                    <a:gd name="connsiteX1090" fmla="*/ 3718228 w 4598650"/>
                    <a:gd name="connsiteY1090" fmla="*/ 1239468 h 1719830"/>
                    <a:gd name="connsiteX1091" fmla="*/ 3720422 w 4598650"/>
                    <a:gd name="connsiteY1091" fmla="*/ 1233844 h 1719830"/>
                    <a:gd name="connsiteX1092" fmla="*/ 3720613 w 4598650"/>
                    <a:gd name="connsiteY1092" fmla="*/ 1225925 h 1719830"/>
                    <a:gd name="connsiteX1093" fmla="*/ 3725369 w 4598650"/>
                    <a:gd name="connsiteY1093" fmla="*/ 1223720 h 1719830"/>
                    <a:gd name="connsiteX1094" fmla="*/ 3745461 w 4598650"/>
                    <a:gd name="connsiteY1094" fmla="*/ 1215846 h 1719830"/>
                    <a:gd name="connsiteX1095" fmla="*/ 3764652 w 4598650"/>
                    <a:gd name="connsiteY1095" fmla="*/ 1218861 h 1719830"/>
                    <a:gd name="connsiteX1096" fmla="*/ 3761900 w 4598650"/>
                    <a:gd name="connsiteY1096" fmla="*/ 1211930 h 1719830"/>
                    <a:gd name="connsiteX1097" fmla="*/ 3760733 w 4598650"/>
                    <a:gd name="connsiteY1097" fmla="*/ 1204691 h 1719830"/>
                    <a:gd name="connsiteX1098" fmla="*/ 3761545 w 4598650"/>
                    <a:gd name="connsiteY1098" fmla="*/ 1201008 h 1719830"/>
                    <a:gd name="connsiteX1099" fmla="*/ 3797720 w 4598650"/>
                    <a:gd name="connsiteY1099" fmla="*/ 1150118 h 1719830"/>
                    <a:gd name="connsiteX1100" fmla="*/ 3832285 w 4598650"/>
                    <a:gd name="connsiteY1100" fmla="*/ 1056977 h 1719830"/>
                    <a:gd name="connsiteX1101" fmla="*/ 3848647 w 4598650"/>
                    <a:gd name="connsiteY1101" fmla="*/ 1049597 h 1719830"/>
                    <a:gd name="connsiteX1102" fmla="*/ 3846123 w 4598650"/>
                    <a:gd name="connsiteY1102" fmla="*/ 1076100 h 1719830"/>
                    <a:gd name="connsiteX1103" fmla="*/ 3841937 w 4598650"/>
                    <a:gd name="connsiteY1103" fmla="*/ 1037989 h 1719830"/>
                    <a:gd name="connsiteX1104" fmla="*/ 3842800 w 4598650"/>
                    <a:gd name="connsiteY1104" fmla="*/ 977199 h 1719830"/>
                    <a:gd name="connsiteX1105" fmla="*/ 3829760 w 4598650"/>
                    <a:gd name="connsiteY1105" fmla="*/ 989527 h 1719830"/>
                    <a:gd name="connsiteX1106" fmla="*/ 3839958 w 4598650"/>
                    <a:gd name="connsiteY1106" fmla="*/ 927073 h 1719830"/>
                    <a:gd name="connsiteX1107" fmla="*/ 3845032 w 4598650"/>
                    <a:gd name="connsiteY1107" fmla="*/ 920819 h 1719830"/>
                    <a:gd name="connsiteX1108" fmla="*/ 3849396 w 4598650"/>
                    <a:gd name="connsiteY1108" fmla="*/ 917039 h 1719830"/>
                    <a:gd name="connsiteX1109" fmla="*/ 3852719 w 4598650"/>
                    <a:gd name="connsiteY1109" fmla="*/ 916814 h 1719830"/>
                    <a:gd name="connsiteX1110" fmla="*/ 3856181 w 4598650"/>
                    <a:gd name="connsiteY1110" fmla="*/ 902146 h 1719830"/>
                    <a:gd name="connsiteX1111" fmla="*/ 3857399 w 4598650"/>
                    <a:gd name="connsiteY1111" fmla="*/ 896970 h 1719830"/>
                    <a:gd name="connsiteX1112" fmla="*/ 3854697 w 4598650"/>
                    <a:gd name="connsiteY1112" fmla="*/ 888691 h 1719830"/>
                    <a:gd name="connsiteX1113" fmla="*/ 3855243 w 4598650"/>
                    <a:gd name="connsiteY1113" fmla="*/ 887251 h 1719830"/>
                    <a:gd name="connsiteX1114" fmla="*/ 3860089 w 4598650"/>
                    <a:gd name="connsiteY1114" fmla="*/ 887656 h 1719830"/>
                    <a:gd name="connsiteX1115" fmla="*/ 3867192 w 4598650"/>
                    <a:gd name="connsiteY1115" fmla="*/ 867318 h 1719830"/>
                    <a:gd name="connsiteX1116" fmla="*/ 3867470 w 4598650"/>
                    <a:gd name="connsiteY1116" fmla="*/ 867138 h 1719830"/>
                    <a:gd name="connsiteX1117" fmla="*/ 3868764 w 4598650"/>
                    <a:gd name="connsiteY1117" fmla="*/ 865563 h 1719830"/>
                    <a:gd name="connsiteX1118" fmla="*/ 3868676 w 4598650"/>
                    <a:gd name="connsiteY1118" fmla="*/ 865068 h 1719830"/>
                    <a:gd name="connsiteX1119" fmla="*/ 3874383 w 4598650"/>
                    <a:gd name="connsiteY1119" fmla="*/ 860344 h 1719830"/>
                    <a:gd name="connsiteX1120" fmla="*/ 3897392 w 4598650"/>
                    <a:gd name="connsiteY1120" fmla="*/ 854315 h 1719830"/>
                    <a:gd name="connsiteX1121" fmla="*/ 3908897 w 4598650"/>
                    <a:gd name="connsiteY1121" fmla="*/ 864753 h 1719830"/>
                    <a:gd name="connsiteX1122" fmla="*/ 3910343 w 4598650"/>
                    <a:gd name="connsiteY1122" fmla="*/ 866059 h 1719830"/>
                    <a:gd name="connsiteX1123" fmla="*/ 3916622 w 4598650"/>
                    <a:gd name="connsiteY1123" fmla="*/ 853820 h 1719830"/>
                    <a:gd name="connsiteX1124" fmla="*/ 3934151 w 4598650"/>
                    <a:gd name="connsiteY1124" fmla="*/ 839596 h 1719830"/>
                    <a:gd name="connsiteX1125" fmla="*/ 3941622 w 4598650"/>
                    <a:gd name="connsiteY1125" fmla="*/ 835501 h 1719830"/>
                    <a:gd name="connsiteX1126" fmla="*/ 3949081 w 4598650"/>
                    <a:gd name="connsiteY1126" fmla="*/ 831541 h 1719830"/>
                    <a:gd name="connsiteX1127" fmla="*/ 3945402 w 4598650"/>
                    <a:gd name="connsiteY1127" fmla="*/ 862679 h 1719830"/>
                    <a:gd name="connsiteX1128" fmla="*/ 3947647 w 4598650"/>
                    <a:gd name="connsiteY1128" fmla="*/ 864613 h 1719830"/>
                    <a:gd name="connsiteX1129" fmla="*/ 3950019 w 4598650"/>
                    <a:gd name="connsiteY1129" fmla="*/ 866593 h 1719830"/>
                    <a:gd name="connsiteX1130" fmla="*/ 3957439 w 4598650"/>
                    <a:gd name="connsiteY1130" fmla="*/ 853590 h 1719830"/>
                    <a:gd name="connsiteX1131" fmla="*/ 3965798 w 4598650"/>
                    <a:gd name="connsiteY1131" fmla="*/ 841890 h 1719830"/>
                    <a:gd name="connsiteX1132" fmla="*/ 3971773 w 4598650"/>
                    <a:gd name="connsiteY1132" fmla="*/ 837166 h 1719830"/>
                    <a:gd name="connsiteX1133" fmla="*/ 3972318 w 4598650"/>
                    <a:gd name="connsiteY1133" fmla="*/ 836805 h 1719830"/>
                    <a:gd name="connsiteX1134" fmla="*/ 3994566 w 4598650"/>
                    <a:gd name="connsiteY1134" fmla="*/ 827266 h 1719830"/>
                    <a:gd name="connsiteX1135" fmla="*/ 4051417 w 4598650"/>
                    <a:gd name="connsiteY1135" fmla="*/ 850440 h 1719830"/>
                    <a:gd name="connsiteX1136" fmla="*/ 4059775 w 4598650"/>
                    <a:gd name="connsiteY1136" fmla="*/ 858134 h 1719830"/>
                    <a:gd name="connsiteX1137" fmla="*/ 4060169 w 4598650"/>
                    <a:gd name="connsiteY1137" fmla="*/ 858449 h 1719830"/>
                    <a:gd name="connsiteX1138" fmla="*/ 4075364 w 4598650"/>
                    <a:gd name="connsiteY1138" fmla="*/ 832621 h 1719830"/>
                    <a:gd name="connsiteX1139" fmla="*/ 4078192 w 4598650"/>
                    <a:gd name="connsiteY1139" fmla="*/ 829382 h 1719830"/>
                    <a:gd name="connsiteX1140" fmla="*/ 4086869 w 4598650"/>
                    <a:gd name="connsiteY1140" fmla="*/ 820873 h 1719830"/>
                    <a:gd name="connsiteX1141" fmla="*/ 4087313 w 4598650"/>
                    <a:gd name="connsiteY1141" fmla="*/ 820468 h 1719830"/>
                    <a:gd name="connsiteX1142" fmla="*/ 4091041 w 4598650"/>
                    <a:gd name="connsiteY1142" fmla="*/ 816869 h 1719830"/>
                    <a:gd name="connsiteX1143" fmla="*/ 4092209 w 4598650"/>
                    <a:gd name="connsiteY1143" fmla="*/ 815789 h 1719830"/>
                    <a:gd name="connsiteX1144" fmla="*/ 4106872 w 4598650"/>
                    <a:gd name="connsiteY1144" fmla="*/ 802425 h 1719830"/>
                    <a:gd name="connsiteX1145" fmla="*/ 4107353 w 4598650"/>
                    <a:gd name="connsiteY1145" fmla="*/ 801976 h 1719830"/>
                    <a:gd name="connsiteX1146" fmla="*/ 4111945 w 4598650"/>
                    <a:gd name="connsiteY1146" fmla="*/ 797970 h 1719830"/>
                    <a:gd name="connsiteX1147" fmla="*/ 4112034 w 4598650"/>
                    <a:gd name="connsiteY1147" fmla="*/ 797881 h 1719830"/>
                    <a:gd name="connsiteX1148" fmla="*/ 4114736 w 4598650"/>
                    <a:gd name="connsiteY1148" fmla="*/ 795541 h 1719830"/>
                    <a:gd name="connsiteX1149" fmla="*/ 4117564 w 4598650"/>
                    <a:gd name="connsiteY1149" fmla="*/ 793111 h 1719830"/>
                    <a:gd name="connsiteX1150" fmla="*/ 4124122 w 4598650"/>
                    <a:gd name="connsiteY1150" fmla="*/ 787622 h 1719830"/>
                    <a:gd name="connsiteX1151" fmla="*/ 4124667 w 4598650"/>
                    <a:gd name="connsiteY1151" fmla="*/ 787171 h 1719830"/>
                    <a:gd name="connsiteX1152" fmla="*/ 4128702 w 4598650"/>
                    <a:gd name="connsiteY1152" fmla="*/ 783843 h 1719830"/>
                    <a:gd name="connsiteX1153" fmla="*/ 4131581 w 4598650"/>
                    <a:gd name="connsiteY1153" fmla="*/ 781458 h 1719830"/>
                    <a:gd name="connsiteX1154" fmla="*/ 4134142 w 4598650"/>
                    <a:gd name="connsiteY1154" fmla="*/ 779299 h 1719830"/>
                    <a:gd name="connsiteX1155" fmla="*/ 4145064 w 4598650"/>
                    <a:gd name="connsiteY1155" fmla="*/ 769850 h 1719830"/>
                    <a:gd name="connsiteX1156" fmla="*/ 4152294 w 4598650"/>
                    <a:gd name="connsiteY1156" fmla="*/ 763820 h 1719830"/>
                    <a:gd name="connsiteX1157" fmla="*/ 4162898 w 4598650"/>
                    <a:gd name="connsiteY1157" fmla="*/ 756441 h 1719830"/>
                    <a:gd name="connsiteX1158" fmla="*/ 4163443 w 4598650"/>
                    <a:gd name="connsiteY1158" fmla="*/ 756080 h 1719830"/>
                    <a:gd name="connsiteX1159" fmla="*/ 4170140 w 4598650"/>
                    <a:gd name="connsiteY1159" fmla="*/ 752436 h 1719830"/>
                    <a:gd name="connsiteX1160" fmla="*/ 4178765 w 4598650"/>
                    <a:gd name="connsiteY1160" fmla="*/ 748341 h 1719830"/>
                    <a:gd name="connsiteX1161" fmla="*/ 4179666 w 4598650"/>
                    <a:gd name="connsiteY1161" fmla="*/ 747891 h 1719830"/>
                    <a:gd name="connsiteX1162" fmla="*/ 4195306 w 4598650"/>
                    <a:gd name="connsiteY1162" fmla="*/ 739972 h 1719830"/>
                    <a:gd name="connsiteX1163" fmla="*/ 4199213 w 4598650"/>
                    <a:gd name="connsiteY1163" fmla="*/ 737903 h 1719830"/>
                    <a:gd name="connsiteX1164" fmla="*/ 4233003 w 4598650"/>
                    <a:gd name="connsiteY1164" fmla="*/ 718284 h 1719830"/>
                    <a:gd name="connsiteX1165" fmla="*/ 4245142 w 4598650"/>
                    <a:gd name="connsiteY1165" fmla="*/ 707575 h 1719830"/>
                    <a:gd name="connsiteX1166" fmla="*/ 4250305 w 4598650"/>
                    <a:gd name="connsiteY1166" fmla="*/ 701681 h 1719830"/>
                    <a:gd name="connsiteX1167" fmla="*/ 4255112 w 4598650"/>
                    <a:gd name="connsiteY1167" fmla="*/ 696281 h 1719830"/>
                    <a:gd name="connsiteX1168" fmla="*/ 4255480 w 4598650"/>
                    <a:gd name="connsiteY1168" fmla="*/ 696462 h 1719830"/>
                    <a:gd name="connsiteX1169" fmla="*/ 4257090 w 4598650"/>
                    <a:gd name="connsiteY1169" fmla="*/ 697136 h 1719830"/>
                    <a:gd name="connsiteX1170" fmla="*/ 4306800 w 4598650"/>
                    <a:gd name="connsiteY1170" fmla="*/ 718960 h 1719830"/>
                    <a:gd name="connsiteX1171" fmla="*/ 4309400 w 4598650"/>
                    <a:gd name="connsiteY1171" fmla="*/ 716304 h 1719830"/>
                    <a:gd name="connsiteX1172" fmla="*/ 4320689 w 4598650"/>
                    <a:gd name="connsiteY1172" fmla="*/ 704965 h 1719830"/>
                    <a:gd name="connsiteX1173" fmla="*/ 4320689 w 4598650"/>
                    <a:gd name="connsiteY1173" fmla="*/ 689252 h 1719830"/>
                    <a:gd name="connsiteX1174" fmla="*/ 4295651 w 4598650"/>
                    <a:gd name="connsiteY1174" fmla="*/ 647676 h 1719830"/>
                    <a:gd name="connsiteX1175" fmla="*/ 4295384 w 4598650"/>
                    <a:gd name="connsiteY1175" fmla="*/ 647405 h 1719830"/>
                    <a:gd name="connsiteX1176" fmla="*/ 4294129 w 4598650"/>
                    <a:gd name="connsiteY1176" fmla="*/ 646190 h 1719830"/>
                    <a:gd name="connsiteX1177" fmla="*/ 4292505 w 4598650"/>
                    <a:gd name="connsiteY1177" fmla="*/ 644666 h 1719830"/>
                    <a:gd name="connsiteX1178" fmla="*/ 4292188 w 4598650"/>
                    <a:gd name="connsiteY1178" fmla="*/ 644351 h 1719830"/>
                    <a:gd name="connsiteX1179" fmla="*/ 4291554 w 4598650"/>
                    <a:gd name="connsiteY1179" fmla="*/ 605159 h 1719830"/>
                    <a:gd name="connsiteX1180" fmla="*/ 4287646 w 4598650"/>
                    <a:gd name="connsiteY1180" fmla="*/ 602238 h 1719830"/>
                    <a:gd name="connsiteX1181" fmla="*/ 4283512 w 4598650"/>
                    <a:gd name="connsiteY1181" fmla="*/ 602193 h 1719830"/>
                    <a:gd name="connsiteX1182" fmla="*/ 4279516 w 4598650"/>
                    <a:gd name="connsiteY1182" fmla="*/ 601654 h 1719830"/>
                    <a:gd name="connsiteX1183" fmla="*/ 4261175 w 4598650"/>
                    <a:gd name="connsiteY1183" fmla="*/ 569436 h 1719830"/>
                    <a:gd name="connsiteX1184" fmla="*/ 4255784 w 4598650"/>
                    <a:gd name="connsiteY1184" fmla="*/ 571595 h 1719830"/>
                    <a:gd name="connsiteX1185" fmla="*/ 4246309 w 4598650"/>
                    <a:gd name="connsiteY1185" fmla="*/ 574340 h 1719830"/>
                    <a:gd name="connsiteX1186" fmla="*/ 4234031 w 4598650"/>
                    <a:gd name="connsiteY1186" fmla="*/ 565704 h 1719830"/>
                    <a:gd name="connsiteX1187" fmla="*/ 4231240 w 4598650"/>
                    <a:gd name="connsiteY1187" fmla="*/ 561924 h 1719830"/>
                    <a:gd name="connsiteX1188" fmla="*/ 4249937 w 4598650"/>
                    <a:gd name="connsiteY1188" fmla="*/ 559585 h 1719830"/>
                    <a:gd name="connsiteX1189" fmla="*/ 4255201 w 4598650"/>
                    <a:gd name="connsiteY1189" fmla="*/ 558909 h 1719830"/>
                    <a:gd name="connsiteX1190" fmla="*/ 4263509 w 4598650"/>
                    <a:gd name="connsiteY1190" fmla="*/ 557875 h 1719830"/>
                    <a:gd name="connsiteX1191" fmla="*/ 4310833 w 4598650"/>
                    <a:gd name="connsiteY1191" fmla="*/ 565840 h 1719830"/>
                    <a:gd name="connsiteX1192" fmla="*/ 4314385 w 4598650"/>
                    <a:gd name="connsiteY1192" fmla="*/ 564804 h 1719830"/>
                    <a:gd name="connsiteX1193" fmla="*/ 4320676 w 4598650"/>
                    <a:gd name="connsiteY1193" fmla="*/ 563499 h 1719830"/>
                    <a:gd name="connsiteX1194" fmla="*/ 4320676 w 4598650"/>
                    <a:gd name="connsiteY1194" fmla="*/ 474441 h 1719830"/>
                    <a:gd name="connsiteX1195" fmla="*/ 4333792 w 4598650"/>
                    <a:gd name="connsiteY1195" fmla="*/ 460852 h 1719830"/>
                    <a:gd name="connsiteX1196" fmla="*/ 4353389 w 4598650"/>
                    <a:gd name="connsiteY1196" fmla="*/ 464317 h 1719830"/>
                    <a:gd name="connsiteX1197" fmla="*/ 4346514 w 4598650"/>
                    <a:gd name="connsiteY1197" fmla="*/ 486230 h 1719830"/>
                    <a:gd name="connsiteX1198" fmla="*/ 4359731 w 4598650"/>
                    <a:gd name="connsiteY1198" fmla="*/ 517502 h 1719830"/>
                    <a:gd name="connsiteX1199" fmla="*/ 4386787 w 4598650"/>
                    <a:gd name="connsiteY1199" fmla="*/ 512868 h 1719830"/>
                    <a:gd name="connsiteX1200" fmla="*/ 4430915 w 4598650"/>
                    <a:gd name="connsiteY1200" fmla="*/ 540180 h 1719830"/>
                    <a:gd name="connsiteX1201" fmla="*/ 4450550 w 4598650"/>
                    <a:gd name="connsiteY1201" fmla="*/ 563533 h 1719830"/>
                    <a:gd name="connsiteX1202" fmla="*/ 4472747 w 4598650"/>
                    <a:gd name="connsiteY1202" fmla="*/ 575006 h 1719830"/>
                    <a:gd name="connsiteX1203" fmla="*/ 4508973 w 4598650"/>
                    <a:gd name="connsiteY1203" fmla="*/ 596695 h 1719830"/>
                    <a:gd name="connsiteX1204" fmla="*/ 4514364 w 4598650"/>
                    <a:gd name="connsiteY1204" fmla="*/ 585986 h 1719830"/>
                    <a:gd name="connsiteX1205" fmla="*/ 4526947 w 4598650"/>
                    <a:gd name="connsiteY1205" fmla="*/ 586661 h 1719830"/>
                    <a:gd name="connsiteX1206" fmla="*/ 4524384 w 4598650"/>
                    <a:gd name="connsiteY1206" fmla="*/ 553724 h 1719830"/>
                    <a:gd name="connsiteX1207" fmla="*/ 4528925 w 4598650"/>
                    <a:gd name="connsiteY1207" fmla="*/ 538650 h 1719830"/>
                    <a:gd name="connsiteX1208" fmla="*/ 4523623 w 4598650"/>
                    <a:gd name="connsiteY1208" fmla="*/ 507108 h 1719830"/>
                    <a:gd name="connsiteX1209" fmla="*/ 4565101 w 4598650"/>
                    <a:gd name="connsiteY1209" fmla="*/ 516467 h 1719830"/>
                    <a:gd name="connsiteX1210" fmla="*/ 4557642 w 4598650"/>
                    <a:gd name="connsiteY1210" fmla="*/ 499728 h 1719830"/>
                    <a:gd name="connsiteX1211" fmla="*/ 4577912 w 4598650"/>
                    <a:gd name="connsiteY1211" fmla="*/ 507018 h 1719830"/>
                    <a:gd name="connsiteX1212" fmla="*/ 4598625 w 4598650"/>
                    <a:gd name="connsiteY1212" fmla="*/ 477770 h 1719830"/>
                    <a:gd name="connsiteX1213" fmla="*/ 4539289 w 4598650"/>
                    <a:gd name="connsiteY1213" fmla="*/ 413786 h 1719830"/>
                    <a:gd name="connsiteX1214" fmla="*/ 2314267 w 4598650"/>
                    <a:gd name="connsiteY1214" fmla="*/ 1182587 h 1719830"/>
                    <a:gd name="connsiteX1215" fmla="*/ 2296344 w 4598650"/>
                    <a:gd name="connsiteY1215" fmla="*/ 1218540 h 1719830"/>
                    <a:gd name="connsiteX1216" fmla="*/ 2238453 w 4598650"/>
                    <a:gd name="connsiteY1216" fmla="*/ 1258856 h 1719830"/>
                    <a:gd name="connsiteX1217" fmla="*/ 2174601 w 4598650"/>
                    <a:gd name="connsiteY1217" fmla="*/ 1289450 h 1719830"/>
                    <a:gd name="connsiteX1218" fmla="*/ 2216027 w 4598650"/>
                    <a:gd name="connsiteY1218" fmla="*/ 1267720 h 1719830"/>
                    <a:gd name="connsiteX1219" fmla="*/ 2272434 w 4598650"/>
                    <a:gd name="connsiteY1219" fmla="*/ 1204590 h 1719830"/>
                    <a:gd name="connsiteX1220" fmla="*/ 2341322 w 4598650"/>
                    <a:gd name="connsiteY1220" fmla="*/ 1091200 h 1719830"/>
                    <a:gd name="connsiteX1221" fmla="*/ 2314267 w 4598650"/>
                    <a:gd name="connsiteY1221" fmla="*/ 1182587 h 1719830"/>
                    <a:gd name="connsiteX1222" fmla="*/ 3813144 w 4598650"/>
                    <a:gd name="connsiteY1222" fmla="*/ 264631 h 1719830"/>
                    <a:gd name="connsiteX1223" fmla="*/ 3807538 w 4598650"/>
                    <a:gd name="connsiteY1223" fmla="*/ 242133 h 1719830"/>
                    <a:gd name="connsiteX1224" fmla="*/ 3807538 w 4598650"/>
                    <a:gd name="connsiteY1224" fmla="*/ 242043 h 1719830"/>
                    <a:gd name="connsiteX1225" fmla="*/ 3809998 w 4598650"/>
                    <a:gd name="connsiteY1225" fmla="*/ 229535 h 1719830"/>
                    <a:gd name="connsiteX1226" fmla="*/ 3813144 w 4598650"/>
                    <a:gd name="connsiteY1226" fmla="*/ 224090 h 17198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  <a:cxn ang="0">
                      <a:pos x="connsiteX646" y="connsiteY646"/>
                    </a:cxn>
                    <a:cxn ang="0">
                      <a:pos x="connsiteX647" y="connsiteY647"/>
                    </a:cxn>
                    <a:cxn ang="0">
                      <a:pos x="connsiteX648" y="connsiteY648"/>
                    </a:cxn>
                    <a:cxn ang="0">
                      <a:pos x="connsiteX649" y="connsiteY649"/>
                    </a:cxn>
                    <a:cxn ang="0">
                      <a:pos x="connsiteX650" y="connsiteY650"/>
                    </a:cxn>
                    <a:cxn ang="0">
                      <a:pos x="connsiteX651" y="connsiteY651"/>
                    </a:cxn>
                    <a:cxn ang="0">
                      <a:pos x="connsiteX652" y="connsiteY652"/>
                    </a:cxn>
                    <a:cxn ang="0">
                      <a:pos x="connsiteX653" y="connsiteY653"/>
                    </a:cxn>
                    <a:cxn ang="0">
                      <a:pos x="connsiteX654" y="connsiteY654"/>
                    </a:cxn>
                    <a:cxn ang="0">
                      <a:pos x="connsiteX655" y="connsiteY655"/>
                    </a:cxn>
                    <a:cxn ang="0">
                      <a:pos x="connsiteX656" y="connsiteY656"/>
                    </a:cxn>
                    <a:cxn ang="0">
                      <a:pos x="connsiteX657" y="connsiteY657"/>
                    </a:cxn>
                    <a:cxn ang="0">
                      <a:pos x="connsiteX658" y="connsiteY658"/>
                    </a:cxn>
                    <a:cxn ang="0">
                      <a:pos x="connsiteX659" y="connsiteY659"/>
                    </a:cxn>
                    <a:cxn ang="0">
                      <a:pos x="connsiteX660" y="connsiteY660"/>
                    </a:cxn>
                    <a:cxn ang="0">
                      <a:pos x="connsiteX661" y="connsiteY661"/>
                    </a:cxn>
                    <a:cxn ang="0">
                      <a:pos x="connsiteX662" y="connsiteY662"/>
                    </a:cxn>
                    <a:cxn ang="0">
                      <a:pos x="connsiteX663" y="connsiteY663"/>
                    </a:cxn>
                    <a:cxn ang="0">
                      <a:pos x="connsiteX664" y="connsiteY664"/>
                    </a:cxn>
                    <a:cxn ang="0">
                      <a:pos x="connsiteX665" y="connsiteY665"/>
                    </a:cxn>
                    <a:cxn ang="0">
                      <a:pos x="connsiteX666" y="connsiteY666"/>
                    </a:cxn>
                    <a:cxn ang="0">
                      <a:pos x="connsiteX667" y="connsiteY667"/>
                    </a:cxn>
                    <a:cxn ang="0">
                      <a:pos x="connsiteX668" y="connsiteY668"/>
                    </a:cxn>
                    <a:cxn ang="0">
                      <a:pos x="connsiteX669" y="connsiteY669"/>
                    </a:cxn>
                    <a:cxn ang="0">
                      <a:pos x="connsiteX670" y="connsiteY670"/>
                    </a:cxn>
                    <a:cxn ang="0">
                      <a:pos x="connsiteX671" y="connsiteY671"/>
                    </a:cxn>
                    <a:cxn ang="0">
                      <a:pos x="connsiteX672" y="connsiteY672"/>
                    </a:cxn>
                    <a:cxn ang="0">
                      <a:pos x="connsiteX673" y="connsiteY673"/>
                    </a:cxn>
                    <a:cxn ang="0">
                      <a:pos x="connsiteX674" y="connsiteY674"/>
                    </a:cxn>
                    <a:cxn ang="0">
                      <a:pos x="connsiteX675" y="connsiteY675"/>
                    </a:cxn>
                    <a:cxn ang="0">
                      <a:pos x="connsiteX676" y="connsiteY676"/>
                    </a:cxn>
                    <a:cxn ang="0">
                      <a:pos x="connsiteX677" y="connsiteY677"/>
                    </a:cxn>
                    <a:cxn ang="0">
                      <a:pos x="connsiteX678" y="connsiteY678"/>
                    </a:cxn>
                    <a:cxn ang="0">
                      <a:pos x="connsiteX679" y="connsiteY679"/>
                    </a:cxn>
                    <a:cxn ang="0">
                      <a:pos x="connsiteX680" y="connsiteY680"/>
                    </a:cxn>
                    <a:cxn ang="0">
                      <a:pos x="connsiteX681" y="connsiteY681"/>
                    </a:cxn>
                    <a:cxn ang="0">
                      <a:pos x="connsiteX682" y="connsiteY682"/>
                    </a:cxn>
                    <a:cxn ang="0">
                      <a:pos x="connsiteX683" y="connsiteY683"/>
                    </a:cxn>
                    <a:cxn ang="0">
                      <a:pos x="connsiteX684" y="connsiteY684"/>
                    </a:cxn>
                    <a:cxn ang="0">
                      <a:pos x="connsiteX685" y="connsiteY685"/>
                    </a:cxn>
                    <a:cxn ang="0">
                      <a:pos x="connsiteX686" y="connsiteY686"/>
                    </a:cxn>
                    <a:cxn ang="0">
                      <a:pos x="connsiteX687" y="connsiteY687"/>
                    </a:cxn>
                    <a:cxn ang="0">
                      <a:pos x="connsiteX688" y="connsiteY688"/>
                    </a:cxn>
                    <a:cxn ang="0">
                      <a:pos x="connsiteX689" y="connsiteY689"/>
                    </a:cxn>
                    <a:cxn ang="0">
                      <a:pos x="connsiteX690" y="connsiteY690"/>
                    </a:cxn>
                    <a:cxn ang="0">
                      <a:pos x="connsiteX691" y="connsiteY691"/>
                    </a:cxn>
                    <a:cxn ang="0">
                      <a:pos x="connsiteX692" y="connsiteY692"/>
                    </a:cxn>
                    <a:cxn ang="0">
                      <a:pos x="connsiteX693" y="connsiteY693"/>
                    </a:cxn>
                    <a:cxn ang="0">
                      <a:pos x="connsiteX694" y="connsiteY694"/>
                    </a:cxn>
                    <a:cxn ang="0">
                      <a:pos x="connsiteX695" y="connsiteY695"/>
                    </a:cxn>
                    <a:cxn ang="0">
                      <a:pos x="connsiteX696" y="connsiteY696"/>
                    </a:cxn>
                    <a:cxn ang="0">
                      <a:pos x="connsiteX697" y="connsiteY697"/>
                    </a:cxn>
                    <a:cxn ang="0">
                      <a:pos x="connsiteX698" y="connsiteY698"/>
                    </a:cxn>
                    <a:cxn ang="0">
                      <a:pos x="connsiteX699" y="connsiteY699"/>
                    </a:cxn>
                    <a:cxn ang="0">
                      <a:pos x="connsiteX700" y="connsiteY700"/>
                    </a:cxn>
                    <a:cxn ang="0">
                      <a:pos x="connsiteX701" y="connsiteY701"/>
                    </a:cxn>
                    <a:cxn ang="0">
                      <a:pos x="connsiteX702" y="connsiteY702"/>
                    </a:cxn>
                    <a:cxn ang="0">
                      <a:pos x="connsiteX703" y="connsiteY703"/>
                    </a:cxn>
                    <a:cxn ang="0">
                      <a:pos x="connsiteX704" y="connsiteY704"/>
                    </a:cxn>
                    <a:cxn ang="0">
                      <a:pos x="connsiteX705" y="connsiteY705"/>
                    </a:cxn>
                    <a:cxn ang="0">
                      <a:pos x="connsiteX706" y="connsiteY706"/>
                    </a:cxn>
                    <a:cxn ang="0">
                      <a:pos x="connsiteX707" y="connsiteY707"/>
                    </a:cxn>
                    <a:cxn ang="0">
                      <a:pos x="connsiteX708" y="connsiteY708"/>
                    </a:cxn>
                    <a:cxn ang="0">
                      <a:pos x="connsiteX709" y="connsiteY709"/>
                    </a:cxn>
                    <a:cxn ang="0">
                      <a:pos x="connsiteX710" y="connsiteY710"/>
                    </a:cxn>
                    <a:cxn ang="0">
                      <a:pos x="connsiteX711" y="connsiteY711"/>
                    </a:cxn>
                    <a:cxn ang="0">
                      <a:pos x="connsiteX712" y="connsiteY712"/>
                    </a:cxn>
                    <a:cxn ang="0">
                      <a:pos x="connsiteX713" y="connsiteY713"/>
                    </a:cxn>
                    <a:cxn ang="0">
                      <a:pos x="connsiteX714" y="connsiteY714"/>
                    </a:cxn>
                    <a:cxn ang="0">
                      <a:pos x="connsiteX715" y="connsiteY715"/>
                    </a:cxn>
                    <a:cxn ang="0">
                      <a:pos x="connsiteX716" y="connsiteY716"/>
                    </a:cxn>
                    <a:cxn ang="0">
                      <a:pos x="connsiteX717" y="connsiteY717"/>
                    </a:cxn>
                    <a:cxn ang="0">
                      <a:pos x="connsiteX718" y="connsiteY718"/>
                    </a:cxn>
                    <a:cxn ang="0">
                      <a:pos x="connsiteX719" y="connsiteY719"/>
                    </a:cxn>
                    <a:cxn ang="0">
                      <a:pos x="connsiteX720" y="connsiteY720"/>
                    </a:cxn>
                    <a:cxn ang="0">
                      <a:pos x="connsiteX721" y="connsiteY721"/>
                    </a:cxn>
                    <a:cxn ang="0">
                      <a:pos x="connsiteX722" y="connsiteY722"/>
                    </a:cxn>
                    <a:cxn ang="0">
                      <a:pos x="connsiteX723" y="connsiteY723"/>
                    </a:cxn>
                    <a:cxn ang="0">
                      <a:pos x="connsiteX724" y="connsiteY724"/>
                    </a:cxn>
                    <a:cxn ang="0">
                      <a:pos x="connsiteX725" y="connsiteY725"/>
                    </a:cxn>
                    <a:cxn ang="0">
                      <a:pos x="connsiteX726" y="connsiteY726"/>
                    </a:cxn>
                    <a:cxn ang="0">
                      <a:pos x="connsiteX727" y="connsiteY727"/>
                    </a:cxn>
                    <a:cxn ang="0">
                      <a:pos x="connsiteX728" y="connsiteY728"/>
                    </a:cxn>
                    <a:cxn ang="0">
                      <a:pos x="connsiteX729" y="connsiteY729"/>
                    </a:cxn>
                    <a:cxn ang="0">
                      <a:pos x="connsiteX730" y="connsiteY730"/>
                    </a:cxn>
                    <a:cxn ang="0">
                      <a:pos x="connsiteX731" y="connsiteY731"/>
                    </a:cxn>
                    <a:cxn ang="0">
                      <a:pos x="connsiteX732" y="connsiteY732"/>
                    </a:cxn>
                    <a:cxn ang="0">
                      <a:pos x="connsiteX733" y="connsiteY733"/>
                    </a:cxn>
                    <a:cxn ang="0">
                      <a:pos x="connsiteX734" y="connsiteY734"/>
                    </a:cxn>
                    <a:cxn ang="0">
                      <a:pos x="connsiteX735" y="connsiteY735"/>
                    </a:cxn>
                    <a:cxn ang="0">
                      <a:pos x="connsiteX736" y="connsiteY736"/>
                    </a:cxn>
                    <a:cxn ang="0">
                      <a:pos x="connsiteX737" y="connsiteY737"/>
                    </a:cxn>
                    <a:cxn ang="0">
                      <a:pos x="connsiteX738" y="connsiteY738"/>
                    </a:cxn>
                    <a:cxn ang="0">
                      <a:pos x="connsiteX739" y="connsiteY739"/>
                    </a:cxn>
                    <a:cxn ang="0">
                      <a:pos x="connsiteX740" y="connsiteY740"/>
                    </a:cxn>
                    <a:cxn ang="0">
                      <a:pos x="connsiteX741" y="connsiteY741"/>
                    </a:cxn>
                    <a:cxn ang="0">
                      <a:pos x="connsiteX742" y="connsiteY742"/>
                    </a:cxn>
                    <a:cxn ang="0">
                      <a:pos x="connsiteX743" y="connsiteY743"/>
                    </a:cxn>
                    <a:cxn ang="0">
                      <a:pos x="connsiteX744" y="connsiteY744"/>
                    </a:cxn>
                    <a:cxn ang="0">
                      <a:pos x="connsiteX745" y="connsiteY745"/>
                    </a:cxn>
                    <a:cxn ang="0">
                      <a:pos x="connsiteX746" y="connsiteY746"/>
                    </a:cxn>
                    <a:cxn ang="0">
                      <a:pos x="connsiteX747" y="connsiteY747"/>
                    </a:cxn>
                    <a:cxn ang="0">
                      <a:pos x="connsiteX748" y="connsiteY748"/>
                    </a:cxn>
                    <a:cxn ang="0">
                      <a:pos x="connsiteX749" y="connsiteY749"/>
                    </a:cxn>
                    <a:cxn ang="0">
                      <a:pos x="connsiteX750" y="connsiteY750"/>
                    </a:cxn>
                    <a:cxn ang="0">
                      <a:pos x="connsiteX751" y="connsiteY751"/>
                    </a:cxn>
                    <a:cxn ang="0">
                      <a:pos x="connsiteX752" y="connsiteY752"/>
                    </a:cxn>
                    <a:cxn ang="0">
                      <a:pos x="connsiteX753" y="connsiteY753"/>
                    </a:cxn>
                    <a:cxn ang="0">
                      <a:pos x="connsiteX754" y="connsiteY754"/>
                    </a:cxn>
                    <a:cxn ang="0">
                      <a:pos x="connsiteX755" y="connsiteY755"/>
                    </a:cxn>
                    <a:cxn ang="0">
                      <a:pos x="connsiteX756" y="connsiteY756"/>
                    </a:cxn>
                    <a:cxn ang="0">
                      <a:pos x="connsiteX757" y="connsiteY757"/>
                    </a:cxn>
                    <a:cxn ang="0">
                      <a:pos x="connsiteX758" y="connsiteY758"/>
                    </a:cxn>
                    <a:cxn ang="0">
                      <a:pos x="connsiteX759" y="connsiteY759"/>
                    </a:cxn>
                    <a:cxn ang="0">
                      <a:pos x="connsiteX760" y="connsiteY760"/>
                    </a:cxn>
                    <a:cxn ang="0">
                      <a:pos x="connsiteX761" y="connsiteY761"/>
                    </a:cxn>
                    <a:cxn ang="0">
                      <a:pos x="connsiteX762" y="connsiteY762"/>
                    </a:cxn>
                    <a:cxn ang="0">
                      <a:pos x="connsiteX763" y="connsiteY763"/>
                    </a:cxn>
                    <a:cxn ang="0">
                      <a:pos x="connsiteX764" y="connsiteY764"/>
                    </a:cxn>
                    <a:cxn ang="0">
                      <a:pos x="connsiteX765" y="connsiteY765"/>
                    </a:cxn>
                    <a:cxn ang="0">
                      <a:pos x="connsiteX766" y="connsiteY766"/>
                    </a:cxn>
                    <a:cxn ang="0">
                      <a:pos x="connsiteX767" y="connsiteY767"/>
                    </a:cxn>
                    <a:cxn ang="0">
                      <a:pos x="connsiteX768" y="connsiteY768"/>
                    </a:cxn>
                    <a:cxn ang="0">
                      <a:pos x="connsiteX769" y="connsiteY769"/>
                    </a:cxn>
                    <a:cxn ang="0">
                      <a:pos x="connsiteX770" y="connsiteY770"/>
                    </a:cxn>
                    <a:cxn ang="0">
                      <a:pos x="connsiteX771" y="connsiteY771"/>
                    </a:cxn>
                    <a:cxn ang="0">
                      <a:pos x="connsiteX772" y="connsiteY772"/>
                    </a:cxn>
                    <a:cxn ang="0">
                      <a:pos x="connsiteX773" y="connsiteY773"/>
                    </a:cxn>
                    <a:cxn ang="0">
                      <a:pos x="connsiteX774" y="connsiteY774"/>
                    </a:cxn>
                    <a:cxn ang="0">
                      <a:pos x="connsiteX775" y="connsiteY775"/>
                    </a:cxn>
                    <a:cxn ang="0">
                      <a:pos x="connsiteX776" y="connsiteY776"/>
                    </a:cxn>
                    <a:cxn ang="0">
                      <a:pos x="connsiteX777" y="connsiteY777"/>
                    </a:cxn>
                    <a:cxn ang="0">
                      <a:pos x="connsiteX778" y="connsiteY778"/>
                    </a:cxn>
                    <a:cxn ang="0">
                      <a:pos x="connsiteX779" y="connsiteY779"/>
                    </a:cxn>
                    <a:cxn ang="0">
                      <a:pos x="connsiteX780" y="connsiteY780"/>
                    </a:cxn>
                    <a:cxn ang="0">
                      <a:pos x="connsiteX781" y="connsiteY781"/>
                    </a:cxn>
                    <a:cxn ang="0">
                      <a:pos x="connsiteX782" y="connsiteY782"/>
                    </a:cxn>
                    <a:cxn ang="0">
                      <a:pos x="connsiteX783" y="connsiteY783"/>
                    </a:cxn>
                    <a:cxn ang="0">
                      <a:pos x="connsiteX784" y="connsiteY784"/>
                    </a:cxn>
                    <a:cxn ang="0">
                      <a:pos x="connsiteX785" y="connsiteY785"/>
                    </a:cxn>
                    <a:cxn ang="0">
                      <a:pos x="connsiteX786" y="connsiteY786"/>
                    </a:cxn>
                    <a:cxn ang="0">
                      <a:pos x="connsiteX787" y="connsiteY787"/>
                    </a:cxn>
                    <a:cxn ang="0">
                      <a:pos x="connsiteX788" y="connsiteY788"/>
                    </a:cxn>
                    <a:cxn ang="0">
                      <a:pos x="connsiteX789" y="connsiteY789"/>
                    </a:cxn>
                    <a:cxn ang="0">
                      <a:pos x="connsiteX790" y="connsiteY790"/>
                    </a:cxn>
                    <a:cxn ang="0">
                      <a:pos x="connsiteX791" y="connsiteY791"/>
                    </a:cxn>
                    <a:cxn ang="0">
                      <a:pos x="connsiteX792" y="connsiteY792"/>
                    </a:cxn>
                    <a:cxn ang="0">
                      <a:pos x="connsiteX793" y="connsiteY793"/>
                    </a:cxn>
                    <a:cxn ang="0">
                      <a:pos x="connsiteX794" y="connsiteY794"/>
                    </a:cxn>
                    <a:cxn ang="0">
                      <a:pos x="connsiteX795" y="connsiteY795"/>
                    </a:cxn>
                    <a:cxn ang="0">
                      <a:pos x="connsiteX796" y="connsiteY796"/>
                    </a:cxn>
                    <a:cxn ang="0">
                      <a:pos x="connsiteX797" y="connsiteY797"/>
                    </a:cxn>
                    <a:cxn ang="0">
                      <a:pos x="connsiteX798" y="connsiteY798"/>
                    </a:cxn>
                    <a:cxn ang="0">
                      <a:pos x="connsiteX799" y="connsiteY799"/>
                    </a:cxn>
                    <a:cxn ang="0">
                      <a:pos x="connsiteX800" y="connsiteY800"/>
                    </a:cxn>
                    <a:cxn ang="0">
                      <a:pos x="connsiteX801" y="connsiteY801"/>
                    </a:cxn>
                    <a:cxn ang="0">
                      <a:pos x="connsiteX802" y="connsiteY802"/>
                    </a:cxn>
                    <a:cxn ang="0">
                      <a:pos x="connsiteX803" y="connsiteY803"/>
                    </a:cxn>
                    <a:cxn ang="0">
                      <a:pos x="connsiteX804" y="connsiteY804"/>
                    </a:cxn>
                    <a:cxn ang="0">
                      <a:pos x="connsiteX805" y="connsiteY805"/>
                    </a:cxn>
                    <a:cxn ang="0">
                      <a:pos x="connsiteX806" y="connsiteY806"/>
                    </a:cxn>
                    <a:cxn ang="0">
                      <a:pos x="connsiteX807" y="connsiteY807"/>
                    </a:cxn>
                    <a:cxn ang="0">
                      <a:pos x="connsiteX808" y="connsiteY808"/>
                    </a:cxn>
                    <a:cxn ang="0">
                      <a:pos x="connsiteX809" y="connsiteY809"/>
                    </a:cxn>
                    <a:cxn ang="0">
                      <a:pos x="connsiteX810" y="connsiteY810"/>
                    </a:cxn>
                    <a:cxn ang="0">
                      <a:pos x="connsiteX811" y="connsiteY811"/>
                    </a:cxn>
                    <a:cxn ang="0">
                      <a:pos x="connsiteX812" y="connsiteY812"/>
                    </a:cxn>
                    <a:cxn ang="0">
                      <a:pos x="connsiteX813" y="connsiteY813"/>
                    </a:cxn>
                    <a:cxn ang="0">
                      <a:pos x="connsiteX814" y="connsiteY814"/>
                    </a:cxn>
                    <a:cxn ang="0">
                      <a:pos x="connsiteX815" y="connsiteY815"/>
                    </a:cxn>
                    <a:cxn ang="0">
                      <a:pos x="connsiteX816" y="connsiteY816"/>
                    </a:cxn>
                    <a:cxn ang="0">
                      <a:pos x="connsiteX817" y="connsiteY817"/>
                    </a:cxn>
                    <a:cxn ang="0">
                      <a:pos x="connsiteX818" y="connsiteY818"/>
                    </a:cxn>
                    <a:cxn ang="0">
                      <a:pos x="connsiteX819" y="connsiteY819"/>
                    </a:cxn>
                    <a:cxn ang="0">
                      <a:pos x="connsiteX820" y="connsiteY820"/>
                    </a:cxn>
                    <a:cxn ang="0">
                      <a:pos x="connsiteX821" y="connsiteY821"/>
                    </a:cxn>
                    <a:cxn ang="0">
                      <a:pos x="connsiteX822" y="connsiteY822"/>
                    </a:cxn>
                    <a:cxn ang="0">
                      <a:pos x="connsiteX823" y="connsiteY823"/>
                    </a:cxn>
                    <a:cxn ang="0">
                      <a:pos x="connsiteX824" y="connsiteY824"/>
                    </a:cxn>
                    <a:cxn ang="0">
                      <a:pos x="connsiteX825" y="connsiteY825"/>
                    </a:cxn>
                    <a:cxn ang="0">
                      <a:pos x="connsiteX826" y="connsiteY826"/>
                    </a:cxn>
                    <a:cxn ang="0">
                      <a:pos x="connsiteX827" y="connsiteY827"/>
                    </a:cxn>
                    <a:cxn ang="0">
                      <a:pos x="connsiteX828" y="connsiteY828"/>
                    </a:cxn>
                    <a:cxn ang="0">
                      <a:pos x="connsiteX829" y="connsiteY829"/>
                    </a:cxn>
                    <a:cxn ang="0">
                      <a:pos x="connsiteX830" y="connsiteY830"/>
                    </a:cxn>
                    <a:cxn ang="0">
                      <a:pos x="connsiteX831" y="connsiteY831"/>
                    </a:cxn>
                    <a:cxn ang="0">
                      <a:pos x="connsiteX832" y="connsiteY832"/>
                    </a:cxn>
                    <a:cxn ang="0">
                      <a:pos x="connsiteX833" y="connsiteY833"/>
                    </a:cxn>
                    <a:cxn ang="0">
                      <a:pos x="connsiteX834" y="connsiteY834"/>
                    </a:cxn>
                    <a:cxn ang="0">
                      <a:pos x="connsiteX835" y="connsiteY835"/>
                    </a:cxn>
                    <a:cxn ang="0">
                      <a:pos x="connsiteX836" y="connsiteY836"/>
                    </a:cxn>
                    <a:cxn ang="0">
                      <a:pos x="connsiteX837" y="connsiteY837"/>
                    </a:cxn>
                    <a:cxn ang="0">
                      <a:pos x="connsiteX838" y="connsiteY838"/>
                    </a:cxn>
                    <a:cxn ang="0">
                      <a:pos x="connsiteX839" y="connsiteY839"/>
                    </a:cxn>
                    <a:cxn ang="0">
                      <a:pos x="connsiteX840" y="connsiteY840"/>
                    </a:cxn>
                    <a:cxn ang="0">
                      <a:pos x="connsiteX841" y="connsiteY841"/>
                    </a:cxn>
                    <a:cxn ang="0">
                      <a:pos x="connsiteX842" y="connsiteY842"/>
                    </a:cxn>
                    <a:cxn ang="0">
                      <a:pos x="connsiteX843" y="connsiteY843"/>
                    </a:cxn>
                    <a:cxn ang="0">
                      <a:pos x="connsiteX844" y="connsiteY844"/>
                    </a:cxn>
                    <a:cxn ang="0">
                      <a:pos x="connsiteX845" y="connsiteY845"/>
                    </a:cxn>
                    <a:cxn ang="0">
                      <a:pos x="connsiteX846" y="connsiteY846"/>
                    </a:cxn>
                    <a:cxn ang="0">
                      <a:pos x="connsiteX847" y="connsiteY847"/>
                    </a:cxn>
                    <a:cxn ang="0">
                      <a:pos x="connsiteX848" y="connsiteY848"/>
                    </a:cxn>
                    <a:cxn ang="0">
                      <a:pos x="connsiteX849" y="connsiteY849"/>
                    </a:cxn>
                    <a:cxn ang="0">
                      <a:pos x="connsiteX850" y="connsiteY850"/>
                    </a:cxn>
                    <a:cxn ang="0">
                      <a:pos x="connsiteX851" y="connsiteY851"/>
                    </a:cxn>
                    <a:cxn ang="0">
                      <a:pos x="connsiteX852" y="connsiteY852"/>
                    </a:cxn>
                    <a:cxn ang="0">
                      <a:pos x="connsiteX853" y="connsiteY853"/>
                    </a:cxn>
                    <a:cxn ang="0">
                      <a:pos x="connsiteX854" y="connsiteY854"/>
                    </a:cxn>
                    <a:cxn ang="0">
                      <a:pos x="connsiteX855" y="connsiteY855"/>
                    </a:cxn>
                    <a:cxn ang="0">
                      <a:pos x="connsiteX856" y="connsiteY856"/>
                    </a:cxn>
                    <a:cxn ang="0">
                      <a:pos x="connsiteX857" y="connsiteY857"/>
                    </a:cxn>
                    <a:cxn ang="0">
                      <a:pos x="connsiteX858" y="connsiteY858"/>
                    </a:cxn>
                    <a:cxn ang="0">
                      <a:pos x="connsiteX859" y="connsiteY859"/>
                    </a:cxn>
                    <a:cxn ang="0">
                      <a:pos x="connsiteX860" y="connsiteY860"/>
                    </a:cxn>
                    <a:cxn ang="0">
                      <a:pos x="connsiteX861" y="connsiteY861"/>
                    </a:cxn>
                    <a:cxn ang="0">
                      <a:pos x="connsiteX862" y="connsiteY862"/>
                    </a:cxn>
                    <a:cxn ang="0">
                      <a:pos x="connsiteX863" y="connsiteY863"/>
                    </a:cxn>
                    <a:cxn ang="0">
                      <a:pos x="connsiteX864" y="connsiteY864"/>
                    </a:cxn>
                    <a:cxn ang="0">
                      <a:pos x="connsiteX865" y="connsiteY865"/>
                    </a:cxn>
                    <a:cxn ang="0">
                      <a:pos x="connsiteX866" y="connsiteY866"/>
                    </a:cxn>
                    <a:cxn ang="0">
                      <a:pos x="connsiteX867" y="connsiteY867"/>
                    </a:cxn>
                    <a:cxn ang="0">
                      <a:pos x="connsiteX868" y="connsiteY868"/>
                    </a:cxn>
                    <a:cxn ang="0">
                      <a:pos x="connsiteX869" y="connsiteY869"/>
                    </a:cxn>
                    <a:cxn ang="0">
                      <a:pos x="connsiteX870" y="connsiteY870"/>
                    </a:cxn>
                    <a:cxn ang="0">
                      <a:pos x="connsiteX871" y="connsiteY871"/>
                    </a:cxn>
                    <a:cxn ang="0">
                      <a:pos x="connsiteX872" y="connsiteY872"/>
                    </a:cxn>
                    <a:cxn ang="0">
                      <a:pos x="connsiteX873" y="connsiteY873"/>
                    </a:cxn>
                    <a:cxn ang="0">
                      <a:pos x="connsiteX874" y="connsiteY874"/>
                    </a:cxn>
                    <a:cxn ang="0">
                      <a:pos x="connsiteX875" y="connsiteY875"/>
                    </a:cxn>
                    <a:cxn ang="0">
                      <a:pos x="connsiteX876" y="connsiteY876"/>
                    </a:cxn>
                    <a:cxn ang="0">
                      <a:pos x="connsiteX877" y="connsiteY877"/>
                    </a:cxn>
                    <a:cxn ang="0">
                      <a:pos x="connsiteX878" y="connsiteY878"/>
                    </a:cxn>
                    <a:cxn ang="0">
                      <a:pos x="connsiteX879" y="connsiteY879"/>
                    </a:cxn>
                    <a:cxn ang="0">
                      <a:pos x="connsiteX880" y="connsiteY880"/>
                    </a:cxn>
                    <a:cxn ang="0">
                      <a:pos x="connsiteX881" y="connsiteY881"/>
                    </a:cxn>
                    <a:cxn ang="0">
                      <a:pos x="connsiteX882" y="connsiteY882"/>
                    </a:cxn>
                    <a:cxn ang="0">
                      <a:pos x="connsiteX883" y="connsiteY883"/>
                    </a:cxn>
                    <a:cxn ang="0">
                      <a:pos x="connsiteX884" y="connsiteY884"/>
                    </a:cxn>
                    <a:cxn ang="0">
                      <a:pos x="connsiteX885" y="connsiteY885"/>
                    </a:cxn>
                    <a:cxn ang="0">
                      <a:pos x="connsiteX886" y="connsiteY886"/>
                    </a:cxn>
                    <a:cxn ang="0">
                      <a:pos x="connsiteX887" y="connsiteY887"/>
                    </a:cxn>
                    <a:cxn ang="0">
                      <a:pos x="connsiteX888" y="connsiteY888"/>
                    </a:cxn>
                    <a:cxn ang="0">
                      <a:pos x="connsiteX889" y="connsiteY889"/>
                    </a:cxn>
                    <a:cxn ang="0">
                      <a:pos x="connsiteX890" y="connsiteY890"/>
                    </a:cxn>
                    <a:cxn ang="0">
                      <a:pos x="connsiteX891" y="connsiteY891"/>
                    </a:cxn>
                    <a:cxn ang="0">
                      <a:pos x="connsiteX892" y="connsiteY892"/>
                    </a:cxn>
                    <a:cxn ang="0">
                      <a:pos x="connsiteX893" y="connsiteY893"/>
                    </a:cxn>
                    <a:cxn ang="0">
                      <a:pos x="connsiteX894" y="connsiteY894"/>
                    </a:cxn>
                    <a:cxn ang="0">
                      <a:pos x="connsiteX895" y="connsiteY895"/>
                    </a:cxn>
                    <a:cxn ang="0">
                      <a:pos x="connsiteX896" y="connsiteY896"/>
                    </a:cxn>
                    <a:cxn ang="0">
                      <a:pos x="connsiteX897" y="connsiteY897"/>
                    </a:cxn>
                    <a:cxn ang="0">
                      <a:pos x="connsiteX898" y="connsiteY898"/>
                    </a:cxn>
                    <a:cxn ang="0">
                      <a:pos x="connsiteX899" y="connsiteY899"/>
                    </a:cxn>
                    <a:cxn ang="0">
                      <a:pos x="connsiteX900" y="connsiteY900"/>
                    </a:cxn>
                    <a:cxn ang="0">
                      <a:pos x="connsiteX901" y="connsiteY901"/>
                    </a:cxn>
                    <a:cxn ang="0">
                      <a:pos x="connsiteX902" y="connsiteY902"/>
                    </a:cxn>
                    <a:cxn ang="0">
                      <a:pos x="connsiteX903" y="connsiteY903"/>
                    </a:cxn>
                    <a:cxn ang="0">
                      <a:pos x="connsiteX904" y="connsiteY904"/>
                    </a:cxn>
                    <a:cxn ang="0">
                      <a:pos x="connsiteX905" y="connsiteY905"/>
                    </a:cxn>
                    <a:cxn ang="0">
                      <a:pos x="connsiteX906" y="connsiteY906"/>
                    </a:cxn>
                    <a:cxn ang="0">
                      <a:pos x="connsiteX907" y="connsiteY907"/>
                    </a:cxn>
                    <a:cxn ang="0">
                      <a:pos x="connsiteX908" y="connsiteY908"/>
                    </a:cxn>
                    <a:cxn ang="0">
                      <a:pos x="connsiteX909" y="connsiteY909"/>
                    </a:cxn>
                    <a:cxn ang="0">
                      <a:pos x="connsiteX910" y="connsiteY910"/>
                    </a:cxn>
                    <a:cxn ang="0">
                      <a:pos x="connsiteX911" y="connsiteY911"/>
                    </a:cxn>
                    <a:cxn ang="0">
                      <a:pos x="connsiteX912" y="connsiteY912"/>
                    </a:cxn>
                    <a:cxn ang="0">
                      <a:pos x="connsiteX913" y="connsiteY913"/>
                    </a:cxn>
                    <a:cxn ang="0">
                      <a:pos x="connsiteX914" y="connsiteY914"/>
                    </a:cxn>
                    <a:cxn ang="0">
                      <a:pos x="connsiteX915" y="connsiteY915"/>
                    </a:cxn>
                    <a:cxn ang="0">
                      <a:pos x="connsiteX916" y="connsiteY916"/>
                    </a:cxn>
                    <a:cxn ang="0">
                      <a:pos x="connsiteX917" y="connsiteY917"/>
                    </a:cxn>
                    <a:cxn ang="0">
                      <a:pos x="connsiteX918" y="connsiteY918"/>
                    </a:cxn>
                    <a:cxn ang="0">
                      <a:pos x="connsiteX919" y="connsiteY919"/>
                    </a:cxn>
                    <a:cxn ang="0">
                      <a:pos x="connsiteX920" y="connsiteY920"/>
                    </a:cxn>
                    <a:cxn ang="0">
                      <a:pos x="connsiteX921" y="connsiteY921"/>
                    </a:cxn>
                    <a:cxn ang="0">
                      <a:pos x="connsiteX922" y="connsiteY922"/>
                    </a:cxn>
                    <a:cxn ang="0">
                      <a:pos x="connsiteX923" y="connsiteY923"/>
                    </a:cxn>
                    <a:cxn ang="0">
                      <a:pos x="connsiteX924" y="connsiteY924"/>
                    </a:cxn>
                    <a:cxn ang="0">
                      <a:pos x="connsiteX925" y="connsiteY925"/>
                    </a:cxn>
                    <a:cxn ang="0">
                      <a:pos x="connsiteX926" y="connsiteY926"/>
                    </a:cxn>
                    <a:cxn ang="0">
                      <a:pos x="connsiteX927" y="connsiteY927"/>
                    </a:cxn>
                    <a:cxn ang="0">
                      <a:pos x="connsiteX928" y="connsiteY928"/>
                    </a:cxn>
                    <a:cxn ang="0">
                      <a:pos x="connsiteX929" y="connsiteY929"/>
                    </a:cxn>
                    <a:cxn ang="0">
                      <a:pos x="connsiteX930" y="connsiteY930"/>
                    </a:cxn>
                    <a:cxn ang="0">
                      <a:pos x="connsiteX931" y="connsiteY931"/>
                    </a:cxn>
                    <a:cxn ang="0">
                      <a:pos x="connsiteX932" y="connsiteY932"/>
                    </a:cxn>
                    <a:cxn ang="0">
                      <a:pos x="connsiteX933" y="connsiteY933"/>
                    </a:cxn>
                    <a:cxn ang="0">
                      <a:pos x="connsiteX934" y="connsiteY934"/>
                    </a:cxn>
                    <a:cxn ang="0">
                      <a:pos x="connsiteX935" y="connsiteY935"/>
                    </a:cxn>
                    <a:cxn ang="0">
                      <a:pos x="connsiteX936" y="connsiteY936"/>
                    </a:cxn>
                    <a:cxn ang="0">
                      <a:pos x="connsiteX937" y="connsiteY937"/>
                    </a:cxn>
                    <a:cxn ang="0">
                      <a:pos x="connsiteX938" y="connsiteY938"/>
                    </a:cxn>
                    <a:cxn ang="0">
                      <a:pos x="connsiteX939" y="connsiteY939"/>
                    </a:cxn>
                    <a:cxn ang="0">
                      <a:pos x="connsiteX940" y="connsiteY940"/>
                    </a:cxn>
                    <a:cxn ang="0">
                      <a:pos x="connsiteX941" y="connsiteY941"/>
                    </a:cxn>
                    <a:cxn ang="0">
                      <a:pos x="connsiteX942" y="connsiteY942"/>
                    </a:cxn>
                    <a:cxn ang="0">
                      <a:pos x="connsiteX943" y="connsiteY943"/>
                    </a:cxn>
                    <a:cxn ang="0">
                      <a:pos x="connsiteX944" y="connsiteY944"/>
                    </a:cxn>
                    <a:cxn ang="0">
                      <a:pos x="connsiteX945" y="connsiteY945"/>
                    </a:cxn>
                    <a:cxn ang="0">
                      <a:pos x="connsiteX946" y="connsiteY946"/>
                    </a:cxn>
                    <a:cxn ang="0">
                      <a:pos x="connsiteX947" y="connsiteY947"/>
                    </a:cxn>
                    <a:cxn ang="0">
                      <a:pos x="connsiteX948" y="connsiteY948"/>
                    </a:cxn>
                    <a:cxn ang="0">
                      <a:pos x="connsiteX949" y="connsiteY949"/>
                    </a:cxn>
                    <a:cxn ang="0">
                      <a:pos x="connsiteX950" y="connsiteY950"/>
                    </a:cxn>
                    <a:cxn ang="0">
                      <a:pos x="connsiteX951" y="connsiteY951"/>
                    </a:cxn>
                    <a:cxn ang="0">
                      <a:pos x="connsiteX952" y="connsiteY952"/>
                    </a:cxn>
                    <a:cxn ang="0">
                      <a:pos x="connsiteX953" y="connsiteY953"/>
                    </a:cxn>
                    <a:cxn ang="0">
                      <a:pos x="connsiteX954" y="connsiteY954"/>
                    </a:cxn>
                    <a:cxn ang="0">
                      <a:pos x="connsiteX955" y="connsiteY955"/>
                    </a:cxn>
                    <a:cxn ang="0">
                      <a:pos x="connsiteX956" y="connsiteY956"/>
                    </a:cxn>
                    <a:cxn ang="0">
                      <a:pos x="connsiteX957" y="connsiteY957"/>
                    </a:cxn>
                    <a:cxn ang="0">
                      <a:pos x="connsiteX958" y="connsiteY958"/>
                    </a:cxn>
                    <a:cxn ang="0">
                      <a:pos x="connsiteX959" y="connsiteY959"/>
                    </a:cxn>
                    <a:cxn ang="0">
                      <a:pos x="connsiteX960" y="connsiteY960"/>
                    </a:cxn>
                    <a:cxn ang="0">
                      <a:pos x="connsiteX961" y="connsiteY961"/>
                    </a:cxn>
                    <a:cxn ang="0">
                      <a:pos x="connsiteX962" y="connsiteY962"/>
                    </a:cxn>
                    <a:cxn ang="0">
                      <a:pos x="connsiteX963" y="connsiteY963"/>
                    </a:cxn>
                    <a:cxn ang="0">
                      <a:pos x="connsiteX964" y="connsiteY964"/>
                    </a:cxn>
                    <a:cxn ang="0">
                      <a:pos x="connsiteX965" y="connsiteY965"/>
                    </a:cxn>
                    <a:cxn ang="0">
                      <a:pos x="connsiteX966" y="connsiteY966"/>
                    </a:cxn>
                    <a:cxn ang="0">
                      <a:pos x="connsiteX967" y="connsiteY967"/>
                    </a:cxn>
                    <a:cxn ang="0">
                      <a:pos x="connsiteX968" y="connsiteY968"/>
                    </a:cxn>
                    <a:cxn ang="0">
                      <a:pos x="connsiteX969" y="connsiteY969"/>
                    </a:cxn>
                    <a:cxn ang="0">
                      <a:pos x="connsiteX970" y="connsiteY970"/>
                    </a:cxn>
                    <a:cxn ang="0">
                      <a:pos x="connsiteX971" y="connsiteY971"/>
                    </a:cxn>
                    <a:cxn ang="0">
                      <a:pos x="connsiteX972" y="connsiteY972"/>
                    </a:cxn>
                    <a:cxn ang="0">
                      <a:pos x="connsiteX973" y="connsiteY973"/>
                    </a:cxn>
                    <a:cxn ang="0">
                      <a:pos x="connsiteX974" y="connsiteY974"/>
                    </a:cxn>
                    <a:cxn ang="0">
                      <a:pos x="connsiteX975" y="connsiteY975"/>
                    </a:cxn>
                    <a:cxn ang="0">
                      <a:pos x="connsiteX976" y="connsiteY976"/>
                    </a:cxn>
                    <a:cxn ang="0">
                      <a:pos x="connsiteX977" y="connsiteY977"/>
                    </a:cxn>
                    <a:cxn ang="0">
                      <a:pos x="connsiteX978" y="connsiteY978"/>
                    </a:cxn>
                    <a:cxn ang="0">
                      <a:pos x="connsiteX979" y="connsiteY979"/>
                    </a:cxn>
                    <a:cxn ang="0">
                      <a:pos x="connsiteX980" y="connsiteY980"/>
                    </a:cxn>
                    <a:cxn ang="0">
                      <a:pos x="connsiteX981" y="connsiteY981"/>
                    </a:cxn>
                    <a:cxn ang="0">
                      <a:pos x="connsiteX982" y="connsiteY982"/>
                    </a:cxn>
                    <a:cxn ang="0">
                      <a:pos x="connsiteX983" y="connsiteY983"/>
                    </a:cxn>
                    <a:cxn ang="0">
                      <a:pos x="connsiteX984" y="connsiteY984"/>
                    </a:cxn>
                    <a:cxn ang="0">
                      <a:pos x="connsiteX985" y="connsiteY985"/>
                    </a:cxn>
                    <a:cxn ang="0">
                      <a:pos x="connsiteX986" y="connsiteY986"/>
                    </a:cxn>
                    <a:cxn ang="0">
                      <a:pos x="connsiteX987" y="connsiteY987"/>
                    </a:cxn>
                    <a:cxn ang="0">
                      <a:pos x="connsiteX988" y="connsiteY988"/>
                    </a:cxn>
                    <a:cxn ang="0">
                      <a:pos x="connsiteX989" y="connsiteY989"/>
                    </a:cxn>
                    <a:cxn ang="0">
                      <a:pos x="connsiteX990" y="connsiteY990"/>
                    </a:cxn>
                    <a:cxn ang="0">
                      <a:pos x="connsiteX991" y="connsiteY991"/>
                    </a:cxn>
                    <a:cxn ang="0">
                      <a:pos x="connsiteX992" y="connsiteY992"/>
                    </a:cxn>
                    <a:cxn ang="0">
                      <a:pos x="connsiteX993" y="connsiteY993"/>
                    </a:cxn>
                    <a:cxn ang="0">
                      <a:pos x="connsiteX994" y="connsiteY994"/>
                    </a:cxn>
                    <a:cxn ang="0">
                      <a:pos x="connsiteX995" y="connsiteY995"/>
                    </a:cxn>
                    <a:cxn ang="0">
                      <a:pos x="connsiteX996" y="connsiteY996"/>
                    </a:cxn>
                    <a:cxn ang="0">
                      <a:pos x="connsiteX997" y="connsiteY997"/>
                    </a:cxn>
                    <a:cxn ang="0">
                      <a:pos x="connsiteX998" y="connsiteY998"/>
                    </a:cxn>
                    <a:cxn ang="0">
                      <a:pos x="connsiteX999" y="connsiteY999"/>
                    </a:cxn>
                    <a:cxn ang="0">
                      <a:pos x="connsiteX1000" y="connsiteY1000"/>
                    </a:cxn>
                    <a:cxn ang="0">
                      <a:pos x="connsiteX1001" y="connsiteY1001"/>
                    </a:cxn>
                    <a:cxn ang="0">
                      <a:pos x="connsiteX1002" y="connsiteY1002"/>
                    </a:cxn>
                    <a:cxn ang="0">
                      <a:pos x="connsiteX1003" y="connsiteY1003"/>
                    </a:cxn>
                    <a:cxn ang="0">
                      <a:pos x="connsiteX1004" y="connsiteY1004"/>
                    </a:cxn>
                    <a:cxn ang="0">
                      <a:pos x="connsiteX1005" y="connsiteY1005"/>
                    </a:cxn>
                    <a:cxn ang="0">
                      <a:pos x="connsiteX1006" y="connsiteY1006"/>
                    </a:cxn>
                    <a:cxn ang="0">
                      <a:pos x="connsiteX1007" y="connsiteY1007"/>
                    </a:cxn>
                    <a:cxn ang="0">
                      <a:pos x="connsiteX1008" y="connsiteY1008"/>
                    </a:cxn>
                    <a:cxn ang="0">
                      <a:pos x="connsiteX1009" y="connsiteY1009"/>
                    </a:cxn>
                    <a:cxn ang="0">
                      <a:pos x="connsiteX1010" y="connsiteY1010"/>
                    </a:cxn>
                    <a:cxn ang="0">
                      <a:pos x="connsiteX1011" y="connsiteY1011"/>
                    </a:cxn>
                    <a:cxn ang="0">
                      <a:pos x="connsiteX1012" y="connsiteY1012"/>
                    </a:cxn>
                    <a:cxn ang="0">
                      <a:pos x="connsiteX1013" y="connsiteY1013"/>
                    </a:cxn>
                    <a:cxn ang="0">
                      <a:pos x="connsiteX1014" y="connsiteY1014"/>
                    </a:cxn>
                    <a:cxn ang="0">
                      <a:pos x="connsiteX1015" y="connsiteY1015"/>
                    </a:cxn>
                    <a:cxn ang="0">
                      <a:pos x="connsiteX1016" y="connsiteY1016"/>
                    </a:cxn>
                    <a:cxn ang="0">
                      <a:pos x="connsiteX1017" y="connsiteY1017"/>
                    </a:cxn>
                    <a:cxn ang="0">
                      <a:pos x="connsiteX1018" y="connsiteY1018"/>
                    </a:cxn>
                    <a:cxn ang="0">
                      <a:pos x="connsiteX1019" y="connsiteY1019"/>
                    </a:cxn>
                    <a:cxn ang="0">
                      <a:pos x="connsiteX1020" y="connsiteY1020"/>
                    </a:cxn>
                    <a:cxn ang="0">
                      <a:pos x="connsiteX1021" y="connsiteY1021"/>
                    </a:cxn>
                    <a:cxn ang="0">
                      <a:pos x="connsiteX1022" y="connsiteY1022"/>
                    </a:cxn>
                    <a:cxn ang="0">
                      <a:pos x="connsiteX1023" y="connsiteY1023"/>
                    </a:cxn>
                    <a:cxn ang="0">
                      <a:pos x="connsiteX1024" y="connsiteY1024"/>
                    </a:cxn>
                    <a:cxn ang="0">
                      <a:pos x="connsiteX1025" y="connsiteY1025"/>
                    </a:cxn>
                    <a:cxn ang="0">
                      <a:pos x="connsiteX1026" y="connsiteY1026"/>
                    </a:cxn>
                    <a:cxn ang="0">
                      <a:pos x="connsiteX1027" y="connsiteY1027"/>
                    </a:cxn>
                    <a:cxn ang="0">
                      <a:pos x="connsiteX1028" y="connsiteY1028"/>
                    </a:cxn>
                    <a:cxn ang="0">
                      <a:pos x="connsiteX1029" y="connsiteY1029"/>
                    </a:cxn>
                    <a:cxn ang="0">
                      <a:pos x="connsiteX1030" y="connsiteY1030"/>
                    </a:cxn>
                    <a:cxn ang="0">
                      <a:pos x="connsiteX1031" y="connsiteY1031"/>
                    </a:cxn>
                    <a:cxn ang="0">
                      <a:pos x="connsiteX1032" y="connsiteY1032"/>
                    </a:cxn>
                    <a:cxn ang="0">
                      <a:pos x="connsiteX1033" y="connsiteY1033"/>
                    </a:cxn>
                    <a:cxn ang="0">
                      <a:pos x="connsiteX1034" y="connsiteY1034"/>
                    </a:cxn>
                    <a:cxn ang="0">
                      <a:pos x="connsiteX1035" y="connsiteY1035"/>
                    </a:cxn>
                    <a:cxn ang="0">
                      <a:pos x="connsiteX1036" y="connsiteY1036"/>
                    </a:cxn>
                    <a:cxn ang="0">
                      <a:pos x="connsiteX1037" y="connsiteY1037"/>
                    </a:cxn>
                    <a:cxn ang="0">
                      <a:pos x="connsiteX1038" y="connsiteY1038"/>
                    </a:cxn>
                    <a:cxn ang="0">
                      <a:pos x="connsiteX1039" y="connsiteY1039"/>
                    </a:cxn>
                    <a:cxn ang="0">
                      <a:pos x="connsiteX1040" y="connsiteY1040"/>
                    </a:cxn>
                    <a:cxn ang="0">
                      <a:pos x="connsiteX1041" y="connsiteY1041"/>
                    </a:cxn>
                    <a:cxn ang="0">
                      <a:pos x="connsiteX1042" y="connsiteY1042"/>
                    </a:cxn>
                    <a:cxn ang="0">
                      <a:pos x="connsiteX1043" y="connsiteY1043"/>
                    </a:cxn>
                    <a:cxn ang="0">
                      <a:pos x="connsiteX1044" y="connsiteY1044"/>
                    </a:cxn>
                    <a:cxn ang="0">
                      <a:pos x="connsiteX1045" y="connsiteY1045"/>
                    </a:cxn>
                    <a:cxn ang="0">
                      <a:pos x="connsiteX1046" y="connsiteY1046"/>
                    </a:cxn>
                    <a:cxn ang="0">
                      <a:pos x="connsiteX1047" y="connsiteY1047"/>
                    </a:cxn>
                    <a:cxn ang="0">
                      <a:pos x="connsiteX1048" y="connsiteY1048"/>
                    </a:cxn>
                    <a:cxn ang="0">
                      <a:pos x="connsiteX1049" y="connsiteY1049"/>
                    </a:cxn>
                    <a:cxn ang="0">
                      <a:pos x="connsiteX1050" y="connsiteY1050"/>
                    </a:cxn>
                    <a:cxn ang="0">
                      <a:pos x="connsiteX1051" y="connsiteY1051"/>
                    </a:cxn>
                    <a:cxn ang="0">
                      <a:pos x="connsiteX1052" y="connsiteY1052"/>
                    </a:cxn>
                    <a:cxn ang="0">
                      <a:pos x="connsiteX1053" y="connsiteY1053"/>
                    </a:cxn>
                    <a:cxn ang="0">
                      <a:pos x="connsiteX1054" y="connsiteY1054"/>
                    </a:cxn>
                    <a:cxn ang="0">
                      <a:pos x="connsiteX1055" y="connsiteY1055"/>
                    </a:cxn>
                    <a:cxn ang="0">
                      <a:pos x="connsiteX1056" y="connsiteY1056"/>
                    </a:cxn>
                    <a:cxn ang="0">
                      <a:pos x="connsiteX1057" y="connsiteY1057"/>
                    </a:cxn>
                    <a:cxn ang="0">
                      <a:pos x="connsiteX1058" y="connsiteY1058"/>
                    </a:cxn>
                    <a:cxn ang="0">
                      <a:pos x="connsiteX1059" y="connsiteY1059"/>
                    </a:cxn>
                    <a:cxn ang="0">
                      <a:pos x="connsiteX1060" y="connsiteY1060"/>
                    </a:cxn>
                    <a:cxn ang="0">
                      <a:pos x="connsiteX1061" y="connsiteY1061"/>
                    </a:cxn>
                    <a:cxn ang="0">
                      <a:pos x="connsiteX1062" y="connsiteY1062"/>
                    </a:cxn>
                    <a:cxn ang="0">
                      <a:pos x="connsiteX1063" y="connsiteY1063"/>
                    </a:cxn>
                    <a:cxn ang="0">
                      <a:pos x="connsiteX1064" y="connsiteY1064"/>
                    </a:cxn>
                    <a:cxn ang="0">
                      <a:pos x="connsiteX1065" y="connsiteY1065"/>
                    </a:cxn>
                    <a:cxn ang="0">
                      <a:pos x="connsiteX1066" y="connsiteY1066"/>
                    </a:cxn>
                    <a:cxn ang="0">
                      <a:pos x="connsiteX1067" y="connsiteY1067"/>
                    </a:cxn>
                    <a:cxn ang="0">
                      <a:pos x="connsiteX1068" y="connsiteY1068"/>
                    </a:cxn>
                    <a:cxn ang="0">
                      <a:pos x="connsiteX1069" y="connsiteY1069"/>
                    </a:cxn>
                    <a:cxn ang="0">
                      <a:pos x="connsiteX1070" y="connsiteY1070"/>
                    </a:cxn>
                    <a:cxn ang="0">
                      <a:pos x="connsiteX1071" y="connsiteY1071"/>
                    </a:cxn>
                    <a:cxn ang="0">
                      <a:pos x="connsiteX1072" y="connsiteY1072"/>
                    </a:cxn>
                    <a:cxn ang="0">
                      <a:pos x="connsiteX1073" y="connsiteY1073"/>
                    </a:cxn>
                    <a:cxn ang="0">
                      <a:pos x="connsiteX1074" y="connsiteY1074"/>
                    </a:cxn>
                    <a:cxn ang="0">
                      <a:pos x="connsiteX1075" y="connsiteY1075"/>
                    </a:cxn>
                    <a:cxn ang="0">
                      <a:pos x="connsiteX1076" y="connsiteY1076"/>
                    </a:cxn>
                    <a:cxn ang="0">
                      <a:pos x="connsiteX1077" y="connsiteY1077"/>
                    </a:cxn>
                    <a:cxn ang="0">
                      <a:pos x="connsiteX1078" y="connsiteY1078"/>
                    </a:cxn>
                    <a:cxn ang="0">
                      <a:pos x="connsiteX1079" y="connsiteY1079"/>
                    </a:cxn>
                    <a:cxn ang="0">
                      <a:pos x="connsiteX1080" y="connsiteY1080"/>
                    </a:cxn>
                    <a:cxn ang="0">
                      <a:pos x="connsiteX1081" y="connsiteY1081"/>
                    </a:cxn>
                    <a:cxn ang="0">
                      <a:pos x="connsiteX1082" y="connsiteY1082"/>
                    </a:cxn>
                    <a:cxn ang="0">
                      <a:pos x="connsiteX1083" y="connsiteY1083"/>
                    </a:cxn>
                    <a:cxn ang="0">
                      <a:pos x="connsiteX1084" y="connsiteY1084"/>
                    </a:cxn>
                    <a:cxn ang="0">
                      <a:pos x="connsiteX1085" y="connsiteY1085"/>
                    </a:cxn>
                    <a:cxn ang="0">
                      <a:pos x="connsiteX1086" y="connsiteY1086"/>
                    </a:cxn>
                    <a:cxn ang="0">
                      <a:pos x="connsiteX1087" y="connsiteY1087"/>
                    </a:cxn>
                    <a:cxn ang="0">
                      <a:pos x="connsiteX1088" y="connsiteY1088"/>
                    </a:cxn>
                    <a:cxn ang="0">
                      <a:pos x="connsiteX1089" y="connsiteY1089"/>
                    </a:cxn>
                    <a:cxn ang="0">
                      <a:pos x="connsiteX1090" y="connsiteY1090"/>
                    </a:cxn>
                    <a:cxn ang="0">
                      <a:pos x="connsiteX1091" y="connsiteY1091"/>
                    </a:cxn>
                    <a:cxn ang="0">
                      <a:pos x="connsiteX1092" y="connsiteY1092"/>
                    </a:cxn>
                    <a:cxn ang="0">
                      <a:pos x="connsiteX1093" y="connsiteY1093"/>
                    </a:cxn>
                    <a:cxn ang="0">
                      <a:pos x="connsiteX1094" y="connsiteY1094"/>
                    </a:cxn>
                    <a:cxn ang="0">
                      <a:pos x="connsiteX1095" y="connsiteY1095"/>
                    </a:cxn>
                    <a:cxn ang="0">
                      <a:pos x="connsiteX1096" y="connsiteY1096"/>
                    </a:cxn>
                    <a:cxn ang="0">
                      <a:pos x="connsiteX1097" y="connsiteY1097"/>
                    </a:cxn>
                    <a:cxn ang="0">
                      <a:pos x="connsiteX1098" y="connsiteY1098"/>
                    </a:cxn>
                    <a:cxn ang="0">
                      <a:pos x="connsiteX1099" y="connsiteY1099"/>
                    </a:cxn>
                    <a:cxn ang="0">
                      <a:pos x="connsiteX1100" y="connsiteY1100"/>
                    </a:cxn>
                    <a:cxn ang="0">
                      <a:pos x="connsiteX1101" y="connsiteY1101"/>
                    </a:cxn>
                    <a:cxn ang="0">
                      <a:pos x="connsiteX1102" y="connsiteY1102"/>
                    </a:cxn>
                    <a:cxn ang="0">
                      <a:pos x="connsiteX1103" y="connsiteY1103"/>
                    </a:cxn>
                    <a:cxn ang="0">
                      <a:pos x="connsiteX1104" y="connsiteY1104"/>
                    </a:cxn>
                    <a:cxn ang="0">
                      <a:pos x="connsiteX1105" y="connsiteY1105"/>
                    </a:cxn>
                    <a:cxn ang="0">
                      <a:pos x="connsiteX1106" y="connsiteY1106"/>
                    </a:cxn>
                    <a:cxn ang="0">
                      <a:pos x="connsiteX1107" y="connsiteY1107"/>
                    </a:cxn>
                    <a:cxn ang="0">
                      <a:pos x="connsiteX1108" y="connsiteY1108"/>
                    </a:cxn>
                    <a:cxn ang="0">
                      <a:pos x="connsiteX1109" y="connsiteY1109"/>
                    </a:cxn>
                    <a:cxn ang="0">
                      <a:pos x="connsiteX1110" y="connsiteY1110"/>
                    </a:cxn>
                    <a:cxn ang="0">
                      <a:pos x="connsiteX1111" y="connsiteY1111"/>
                    </a:cxn>
                    <a:cxn ang="0">
                      <a:pos x="connsiteX1112" y="connsiteY1112"/>
                    </a:cxn>
                    <a:cxn ang="0">
                      <a:pos x="connsiteX1113" y="connsiteY1113"/>
                    </a:cxn>
                    <a:cxn ang="0">
                      <a:pos x="connsiteX1114" y="connsiteY1114"/>
                    </a:cxn>
                    <a:cxn ang="0">
                      <a:pos x="connsiteX1115" y="connsiteY1115"/>
                    </a:cxn>
                    <a:cxn ang="0">
                      <a:pos x="connsiteX1116" y="connsiteY1116"/>
                    </a:cxn>
                    <a:cxn ang="0">
                      <a:pos x="connsiteX1117" y="connsiteY1117"/>
                    </a:cxn>
                    <a:cxn ang="0">
                      <a:pos x="connsiteX1118" y="connsiteY1118"/>
                    </a:cxn>
                    <a:cxn ang="0">
                      <a:pos x="connsiteX1119" y="connsiteY1119"/>
                    </a:cxn>
                    <a:cxn ang="0">
                      <a:pos x="connsiteX1120" y="connsiteY1120"/>
                    </a:cxn>
                    <a:cxn ang="0">
                      <a:pos x="connsiteX1121" y="connsiteY1121"/>
                    </a:cxn>
                    <a:cxn ang="0">
                      <a:pos x="connsiteX1122" y="connsiteY1122"/>
                    </a:cxn>
                    <a:cxn ang="0">
                      <a:pos x="connsiteX1123" y="connsiteY1123"/>
                    </a:cxn>
                    <a:cxn ang="0">
                      <a:pos x="connsiteX1124" y="connsiteY1124"/>
                    </a:cxn>
                    <a:cxn ang="0">
                      <a:pos x="connsiteX1125" y="connsiteY1125"/>
                    </a:cxn>
                    <a:cxn ang="0">
                      <a:pos x="connsiteX1126" y="connsiteY1126"/>
                    </a:cxn>
                    <a:cxn ang="0">
                      <a:pos x="connsiteX1127" y="connsiteY1127"/>
                    </a:cxn>
                    <a:cxn ang="0">
                      <a:pos x="connsiteX1128" y="connsiteY1128"/>
                    </a:cxn>
                    <a:cxn ang="0">
                      <a:pos x="connsiteX1129" y="connsiteY1129"/>
                    </a:cxn>
                    <a:cxn ang="0">
                      <a:pos x="connsiteX1130" y="connsiteY1130"/>
                    </a:cxn>
                    <a:cxn ang="0">
                      <a:pos x="connsiteX1131" y="connsiteY1131"/>
                    </a:cxn>
                    <a:cxn ang="0">
                      <a:pos x="connsiteX1132" y="connsiteY1132"/>
                    </a:cxn>
                    <a:cxn ang="0">
                      <a:pos x="connsiteX1133" y="connsiteY1133"/>
                    </a:cxn>
                    <a:cxn ang="0">
                      <a:pos x="connsiteX1134" y="connsiteY1134"/>
                    </a:cxn>
                    <a:cxn ang="0">
                      <a:pos x="connsiteX1135" y="connsiteY1135"/>
                    </a:cxn>
                    <a:cxn ang="0">
                      <a:pos x="connsiteX1136" y="connsiteY1136"/>
                    </a:cxn>
                    <a:cxn ang="0">
                      <a:pos x="connsiteX1137" y="connsiteY1137"/>
                    </a:cxn>
                    <a:cxn ang="0">
                      <a:pos x="connsiteX1138" y="connsiteY1138"/>
                    </a:cxn>
                    <a:cxn ang="0">
                      <a:pos x="connsiteX1139" y="connsiteY1139"/>
                    </a:cxn>
                    <a:cxn ang="0">
                      <a:pos x="connsiteX1140" y="connsiteY1140"/>
                    </a:cxn>
                    <a:cxn ang="0">
                      <a:pos x="connsiteX1141" y="connsiteY1141"/>
                    </a:cxn>
                    <a:cxn ang="0">
                      <a:pos x="connsiteX1142" y="connsiteY1142"/>
                    </a:cxn>
                    <a:cxn ang="0">
                      <a:pos x="connsiteX1143" y="connsiteY1143"/>
                    </a:cxn>
                    <a:cxn ang="0">
                      <a:pos x="connsiteX1144" y="connsiteY1144"/>
                    </a:cxn>
                    <a:cxn ang="0">
                      <a:pos x="connsiteX1145" y="connsiteY1145"/>
                    </a:cxn>
                    <a:cxn ang="0">
                      <a:pos x="connsiteX1146" y="connsiteY1146"/>
                    </a:cxn>
                    <a:cxn ang="0">
                      <a:pos x="connsiteX1147" y="connsiteY1147"/>
                    </a:cxn>
                    <a:cxn ang="0">
                      <a:pos x="connsiteX1148" y="connsiteY1148"/>
                    </a:cxn>
                    <a:cxn ang="0">
                      <a:pos x="connsiteX1149" y="connsiteY1149"/>
                    </a:cxn>
                    <a:cxn ang="0">
                      <a:pos x="connsiteX1150" y="connsiteY1150"/>
                    </a:cxn>
                    <a:cxn ang="0">
                      <a:pos x="connsiteX1151" y="connsiteY1151"/>
                    </a:cxn>
                    <a:cxn ang="0">
                      <a:pos x="connsiteX1152" y="connsiteY1152"/>
                    </a:cxn>
                    <a:cxn ang="0">
                      <a:pos x="connsiteX1153" y="connsiteY1153"/>
                    </a:cxn>
                    <a:cxn ang="0">
                      <a:pos x="connsiteX1154" y="connsiteY1154"/>
                    </a:cxn>
                    <a:cxn ang="0">
                      <a:pos x="connsiteX1155" y="connsiteY1155"/>
                    </a:cxn>
                    <a:cxn ang="0">
                      <a:pos x="connsiteX1156" y="connsiteY1156"/>
                    </a:cxn>
                    <a:cxn ang="0">
                      <a:pos x="connsiteX1157" y="connsiteY1157"/>
                    </a:cxn>
                    <a:cxn ang="0">
                      <a:pos x="connsiteX1158" y="connsiteY1158"/>
                    </a:cxn>
                    <a:cxn ang="0">
                      <a:pos x="connsiteX1159" y="connsiteY1159"/>
                    </a:cxn>
                    <a:cxn ang="0">
                      <a:pos x="connsiteX1160" y="connsiteY1160"/>
                    </a:cxn>
                    <a:cxn ang="0">
                      <a:pos x="connsiteX1161" y="connsiteY1161"/>
                    </a:cxn>
                    <a:cxn ang="0">
                      <a:pos x="connsiteX1162" y="connsiteY1162"/>
                    </a:cxn>
                    <a:cxn ang="0">
                      <a:pos x="connsiteX1163" y="connsiteY1163"/>
                    </a:cxn>
                    <a:cxn ang="0">
                      <a:pos x="connsiteX1164" y="connsiteY1164"/>
                    </a:cxn>
                    <a:cxn ang="0">
                      <a:pos x="connsiteX1165" y="connsiteY1165"/>
                    </a:cxn>
                    <a:cxn ang="0">
                      <a:pos x="connsiteX1166" y="connsiteY1166"/>
                    </a:cxn>
                    <a:cxn ang="0">
                      <a:pos x="connsiteX1167" y="connsiteY1167"/>
                    </a:cxn>
                    <a:cxn ang="0">
                      <a:pos x="connsiteX1168" y="connsiteY1168"/>
                    </a:cxn>
                    <a:cxn ang="0">
                      <a:pos x="connsiteX1169" y="connsiteY1169"/>
                    </a:cxn>
                    <a:cxn ang="0">
                      <a:pos x="connsiteX1170" y="connsiteY1170"/>
                    </a:cxn>
                    <a:cxn ang="0">
                      <a:pos x="connsiteX1171" y="connsiteY1171"/>
                    </a:cxn>
                    <a:cxn ang="0">
                      <a:pos x="connsiteX1172" y="connsiteY1172"/>
                    </a:cxn>
                    <a:cxn ang="0">
                      <a:pos x="connsiteX1173" y="connsiteY1173"/>
                    </a:cxn>
                    <a:cxn ang="0">
                      <a:pos x="connsiteX1174" y="connsiteY1174"/>
                    </a:cxn>
                    <a:cxn ang="0">
                      <a:pos x="connsiteX1175" y="connsiteY1175"/>
                    </a:cxn>
                    <a:cxn ang="0">
                      <a:pos x="connsiteX1176" y="connsiteY1176"/>
                    </a:cxn>
                    <a:cxn ang="0">
                      <a:pos x="connsiteX1177" y="connsiteY1177"/>
                    </a:cxn>
                    <a:cxn ang="0">
                      <a:pos x="connsiteX1178" y="connsiteY1178"/>
                    </a:cxn>
                    <a:cxn ang="0">
                      <a:pos x="connsiteX1179" y="connsiteY1179"/>
                    </a:cxn>
                    <a:cxn ang="0">
                      <a:pos x="connsiteX1180" y="connsiteY1180"/>
                    </a:cxn>
                    <a:cxn ang="0">
                      <a:pos x="connsiteX1181" y="connsiteY1181"/>
                    </a:cxn>
                    <a:cxn ang="0">
                      <a:pos x="connsiteX1182" y="connsiteY1182"/>
                    </a:cxn>
                    <a:cxn ang="0">
                      <a:pos x="connsiteX1183" y="connsiteY1183"/>
                    </a:cxn>
                    <a:cxn ang="0">
                      <a:pos x="connsiteX1184" y="connsiteY1184"/>
                    </a:cxn>
                    <a:cxn ang="0">
                      <a:pos x="connsiteX1185" y="connsiteY1185"/>
                    </a:cxn>
                    <a:cxn ang="0">
                      <a:pos x="connsiteX1186" y="connsiteY1186"/>
                    </a:cxn>
                    <a:cxn ang="0">
                      <a:pos x="connsiteX1187" y="connsiteY1187"/>
                    </a:cxn>
                    <a:cxn ang="0">
                      <a:pos x="connsiteX1188" y="connsiteY1188"/>
                    </a:cxn>
                    <a:cxn ang="0">
                      <a:pos x="connsiteX1189" y="connsiteY1189"/>
                    </a:cxn>
                    <a:cxn ang="0">
                      <a:pos x="connsiteX1190" y="connsiteY1190"/>
                    </a:cxn>
                    <a:cxn ang="0">
                      <a:pos x="connsiteX1191" y="connsiteY1191"/>
                    </a:cxn>
                    <a:cxn ang="0">
                      <a:pos x="connsiteX1192" y="connsiteY1192"/>
                    </a:cxn>
                    <a:cxn ang="0">
                      <a:pos x="connsiteX1193" y="connsiteY1193"/>
                    </a:cxn>
                    <a:cxn ang="0">
                      <a:pos x="connsiteX1194" y="connsiteY1194"/>
                    </a:cxn>
                    <a:cxn ang="0">
                      <a:pos x="connsiteX1195" y="connsiteY1195"/>
                    </a:cxn>
                    <a:cxn ang="0">
                      <a:pos x="connsiteX1196" y="connsiteY1196"/>
                    </a:cxn>
                    <a:cxn ang="0">
                      <a:pos x="connsiteX1197" y="connsiteY1197"/>
                    </a:cxn>
                    <a:cxn ang="0">
                      <a:pos x="connsiteX1198" y="connsiteY1198"/>
                    </a:cxn>
                    <a:cxn ang="0">
                      <a:pos x="connsiteX1199" y="connsiteY1199"/>
                    </a:cxn>
                    <a:cxn ang="0">
                      <a:pos x="connsiteX1200" y="connsiteY1200"/>
                    </a:cxn>
                    <a:cxn ang="0">
                      <a:pos x="connsiteX1201" y="connsiteY1201"/>
                    </a:cxn>
                    <a:cxn ang="0">
                      <a:pos x="connsiteX1202" y="connsiteY1202"/>
                    </a:cxn>
                    <a:cxn ang="0">
                      <a:pos x="connsiteX1203" y="connsiteY1203"/>
                    </a:cxn>
                    <a:cxn ang="0">
                      <a:pos x="connsiteX1204" y="connsiteY1204"/>
                    </a:cxn>
                    <a:cxn ang="0">
                      <a:pos x="connsiteX1205" y="connsiteY1205"/>
                    </a:cxn>
                    <a:cxn ang="0">
                      <a:pos x="connsiteX1206" y="connsiteY1206"/>
                    </a:cxn>
                    <a:cxn ang="0">
                      <a:pos x="connsiteX1207" y="connsiteY1207"/>
                    </a:cxn>
                    <a:cxn ang="0">
                      <a:pos x="connsiteX1208" y="connsiteY1208"/>
                    </a:cxn>
                    <a:cxn ang="0">
                      <a:pos x="connsiteX1209" y="connsiteY1209"/>
                    </a:cxn>
                    <a:cxn ang="0">
                      <a:pos x="connsiteX1210" y="connsiteY1210"/>
                    </a:cxn>
                    <a:cxn ang="0">
                      <a:pos x="connsiteX1211" y="connsiteY1211"/>
                    </a:cxn>
                    <a:cxn ang="0">
                      <a:pos x="connsiteX1212" y="connsiteY1212"/>
                    </a:cxn>
                    <a:cxn ang="0">
                      <a:pos x="connsiteX1213" y="connsiteY1213"/>
                    </a:cxn>
                    <a:cxn ang="0">
                      <a:pos x="connsiteX1214" y="connsiteY1214"/>
                    </a:cxn>
                    <a:cxn ang="0">
                      <a:pos x="connsiteX1215" y="connsiteY1215"/>
                    </a:cxn>
                    <a:cxn ang="0">
                      <a:pos x="connsiteX1216" y="connsiteY1216"/>
                    </a:cxn>
                    <a:cxn ang="0">
                      <a:pos x="connsiteX1217" y="connsiteY1217"/>
                    </a:cxn>
                    <a:cxn ang="0">
                      <a:pos x="connsiteX1218" y="connsiteY1218"/>
                    </a:cxn>
                    <a:cxn ang="0">
                      <a:pos x="connsiteX1219" y="connsiteY1219"/>
                    </a:cxn>
                    <a:cxn ang="0">
                      <a:pos x="connsiteX1220" y="connsiteY1220"/>
                    </a:cxn>
                    <a:cxn ang="0">
                      <a:pos x="connsiteX1221" y="connsiteY1221"/>
                    </a:cxn>
                    <a:cxn ang="0">
                      <a:pos x="connsiteX1222" y="connsiteY1222"/>
                    </a:cxn>
                    <a:cxn ang="0">
                      <a:pos x="connsiteX1223" y="connsiteY1223"/>
                    </a:cxn>
                    <a:cxn ang="0">
                      <a:pos x="connsiteX1224" y="connsiteY1224"/>
                    </a:cxn>
                    <a:cxn ang="0">
                      <a:pos x="connsiteX1225" y="connsiteY1225"/>
                    </a:cxn>
                    <a:cxn ang="0">
                      <a:pos x="connsiteX1226" y="connsiteY1226"/>
                    </a:cxn>
                  </a:cxnLst>
                  <a:rect l="l" t="t" r="r" b="b"/>
                  <a:pathLst>
                    <a:path w="4598650" h="1719830">
                      <a:moveTo>
                        <a:pt x="4539289" y="413786"/>
                      </a:moveTo>
                      <a:cubicBezTo>
                        <a:pt x="4528507" y="415092"/>
                        <a:pt x="4515747" y="416667"/>
                        <a:pt x="4502479" y="418330"/>
                      </a:cubicBezTo>
                      <a:cubicBezTo>
                        <a:pt x="4498572" y="405417"/>
                        <a:pt x="4492053" y="398713"/>
                        <a:pt x="4479026" y="408161"/>
                      </a:cubicBezTo>
                      <a:cubicBezTo>
                        <a:pt x="4485634" y="437409"/>
                        <a:pt x="4483694" y="446273"/>
                        <a:pt x="4471390" y="454102"/>
                      </a:cubicBezTo>
                      <a:cubicBezTo>
                        <a:pt x="4454938" y="442089"/>
                        <a:pt x="4455065" y="423460"/>
                        <a:pt x="4456689" y="407216"/>
                      </a:cubicBezTo>
                      <a:cubicBezTo>
                        <a:pt x="4458401" y="389804"/>
                        <a:pt x="4443878" y="380174"/>
                        <a:pt x="4442850" y="364925"/>
                      </a:cubicBezTo>
                      <a:cubicBezTo>
                        <a:pt x="4442622" y="361505"/>
                        <a:pt x="4438221" y="357591"/>
                        <a:pt x="4434809" y="355206"/>
                      </a:cubicBezTo>
                      <a:cubicBezTo>
                        <a:pt x="4417951" y="343328"/>
                        <a:pt x="4400739" y="331944"/>
                        <a:pt x="4383793" y="320200"/>
                      </a:cubicBezTo>
                      <a:cubicBezTo>
                        <a:pt x="4377832" y="316132"/>
                        <a:pt x="4372136" y="311699"/>
                        <a:pt x="4366720" y="306926"/>
                      </a:cubicBezTo>
                      <a:cubicBezTo>
                        <a:pt x="4351258" y="293068"/>
                        <a:pt x="4336024" y="278939"/>
                        <a:pt x="4320702" y="264900"/>
                      </a:cubicBezTo>
                      <a:lnTo>
                        <a:pt x="4320702" y="243926"/>
                      </a:lnTo>
                      <a:cubicBezTo>
                        <a:pt x="4311353" y="236116"/>
                        <a:pt x="4301270" y="229229"/>
                        <a:pt x="4290590" y="223364"/>
                      </a:cubicBezTo>
                      <a:cubicBezTo>
                        <a:pt x="4268570" y="213689"/>
                        <a:pt x="4244254" y="209013"/>
                        <a:pt x="4226864" y="190382"/>
                      </a:cubicBezTo>
                      <a:cubicBezTo>
                        <a:pt x="4225050" y="188550"/>
                        <a:pt x="4222615" y="187459"/>
                        <a:pt x="4220040" y="187321"/>
                      </a:cubicBezTo>
                      <a:cubicBezTo>
                        <a:pt x="4198769" y="185739"/>
                        <a:pt x="4177383" y="186447"/>
                        <a:pt x="4156264" y="189437"/>
                      </a:cubicBezTo>
                      <a:cubicBezTo>
                        <a:pt x="4154387" y="189878"/>
                        <a:pt x="4152484" y="190208"/>
                        <a:pt x="4150556" y="190426"/>
                      </a:cubicBezTo>
                      <a:cubicBezTo>
                        <a:pt x="4146484" y="190953"/>
                        <a:pt x="4142336" y="190313"/>
                        <a:pt x="4138607" y="188581"/>
                      </a:cubicBezTo>
                      <a:cubicBezTo>
                        <a:pt x="4137530" y="188131"/>
                        <a:pt x="4136312" y="187547"/>
                        <a:pt x="4135056" y="186917"/>
                      </a:cubicBezTo>
                      <a:cubicBezTo>
                        <a:pt x="4115573" y="178187"/>
                        <a:pt x="4094758" y="172818"/>
                        <a:pt x="4073487" y="171033"/>
                      </a:cubicBezTo>
                      <a:cubicBezTo>
                        <a:pt x="4073081" y="172383"/>
                        <a:pt x="4072726" y="173688"/>
                        <a:pt x="4072320" y="174947"/>
                      </a:cubicBezTo>
                      <a:cubicBezTo>
                        <a:pt x="4068629" y="187321"/>
                        <a:pt x="4065712" y="197265"/>
                        <a:pt x="4062655" y="207480"/>
                      </a:cubicBezTo>
                      <a:cubicBezTo>
                        <a:pt x="4074971" y="217513"/>
                        <a:pt x="4085981" y="245051"/>
                        <a:pt x="4081795" y="256615"/>
                      </a:cubicBezTo>
                      <a:cubicBezTo>
                        <a:pt x="4079728" y="263140"/>
                        <a:pt x="4074870" y="268411"/>
                        <a:pt x="4068540" y="271014"/>
                      </a:cubicBezTo>
                      <a:cubicBezTo>
                        <a:pt x="4067830" y="271285"/>
                        <a:pt x="4067107" y="271600"/>
                        <a:pt x="4066346" y="271824"/>
                      </a:cubicBezTo>
                      <a:lnTo>
                        <a:pt x="4066295" y="271824"/>
                      </a:lnTo>
                      <a:cubicBezTo>
                        <a:pt x="4064456" y="272458"/>
                        <a:pt x="4062553" y="272925"/>
                        <a:pt x="4060638" y="273221"/>
                      </a:cubicBezTo>
                      <a:cubicBezTo>
                        <a:pt x="4053459" y="274282"/>
                        <a:pt x="4046191" y="274448"/>
                        <a:pt x="4038973" y="273717"/>
                      </a:cubicBezTo>
                      <a:cubicBezTo>
                        <a:pt x="4039646" y="250769"/>
                        <a:pt x="4021089" y="245549"/>
                        <a:pt x="4003876" y="239300"/>
                      </a:cubicBezTo>
                      <a:cubicBezTo>
                        <a:pt x="4003255" y="229043"/>
                        <a:pt x="4001200" y="218924"/>
                        <a:pt x="3997763" y="209243"/>
                      </a:cubicBezTo>
                      <a:cubicBezTo>
                        <a:pt x="3995353" y="204751"/>
                        <a:pt x="3991801" y="200977"/>
                        <a:pt x="3987475" y="198308"/>
                      </a:cubicBezTo>
                      <a:lnTo>
                        <a:pt x="3987374" y="198218"/>
                      </a:lnTo>
                      <a:lnTo>
                        <a:pt x="3987197" y="198083"/>
                      </a:lnTo>
                      <a:cubicBezTo>
                        <a:pt x="3986422" y="199493"/>
                        <a:pt x="3985560" y="200859"/>
                        <a:pt x="3984634" y="202178"/>
                      </a:cubicBezTo>
                      <a:cubicBezTo>
                        <a:pt x="3980537" y="208680"/>
                        <a:pt x="3974449" y="213694"/>
                        <a:pt x="3967295" y="216487"/>
                      </a:cubicBezTo>
                      <a:cubicBezTo>
                        <a:pt x="3956285" y="219667"/>
                        <a:pt x="3944515" y="218806"/>
                        <a:pt x="3934088" y="214057"/>
                      </a:cubicBezTo>
                      <a:cubicBezTo>
                        <a:pt x="3917599" y="207893"/>
                        <a:pt x="3897050" y="216396"/>
                        <a:pt x="3882362" y="201008"/>
                      </a:cubicBezTo>
                      <a:cubicBezTo>
                        <a:pt x="3881728" y="200333"/>
                        <a:pt x="3879698" y="201323"/>
                        <a:pt x="3877643" y="201998"/>
                      </a:cubicBezTo>
                      <a:cubicBezTo>
                        <a:pt x="3876781" y="202302"/>
                        <a:pt x="3875893" y="202470"/>
                        <a:pt x="3874992" y="202492"/>
                      </a:cubicBezTo>
                      <a:cubicBezTo>
                        <a:pt x="3873812" y="202448"/>
                        <a:pt x="3872646" y="202448"/>
                        <a:pt x="3871478" y="202448"/>
                      </a:cubicBezTo>
                      <a:cubicBezTo>
                        <a:pt x="3855738" y="202169"/>
                        <a:pt x="3840187" y="205999"/>
                        <a:pt x="3826361" y="213562"/>
                      </a:cubicBezTo>
                      <a:lnTo>
                        <a:pt x="3826310" y="213606"/>
                      </a:lnTo>
                      <a:cubicBezTo>
                        <a:pt x="3822074" y="215960"/>
                        <a:pt x="3818040" y="218670"/>
                        <a:pt x="3814260" y="221706"/>
                      </a:cubicBezTo>
                      <a:cubicBezTo>
                        <a:pt x="3813867" y="222021"/>
                        <a:pt x="3813499" y="222291"/>
                        <a:pt x="3813144" y="222605"/>
                      </a:cubicBezTo>
                      <a:lnTo>
                        <a:pt x="3813144" y="222786"/>
                      </a:lnTo>
                      <a:cubicBezTo>
                        <a:pt x="3811888" y="222066"/>
                        <a:pt x="3810582" y="221346"/>
                        <a:pt x="3809098" y="220491"/>
                      </a:cubicBezTo>
                      <a:cubicBezTo>
                        <a:pt x="3807842" y="219817"/>
                        <a:pt x="3806447" y="219006"/>
                        <a:pt x="3804874" y="218152"/>
                      </a:cubicBezTo>
                      <a:cubicBezTo>
                        <a:pt x="3804417" y="222741"/>
                        <a:pt x="3803974" y="226926"/>
                        <a:pt x="3803568" y="230930"/>
                      </a:cubicBezTo>
                      <a:cubicBezTo>
                        <a:pt x="3802984" y="236960"/>
                        <a:pt x="3802452" y="242495"/>
                        <a:pt x="3801906" y="248028"/>
                      </a:cubicBezTo>
                      <a:cubicBezTo>
                        <a:pt x="3801677" y="247623"/>
                        <a:pt x="3801500" y="247354"/>
                        <a:pt x="3801323" y="246949"/>
                      </a:cubicBezTo>
                      <a:lnTo>
                        <a:pt x="3801323" y="246859"/>
                      </a:lnTo>
                      <a:cubicBezTo>
                        <a:pt x="3798836" y="241048"/>
                        <a:pt x="3797378" y="234853"/>
                        <a:pt x="3797010" y="228545"/>
                      </a:cubicBezTo>
                      <a:cubicBezTo>
                        <a:pt x="3796781" y="226880"/>
                        <a:pt x="3796604" y="225215"/>
                        <a:pt x="3796338" y="223552"/>
                      </a:cubicBezTo>
                      <a:cubicBezTo>
                        <a:pt x="3795665" y="218599"/>
                        <a:pt x="3794854" y="213742"/>
                        <a:pt x="3794219" y="209287"/>
                      </a:cubicBezTo>
                      <a:cubicBezTo>
                        <a:pt x="3767570" y="200063"/>
                        <a:pt x="3758500" y="194936"/>
                        <a:pt x="3760251" y="182335"/>
                      </a:cubicBezTo>
                      <a:cubicBezTo>
                        <a:pt x="3760505" y="180708"/>
                        <a:pt x="3760860" y="179100"/>
                        <a:pt x="3761329" y="177520"/>
                      </a:cubicBezTo>
                      <a:cubicBezTo>
                        <a:pt x="3762255" y="174555"/>
                        <a:pt x="3763333" y="171640"/>
                        <a:pt x="3764564" y="168790"/>
                      </a:cubicBezTo>
                      <a:cubicBezTo>
                        <a:pt x="3770944" y="158462"/>
                        <a:pt x="3771401" y="145532"/>
                        <a:pt x="3765782" y="134774"/>
                      </a:cubicBezTo>
                      <a:cubicBezTo>
                        <a:pt x="3760086" y="124126"/>
                        <a:pt x="3752488" y="114621"/>
                        <a:pt x="3743356" y="106737"/>
                      </a:cubicBezTo>
                      <a:cubicBezTo>
                        <a:pt x="3726689" y="93910"/>
                        <a:pt x="3706369" y="86725"/>
                        <a:pt x="3685338" y="86219"/>
                      </a:cubicBezTo>
                      <a:cubicBezTo>
                        <a:pt x="3658054" y="85062"/>
                        <a:pt x="3630809" y="89235"/>
                        <a:pt x="3605124" y="98504"/>
                      </a:cubicBezTo>
                      <a:cubicBezTo>
                        <a:pt x="3603868" y="98953"/>
                        <a:pt x="3602561" y="99448"/>
                        <a:pt x="3601305" y="99943"/>
                      </a:cubicBezTo>
                      <a:cubicBezTo>
                        <a:pt x="3592744" y="103159"/>
                        <a:pt x="3583827" y="105334"/>
                        <a:pt x="3574745" y="106420"/>
                      </a:cubicBezTo>
                      <a:cubicBezTo>
                        <a:pt x="3570965" y="106961"/>
                        <a:pt x="3567198" y="107366"/>
                        <a:pt x="3563469" y="107635"/>
                      </a:cubicBezTo>
                      <a:cubicBezTo>
                        <a:pt x="3552928" y="109722"/>
                        <a:pt x="3542692" y="102879"/>
                        <a:pt x="3540586" y="92336"/>
                      </a:cubicBezTo>
                      <a:cubicBezTo>
                        <a:pt x="3539279" y="83275"/>
                        <a:pt x="3535335" y="74797"/>
                        <a:pt x="3529259" y="67952"/>
                      </a:cubicBezTo>
                      <a:cubicBezTo>
                        <a:pt x="3522486" y="64092"/>
                        <a:pt x="3514926" y="61815"/>
                        <a:pt x="3507151" y="61293"/>
                      </a:cubicBezTo>
                      <a:cubicBezTo>
                        <a:pt x="3489444" y="46180"/>
                        <a:pt x="3476683" y="32226"/>
                        <a:pt x="3456414" y="31145"/>
                      </a:cubicBezTo>
                      <a:cubicBezTo>
                        <a:pt x="3456541" y="29828"/>
                        <a:pt x="3456756" y="28521"/>
                        <a:pt x="3457048" y="27231"/>
                      </a:cubicBezTo>
                      <a:cubicBezTo>
                        <a:pt x="3460194" y="13283"/>
                        <a:pt x="3471165" y="18457"/>
                        <a:pt x="3479931" y="18457"/>
                      </a:cubicBezTo>
                      <a:cubicBezTo>
                        <a:pt x="3481300" y="18486"/>
                        <a:pt x="3482657" y="18304"/>
                        <a:pt x="3483964" y="17917"/>
                      </a:cubicBezTo>
                      <a:cubicBezTo>
                        <a:pt x="3485689" y="11901"/>
                        <a:pt x="3484916" y="5444"/>
                        <a:pt x="3481821" y="10"/>
                      </a:cubicBezTo>
                      <a:lnTo>
                        <a:pt x="3384698" y="10"/>
                      </a:lnTo>
                      <a:cubicBezTo>
                        <a:pt x="3384710" y="340"/>
                        <a:pt x="3384698" y="671"/>
                        <a:pt x="3384660" y="999"/>
                      </a:cubicBezTo>
                      <a:cubicBezTo>
                        <a:pt x="3383657" y="13333"/>
                        <a:pt x="3375539" y="23936"/>
                        <a:pt x="3363896" y="28087"/>
                      </a:cubicBezTo>
                      <a:cubicBezTo>
                        <a:pt x="3361054" y="29484"/>
                        <a:pt x="3358048" y="30743"/>
                        <a:pt x="3354953" y="31912"/>
                      </a:cubicBezTo>
                      <a:cubicBezTo>
                        <a:pt x="3350615" y="32684"/>
                        <a:pt x="3346189" y="32760"/>
                        <a:pt x="3341825" y="32137"/>
                      </a:cubicBezTo>
                      <a:cubicBezTo>
                        <a:pt x="3342320" y="29482"/>
                        <a:pt x="3342777" y="27007"/>
                        <a:pt x="3343169" y="24713"/>
                      </a:cubicBezTo>
                      <a:cubicBezTo>
                        <a:pt x="3343258" y="24263"/>
                        <a:pt x="3343360" y="23812"/>
                        <a:pt x="3343449" y="23407"/>
                      </a:cubicBezTo>
                      <a:cubicBezTo>
                        <a:pt x="3343842" y="20978"/>
                        <a:pt x="3344248" y="18729"/>
                        <a:pt x="3344653" y="16703"/>
                      </a:cubicBezTo>
                      <a:cubicBezTo>
                        <a:pt x="3344971" y="14723"/>
                        <a:pt x="3345288" y="12924"/>
                        <a:pt x="3345605" y="11304"/>
                      </a:cubicBezTo>
                      <a:cubicBezTo>
                        <a:pt x="3350945" y="10764"/>
                        <a:pt x="3355626" y="10269"/>
                        <a:pt x="3360572" y="9729"/>
                      </a:cubicBezTo>
                      <a:cubicBezTo>
                        <a:pt x="3361651" y="9593"/>
                        <a:pt x="3362729" y="9505"/>
                        <a:pt x="3363807" y="9369"/>
                      </a:cubicBezTo>
                      <a:cubicBezTo>
                        <a:pt x="3363439" y="6084"/>
                        <a:pt x="3363084" y="2979"/>
                        <a:pt x="3362729" y="10"/>
                      </a:cubicBezTo>
                      <a:lnTo>
                        <a:pt x="3195462" y="10"/>
                      </a:lnTo>
                      <a:cubicBezTo>
                        <a:pt x="3190072" y="15848"/>
                        <a:pt x="3197390" y="32141"/>
                        <a:pt x="3199635" y="48605"/>
                      </a:cubicBezTo>
                      <a:cubicBezTo>
                        <a:pt x="3197251" y="49325"/>
                        <a:pt x="3194828" y="50002"/>
                        <a:pt x="3192405" y="50720"/>
                      </a:cubicBezTo>
                      <a:cubicBezTo>
                        <a:pt x="3188537" y="51890"/>
                        <a:pt x="3184630" y="53015"/>
                        <a:pt x="3180673" y="54184"/>
                      </a:cubicBezTo>
                      <a:lnTo>
                        <a:pt x="3179874" y="54455"/>
                      </a:lnTo>
                      <a:cubicBezTo>
                        <a:pt x="3179468" y="54545"/>
                        <a:pt x="3179024" y="54680"/>
                        <a:pt x="3178618" y="54814"/>
                      </a:cubicBezTo>
                      <a:cubicBezTo>
                        <a:pt x="3175561" y="49596"/>
                        <a:pt x="3172948" y="45185"/>
                        <a:pt x="3170474" y="40910"/>
                      </a:cubicBezTo>
                      <a:cubicBezTo>
                        <a:pt x="3154657" y="42081"/>
                        <a:pt x="3139563" y="43161"/>
                        <a:pt x="3122655" y="44376"/>
                      </a:cubicBezTo>
                      <a:cubicBezTo>
                        <a:pt x="3128819" y="48515"/>
                        <a:pt x="3134249" y="52204"/>
                        <a:pt x="3139373" y="55670"/>
                      </a:cubicBezTo>
                      <a:cubicBezTo>
                        <a:pt x="3143876" y="58730"/>
                        <a:pt x="3148138" y="61609"/>
                        <a:pt x="3152451" y="64534"/>
                      </a:cubicBezTo>
                      <a:cubicBezTo>
                        <a:pt x="3148632" y="71599"/>
                        <a:pt x="3145892" y="76682"/>
                        <a:pt x="3141491" y="84917"/>
                      </a:cubicBezTo>
                      <a:cubicBezTo>
                        <a:pt x="3139652" y="82307"/>
                        <a:pt x="3137939" y="79878"/>
                        <a:pt x="3136417" y="77627"/>
                      </a:cubicBezTo>
                      <a:lnTo>
                        <a:pt x="3136367" y="77627"/>
                      </a:lnTo>
                      <a:cubicBezTo>
                        <a:pt x="3132993" y="72723"/>
                        <a:pt x="3130075" y="68538"/>
                        <a:pt x="3127019" y="64489"/>
                      </a:cubicBezTo>
                      <a:cubicBezTo>
                        <a:pt x="3111023" y="43386"/>
                        <a:pt x="3092873" y="35736"/>
                        <a:pt x="3073771" y="42486"/>
                      </a:cubicBezTo>
                      <a:cubicBezTo>
                        <a:pt x="3066616" y="45153"/>
                        <a:pt x="3060008" y="49102"/>
                        <a:pt x="3054262" y="54140"/>
                      </a:cubicBezTo>
                      <a:cubicBezTo>
                        <a:pt x="3052994" y="55205"/>
                        <a:pt x="3051661" y="56181"/>
                        <a:pt x="3050266" y="57061"/>
                      </a:cubicBezTo>
                      <a:cubicBezTo>
                        <a:pt x="3044558" y="61276"/>
                        <a:pt x="3036910" y="61717"/>
                        <a:pt x="3030759" y="58186"/>
                      </a:cubicBezTo>
                      <a:cubicBezTo>
                        <a:pt x="3021283" y="52414"/>
                        <a:pt x="3012506" y="45541"/>
                        <a:pt x="3004642" y="37710"/>
                      </a:cubicBezTo>
                      <a:cubicBezTo>
                        <a:pt x="2999682" y="32299"/>
                        <a:pt x="2995217" y="26455"/>
                        <a:pt x="2991285" y="20250"/>
                      </a:cubicBezTo>
                      <a:cubicBezTo>
                        <a:pt x="2990841" y="19615"/>
                        <a:pt x="2990346" y="18946"/>
                        <a:pt x="2989852" y="18270"/>
                      </a:cubicBezTo>
                      <a:cubicBezTo>
                        <a:pt x="2981252" y="36908"/>
                        <a:pt x="2975113" y="56590"/>
                        <a:pt x="2971599" y="76817"/>
                      </a:cubicBezTo>
                      <a:cubicBezTo>
                        <a:pt x="2971421" y="77311"/>
                        <a:pt x="2971294" y="77806"/>
                        <a:pt x="2971155" y="78302"/>
                      </a:cubicBezTo>
                      <a:cubicBezTo>
                        <a:pt x="2967857" y="92837"/>
                        <a:pt x="2960437" y="106114"/>
                        <a:pt x="2949808" y="116548"/>
                      </a:cubicBezTo>
                      <a:cubicBezTo>
                        <a:pt x="2949719" y="116503"/>
                        <a:pt x="2949681" y="116413"/>
                        <a:pt x="2949579" y="116367"/>
                      </a:cubicBezTo>
                      <a:cubicBezTo>
                        <a:pt x="2944861" y="112319"/>
                        <a:pt x="2940104" y="108449"/>
                        <a:pt x="2935513" y="104624"/>
                      </a:cubicBezTo>
                      <a:cubicBezTo>
                        <a:pt x="2934803" y="104040"/>
                        <a:pt x="2934080" y="103454"/>
                        <a:pt x="2933407" y="102870"/>
                      </a:cubicBezTo>
                      <a:cubicBezTo>
                        <a:pt x="2919188" y="92549"/>
                        <a:pt x="2907760" y="78828"/>
                        <a:pt x="2900200" y="62958"/>
                      </a:cubicBezTo>
                      <a:cubicBezTo>
                        <a:pt x="2895964" y="52744"/>
                        <a:pt x="2891676" y="42545"/>
                        <a:pt x="2887338" y="32361"/>
                      </a:cubicBezTo>
                      <a:lnTo>
                        <a:pt x="2885867" y="28986"/>
                      </a:lnTo>
                      <a:cubicBezTo>
                        <a:pt x="2881719" y="19492"/>
                        <a:pt x="2877482" y="10043"/>
                        <a:pt x="2873145" y="639"/>
                      </a:cubicBezTo>
                      <a:cubicBezTo>
                        <a:pt x="2873056" y="418"/>
                        <a:pt x="2872954" y="206"/>
                        <a:pt x="2872827" y="4"/>
                      </a:cubicBezTo>
                      <a:lnTo>
                        <a:pt x="1566699" y="4"/>
                      </a:lnTo>
                      <a:cubicBezTo>
                        <a:pt x="1570377" y="6569"/>
                        <a:pt x="1576529" y="11394"/>
                        <a:pt x="1583772" y="13412"/>
                      </a:cubicBezTo>
                      <a:cubicBezTo>
                        <a:pt x="1597001" y="18412"/>
                        <a:pt x="1603673" y="33202"/>
                        <a:pt x="1598676" y="46446"/>
                      </a:cubicBezTo>
                      <a:cubicBezTo>
                        <a:pt x="1598549" y="46776"/>
                        <a:pt x="1598422" y="47104"/>
                        <a:pt x="1598283" y="47428"/>
                      </a:cubicBezTo>
                      <a:cubicBezTo>
                        <a:pt x="1588896" y="65289"/>
                        <a:pt x="1588845" y="86623"/>
                        <a:pt x="1598156" y="104527"/>
                      </a:cubicBezTo>
                      <a:cubicBezTo>
                        <a:pt x="1601327" y="111726"/>
                        <a:pt x="1603191" y="119438"/>
                        <a:pt x="1603635" y="127296"/>
                      </a:cubicBezTo>
                      <a:cubicBezTo>
                        <a:pt x="1603953" y="133730"/>
                        <a:pt x="1603318" y="143944"/>
                        <a:pt x="1599500" y="146104"/>
                      </a:cubicBezTo>
                      <a:cubicBezTo>
                        <a:pt x="1598980" y="146393"/>
                        <a:pt x="1598473" y="146708"/>
                        <a:pt x="1597978" y="147049"/>
                      </a:cubicBezTo>
                      <a:cubicBezTo>
                        <a:pt x="1594807" y="149020"/>
                        <a:pt x="1592156" y="151720"/>
                        <a:pt x="1590254" y="154923"/>
                      </a:cubicBezTo>
                      <a:cubicBezTo>
                        <a:pt x="1587361" y="160231"/>
                        <a:pt x="1585611" y="166087"/>
                        <a:pt x="1585129" y="172112"/>
                      </a:cubicBezTo>
                      <a:cubicBezTo>
                        <a:pt x="1584723" y="171944"/>
                        <a:pt x="1584329" y="171748"/>
                        <a:pt x="1583949" y="171527"/>
                      </a:cubicBezTo>
                      <a:cubicBezTo>
                        <a:pt x="1575007" y="167028"/>
                        <a:pt x="1572851" y="162123"/>
                        <a:pt x="1573942" y="156454"/>
                      </a:cubicBezTo>
                      <a:lnTo>
                        <a:pt x="1573942" y="156408"/>
                      </a:lnTo>
                      <a:cubicBezTo>
                        <a:pt x="1574677" y="153352"/>
                        <a:pt x="1575882" y="150425"/>
                        <a:pt x="1577493" y="147724"/>
                      </a:cubicBezTo>
                      <a:cubicBezTo>
                        <a:pt x="1577760" y="147274"/>
                        <a:pt x="1577975" y="146779"/>
                        <a:pt x="1578203" y="146327"/>
                      </a:cubicBezTo>
                      <a:lnTo>
                        <a:pt x="1578203" y="146285"/>
                      </a:lnTo>
                      <a:cubicBezTo>
                        <a:pt x="1584508" y="135505"/>
                        <a:pt x="1585687" y="122480"/>
                        <a:pt x="1581438" y="110739"/>
                      </a:cubicBezTo>
                      <a:lnTo>
                        <a:pt x="1581438" y="110649"/>
                      </a:lnTo>
                      <a:cubicBezTo>
                        <a:pt x="1580500" y="108196"/>
                        <a:pt x="1579345" y="105832"/>
                        <a:pt x="1577975" y="103585"/>
                      </a:cubicBezTo>
                      <a:cubicBezTo>
                        <a:pt x="1577075" y="101940"/>
                        <a:pt x="1576060" y="100360"/>
                        <a:pt x="1574931" y="98859"/>
                      </a:cubicBezTo>
                      <a:cubicBezTo>
                        <a:pt x="1574563" y="99894"/>
                        <a:pt x="1574208" y="100975"/>
                        <a:pt x="1573802" y="102009"/>
                      </a:cubicBezTo>
                      <a:cubicBezTo>
                        <a:pt x="1570796" y="110560"/>
                        <a:pt x="1567764" y="119112"/>
                        <a:pt x="1564720" y="127663"/>
                      </a:cubicBezTo>
                      <a:cubicBezTo>
                        <a:pt x="1564315" y="127528"/>
                        <a:pt x="1563921" y="127394"/>
                        <a:pt x="1563465" y="127258"/>
                      </a:cubicBezTo>
                      <a:cubicBezTo>
                        <a:pt x="1562932" y="127123"/>
                        <a:pt x="1562386" y="126943"/>
                        <a:pt x="1561802" y="126764"/>
                      </a:cubicBezTo>
                      <a:lnTo>
                        <a:pt x="1561802" y="67542"/>
                      </a:lnTo>
                      <a:cubicBezTo>
                        <a:pt x="1568855" y="64227"/>
                        <a:pt x="1574994" y="59238"/>
                        <a:pt x="1579687" y="53008"/>
                      </a:cubicBezTo>
                      <a:cubicBezTo>
                        <a:pt x="1584812" y="45774"/>
                        <a:pt x="1588135" y="37411"/>
                        <a:pt x="1589353" y="28624"/>
                      </a:cubicBezTo>
                      <a:cubicBezTo>
                        <a:pt x="1582807" y="26845"/>
                        <a:pt x="1575984" y="26356"/>
                        <a:pt x="1569261" y="27184"/>
                      </a:cubicBezTo>
                      <a:cubicBezTo>
                        <a:pt x="1554243" y="35168"/>
                        <a:pt x="1535597" y="29447"/>
                        <a:pt x="1527619" y="14406"/>
                      </a:cubicBezTo>
                      <a:cubicBezTo>
                        <a:pt x="1526997" y="13228"/>
                        <a:pt x="1526452" y="12011"/>
                        <a:pt x="1525983" y="10762"/>
                      </a:cubicBezTo>
                      <a:cubicBezTo>
                        <a:pt x="1523826" y="6767"/>
                        <a:pt x="1521049" y="3138"/>
                        <a:pt x="1517763" y="7"/>
                      </a:cubicBezTo>
                      <a:lnTo>
                        <a:pt x="1442749" y="7"/>
                      </a:lnTo>
                      <a:cubicBezTo>
                        <a:pt x="1444195" y="1652"/>
                        <a:pt x="1445502" y="3413"/>
                        <a:pt x="1446656" y="5272"/>
                      </a:cubicBezTo>
                      <a:cubicBezTo>
                        <a:pt x="1447417" y="6487"/>
                        <a:pt x="1445045" y="10626"/>
                        <a:pt x="1442254" y="13731"/>
                      </a:cubicBezTo>
                      <a:lnTo>
                        <a:pt x="1442216" y="13776"/>
                      </a:lnTo>
                      <a:cubicBezTo>
                        <a:pt x="1441240" y="14900"/>
                        <a:pt x="1440136" y="15898"/>
                        <a:pt x="1438931" y="16746"/>
                      </a:cubicBezTo>
                      <a:cubicBezTo>
                        <a:pt x="1429938" y="22506"/>
                        <a:pt x="1425359" y="14632"/>
                        <a:pt x="1419512" y="9322"/>
                      </a:cubicBezTo>
                      <a:cubicBezTo>
                        <a:pt x="1408781" y="-584"/>
                        <a:pt x="1405762" y="-1792"/>
                        <a:pt x="1395386" y="6351"/>
                      </a:cubicBezTo>
                      <a:cubicBezTo>
                        <a:pt x="1393357" y="7927"/>
                        <a:pt x="1391112" y="9861"/>
                        <a:pt x="1388461" y="12111"/>
                      </a:cubicBezTo>
                      <a:cubicBezTo>
                        <a:pt x="1385048" y="42663"/>
                        <a:pt x="1407157" y="56434"/>
                        <a:pt x="1428543" y="62866"/>
                      </a:cubicBezTo>
                      <a:cubicBezTo>
                        <a:pt x="1430991" y="63582"/>
                        <a:pt x="1433388" y="64454"/>
                        <a:pt x="1435735" y="65476"/>
                      </a:cubicBezTo>
                      <a:cubicBezTo>
                        <a:pt x="1436229" y="65701"/>
                        <a:pt x="1436724" y="65927"/>
                        <a:pt x="1437219" y="66196"/>
                      </a:cubicBezTo>
                      <a:cubicBezTo>
                        <a:pt x="1444626" y="69788"/>
                        <a:pt x="1450385" y="76083"/>
                        <a:pt x="1453302" y="83789"/>
                      </a:cubicBezTo>
                      <a:cubicBezTo>
                        <a:pt x="1457082" y="91980"/>
                        <a:pt x="1460088" y="93958"/>
                        <a:pt x="1470781" y="96794"/>
                      </a:cubicBezTo>
                      <a:cubicBezTo>
                        <a:pt x="1470147" y="97154"/>
                        <a:pt x="1469487" y="97513"/>
                        <a:pt x="1468853" y="97874"/>
                      </a:cubicBezTo>
                      <a:cubicBezTo>
                        <a:pt x="1466811" y="98878"/>
                        <a:pt x="1464693" y="99706"/>
                        <a:pt x="1462511" y="100348"/>
                      </a:cubicBezTo>
                      <a:cubicBezTo>
                        <a:pt x="1459961" y="101179"/>
                        <a:pt x="1457285" y="101575"/>
                        <a:pt x="1454596" y="101519"/>
                      </a:cubicBezTo>
                      <a:cubicBezTo>
                        <a:pt x="1454368" y="101482"/>
                        <a:pt x="1454127" y="101467"/>
                        <a:pt x="1453885" y="101473"/>
                      </a:cubicBezTo>
                      <a:cubicBezTo>
                        <a:pt x="1452541" y="101465"/>
                        <a:pt x="1451209" y="101268"/>
                        <a:pt x="1449929" y="100889"/>
                      </a:cubicBezTo>
                      <a:cubicBezTo>
                        <a:pt x="1444944" y="99361"/>
                        <a:pt x="1440859" y="95749"/>
                        <a:pt x="1438741" y="90983"/>
                      </a:cubicBezTo>
                      <a:cubicBezTo>
                        <a:pt x="1434936" y="83249"/>
                        <a:pt x="1426983" y="78436"/>
                        <a:pt x="1418383" y="78654"/>
                      </a:cubicBezTo>
                      <a:cubicBezTo>
                        <a:pt x="1399014" y="75550"/>
                        <a:pt x="1378301" y="76134"/>
                        <a:pt x="1365312" y="63040"/>
                      </a:cubicBezTo>
                      <a:cubicBezTo>
                        <a:pt x="1365312" y="58990"/>
                        <a:pt x="1365578" y="55166"/>
                        <a:pt x="1365807" y="51521"/>
                      </a:cubicBezTo>
                      <a:cubicBezTo>
                        <a:pt x="1365934" y="49901"/>
                        <a:pt x="1366022" y="48281"/>
                        <a:pt x="1366162" y="46752"/>
                      </a:cubicBezTo>
                      <a:cubicBezTo>
                        <a:pt x="1366771" y="41409"/>
                        <a:pt x="1366250" y="35997"/>
                        <a:pt x="1364640" y="30868"/>
                      </a:cubicBezTo>
                      <a:cubicBezTo>
                        <a:pt x="1361038" y="22005"/>
                        <a:pt x="1361621" y="11990"/>
                        <a:pt x="1366212" y="3600"/>
                      </a:cubicBezTo>
                      <a:cubicBezTo>
                        <a:pt x="1366745" y="2386"/>
                        <a:pt x="1367240" y="1217"/>
                        <a:pt x="1367697" y="1"/>
                      </a:cubicBezTo>
                      <a:lnTo>
                        <a:pt x="1348189" y="1"/>
                      </a:lnTo>
                      <a:cubicBezTo>
                        <a:pt x="1346628" y="1092"/>
                        <a:pt x="1344954" y="2012"/>
                        <a:pt x="1343204" y="2746"/>
                      </a:cubicBezTo>
                      <a:lnTo>
                        <a:pt x="1342924" y="2880"/>
                      </a:lnTo>
                      <a:cubicBezTo>
                        <a:pt x="1329505" y="7678"/>
                        <a:pt x="1318482" y="17546"/>
                        <a:pt x="1312229" y="30373"/>
                      </a:cubicBezTo>
                      <a:cubicBezTo>
                        <a:pt x="1310276" y="34661"/>
                        <a:pt x="1308817" y="39160"/>
                        <a:pt x="1307878" y="43782"/>
                      </a:cubicBezTo>
                      <a:cubicBezTo>
                        <a:pt x="1307003" y="46619"/>
                        <a:pt x="1305506" y="49230"/>
                        <a:pt x="1303515" y="51431"/>
                      </a:cubicBezTo>
                      <a:cubicBezTo>
                        <a:pt x="1310085" y="65291"/>
                        <a:pt x="1315247" y="75865"/>
                        <a:pt x="1320232" y="86573"/>
                      </a:cubicBezTo>
                      <a:cubicBezTo>
                        <a:pt x="1323518" y="95492"/>
                        <a:pt x="1327488" y="104144"/>
                        <a:pt x="1332105" y="112452"/>
                      </a:cubicBezTo>
                      <a:cubicBezTo>
                        <a:pt x="1338662" y="122020"/>
                        <a:pt x="1338676" y="134633"/>
                        <a:pt x="1332155" y="144220"/>
                      </a:cubicBezTo>
                      <a:cubicBezTo>
                        <a:pt x="1327526" y="153309"/>
                        <a:pt x="1325141" y="163524"/>
                        <a:pt x="1320917" y="172837"/>
                      </a:cubicBezTo>
                      <a:cubicBezTo>
                        <a:pt x="1320512" y="173691"/>
                        <a:pt x="1320194" y="174546"/>
                        <a:pt x="1319839" y="175401"/>
                      </a:cubicBezTo>
                      <a:cubicBezTo>
                        <a:pt x="1317784" y="180828"/>
                        <a:pt x="1316820" y="186609"/>
                        <a:pt x="1317011" y="192410"/>
                      </a:cubicBezTo>
                      <a:cubicBezTo>
                        <a:pt x="1317226" y="211263"/>
                        <a:pt x="1327031" y="229486"/>
                        <a:pt x="1323657" y="249150"/>
                      </a:cubicBezTo>
                      <a:cubicBezTo>
                        <a:pt x="1336874" y="248160"/>
                        <a:pt x="1350535" y="251130"/>
                        <a:pt x="1358171" y="245685"/>
                      </a:cubicBezTo>
                      <a:cubicBezTo>
                        <a:pt x="1369548" y="236967"/>
                        <a:pt x="1385404" y="237133"/>
                        <a:pt x="1396591" y="246090"/>
                      </a:cubicBezTo>
                      <a:cubicBezTo>
                        <a:pt x="1408362" y="252975"/>
                        <a:pt x="1419879" y="260490"/>
                        <a:pt x="1429938" y="266743"/>
                      </a:cubicBezTo>
                      <a:cubicBezTo>
                        <a:pt x="1434796" y="284112"/>
                        <a:pt x="1439147" y="299680"/>
                        <a:pt x="1443916" y="316598"/>
                      </a:cubicBezTo>
                      <a:cubicBezTo>
                        <a:pt x="1442927" y="316853"/>
                        <a:pt x="1441950" y="317168"/>
                        <a:pt x="1440998" y="317544"/>
                      </a:cubicBezTo>
                      <a:cubicBezTo>
                        <a:pt x="1436990" y="318802"/>
                        <a:pt x="1433464" y="321249"/>
                        <a:pt x="1430889" y="324564"/>
                      </a:cubicBezTo>
                      <a:cubicBezTo>
                        <a:pt x="1426881" y="333366"/>
                        <a:pt x="1426031" y="343281"/>
                        <a:pt x="1428467" y="352641"/>
                      </a:cubicBezTo>
                      <a:cubicBezTo>
                        <a:pt x="1440415" y="357140"/>
                        <a:pt x="1451425" y="361277"/>
                        <a:pt x="1465898" y="366724"/>
                      </a:cubicBezTo>
                      <a:cubicBezTo>
                        <a:pt x="1464680" y="367084"/>
                        <a:pt x="1463513" y="367399"/>
                        <a:pt x="1462346" y="367669"/>
                      </a:cubicBezTo>
                      <a:cubicBezTo>
                        <a:pt x="1460545" y="368120"/>
                        <a:pt x="1458832" y="368525"/>
                        <a:pt x="1457133" y="368794"/>
                      </a:cubicBezTo>
                      <a:cubicBezTo>
                        <a:pt x="1455192" y="369155"/>
                        <a:pt x="1453315" y="369429"/>
                        <a:pt x="1451514" y="369604"/>
                      </a:cubicBezTo>
                      <a:cubicBezTo>
                        <a:pt x="1438956" y="371630"/>
                        <a:pt x="1426323" y="366540"/>
                        <a:pt x="1418662" y="356376"/>
                      </a:cubicBezTo>
                      <a:cubicBezTo>
                        <a:pt x="1418662" y="345351"/>
                        <a:pt x="1418890" y="335092"/>
                        <a:pt x="1418789" y="325103"/>
                      </a:cubicBezTo>
                      <a:cubicBezTo>
                        <a:pt x="1418839" y="324550"/>
                        <a:pt x="1418839" y="323992"/>
                        <a:pt x="1418789" y="323438"/>
                      </a:cubicBezTo>
                      <a:cubicBezTo>
                        <a:pt x="1418789" y="318358"/>
                        <a:pt x="1418662" y="313360"/>
                        <a:pt x="1418433" y="308409"/>
                      </a:cubicBezTo>
                      <a:cubicBezTo>
                        <a:pt x="1417913" y="301875"/>
                        <a:pt x="1416049" y="295519"/>
                        <a:pt x="1412954" y="289740"/>
                      </a:cubicBezTo>
                      <a:cubicBezTo>
                        <a:pt x="1408058" y="280111"/>
                        <a:pt x="1401944" y="271112"/>
                        <a:pt x="1395475" y="260403"/>
                      </a:cubicBezTo>
                      <a:cubicBezTo>
                        <a:pt x="1386165" y="263148"/>
                        <a:pt x="1376195" y="265802"/>
                        <a:pt x="1366391" y="269039"/>
                      </a:cubicBezTo>
                      <a:cubicBezTo>
                        <a:pt x="1357740" y="271192"/>
                        <a:pt x="1349837" y="275691"/>
                        <a:pt x="1343558" y="282043"/>
                      </a:cubicBezTo>
                      <a:cubicBezTo>
                        <a:pt x="1336874" y="290187"/>
                        <a:pt x="1337762" y="301122"/>
                        <a:pt x="1344776" y="317730"/>
                      </a:cubicBezTo>
                      <a:cubicBezTo>
                        <a:pt x="1352780" y="336629"/>
                        <a:pt x="1355114" y="354852"/>
                        <a:pt x="1339157" y="371590"/>
                      </a:cubicBezTo>
                      <a:cubicBezTo>
                        <a:pt x="1338751" y="372040"/>
                        <a:pt x="1338307" y="372535"/>
                        <a:pt x="1337812" y="372987"/>
                      </a:cubicBezTo>
                      <a:cubicBezTo>
                        <a:pt x="1332066" y="379257"/>
                        <a:pt x="1328237" y="387053"/>
                        <a:pt x="1326803" y="395441"/>
                      </a:cubicBezTo>
                      <a:cubicBezTo>
                        <a:pt x="1326663" y="396115"/>
                        <a:pt x="1326536" y="396791"/>
                        <a:pt x="1326397" y="397421"/>
                      </a:cubicBezTo>
                      <a:cubicBezTo>
                        <a:pt x="1324406" y="410708"/>
                        <a:pt x="1316288" y="422279"/>
                        <a:pt x="1304466" y="428648"/>
                      </a:cubicBezTo>
                      <a:lnTo>
                        <a:pt x="1300280" y="430807"/>
                      </a:lnTo>
                      <a:cubicBezTo>
                        <a:pt x="1293316" y="434496"/>
                        <a:pt x="1285275" y="438950"/>
                        <a:pt x="1284590" y="443900"/>
                      </a:cubicBezTo>
                      <a:cubicBezTo>
                        <a:pt x="1284248" y="446358"/>
                        <a:pt x="1283753" y="448791"/>
                        <a:pt x="1283119" y="451189"/>
                      </a:cubicBezTo>
                      <a:lnTo>
                        <a:pt x="1283119" y="451235"/>
                      </a:lnTo>
                      <a:cubicBezTo>
                        <a:pt x="1282319" y="456490"/>
                        <a:pt x="1278895" y="460973"/>
                        <a:pt x="1274037" y="463113"/>
                      </a:cubicBezTo>
                      <a:cubicBezTo>
                        <a:pt x="1266489" y="464323"/>
                        <a:pt x="1258752" y="462792"/>
                        <a:pt x="1252245" y="458795"/>
                      </a:cubicBezTo>
                      <a:cubicBezTo>
                        <a:pt x="1247159" y="456500"/>
                        <a:pt x="1240106" y="459245"/>
                        <a:pt x="1234170" y="458300"/>
                      </a:cubicBezTo>
                      <a:cubicBezTo>
                        <a:pt x="1226738" y="456823"/>
                        <a:pt x="1219380" y="454944"/>
                        <a:pt x="1212150" y="452675"/>
                      </a:cubicBezTo>
                      <a:cubicBezTo>
                        <a:pt x="1211834" y="452135"/>
                        <a:pt x="1211567" y="451551"/>
                        <a:pt x="1211250" y="451011"/>
                      </a:cubicBezTo>
                      <a:cubicBezTo>
                        <a:pt x="1211377" y="451613"/>
                        <a:pt x="1211656" y="452172"/>
                        <a:pt x="1212061" y="452630"/>
                      </a:cubicBezTo>
                      <a:cubicBezTo>
                        <a:pt x="1201864" y="447771"/>
                        <a:pt x="1188152" y="445791"/>
                        <a:pt x="1187569" y="432608"/>
                      </a:cubicBezTo>
                      <a:cubicBezTo>
                        <a:pt x="1187455" y="430357"/>
                        <a:pt x="1187644" y="428100"/>
                        <a:pt x="1188152" y="425903"/>
                      </a:cubicBezTo>
                      <a:cubicBezTo>
                        <a:pt x="1200912" y="418779"/>
                        <a:pt x="1217022" y="423104"/>
                        <a:pt x="1224505" y="435667"/>
                      </a:cubicBezTo>
                      <a:cubicBezTo>
                        <a:pt x="1224822" y="436072"/>
                        <a:pt x="1225190" y="436522"/>
                        <a:pt x="1225545" y="436971"/>
                      </a:cubicBezTo>
                      <a:cubicBezTo>
                        <a:pt x="1227384" y="439222"/>
                        <a:pt x="1229134" y="441607"/>
                        <a:pt x="1230898" y="443992"/>
                      </a:cubicBezTo>
                      <a:cubicBezTo>
                        <a:pt x="1240081" y="442272"/>
                        <a:pt x="1248224" y="436984"/>
                        <a:pt x="1253539" y="429278"/>
                      </a:cubicBezTo>
                      <a:cubicBezTo>
                        <a:pt x="1255619" y="426479"/>
                        <a:pt x="1257471" y="423531"/>
                        <a:pt x="1259120" y="420459"/>
                      </a:cubicBezTo>
                      <a:cubicBezTo>
                        <a:pt x="1262659" y="413076"/>
                        <a:pt x="1266667" y="405922"/>
                        <a:pt x="1271119" y="399040"/>
                      </a:cubicBezTo>
                      <a:cubicBezTo>
                        <a:pt x="1271347" y="398758"/>
                        <a:pt x="1271563" y="398457"/>
                        <a:pt x="1271754" y="398140"/>
                      </a:cubicBezTo>
                      <a:cubicBezTo>
                        <a:pt x="1273174" y="396071"/>
                        <a:pt x="1274481" y="393923"/>
                        <a:pt x="1275660" y="391706"/>
                      </a:cubicBezTo>
                      <a:cubicBezTo>
                        <a:pt x="1276966" y="389186"/>
                        <a:pt x="1278134" y="386576"/>
                        <a:pt x="1279301" y="383967"/>
                      </a:cubicBezTo>
                      <a:cubicBezTo>
                        <a:pt x="1281406" y="378975"/>
                        <a:pt x="1283854" y="374134"/>
                        <a:pt x="1286620" y="369478"/>
                      </a:cubicBezTo>
                      <a:cubicBezTo>
                        <a:pt x="1289169" y="365242"/>
                        <a:pt x="1292492" y="361531"/>
                        <a:pt x="1296424" y="358544"/>
                      </a:cubicBezTo>
                      <a:cubicBezTo>
                        <a:pt x="1297756" y="357483"/>
                        <a:pt x="1298873" y="356168"/>
                        <a:pt x="1299697" y="354674"/>
                      </a:cubicBezTo>
                      <a:cubicBezTo>
                        <a:pt x="1301663" y="351737"/>
                        <a:pt x="1302538" y="348202"/>
                        <a:pt x="1302170" y="344686"/>
                      </a:cubicBezTo>
                      <a:cubicBezTo>
                        <a:pt x="1299874" y="332064"/>
                        <a:pt x="1302044" y="319037"/>
                        <a:pt x="1308284" y="307834"/>
                      </a:cubicBezTo>
                      <a:cubicBezTo>
                        <a:pt x="1309273" y="305493"/>
                        <a:pt x="1310351" y="303110"/>
                        <a:pt x="1311379" y="300679"/>
                      </a:cubicBezTo>
                      <a:cubicBezTo>
                        <a:pt x="1312825" y="297350"/>
                        <a:pt x="1314309" y="293884"/>
                        <a:pt x="1315742" y="290241"/>
                      </a:cubicBezTo>
                      <a:cubicBezTo>
                        <a:pt x="1311164" y="287180"/>
                        <a:pt x="1305366" y="283221"/>
                        <a:pt x="1299481" y="279446"/>
                      </a:cubicBezTo>
                      <a:cubicBezTo>
                        <a:pt x="1287875" y="271119"/>
                        <a:pt x="1281989" y="256926"/>
                        <a:pt x="1284286" y="242819"/>
                      </a:cubicBezTo>
                      <a:cubicBezTo>
                        <a:pt x="1284742" y="221807"/>
                        <a:pt x="1284869" y="200793"/>
                        <a:pt x="1285098" y="179827"/>
                      </a:cubicBezTo>
                      <a:cubicBezTo>
                        <a:pt x="1285098" y="174067"/>
                        <a:pt x="1285186" y="168352"/>
                        <a:pt x="1285237" y="162639"/>
                      </a:cubicBezTo>
                      <a:cubicBezTo>
                        <a:pt x="1284806" y="157724"/>
                        <a:pt x="1285059" y="152775"/>
                        <a:pt x="1285947" y="147924"/>
                      </a:cubicBezTo>
                      <a:cubicBezTo>
                        <a:pt x="1287469" y="142660"/>
                        <a:pt x="1288826" y="137441"/>
                        <a:pt x="1289815" y="132311"/>
                      </a:cubicBezTo>
                      <a:cubicBezTo>
                        <a:pt x="1296894" y="108889"/>
                        <a:pt x="1290285" y="83468"/>
                        <a:pt x="1272692" y="66482"/>
                      </a:cubicBezTo>
                      <a:cubicBezTo>
                        <a:pt x="1270447" y="64352"/>
                        <a:pt x="1268506" y="61915"/>
                        <a:pt x="1266934" y="59243"/>
                      </a:cubicBezTo>
                      <a:cubicBezTo>
                        <a:pt x="1263636" y="54219"/>
                        <a:pt x="1264232" y="47578"/>
                        <a:pt x="1268379" y="43224"/>
                      </a:cubicBezTo>
                      <a:cubicBezTo>
                        <a:pt x="1268506" y="43045"/>
                        <a:pt x="1268697" y="42865"/>
                        <a:pt x="1268824" y="42685"/>
                      </a:cubicBezTo>
                      <a:cubicBezTo>
                        <a:pt x="1278387" y="30213"/>
                        <a:pt x="1284704" y="15554"/>
                        <a:pt x="1287203" y="29"/>
                      </a:cubicBezTo>
                      <a:lnTo>
                        <a:pt x="1175303" y="29"/>
                      </a:lnTo>
                      <a:cubicBezTo>
                        <a:pt x="1173058" y="10595"/>
                        <a:pt x="1169595" y="20863"/>
                        <a:pt x="1164966" y="30626"/>
                      </a:cubicBezTo>
                      <a:lnTo>
                        <a:pt x="1164966" y="30672"/>
                      </a:lnTo>
                      <a:cubicBezTo>
                        <a:pt x="1159816" y="41409"/>
                        <a:pt x="1152383" y="50886"/>
                        <a:pt x="1143174" y="58434"/>
                      </a:cubicBezTo>
                      <a:cubicBezTo>
                        <a:pt x="1142908" y="58659"/>
                        <a:pt x="1142590" y="58928"/>
                        <a:pt x="1142324" y="59108"/>
                      </a:cubicBezTo>
                      <a:cubicBezTo>
                        <a:pt x="1138709" y="62000"/>
                        <a:pt x="1134853" y="64589"/>
                        <a:pt x="1130820" y="66848"/>
                      </a:cubicBezTo>
                      <a:cubicBezTo>
                        <a:pt x="1129538" y="67615"/>
                        <a:pt x="1128485" y="68700"/>
                        <a:pt x="1127762" y="69997"/>
                      </a:cubicBezTo>
                      <a:cubicBezTo>
                        <a:pt x="1125632" y="73891"/>
                        <a:pt x="1124122" y="78097"/>
                        <a:pt x="1123311" y="82461"/>
                      </a:cubicBezTo>
                      <a:cubicBezTo>
                        <a:pt x="1121940" y="90320"/>
                        <a:pt x="1121040" y="98253"/>
                        <a:pt x="1120609" y="106219"/>
                      </a:cubicBezTo>
                      <a:cubicBezTo>
                        <a:pt x="1125924" y="107344"/>
                        <a:pt x="1131492" y="108514"/>
                        <a:pt x="1139305" y="110179"/>
                      </a:cubicBezTo>
                      <a:cubicBezTo>
                        <a:pt x="1132519" y="130652"/>
                        <a:pt x="1138722" y="152565"/>
                        <a:pt x="1133420" y="172543"/>
                      </a:cubicBezTo>
                      <a:cubicBezTo>
                        <a:pt x="1132329" y="176756"/>
                        <a:pt x="1130667" y="180798"/>
                        <a:pt x="1128473" y="184558"/>
                      </a:cubicBezTo>
                      <a:cubicBezTo>
                        <a:pt x="1127230" y="186761"/>
                        <a:pt x="1125809" y="188853"/>
                        <a:pt x="1124211" y="190811"/>
                      </a:cubicBezTo>
                      <a:cubicBezTo>
                        <a:pt x="1122181" y="193332"/>
                        <a:pt x="1123932" y="198911"/>
                        <a:pt x="1123932" y="199991"/>
                      </a:cubicBezTo>
                      <a:cubicBezTo>
                        <a:pt x="1137694" y="207550"/>
                        <a:pt x="1148793" y="213624"/>
                        <a:pt x="1160247" y="219930"/>
                      </a:cubicBezTo>
                      <a:cubicBezTo>
                        <a:pt x="1156365" y="240035"/>
                        <a:pt x="1167527" y="260015"/>
                        <a:pt x="1186668" y="267221"/>
                      </a:cubicBezTo>
                      <a:lnTo>
                        <a:pt x="1186770" y="267221"/>
                      </a:lnTo>
                      <a:cubicBezTo>
                        <a:pt x="1187734" y="267710"/>
                        <a:pt x="1188723" y="268144"/>
                        <a:pt x="1189725" y="268525"/>
                      </a:cubicBezTo>
                      <a:cubicBezTo>
                        <a:pt x="1183078" y="285759"/>
                        <a:pt x="1176520" y="302767"/>
                        <a:pt x="1169151" y="321935"/>
                      </a:cubicBezTo>
                      <a:cubicBezTo>
                        <a:pt x="1168783" y="321485"/>
                        <a:pt x="1168479" y="321080"/>
                        <a:pt x="1168111" y="320630"/>
                      </a:cubicBezTo>
                      <a:cubicBezTo>
                        <a:pt x="1149009" y="296423"/>
                        <a:pt x="1133737" y="274465"/>
                        <a:pt x="1108837" y="262045"/>
                      </a:cubicBezTo>
                      <a:cubicBezTo>
                        <a:pt x="1104259" y="259750"/>
                        <a:pt x="1099173" y="257727"/>
                        <a:pt x="1094188" y="255611"/>
                      </a:cubicBezTo>
                      <a:cubicBezTo>
                        <a:pt x="1094112" y="255610"/>
                        <a:pt x="1094048" y="255577"/>
                        <a:pt x="1094010" y="255521"/>
                      </a:cubicBezTo>
                      <a:cubicBezTo>
                        <a:pt x="1089380" y="253672"/>
                        <a:pt x="1084877" y="251539"/>
                        <a:pt x="1080526" y="249132"/>
                      </a:cubicBezTo>
                      <a:cubicBezTo>
                        <a:pt x="1075656" y="246606"/>
                        <a:pt x="1071470" y="242948"/>
                        <a:pt x="1068299" y="238464"/>
                      </a:cubicBezTo>
                      <a:cubicBezTo>
                        <a:pt x="1052215" y="213356"/>
                        <a:pt x="1028395" y="207011"/>
                        <a:pt x="1003356" y="200982"/>
                      </a:cubicBezTo>
                      <a:cubicBezTo>
                        <a:pt x="987450" y="197113"/>
                        <a:pt x="971138" y="195133"/>
                        <a:pt x="955232" y="192346"/>
                      </a:cubicBezTo>
                      <a:cubicBezTo>
                        <a:pt x="949790" y="198106"/>
                        <a:pt x="944223" y="204001"/>
                        <a:pt x="937475" y="211015"/>
                      </a:cubicBezTo>
                      <a:cubicBezTo>
                        <a:pt x="936802" y="211734"/>
                        <a:pt x="936079" y="212500"/>
                        <a:pt x="935369" y="213265"/>
                      </a:cubicBezTo>
                      <a:cubicBezTo>
                        <a:pt x="940277" y="224577"/>
                        <a:pt x="945935" y="235551"/>
                        <a:pt x="952303" y="246112"/>
                      </a:cubicBezTo>
                      <a:cubicBezTo>
                        <a:pt x="958492" y="253201"/>
                        <a:pt x="958327" y="263818"/>
                        <a:pt x="951947" y="270725"/>
                      </a:cubicBezTo>
                      <a:cubicBezTo>
                        <a:pt x="951592" y="271165"/>
                        <a:pt x="951224" y="271586"/>
                        <a:pt x="950819" y="271984"/>
                      </a:cubicBezTo>
                      <a:cubicBezTo>
                        <a:pt x="944235" y="277811"/>
                        <a:pt x="937081" y="282966"/>
                        <a:pt x="929471" y="287373"/>
                      </a:cubicBezTo>
                      <a:cubicBezTo>
                        <a:pt x="928621" y="287913"/>
                        <a:pt x="927771" y="288543"/>
                        <a:pt x="926921" y="289128"/>
                      </a:cubicBezTo>
                      <a:cubicBezTo>
                        <a:pt x="927099" y="290029"/>
                        <a:pt x="929572" y="294753"/>
                        <a:pt x="928266" y="297903"/>
                      </a:cubicBezTo>
                      <a:cubicBezTo>
                        <a:pt x="926921" y="300924"/>
                        <a:pt x="925171" y="303741"/>
                        <a:pt x="923053" y="306272"/>
                      </a:cubicBezTo>
                      <a:cubicBezTo>
                        <a:pt x="921213" y="308431"/>
                        <a:pt x="919412" y="309955"/>
                        <a:pt x="918423" y="309646"/>
                      </a:cubicBezTo>
                      <a:cubicBezTo>
                        <a:pt x="912512" y="307571"/>
                        <a:pt x="907400" y="303662"/>
                        <a:pt x="903861" y="298487"/>
                      </a:cubicBezTo>
                      <a:cubicBezTo>
                        <a:pt x="902352" y="295039"/>
                        <a:pt x="902390" y="291114"/>
                        <a:pt x="903950" y="287692"/>
                      </a:cubicBezTo>
                      <a:lnTo>
                        <a:pt x="903950" y="287647"/>
                      </a:lnTo>
                      <a:cubicBezTo>
                        <a:pt x="904191" y="287099"/>
                        <a:pt x="904470" y="286572"/>
                        <a:pt x="904800" y="286072"/>
                      </a:cubicBezTo>
                      <a:cubicBezTo>
                        <a:pt x="906411" y="283981"/>
                        <a:pt x="907565" y="281574"/>
                        <a:pt x="908174" y="279007"/>
                      </a:cubicBezTo>
                      <a:cubicBezTo>
                        <a:pt x="909430" y="273338"/>
                        <a:pt x="905929" y="269514"/>
                        <a:pt x="901299" y="265464"/>
                      </a:cubicBezTo>
                      <a:cubicBezTo>
                        <a:pt x="900538" y="264789"/>
                        <a:pt x="899726" y="264114"/>
                        <a:pt x="898876" y="263394"/>
                      </a:cubicBezTo>
                      <a:cubicBezTo>
                        <a:pt x="897430" y="262179"/>
                        <a:pt x="895959" y="260874"/>
                        <a:pt x="894513" y="259524"/>
                      </a:cubicBezTo>
                      <a:cubicBezTo>
                        <a:pt x="887905" y="264564"/>
                        <a:pt x="881360" y="269528"/>
                        <a:pt x="874878" y="274418"/>
                      </a:cubicBezTo>
                      <a:cubicBezTo>
                        <a:pt x="873216" y="275678"/>
                        <a:pt x="871555" y="276937"/>
                        <a:pt x="869931" y="278197"/>
                      </a:cubicBezTo>
                      <a:cubicBezTo>
                        <a:pt x="867369" y="280087"/>
                        <a:pt x="864857" y="282022"/>
                        <a:pt x="862334" y="283912"/>
                      </a:cubicBezTo>
                      <a:cubicBezTo>
                        <a:pt x="860672" y="285218"/>
                        <a:pt x="859048" y="286432"/>
                        <a:pt x="857438" y="287647"/>
                      </a:cubicBezTo>
                      <a:cubicBezTo>
                        <a:pt x="854330" y="290032"/>
                        <a:pt x="851235" y="292372"/>
                        <a:pt x="848178" y="294711"/>
                      </a:cubicBezTo>
                      <a:cubicBezTo>
                        <a:pt x="823951" y="286566"/>
                        <a:pt x="805711" y="288592"/>
                        <a:pt x="794295" y="298761"/>
                      </a:cubicBezTo>
                      <a:cubicBezTo>
                        <a:pt x="789348" y="303196"/>
                        <a:pt x="785708" y="308885"/>
                        <a:pt x="783729" y="315229"/>
                      </a:cubicBezTo>
                      <a:cubicBezTo>
                        <a:pt x="783083" y="317087"/>
                        <a:pt x="782549" y="318979"/>
                        <a:pt x="782118" y="320898"/>
                      </a:cubicBezTo>
                      <a:cubicBezTo>
                        <a:pt x="779201" y="320629"/>
                        <a:pt x="776271" y="320314"/>
                        <a:pt x="773354" y="320044"/>
                      </a:cubicBezTo>
                      <a:cubicBezTo>
                        <a:pt x="771997" y="319909"/>
                        <a:pt x="770652" y="319774"/>
                        <a:pt x="769257" y="319639"/>
                      </a:cubicBezTo>
                      <a:cubicBezTo>
                        <a:pt x="766834" y="319414"/>
                        <a:pt x="764411" y="319145"/>
                        <a:pt x="761938" y="318918"/>
                      </a:cubicBezTo>
                      <a:cubicBezTo>
                        <a:pt x="761798" y="318918"/>
                        <a:pt x="761671" y="318874"/>
                        <a:pt x="761532" y="318874"/>
                      </a:cubicBezTo>
                      <a:cubicBezTo>
                        <a:pt x="754784" y="318198"/>
                        <a:pt x="748100" y="317524"/>
                        <a:pt x="741351" y="316759"/>
                      </a:cubicBezTo>
                      <a:cubicBezTo>
                        <a:pt x="740717" y="316714"/>
                        <a:pt x="740235" y="315544"/>
                        <a:pt x="739462" y="314059"/>
                      </a:cubicBezTo>
                      <a:cubicBezTo>
                        <a:pt x="739157" y="313474"/>
                        <a:pt x="738828" y="312890"/>
                        <a:pt x="738434" y="312260"/>
                      </a:cubicBezTo>
                      <a:cubicBezTo>
                        <a:pt x="744091" y="308930"/>
                        <a:pt x="749533" y="305736"/>
                        <a:pt x="753313" y="303530"/>
                      </a:cubicBezTo>
                      <a:cubicBezTo>
                        <a:pt x="753465" y="303451"/>
                        <a:pt x="753618" y="303361"/>
                        <a:pt x="753757" y="303261"/>
                      </a:cubicBezTo>
                      <a:lnTo>
                        <a:pt x="753757" y="270250"/>
                      </a:lnTo>
                      <a:cubicBezTo>
                        <a:pt x="751613" y="269771"/>
                        <a:pt x="749432" y="269439"/>
                        <a:pt x="747237" y="269259"/>
                      </a:cubicBezTo>
                      <a:cubicBezTo>
                        <a:pt x="738903" y="267829"/>
                        <a:pt x="730557" y="271696"/>
                        <a:pt x="726257" y="278978"/>
                      </a:cubicBezTo>
                      <a:cubicBezTo>
                        <a:pt x="722605" y="286085"/>
                        <a:pt x="719928" y="293653"/>
                        <a:pt x="718304" y="301476"/>
                      </a:cubicBezTo>
                      <a:cubicBezTo>
                        <a:pt x="717213" y="305520"/>
                        <a:pt x="715856" y="309487"/>
                        <a:pt x="714258" y="313356"/>
                      </a:cubicBezTo>
                      <a:lnTo>
                        <a:pt x="714258" y="313400"/>
                      </a:lnTo>
                      <a:cubicBezTo>
                        <a:pt x="713979" y="313986"/>
                        <a:pt x="713712" y="314570"/>
                        <a:pt x="713446" y="315110"/>
                      </a:cubicBezTo>
                      <a:cubicBezTo>
                        <a:pt x="713218" y="314750"/>
                        <a:pt x="713002" y="314435"/>
                        <a:pt x="712812" y="314075"/>
                      </a:cubicBezTo>
                      <a:cubicBezTo>
                        <a:pt x="708234" y="306606"/>
                        <a:pt x="705532" y="302196"/>
                        <a:pt x="701625" y="295851"/>
                      </a:cubicBezTo>
                      <a:cubicBezTo>
                        <a:pt x="697984" y="297922"/>
                        <a:pt x="694433" y="299901"/>
                        <a:pt x="690881" y="301881"/>
                      </a:cubicBezTo>
                      <a:lnTo>
                        <a:pt x="690831" y="301881"/>
                      </a:lnTo>
                      <a:lnTo>
                        <a:pt x="686645" y="304176"/>
                      </a:lnTo>
                      <a:lnTo>
                        <a:pt x="686429" y="304311"/>
                      </a:lnTo>
                      <a:cubicBezTo>
                        <a:pt x="675013" y="310566"/>
                        <a:pt x="664092" y="316550"/>
                        <a:pt x="653805" y="323525"/>
                      </a:cubicBezTo>
                      <a:cubicBezTo>
                        <a:pt x="642694" y="331084"/>
                        <a:pt x="631823" y="339048"/>
                        <a:pt x="620674" y="347327"/>
                      </a:cubicBezTo>
                      <a:cubicBezTo>
                        <a:pt x="616857" y="350162"/>
                        <a:pt x="613000" y="353041"/>
                        <a:pt x="609081" y="355963"/>
                      </a:cubicBezTo>
                      <a:cubicBezTo>
                        <a:pt x="604235" y="359562"/>
                        <a:pt x="599327" y="363252"/>
                        <a:pt x="594304" y="366987"/>
                      </a:cubicBezTo>
                      <a:cubicBezTo>
                        <a:pt x="591919" y="368742"/>
                        <a:pt x="589535" y="370496"/>
                        <a:pt x="587112" y="372297"/>
                      </a:cubicBezTo>
                      <a:cubicBezTo>
                        <a:pt x="584905" y="383770"/>
                        <a:pt x="581899" y="399699"/>
                        <a:pt x="578385" y="417967"/>
                      </a:cubicBezTo>
                      <a:cubicBezTo>
                        <a:pt x="576597" y="418192"/>
                        <a:pt x="574834" y="418417"/>
                        <a:pt x="573083" y="418641"/>
                      </a:cubicBezTo>
                      <a:cubicBezTo>
                        <a:pt x="558573" y="420531"/>
                        <a:pt x="544950" y="422286"/>
                        <a:pt x="535424" y="423546"/>
                      </a:cubicBezTo>
                      <a:cubicBezTo>
                        <a:pt x="522486" y="408833"/>
                        <a:pt x="513277" y="398979"/>
                        <a:pt x="504868" y="388450"/>
                      </a:cubicBezTo>
                      <a:cubicBezTo>
                        <a:pt x="503460" y="386500"/>
                        <a:pt x="502458" y="384279"/>
                        <a:pt x="501950" y="381926"/>
                      </a:cubicBezTo>
                      <a:cubicBezTo>
                        <a:pt x="501380" y="380248"/>
                        <a:pt x="501456" y="378418"/>
                        <a:pt x="502179" y="376796"/>
                      </a:cubicBezTo>
                      <a:cubicBezTo>
                        <a:pt x="502673" y="376121"/>
                        <a:pt x="503117" y="375446"/>
                        <a:pt x="503574" y="374726"/>
                      </a:cubicBezTo>
                      <a:lnTo>
                        <a:pt x="503574" y="374682"/>
                      </a:lnTo>
                      <a:cubicBezTo>
                        <a:pt x="506047" y="370766"/>
                        <a:pt x="508064" y="366447"/>
                        <a:pt x="510575" y="362577"/>
                      </a:cubicBezTo>
                      <a:cubicBezTo>
                        <a:pt x="510804" y="362262"/>
                        <a:pt x="511070" y="361902"/>
                        <a:pt x="511337" y="361542"/>
                      </a:cubicBezTo>
                      <a:cubicBezTo>
                        <a:pt x="515078" y="355488"/>
                        <a:pt x="521636" y="351756"/>
                        <a:pt x="528739" y="351643"/>
                      </a:cubicBezTo>
                      <a:cubicBezTo>
                        <a:pt x="534422" y="351114"/>
                        <a:pt x="540054" y="350060"/>
                        <a:pt x="545546" y="348493"/>
                      </a:cubicBezTo>
                      <a:cubicBezTo>
                        <a:pt x="546890" y="348178"/>
                        <a:pt x="548235" y="347858"/>
                        <a:pt x="549579" y="347594"/>
                      </a:cubicBezTo>
                      <a:cubicBezTo>
                        <a:pt x="549288" y="327810"/>
                        <a:pt x="538938" y="309542"/>
                        <a:pt x="522131" y="299133"/>
                      </a:cubicBezTo>
                      <a:cubicBezTo>
                        <a:pt x="507595" y="293690"/>
                        <a:pt x="491993" y="291672"/>
                        <a:pt x="476557" y="293238"/>
                      </a:cubicBezTo>
                      <a:lnTo>
                        <a:pt x="476468" y="293193"/>
                      </a:lnTo>
                      <a:cubicBezTo>
                        <a:pt x="470899" y="293148"/>
                        <a:pt x="465052" y="292969"/>
                        <a:pt x="458989" y="292473"/>
                      </a:cubicBezTo>
                      <a:cubicBezTo>
                        <a:pt x="477546" y="300860"/>
                        <a:pt x="486996" y="321747"/>
                        <a:pt x="481059" y="341249"/>
                      </a:cubicBezTo>
                      <a:cubicBezTo>
                        <a:pt x="477736" y="358122"/>
                        <a:pt x="473233" y="374816"/>
                        <a:pt x="469377" y="391104"/>
                      </a:cubicBezTo>
                      <a:cubicBezTo>
                        <a:pt x="489418" y="407168"/>
                        <a:pt x="493236" y="415852"/>
                        <a:pt x="487706" y="437811"/>
                      </a:cubicBezTo>
                      <a:cubicBezTo>
                        <a:pt x="487478" y="438756"/>
                        <a:pt x="487211" y="439745"/>
                        <a:pt x="486945" y="440732"/>
                      </a:cubicBezTo>
                      <a:cubicBezTo>
                        <a:pt x="486767" y="441494"/>
                        <a:pt x="486539" y="442256"/>
                        <a:pt x="486311" y="443025"/>
                      </a:cubicBezTo>
                      <a:cubicBezTo>
                        <a:pt x="483482" y="452969"/>
                        <a:pt x="480603" y="462869"/>
                        <a:pt x="477140" y="474749"/>
                      </a:cubicBezTo>
                      <a:cubicBezTo>
                        <a:pt x="476785" y="476099"/>
                        <a:pt x="476379" y="477493"/>
                        <a:pt x="475973" y="478888"/>
                      </a:cubicBezTo>
                      <a:cubicBezTo>
                        <a:pt x="465318" y="461001"/>
                        <a:pt x="446419" y="449648"/>
                        <a:pt x="425642" y="448650"/>
                      </a:cubicBezTo>
                      <a:cubicBezTo>
                        <a:pt x="420886" y="453780"/>
                        <a:pt x="416345" y="458999"/>
                        <a:pt x="411753" y="464039"/>
                      </a:cubicBezTo>
                      <a:cubicBezTo>
                        <a:pt x="407034" y="469214"/>
                        <a:pt x="402316" y="474209"/>
                        <a:pt x="397331" y="478933"/>
                      </a:cubicBezTo>
                      <a:cubicBezTo>
                        <a:pt x="389327" y="486492"/>
                        <a:pt x="379357" y="491937"/>
                        <a:pt x="371493" y="499586"/>
                      </a:cubicBezTo>
                      <a:cubicBezTo>
                        <a:pt x="368792" y="502196"/>
                        <a:pt x="366458" y="504491"/>
                        <a:pt x="364441" y="506561"/>
                      </a:cubicBezTo>
                      <a:cubicBezTo>
                        <a:pt x="356792" y="514389"/>
                        <a:pt x="354015" y="518799"/>
                        <a:pt x="355626" y="525009"/>
                      </a:cubicBezTo>
                      <a:cubicBezTo>
                        <a:pt x="358213" y="531929"/>
                        <a:pt x="361765" y="538446"/>
                        <a:pt x="366191" y="544357"/>
                      </a:cubicBezTo>
                      <a:cubicBezTo>
                        <a:pt x="373003" y="552601"/>
                        <a:pt x="375768" y="563462"/>
                        <a:pt x="373738" y="573965"/>
                      </a:cubicBezTo>
                      <a:cubicBezTo>
                        <a:pt x="373561" y="574639"/>
                        <a:pt x="373384" y="575314"/>
                        <a:pt x="373155" y="575989"/>
                      </a:cubicBezTo>
                      <a:cubicBezTo>
                        <a:pt x="368208" y="576844"/>
                        <a:pt x="363363" y="577789"/>
                        <a:pt x="358556" y="578148"/>
                      </a:cubicBezTo>
                      <a:cubicBezTo>
                        <a:pt x="357072" y="578284"/>
                        <a:pt x="355587" y="578329"/>
                        <a:pt x="354103" y="578329"/>
                      </a:cubicBezTo>
                      <a:cubicBezTo>
                        <a:pt x="346709" y="578381"/>
                        <a:pt x="339517" y="575851"/>
                        <a:pt x="333783" y="571175"/>
                      </a:cubicBezTo>
                      <a:cubicBezTo>
                        <a:pt x="327340" y="568035"/>
                        <a:pt x="320186" y="566609"/>
                        <a:pt x="313019" y="567035"/>
                      </a:cubicBezTo>
                      <a:cubicBezTo>
                        <a:pt x="311320" y="566900"/>
                        <a:pt x="309607" y="566720"/>
                        <a:pt x="307908" y="566450"/>
                      </a:cubicBezTo>
                      <a:cubicBezTo>
                        <a:pt x="307400" y="565730"/>
                        <a:pt x="306956" y="565010"/>
                        <a:pt x="306500" y="564291"/>
                      </a:cubicBezTo>
                      <a:cubicBezTo>
                        <a:pt x="299993" y="554122"/>
                        <a:pt x="293613" y="540804"/>
                        <a:pt x="276527" y="539093"/>
                      </a:cubicBezTo>
                      <a:cubicBezTo>
                        <a:pt x="275766" y="540579"/>
                        <a:pt x="275005" y="542014"/>
                        <a:pt x="274244" y="543458"/>
                      </a:cubicBezTo>
                      <a:cubicBezTo>
                        <a:pt x="272798" y="546293"/>
                        <a:pt x="271365" y="549037"/>
                        <a:pt x="270020" y="551647"/>
                      </a:cubicBezTo>
                      <a:cubicBezTo>
                        <a:pt x="268713" y="554122"/>
                        <a:pt x="267458" y="556462"/>
                        <a:pt x="266278" y="558759"/>
                      </a:cubicBezTo>
                      <a:cubicBezTo>
                        <a:pt x="265746" y="559750"/>
                        <a:pt x="265213" y="560739"/>
                        <a:pt x="264718" y="561729"/>
                      </a:cubicBezTo>
                      <a:cubicBezTo>
                        <a:pt x="274015" y="577568"/>
                        <a:pt x="280129" y="595117"/>
                        <a:pt x="303354" y="590304"/>
                      </a:cubicBezTo>
                      <a:cubicBezTo>
                        <a:pt x="305028" y="600742"/>
                        <a:pt x="306322" y="609021"/>
                        <a:pt x="307628" y="617390"/>
                      </a:cubicBezTo>
                      <a:cubicBezTo>
                        <a:pt x="306690" y="617931"/>
                        <a:pt x="305789" y="618471"/>
                        <a:pt x="304889" y="618965"/>
                      </a:cubicBezTo>
                      <a:cubicBezTo>
                        <a:pt x="298636" y="622565"/>
                        <a:pt x="293511" y="625442"/>
                        <a:pt x="289199" y="627920"/>
                      </a:cubicBezTo>
                      <a:cubicBezTo>
                        <a:pt x="271225" y="623555"/>
                        <a:pt x="255319" y="618156"/>
                        <a:pt x="245971" y="601192"/>
                      </a:cubicBezTo>
                      <a:cubicBezTo>
                        <a:pt x="244170" y="598890"/>
                        <a:pt x="241569" y="597337"/>
                        <a:pt x="238690" y="596827"/>
                      </a:cubicBezTo>
                      <a:cubicBezTo>
                        <a:pt x="238259" y="596643"/>
                        <a:pt x="237802" y="596494"/>
                        <a:pt x="237346" y="596378"/>
                      </a:cubicBezTo>
                      <a:cubicBezTo>
                        <a:pt x="235138" y="595743"/>
                        <a:pt x="232893" y="595163"/>
                        <a:pt x="230966" y="594442"/>
                      </a:cubicBezTo>
                      <a:cubicBezTo>
                        <a:pt x="222936" y="592344"/>
                        <a:pt x="216747" y="585940"/>
                        <a:pt x="214920" y="577838"/>
                      </a:cubicBezTo>
                      <a:cubicBezTo>
                        <a:pt x="214641" y="576593"/>
                        <a:pt x="214451" y="575330"/>
                        <a:pt x="214336" y="574059"/>
                      </a:cubicBezTo>
                      <a:cubicBezTo>
                        <a:pt x="214247" y="573024"/>
                        <a:pt x="214159" y="572035"/>
                        <a:pt x="213969" y="571000"/>
                      </a:cubicBezTo>
                      <a:cubicBezTo>
                        <a:pt x="213880" y="569830"/>
                        <a:pt x="213753" y="568660"/>
                        <a:pt x="213575" y="567491"/>
                      </a:cubicBezTo>
                      <a:cubicBezTo>
                        <a:pt x="213119" y="563621"/>
                        <a:pt x="212485" y="559751"/>
                        <a:pt x="211774" y="555791"/>
                      </a:cubicBezTo>
                      <a:cubicBezTo>
                        <a:pt x="211457" y="553856"/>
                        <a:pt x="211102" y="551876"/>
                        <a:pt x="210696" y="549896"/>
                      </a:cubicBezTo>
                      <a:cubicBezTo>
                        <a:pt x="210557" y="549222"/>
                        <a:pt x="210430" y="548547"/>
                        <a:pt x="210341" y="547872"/>
                      </a:cubicBezTo>
                      <a:cubicBezTo>
                        <a:pt x="208895" y="540537"/>
                        <a:pt x="207271" y="532844"/>
                        <a:pt x="205749" y="524474"/>
                      </a:cubicBezTo>
                      <a:cubicBezTo>
                        <a:pt x="205622" y="523754"/>
                        <a:pt x="205483" y="523077"/>
                        <a:pt x="205343" y="522358"/>
                      </a:cubicBezTo>
                      <a:cubicBezTo>
                        <a:pt x="207423" y="518418"/>
                        <a:pt x="209212" y="514326"/>
                        <a:pt x="210696" y="510119"/>
                      </a:cubicBezTo>
                      <a:cubicBezTo>
                        <a:pt x="211432" y="508099"/>
                        <a:pt x="212003" y="506023"/>
                        <a:pt x="212408" y="503910"/>
                      </a:cubicBezTo>
                      <a:cubicBezTo>
                        <a:pt x="212967" y="501265"/>
                        <a:pt x="213195" y="498559"/>
                        <a:pt x="213081" y="495856"/>
                      </a:cubicBezTo>
                      <a:cubicBezTo>
                        <a:pt x="212408" y="484518"/>
                        <a:pt x="204494" y="475428"/>
                        <a:pt x="188042" y="464269"/>
                      </a:cubicBezTo>
                      <a:cubicBezTo>
                        <a:pt x="184808" y="462097"/>
                        <a:pt x="181738" y="459707"/>
                        <a:pt x="178833" y="457115"/>
                      </a:cubicBezTo>
                      <a:cubicBezTo>
                        <a:pt x="177616" y="456080"/>
                        <a:pt x="176398" y="454956"/>
                        <a:pt x="175282" y="453831"/>
                      </a:cubicBezTo>
                      <a:cubicBezTo>
                        <a:pt x="173392" y="451985"/>
                        <a:pt x="171553" y="450051"/>
                        <a:pt x="169802" y="448071"/>
                      </a:cubicBezTo>
                      <a:cubicBezTo>
                        <a:pt x="168851" y="446946"/>
                        <a:pt x="167912" y="445821"/>
                        <a:pt x="166961" y="444651"/>
                      </a:cubicBezTo>
                      <a:cubicBezTo>
                        <a:pt x="166428" y="443977"/>
                        <a:pt x="165934" y="443301"/>
                        <a:pt x="165388" y="442581"/>
                      </a:cubicBezTo>
                      <a:cubicBezTo>
                        <a:pt x="163917" y="440647"/>
                        <a:pt x="162471" y="438621"/>
                        <a:pt x="161076" y="436597"/>
                      </a:cubicBezTo>
                      <a:cubicBezTo>
                        <a:pt x="154492" y="426415"/>
                        <a:pt x="148759" y="415699"/>
                        <a:pt x="143952" y="404560"/>
                      </a:cubicBezTo>
                      <a:cubicBezTo>
                        <a:pt x="143597" y="403749"/>
                        <a:pt x="143242" y="402895"/>
                        <a:pt x="142874" y="402084"/>
                      </a:cubicBezTo>
                      <a:cubicBezTo>
                        <a:pt x="145233" y="401410"/>
                        <a:pt x="147668" y="400988"/>
                        <a:pt x="150116" y="400825"/>
                      </a:cubicBezTo>
                      <a:cubicBezTo>
                        <a:pt x="151816" y="400915"/>
                        <a:pt x="154569" y="401320"/>
                        <a:pt x="154924" y="402309"/>
                      </a:cubicBezTo>
                      <a:cubicBezTo>
                        <a:pt x="162065" y="421838"/>
                        <a:pt x="178871" y="426693"/>
                        <a:pt x="196452" y="432187"/>
                      </a:cubicBezTo>
                      <a:cubicBezTo>
                        <a:pt x="208045" y="435832"/>
                        <a:pt x="217748" y="445416"/>
                        <a:pt x="229304" y="449375"/>
                      </a:cubicBezTo>
                      <a:cubicBezTo>
                        <a:pt x="257843" y="459229"/>
                        <a:pt x="286915" y="467374"/>
                        <a:pt x="315810" y="476104"/>
                      </a:cubicBezTo>
                      <a:cubicBezTo>
                        <a:pt x="317535" y="476387"/>
                        <a:pt x="319298" y="476357"/>
                        <a:pt x="321023" y="476014"/>
                      </a:cubicBezTo>
                      <a:cubicBezTo>
                        <a:pt x="349195" y="472633"/>
                        <a:pt x="374335" y="456649"/>
                        <a:pt x="389365" y="432547"/>
                      </a:cubicBezTo>
                      <a:cubicBezTo>
                        <a:pt x="392105" y="428126"/>
                        <a:pt x="394300" y="423399"/>
                        <a:pt x="395936" y="418464"/>
                      </a:cubicBezTo>
                      <a:cubicBezTo>
                        <a:pt x="397902" y="411880"/>
                        <a:pt x="398244" y="404915"/>
                        <a:pt x="396925" y="398170"/>
                      </a:cubicBezTo>
                      <a:cubicBezTo>
                        <a:pt x="394680" y="385616"/>
                        <a:pt x="390811" y="373287"/>
                        <a:pt x="387260" y="359519"/>
                      </a:cubicBezTo>
                      <a:cubicBezTo>
                        <a:pt x="381552" y="355154"/>
                        <a:pt x="375616" y="350699"/>
                        <a:pt x="369553" y="346109"/>
                      </a:cubicBezTo>
                      <a:cubicBezTo>
                        <a:pt x="363490" y="341519"/>
                        <a:pt x="357325" y="336838"/>
                        <a:pt x="351085" y="332116"/>
                      </a:cubicBezTo>
                      <a:lnTo>
                        <a:pt x="338147" y="322126"/>
                      </a:lnTo>
                      <a:cubicBezTo>
                        <a:pt x="327314" y="313757"/>
                        <a:pt x="316634" y="305194"/>
                        <a:pt x="306106" y="296434"/>
                      </a:cubicBezTo>
                      <a:cubicBezTo>
                        <a:pt x="285380" y="279381"/>
                        <a:pt x="264984" y="261832"/>
                        <a:pt x="243865" y="245274"/>
                      </a:cubicBezTo>
                      <a:cubicBezTo>
                        <a:pt x="238588" y="242783"/>
                        <a:pt x="232843" y="241450"/>
                        <a:pt x="227008" y="241360"/>
                      </a:cubicBezTo>
                      <a:cubicBezTo>
                        <a:pt x="220247" y="241338"/>
                        <a:pt x="213550" y="240228"/>
                        <a:pt x="207144" y="238074"/>
                      </a:cubicBezTo>
                      <a:cubicBezTo>
                        <a:pt x="196984" y="230565"/>
                        <a:pt x="182664" y="232725"/>
                        <a:pt x="175168" y="242899"/>
                      </a:cubicBezTo>
                      <a:cubicBezTo>
                        <a:pt x="175066" y="243030"/>
                        <a:pt x="174978" y="243162"/>
                        <a:pt x="174876" y="243294"/>
                      </a:cubicBezTo>
                      <a:cubicBezTo>
                        <a:pt x="174622" y="240844"/>
                        <a:pt x="173950" y="238455"/>
                        <a:pt x="172897" y="236230"/>
                      </a:cubicBezTo>
                      <a:cubicBezTo>
                        <a:pt x="171692" y="233614"/>
                        <a:pt x="169916" y="231306"/>
                        <a:pt x="167684" y="229480"/>
                      </a:cubicBezTo>
                      <a:cubicBezTo>
                        <a:pt x="157752" y="220971"/>
                        <a:pt x="140730" y="220300"/>
                        <a:pt x="135593" y="206713"/>
                      </a:cubicBezTo>
                      <a:cubicBezTo>
                        <a:pt x="135999" y="206521"/>
                        <a:pt x="136430" y="206355"/>
                        <a:pt x="136861" y="206217"/>
                      </a:cubicBezTo>
                      <a:cubicBezTo>
                        <a:pt x="145981" y="203248"/>
                        <a:pt x="155545" y="214677"/>
                        <a:pt x="164082" y="204193"/>
                      </a:cubicBezTo>
                      <a:cubicBezTo>
                        <a:pt x="164627" y="203550"/>
                        <a:pt x="165122" y="202873"/>
                        <a:pt x="165566" y="202167"/>
                      </a:cubicBezTo>
                      <a:cubicBezTo>
                        <a:pt x="156002" y="196949"/>
                        <a:pt x="147237" y="192134"/>
                        <a:pt x="136138" y="186059"/>
                      </a:cubicBezTo>
                      <a:cubicBezTo>
                        <a:pt x="135771" y="186598"/>
                        <a:pt x="135466" y="187139"/>
                        <a:pt x="135098" y="187679"/>
                      </a:cubicBezTo>
                      <a:cubicBezTo>
                        <a:pt x="134109" y="189254"/>
                        <a:pt x="133082" y="190829"/>
                        <a:pt x="132143" y="192404"/>
                      </a:cubicBezTo>
                      <a:cubicBezTo>
                        <a:pt x="131242" y="193801"/>
                        <a:pt x="130342" y="195198"/>
                        <a:pt x="129441" y="196544"/>
                      </a:cubicBezTo>
                      <a:cubicBezTo>
                        <a:pt x="128008" y="198883"/>
                        <a:pt x="126524" y="201222"/>
                        <a:pt x="124989" y="203563"/>
                      </a:cubicBezTo>
                      <a:cubicBezTo>
                        <a:pt x="124456" y="204462"/>
                        <a:pt x="123873" y="205363"/>
                        <a:pt x="123289" y="206262"/>
                      </a:cubicBezTo>
                      <a:cubicBezTo>
                        <a:pt x="118330" y="204865"/>
                        <a:pt x="113167" y="203383"/>
                        <a:pt x="107865" y="202077"/>
                      </a:cubicBezTo>
                      <a:lnTo>
                        <a:pt x="107827" y="202077"/>
                      </a:lnTo>
                      <a:cubicBezTo>
                        <a:pt x="105481" y="201537"/>
                        <a:pt x="103147" y="200998"/>
                        <a:pt x="100775" y="200593"/>
                      </a:cubicBezTo>
                      <a:cubicBezTo>
                        <a:pt x="100965" y="203888"/>
                        <a:pt x="101384" y="207166"/>
                        <a:pt x="102031" y="210402"/>
                      </a:cubicBezTo>
                      <a:cubicBezTo>
                        <a:pt x="104187" y="220391"/>
                        <a:pt x="97578" y="221786"/>
                        <a:pt x="94877" y="222011"/>
                      </a:cubicBezTo>
                      <a:cubicBezTo>
                        <a:pt x="92137" y="222236"/>
                        <a:pt x="81000" y="208917"/>
                        <a:pt x="81216" y="214272"/>
                      </a:cubicBezTo>
                      <a:cubicBezTo>
                        <a:pt x="81482" y="219626"/>
                        <a:pt x="76180" y="226061"/>
                        <a:pt x="71868" y="231640"/>
                      </a:cubicBezTo>
                      <a:cubicBezTo>
                        <a:pt x="66731" y="237035"/>
                        <a:pt x="61010" y="241862"/>
                        <a:pt x="54833" y="246038"/>
                      </a:cubicBezTo>
                      <a:cubicBezTo>
                        <a:pt x="51852" y="248503"/>
                        <a:pt x="49455" y="251591"/>
                        <a:pt x="47780" y="255083"/>
                      </a:cubicBezTo>
                      <a:cubicBezTo>
                        <a:pt x="46702" y="257212"/>
                        <a:pt x="45992" y="259509"/>
                        <a:pt x="45675" y="261878"/>
                      </a:cubicBezTo>
                      <a:lnTo>
                        <a:pt x="45624" y="262012"/>
                      </a:lnTo>
                      <a:cubicBezTo>
                        <a:pt x="43468" y="265208"/>
                        <a:pt x="29629" y="270067"/>
                        <a:pt x="31469" y="273261"/>
                      </a:cubicBezTo>
                      <a:cubicBezTo>
                        <a:pt x="32800" y="275371"/>
                        <a:pt x="34652" y="277095"/>
                        <a:pt x="36859" y="278256"/>
                      </a:cubicBezTo>
                      <a:cubicBezTo>
                        <a:pt x="36859" y="278256"/>
                        <a:pt x="29680" y="311193"/>
                        <a:pt x="34170" y="314477"/>
                      </a:cubicBezTo>
                      <a:cubicBezTo>
                        <a:pt x="46182" y="327587"/>
                        <a:pt x="57268" y="341509"/>
                        <a:pt x="67378" y="356143"/>
                      </a:cubicBezTo>
                      <a:cubicBezTo>
                        <a:pt x="67606" y="358034"/>
                        <a:pt x="67378" y="377337"/>
                        <a:pt x="67378" y="377337"/>
                      </a:cubicBezTo>
                      <a:cubicBezTo>
                        <a:pt x="64460" y="388045"/>
                        <a:pt x="60807" y="398537"/>
                        <a:pt x="56457" y="408744"/>
                      </a:cubicBezTo>
                      <a:cubicBezTo>
                        <a:pt x="52473" y="417505"/>
                        <a:pt x="51903" y="427434"/>
                        <a:pt x="54845" y="436597"/>
                      </a:cubicBezTo>
                      <a:cubicBezTo>
                        <a:pt x="57408" y="444380"/>
                        <a:pt x="80277" y="509311"/>
                        <a:pt x="78743" y="509580"/>
                      </a:cubicBezTo>
                      <a:cubicBezTo>
                        <a:pt x="77220" y="509805"/>
                        <a:pt x="72236" y="505621"/>
                        <a:pt x="70701" y="512280"/>
                      </a:cubicBezTo>
                      <a:cubicBezTo>
                        <a:pt x="69217" y="518940"/>
                        <a:pt x="66299" y="537522"/>
                        <a:pt x="65627" y="539773"/>
                      </a:cubicBezTo>
                      <a:cubicBezTo>
                        <a:pt x="64904" y="541977"/>
                        <a:pt x="69496" y="543057"/>
                        <a:pt x="69356" y="545217"/>
                      </a:cubicBezTo>
                      <a:cubicBezTo>
                        <a:pt x="69229" y="547332"/>
                        <a:pt x="74303" y="584318"/>
                        <a:pt x="76053" y="591608"/>
                      </a:cubicBezTo>
                      <a:cubicBezTo>
                        <a:pt x="77766" y="598847"/>
                        <a:pt x="91693" y="644440"/>
                        <a:pt x="98124" y="650328"/>
                      </a:cubicBezTo>
                      <a:cubicBezTo>
                        <a:pt x="106495" y="661864"/>
                        <a:pt x="110986" y="675758"/>
                        <a:pt x="110973" y="690014"/>
                      </a:cubicBezTo>
                      <a:cubicBezTo>
                        <a:pt x="108791" y="709483"/>
                        <a:pt x="102196" y="728196"/>
                        <a:pt x="91693" y="744729"/>
                      </a:cubicBezTo>
                      <a:cubicBezTo>
                        <a:pt x="78489" y="767902"/>
                        <a:pt x="34614" y="812493"/>
                        <a:pt x="15296" y="831616"/>
                      </a:cubicBezTo>
                      <a:cubicBezTo>
                        <a:pt x="17897" y="833407"/>
                        <a:pt x="21359" y="833223"/>
                        <a:pt x="23744" y="831167"/>
                      </a:cubicBezTo>
                      <a:cubicBezTo>
                        <a:pt x="23566" y="829643"/>
                        <a:pt x="26940" y="827341"/>
                        <a:pt x="30669" y="825407"/>
                      </a:cubicBezTo>
                      <a:cubicBezTo>
                        <a:pt x="31481" y="825002"/>
                        <a:pt x="32331" y="824597"/>
                        <a:pt x="33181" y="824237"/>
                      </a:cubicBezTo>
                      <a:cubicBezTo>
                        <a:pt x="34906" y="823382"/>
                        <a:pt x="36720" y="822702"/>
                        <a:pt x="38584" y="822212"/>
                      </a:cubicBezTo>
                      <a:cubicBezTo>
                        <a:pt x="38698" y="822175"/>
                        <a:pt x="38813" y="822160"/>
                        <a:pt x="38940" y="822167"/>
                      </a:cubicBezTo>
                      <a:lnTo>
                        <a:pt x="39168" y="822167"/>
                      </a:lnTo>
                      <a:cubicBezTo>
                        <a:pt x="39168" y="822302"/>
                        <a:pt x="39206" y="822482"/>
                        <a:pt x="39206" y="822617"/>
                      </a:cubicBezTo>
                      <a:cubicBezTo>
                        <a:pt x="39155" y="822669"/>
                        <a:pt x="39104" y="822730"/>
                        <a:pt x="39079" y="822797"/>
                      </a:cubicBezTo>
                      <a:cubicBezTo>
                        <a:pt x="38977" y="822898"/>
                        <a:pt x="38876" y="822988"/>
                        <a:pt x="38762" y="823067"/>
                      </a:cubicBezTo>
                      <a:cubicBezTo>
                        <a:pt x="38533" y="823247"/>
                        <a:pt x="38216" y="823472"/>
                        <a:pt x="37811" y="823742"/>
                      </a:cubicBezTo>
                      <a:cubicBezTo>
                        <a:pt x="38572" y="840300"/>
                        <a:pt x="26217" y="832651"/>
                        <a:pt x="45409" y="846870"/>
                      </a:cubicBezTo>
                      <a:cubicBezTo>
                        <a:pt x="49772" y="861808"/>
                        <a:pt x="72058" y="842190"/>
                        <a:pt x="73808" y="859019"/>
                      </a:cubicBezTo>
                      <a:cubicBezTo>
                        <a:pt x="76459" y="864778"/>
                        <a:pt x="86974" y="861089"/>
                        <a:pt x="80556" y="870223"/>
                      </a:cubicBezTo>
                      <a:cubicBezTo>
                        <a:pt x="64549" y="864508"/>
                        <a:pt x="50711" y="858031"/>
                        <a:pt x="44330" y="873144"/>
                      </a:cubicBezTo>
                      <a:cubicBezTo>
                        <a:pt x="25317" y="873954"/>
                        <a:pt x="21904" y="880883"/>
                        <a:pt x="19076" y="886868"/>
                      </a:cubicBezTo>
                      <a:cubicBezTo>
                        <a:pt x="20712" y="889169"/>
                        <a:pt x="21752" y="891845"/>
                        <a:pt x="22082" y="894651"/>
                      </a:cubicBezTo>
                      <a:cubicBezTo>
                        <a:pt x="22755" y="899016"/>
                        <a:pt x="28741" y="895237"/>
                        <a:pt x="20015" y="901763"/>
                      </a:cubicBezTo>
                      <a:cubicBezTo>
                        <a:pt x="13952" y="905388"/>
                        <a:pt x="9766" y="911485"/>
                        <a:pt x="8561" y="918458"/>
                      </a:cubicBezTo>
                      <a:cubicBezTo>
                        <a:pt x="9550" y="918592"/>
                        <a:pt x="10578" y="918773"/>
                        <a:pt x="11707" y="918997"/>
                      </a:cubicBezTo>
                      <a:cubicBezTo>
                        <a:pt x="14992" y="939110"/>
                        <a:pt x="14992" y="949010"/>
                        <a:pt x="5821" y="959223"/>
                      </a:cubicBezTo>
                      <a:cubicBezTo>
                        <a:pt x="5859" y="963678"/>
                        <a:pt x="5910" y="967998"/>
                        <a:pt x="6037" y="971288"/>
                      </a:cubicBezTo>
                      <a:cubicBezTo>
                        <a:pt x="6113" y="976554"/>
                        <a:pt x="5567" y="981808"/>
                        <a:pt x="4426" y="986947"/>
                      </a:cubicBezTo>
                      <a:cubicBezTo>
                        <a:pt x="3170" y="990068"/>
                        <a:pt x="1674" y="993090"/>
                        <a:pt x="-26" y="995991"/>
                      </a:cubicBezTo>
                      <a:cubicBezTo>
                        <a:pt x="1179" y="996731"/>
                        <a:pt x="2320" y="997575"/>
                        <a:pt x="3386" y="998511"/>
                      </a:cubicBezTo>
                      <a:cubicBezTo>
                        <a:pt x="7102" y="1000687"/>
                        <a:pt x="9461" y="1004603"/>
                        <a:pt x="9639" y="1008906"/>
                      </a:cubicBezTo>
                      <a:cubicBezTo>
                        <a:pt x="10629" y="1014170"/>
                        <a:pt x="13774" y="1016240"/>
                        <a:pt x="12201" y="1024160"/>
                      </a:cubicBezTo>
                      <a:cubicBezTo>
                        <a:pt x="10629" y="1032079"/>
                        <a:pt x="12328" y="1031314"/>
                        <a:pt x="16108" y="1037432"/>
                      </a:cubicBezTo>
                      <a:cubicBezTo>
                        <a:pt x="19926" y="1043507"/>
                        <a:pt x="21993" y="1042788"/>
                        <a:pt x="22399" y="1050662"/>
                      </a:cubicBezTo>
                      <a:cubicBezTo>
                        <a:pt x="22755" y="1058536"/>
                        <a:pt x="23072" y="1067401"/>
                        <a:pt x="22945" y="1069064"/>
                      </a:cubicBezTo>
                      <a:cubicBezTo>
                        <a:pt x="22755" y="1070685"/>
                        <a:pt x="22945" y="1074870"/>
                        <a:pt x="22945" y="1074870"/>
                      </a:cubicBezTo>
                      <a:cubicBezTo>
                        <a:pt x="24771" y="1072998"/>
                        <a:pt x="27295" y="1071970"/>
                        <a:pt x="29908" y="1072035"/>
                      </a:cubicBezTo>
                      <a:cubicBezTo>
                        <a:pt x="34487" y="1072035"/>
                        <a:pt x="32103" y="1071810"/>
                        <a:pt x="35566" y="1074870"/>
                      </a:cubicBezTo>
                      <a:cubicBezTo>
                        <a:pt x="39028" y="1077929"/>
                        <a:pt x="37405" y="1075995"/>
                        <a:pt x="44013" y="1076174"/>
                      </a:cubicBezTo>
                      <a:cubicBezTo>
                        <a:pt x="50584" y="1076400"/>
                        <a:pt x="51294" y="1071134"/>
                        <a:pt x="55480" y="1076579"/>
                      </a:cubicBezTo>
                      <a:cubicBezTo>
                        <a:pt x="59653" y="1082069"/>
                        <a:pt x="52917" y="1077976"/>
                        <a:pt x="57091" y="1085534"/>
                      </a:cubicBezTo>
                      <a:cubicBezTo>
                        <a:pt x="61226" y="1093093"/>
                        <a:pt x="56558" y="1090888"/>
                        <a:pt x="67745" y="1088455"/>
                      </a:cubicBezTo>
                      <a:cubicBezTo>
                        <a:pt x="78983" y="1086025"/>
                        <a:pt x="72248" y="1078150"/>
                        <a:pt x="81634" y="1084180"/>
                      </a:cubicBezTo>
                      <a:cubicBezTo>
                        <a:pt x="91071" y="1090254"/>
                        <a:pt x="88192" y="1092279"/>
                        <a:pt x="94090" y="1094439"/>
                      </a:cubicBezTo>
                      <a:cubicBezTo>
                        <a:pt x="100014" y="1096644"/>
                        <a:pt x="102348" y="1091874"/>
                        <a:pt x="101904" y="1102808"/>
                      </a:cubicBezTo>
                      <a:cubicBezTo>
                        <a:pt x="99913" y="1112171"/>
                        <a:pt x="98543" y="1121656"/>
                        <a:pt x="97820" y="1131200"/>
                      </a:cubicBezTo>
                      <a:cubicBezTo>
                        <a:pt x="99342" y="1137726"/>
                        <a:pt x="101993" y="1131876"/>
                        <a:pt x="107066" y="1145551"/>
                      </a:cubicBezTo>
                      <a:cubicBezTo>
                        <a:pt x="112102" y="1159231"/>
                        <a:pt x="108423" y="1161616"/>
                        <a:pt x="117505" y="1167600"/>
                      </a:cubicBezTo>
                      <a:cubicBezTo>
                        <a:pt x="126537" y="1173630"/>
                        <a:pt x="131559" y="1173179"/>
                        <a:pt x="129099" y="1177588"/>
                      </a:cubicBezTo>
                      <a:cubicBezTo>
                        <a:pt x="126625" y="1182043"/>
                        <a:pt x="114930" y="1183528"/>
                        <a:pt x="129099" y="1186543"/>
                      </a:cubicBezTo>
                      <a:cubicBezTo>
                        <a:pt x="143254" y="1189558"/>
                        <a:pt x="145132" y="1188794"/>
                        <a:pt x="145093" y="1192842"/>
                      </a:cubicBezTo>
                      <a:cubicBezTo>
                        <a:pt x="145043" y="1196891"/>
                        <a:pt x="154797" y="1194282"/>
                        <a:pt x="151385" y="1201887"/>
                      </a:cubicBezTo>
                      <a:cubicBezTo>
                        <a:pt x="147922" y="1209536"/>
                        <a:pt x="153490" y="1205037"/>
                        <a:pt x="143254" y="1211876"/>
                      </a:cubicBezTo>
                      <a:cubicBezTo>
                        <a:pt x="132955" y="1218761"/>
                        <a:pt x="135289" y="1222811"/>
                        <a:pt x="128236" y="1218175"/>
                      </a:cubicBezTo>
                      <a:cubicBezTo>
                        <a:pt x="121184" y="1213540"/>
                        <a:pt x="114169" y="1205667"/>
                        <a:pt x="112381" y="1217540"/>
                      </a:cubicBezTo>
                      <a:cubicBezTo>
                        <a:pt x="110618" y="1229420"/>
                        <a:pt x="114715" y="1223434"/>
                        <a:pt x="118178" y="1234324"/>
                      </a:cubicBezTo>
                      <a:cubicBezTo>
                        <a:pt x="121628" y="1245168"/>
                        <a:pt x="113497" y="1243683"/>
                        <a:pt x="120651" y="1254436"/>
                      </a:cubicBezTo>
                      <a:cubicBezTo>
                        <a:pt x="122744" y="1257598"/>
                        <a:pt x="124482" y="1261002"/>
                        <a:pt x="125814" y="1264558"/>
                      </a:cubicBezTo>
                      <a:cubicBezTo>
                        <a:pt x="127031" y="1267708"/>
                        <a:pt x="127386" y="1268927"/>
                        <a:pt x="130177" y="1268660"/>
                      </a:cubicBezTo>
                      <a:cubicBezTo>
                        <a:pt x="134895" y="1268165"/>
                        <a:pt x="133944" y="1269828"/>
                        <a:pt x="138041" y="1264520"/>
                      </a:cubicBezTo>
                      <a:cubicBezTo>
                        <a:pt x="142126" y="1259211"/>
                        <a:pt x="138713" y="1252907"/>
                        <a:pt x="147694" y="1255389"/>
                      </a:cubicBezTo>
                      <a:cubicBezTo>
                        <a:pt x="156636" y="1257903"/>
                        <a:pt x="147567" y="1264241"/>
                        <a:pt x="158475" y="1258843"/>
                      </a:cubicBezTo>
                      <a:cubicBezTo>
                        <a:pt x="169396" y="1253492"/>
                        <a:pt x="169168" y="1260113"/>
                        <a:pt x="175510" y="1256735"/>
                      </a:cubicBezTo>
                      <a:cubicBezTo>
                        <a:pt x="181852" y="1253312"/>
                        <a:pt x="184275" y="1249757"/>
                        <a:pt x="187687" y="1257852"/>
                      </a:cubicBezTo>
                      <a:cubicBezTo>
                        <a:pt x="191099" y="1266006"/>
                        <a:pt x="191289" y="1275455"/>
                        <a:pt x="195412" y="1279455"/>
                      </a:cubicBezTo>
                      <a:cubicBezTo>
                        <a:pt x="199559" y="1283506"/>
                        <a:pt x="198570" y="1282249"/>
                        <a:pt x="196401" y="1287329"/>
                      </a:cubicBezTo>
                      <a:cubicBezTo>
                        <a:pt x="194207" y="1292371"/>
                        <a:pt x="188993" y="1305731"/>
                        <a:pt x="197390" y="1305287"/>
                      </a:cubicBezTo>
                      <a:cubicBezTo>
                        <a:pt x="205800" y="1304830"/>
                        <a:pt x="203504" y="1309732"/>
                        <a:pt x="210607" y="1308081"/>
                      </a:cubicBezTo>
                      <a:cubicBezTo>
                        <a:pt x="217748" y="1306366"/>
                        <a:pt x="219512" y="1308525"/>
                        <a:pt x="223634" y="1313745"/>
                      </a:cubicBezTo>
                      <a:cubicBezTo>
                        <a:pt x="227731" y="1318965"/>
                        <a:pt x="227414" y="1316945"/>
                        <a:pt x="228492" y="1325086"/>
                      </a:cubicBezTo>
                      <a:cubicBezTo>
                        <a:pt x="229570" y="1333189"/>
                        <a:pt x="225346" y="1340199"/>
                        <a:pt x="232678" y="1341279"/>
                      </a:cubicBezTo>
                      <a:cubicBezTo>
                        <a:pt x="239996" y="1342409"/>
                        <a:pt x="227503" y="1339297"/>
                        <a:pt x="239996" y="1342409"/>
                      </a:cubicBezTo>
                      <a:cubicBezTo>
                        <a:pt x="245907" y="1343387"/>
                        <a:pt x="251742" y="1344746"/>
                        <a:pt x="257475" y="1346460"/>
                      </a:cubicBezTo>
                      <a:cubicBezTo>
                        <a:pt x="265251" y="1349153"/>
                        <a:pt x="260938" y="1349559"/>
                        <a:pt x="268447" y="1347400"/>
                      </a:cubicBezTo>
                      <a:cubicBezTo>
                        <a:pt x="272646" y="1346346"/>
                        <a:pt x="276755" y="1344924"/>
                        <a:pt x="280713" y="1343171"/>
                      </a:cubicBezTo>
                      <a:cubicBezTo>
                        <a:pt x="281550" y="1342955"/>
                        <a:pt x="282159" y="1342231"/>
                        <a:pt x="282235" y="1341368"/>
                      </a:cubicBezTo>
                      <a:cubicBezTo>
                        <a:pt x="283097" y="1342447"/>
                        <a:pt x="284391" y="1343984"/>
                        <a:pt x="286281" y="1345965"/>
                      </a:cubicBezTo>
                      <a:cubicBezTo>
                        <a:pt x="298598" y="1358970"/>
                        <a:pt x="290961" y="1354334"/>
                        <a:pt x="298598" y="1358970"/>
                      </a:cubicBezTo>
                      <a:cubicBezTo>
                        <a:pt x="306233" y="1363555"/>
                        <a:pt x="303088" y="1353979"/>
                        <a:pt x="308263" y="1357255"/>
                      </a:cubicBezTo>
                      <a:cubicBezTo>
                        <a:pt x="313374" y="1360494"/>
                        <a:pt x="311180" y="1360583"/>
                        <a:pt x="316977" y="1362297"/>
                      </a:cubicBezTo>
                      <a:cubicBezTo>
                        <a:pt x="322723" y="1364012"/>
                        <a:pt x="313692" y="1360278"/>
                        <a:pt x="325564" y="1364596"/>
                      </a:cubicBezTo>
                      <a:cubicBezTo>
                        <a:pt x="337424" y="1368914"/>
                        <a:pt x="334367" y="1365802"/>
                        <a:pt x="337424" y="1368914"/>
                      </a:cubicBezTo>
                      <a:cubicBezTo>
                        <a:pt x="340519" y="1372063"/>
                        <a:pt x="332122" y="1368330"/>
                        <a:pt x="340519" y="1372063"/>
                      </a:cubicBezTo>
                      <a:cubicBezTo>
                        <a:pt x="348878" y="1375797"/>
                        <a:pt x="346988" y="1373321"/>
                        <a:pt x="354725" y="1380115"/>
                      </a:cubicBezTo>
                      <a:cubicBezTo>
                        <a:pt x="362463" y="1386910"/>
                        <a:pt x="350552" y="1371924"/>
                        <a:pt x="359532" y="1377194"/>
                      </a:cubicBezTo>
                      <a:cubicBezTo>
                        <a:pt x="368487" y="1382503"/>
                        <a:pt x="361511" y="1381334"/>
                        <a:pt x="362450" y="1386910"/>
                      </a:cubicBezTo>
                      <a:cubicBezTo>
                        <a:pt x="363502" y="1391228"/>
                        <a:pt x="362272" y="1395787"/>
                        <a:pt x="359177" y="1398975"/>
                      </a:cubicBezTo>
                      <a:cubicBezTo>
                        <a:pt x="356475" y="1401807"/>
                        <a:pt x="354547" y="1400461"/>
                        <a:pt x="354547" y="1405998"/>
                      </a:cubicBezTo>
                      <a:cubicBezTo>
                        <a:pt x="354598" y="1411573"/>
                        <a:pt x="343043" y="1411218"/>
                        <a:pt x="349157" y="1418139"/>
                      </a:cubicBezTo>
                      <a:cubicBezTo>
                        <a:pt x="355220" y="1425111"/>
                        <a:pt x="352340" y="1424489"/>
                        <a:pt x="354547" y="1431728"/>
                      </a:cubicBezTo>
                      <a:cubicBezTo>
                        <a:pt x="356602" y="1435830"/>
                        <a:pt x="356780" y="1440631"/>
                        <a:pt x="355042" y="1444873"/>
                      </a:cubicBezTo>
                      <a:cubicBezTo>
                        <a:pt x="353469" y="1450448"/>
                        <a:pt x="361917" y="1455756"/>
                        <a:pt x="351085" y="1454321"/>
                      </a:cubicBezTo>
                      <a:cubicBezTo>
                        <a:pt x="340303" y="1452886"/>
                        <a:pt x="338730" y="1454906"/>
                        <a:pt x="334417" y="1453597"/>
                      </a:cubicBezTo>
                      <a:cubicBezTo>
                        <a:pt x="330143" y="1452289"/>
                        <a:pt x="328887" y="1453013"/>
                        <a:pt x="324575" y="1456925"/>
                      </a:cubicBezTo>
                      <a:cubicBezTo>
                        <a:pt x="320211" y="1460798"/>
                        <a:pt x="323129" y="1461243"/>
                        <a:pt x="319045" y="1465485"/>
                      </a:cubicBezTo>
                      <a:cubicBezTo>
                        <a:pt x="314909" y="1469752"/>
                        <a:pt x="311129" y="1463453"/>
                        <a:pt x="310051" y="1471873"/>
                      </a:cubicBezTo>
                      <a:cubicBezTo>
                        <a:pt x="309519" y="1476102"/>
                        <a:pt x="309151" y="1480102"/>
                        <a:pt x="308935" y="1483430"/>
                      </a:cubicBezTo>
                      <a:cubicBezTo>
                        <a:pt x="311650" y="1482795"/>
                        <a:pt x="314300" y="1481957"/>
                        <a:pt x="316888" y="1480902"/>
                      </a:cubicBezTo>
                      <a:cubicBezTo>
                        <a:pt x="319856" y="1479378"/>
                        <a:pt x="321835" y="1478299"/>
                        <a:pt x="323002" y="1477664"/>
                      </a:cubicBezTo>
                      <a:cubicBezTo>
                        <a:pt x="323065" y="1477588"/>
                        <a:pt x="323167" y="1477537"/>
                        <a:pt x="323268" y="1477537"/>
                      </a:cubicBezTo>
                      <a:cubicBezTo>
                        <a:pt x="322012" y="1478388"/>
                        <a:pt x="319716" y="1479912"/>
                        <a:pt x="316888" y="1482071"/>
                      </a:cubicBezTo>
                      <a:cubicBezTo>
                        <a:pt x="329648" y="1484725"/>
                        <a:pt x="333149" y="1469701"/>
                        <a:pt x="342231" y="1483481"/>
                      </a:cubicBezTo>
                      <a:cubicBezTo>
                        <a:pt x="336663" y="1490631"/>
                        <a:pt x="313476" y="1491659"/>
                        <a:pt x="313882" y="1499356"/>
                      </a:cubicBezTo>
                      <a:cubicBezTo>
                        <a:pt x="330777" y="1501921"/>
                        <a:pt x="303582" y="1502010"/>
                        <a:pt x="298636" y="1503864"/>
                      </a:cubicBezTo>
                      <a:cubicBezTo>
                        <a:pt x="281157" y="1499902"/>
                        <a:pt x="342459" y="1537786"/>
                        <a:pt x="307590" y="1524463"/>
                      </a:cubicBezTo>
                      <a:cubicBezTo>
                        <a:pt x="307400" y="1533099"/>
                        <a:pt x="301477" y="1542370"/>
                        <a:pt x="304749" y="1528070"/>
                      </a:cubicBezTo>
                      <a:cubicBezTo>
                        <a:pt x="302060" y="1521047"/>
                        <a:pt x="294868" y="1551413"/>
                        <a:pt x="291722" y="1543094"/>
                      </a:cubicBezTo>
                      <a:cubicBezTo>
                        <a:pt x="289160" y="1553038"/>
                        <a:pt x="294551" y="1555693"/>
                        <a:pt x="292166" y="1545571"/>
                      </a:cubicBezTo>
                      <a:cubicBezTo>
                        <a:pt x="296352" y="1547501"/>
                        <a:pt x="293029" y="1554029"/>
                        <a:pt x="295984" y="1553889"/>
                      </a:cubicBezTo>
                      <a:cubicBezTo>
                        <a:pt x="291951" y="1561446"/>
                        <a:pt x="291266" y="1553800"/>
                        <a:pt x="278823" y="1556912"/>
                      </a:cubicBezTo>
                      <a:cubicBezTo>
                        <a:pt x="289338" y="1558842"/>
                        <a:pt x="272392" y="1563338"/>
                        <a:pt x="278239" y="1556099"/>
                      </a:cubicBezTo>
                      <a:cubicBezTo>
                        <a:pt x="272214" y="1550156"/>
                        <a:pt x="258376" y="1555744"/>
                        <a:pt x="270147" y="1555020"/>
                      </a:cubicBezTo>
                      <a:cubicBezTo>
                        <a:pt x="265923" y="1557585"/>
                        <a:pt x="268346" y="1558030"/>
                        <a:pt x="272975" y="1556912"/>
                      </a:cubicBezTo>
                      <a:cubicBezTo>
                        <a:pt x="246465" y="1571796"/>
                        <a:pt x="284708" y="1559427"/>
                        <a:pt x="285025" y="1579861"/>
                      </a:cubicBezTo>
                      <a:cubicBezTo>
                        <a:pt x="313172" y="1591062"/>
                        <a:pt x="338958" y="1607458"/>
                        <a:pt x="361067" y="1628184"/>
                      </a:cubicBezTo>
                      <a:cubicBezTo>
                        <a:pt x="363274" y="1626775"/>
                        <a:pt x="365938" y="1626330"/>
                        <a:pt x="368487" y="1626914"/>
                      </a:cubicBezTo>
                      <a:cubicBezTo>
                        <a:pt x="375895" y="1628223"/>
                        <a:pt x="368170" y="1625263"/>
                        <a:pt x="378051" y="1627511"/>
                      </a:cubicBezTo>
                      <a:cubicBezTo>
                        <a:pt x="387945" y="1629759"/>
                        <a:pt x="385154" y="1631334"/>
                        <a:pt x="392118" y="1633722"/>
                      </a:cubicBezTo>
                      <a:cubicBezTo>
                        <a:pt x="399082" y="1636097"/>
                        <a:pt x="397560" y="1634890"/>
                        <a:pt x="405373" y="1637671"/>
                      </a:cubicBezTo>
                      <a:cubicBezTo>
                        <a:pt x="413199" y="1640414"/>
                        <a:pt x="405335" y="1639297"/>
                        <a:pt x="415850" y="1639297"/>
                      </a:cubicBezTo>
                      <a:cubicBezTo>
                        <a:pt x="426365" y="1639297"/>
                        <a:pt x="420835" y="1636325"/>
                        <a:pt x="426365" y="1639297"/>
                      </a:cubicBezTo>
                      <a:cubicBezTo>
                        <a:pt x="431845" y="1642269"/>
                        <a:pt x="434230" y="1639526"/>
                        <a:pt x="437603" y="1641596"/>
                      </a:cubicBezTo>
                      <a:cubicBezTo>
                        <a:pt x="442994" y="1645799"/>
                        <a:pt x="448613" y="1649685"/>
                        <a:pt x="454461" y="1653241"/>
                      </a:cubicBezTo>
                      <a:cubicBezTo>
                        <a:pt x="459319" y="1656124"/>
                        <a:pt x="463834" y="1659566"/>
                        <a:pt x="467893" y="1663503"/>
                      </a:cubicBezTo>
                      <a:cubicBezTo>
                        <a:pt x="467893" y="1663503"/>
                        <a:pt x="467805" y="1667694"/>
                        <a:pt x="471305" y="1665713"/>
                      </a:cubicBezTo>
                      <a:cubicBezTo>
                        <a:pt x="474857" y="1663732"/>
                        <a:pt x="469644" y="1659719"/>
                        <a:pt x="477558" y="1659312"/>
                      </a:cubicBezTo>
                      <a:cubicBezTo>
                        <a:pt x="485512" y="1658918"/>
                        <a:pt x="483711" y="1654588"/>
                        <a:pt x="488873" y="1658017"/>
                      </a:cubicBezTo>
                      <a:cubicBezTo>
                        <a:pt x="493997" y="1661433"/>
                        <a:pt x="490535" y="1668494"/>
                        <a:pt x="494949" y="1663503"/>
                      </a:cubicBezTo>
                      <a:cubicBezTo>
                        <a:pt x="499388" y="1658512"/>
                        <a:pt x="494809" y="1653114"/>
                        <a:pt x="501506" y="1658017"/>
                      </a:cubicBezTo>
                      <a:cubicBezTo>
                        <a:pt x="508153" y="1662868"/>
                        <a:pt x="501329" y="1659630"/>
                        <a:pt x="508153" y="1662868"/>
                      </a:cubicBezTo>
                      <a:cubicBezTo>
                        <a:pt x="514990" y="1666106"/>
                        <a:pt x="515839" y="1662690"/>
                        <a:pt x="518579" y="1666653"/>
                      </a:cubicBezTo>
                      <a:cubicBezTo>
                        <a:pt x="521319" y="1670615"/>
                        <a:pt x="515624" y="1666881"/>
                        <a:pt x="519835" y="1675251"/>
                      </a:cubicBezTo>
                      <a:cubicBezTo>
                        <a:pt x="524072" y="1683569"/>
                        <a:pt x="519936" y="1681816"/>
                        <a:pt x="529589" y="1685550"/>
                      </a:cubicBezTo>
                      <a:cubicBezTo>
                        <a:pt x="533876" y="1686985"/>
                        <a:pt x="538012" y="1688814"/>
                        <a:pt x="541956" y="1690999"/>
                      </a:cubicBezTo>
                      <a:cubicBezTo>
                        <a:pt x="548019" y="1693970"/>
                        <a:pt x="545051" y="1685817"/>
                        <a:pt x="550531" y="1692485"/>
                      </a:cubicBezTo>
                      <a:cubicBezTo>
                        <a:pt x="555972" y="1699139"/>
                        <a:pt x="553549" y="1699139"/>
                        <a:pt x="558890" y="1703635"/>
                      </a:cubicBezTo>
                      <a:cubicBezTo>
                        <a:pt x="564242" y="1708182"/>
                        <a:pt x="558623" y="1709934"/>
                        <a:pt x="566399" y="1713401"/>
                      </a:cubicBezTo>
                      <a:cubicBezTo>
                        <a:pt x="574225" y="1716906"/>
                        <a:pt x="572513" y="1723396"/>
                        <a:pt x="579210" y="1717364"/>
                      </a:cubicBezTo>
                      <a:cubicBezTo>
                        <a:pt x="585907" y="1711382"/>
                        <a:pt x="584562" y="1713986"/>
                        <a:pt x="590714" y="1708144"/>
                      </a:cubicBezTo>
                      <a:cubicBezTo>
                        <a:pt x="596600" y="1702467"/>
                        <a:pt x="596511" y="1694732"/>
                        <a:pt x="602574" y="1689640"/>
                      </a:cubicBezTo>
                      <a:cubicBezTo>
                        <a:pt x="600063" y="1685868"/>
                        <a:pt x="597462" y="1682134"/>
                        <a:pt x="594811" y="1678438"/>
                      </a:cubicBezTo>
                      <a:cubicBezTo>
                        <a:pt x="583345" y="1663859"/>
                        <a:pt x="575645" y="1646676"/>
                        <a:pt x="572386" y="1628400"/>
                      </a:cubicBezTo>
                      <a:cubicBezTo>
                        <a:pt x="572588" y="1626508"/>
                        <a:pt x="572931" y="1624628"/>
                        <a:pt x="573413" y="1622787"/>
                      </a:cubicBezTo>
                      <a:cubicBezTo>
                        <a:pt x="573553" y="1622241"/>
                        <a:pt x="573679" y="1621695"/>
                        <a:pt x="573819" y="1621212"/>
                      </a:cubicBezTo>
                      <a:cubicBezTo>
                        <a:pt x="573870" y="1620895"/>
                        <a:pt x="573946" y="1620602"/>
                        <a:pt x="574047" y="1620310"/>
                      </a:cubicBezTo>
                      <a:cubicBezTo>
                        <a:pt x="574161" y="1619777"/>
                        <a:pt x="574314" y="1619244"/>
                        <a:pt x="574491" y="1618736"/>
                      </a:cubicBezTo>
                      <a:cubicBezTo>
                        <a:pt x="574669" y="1617974"/>
                        <a:pt x="574846" y="1617339"/>
                        <a:pt x="574986" y="1616881"/>
                      </a:cubicBezTo>
                      <a:cubicBezTo>
                        <a:pt x="575075" y="1616386"/>
                        <a:pt x="575163" y="1616119"/>
                        <a:pt x="575163" y="1615992"/>
                      </a:cubicBezTo>
                      <a:lnTo>
                        <a:pt x="575075" y="1616030"/>
                      </a:lnTo>
                      <a:cubicBezTo>
                        <a:pt x="575036" y="1616081"/>
                        <a:pt x="574986" y="1616170"/>
                        <a:pt x="574897" y="1616259"/>
                      </a:cubicBezTo>
                      <a:lnTo>
                        <a:pt x="574897" y="1616297"/>
                      </a:lnTo>
                      <a:cubicBezTo>
                        <a:pt x="574758" y="1616526"/>
                        <a:pt x="574580" y="1616881"/>
                        <a:pt x="574352" y="1617339"/>
                      </a:cubicBezTo>
                      <a:cubicBezTo>
                        <a:pt x="573819" y="1618418"/>
                        <a:pt x="572969" y="1620171"/>
                        <a:pt x="571752" y="1622774"/>
                      </a:cubicBezTo>
                      <a:cubicBezTo>
                        <a:pt x="571663" y="1621745"/>
                        <a:pt x="571574" y="1620704"/>
                        <a:pt x="571523" y="1619625"/>
                      </a:cubicBezTo>
                      <a:cubicBezTo>
                        <a:pt x="571840" y="1619180"/>
                        <a:pt x="572107" y="1618824"/>
                        <a:pt x="572386" y="1618456"/>
                      </a:cubicBezTo>
                      <a:cubicBezTo>
                        <a:pt x="572436" y="1617732"/>
                        <a:pt x="572424" y="1616983"/>
                        <a:pt x="572335" y="1616259"/>
                      </a:cubicBezTo>
                      <a:cubicBezTo>
                        <a:pt x="572297" y="1615929"/>
                        <a:pt x="572234" y="1615586"/>
                        <a:pt x="572157" y="1615269"/>
                      </a:cubicBezTo>
                      <a:cubicBezTo>
                        <a:pt x="572107" y="1615040"/>
                        <a:pt x="572018" y="1614773"/>
                        <a:pt x="571980" y="1614507"/>
                      </a:cubicBezTo>
                      <a:cubicBezTo>
                        <a:pt x="571891" y="1614164"/>
                        <a:pt x="571790" y="1613833"/>
                        <a:pt x="571663" y="1613516"/>
                      </a:cubicBezTo>
                      <a:cubicBezTo>
                        <a:pt x="571574" y="1613160"/>
                        <a:pt x="571434" y="1612830"/>
                        <a:pt x="571257" y="1612525"/>
                      </a:cubicBezTo>
                      <a:cubicBezTo>
                        <a:pt x="571130" y="1612182"/>
                        <a:pt x="570990" y="1611852"/>
                        <a:pt x="570813" y="1611535"/>
                      </a:cubicBezTo>
                      <a:lnTo>
                        <a:pt x="570267" y="1610595"/>
                      </a:lnTo>
                      <a:cubicBezTo>
                        <a:pt x="570052" y="1610201"/>
                        <a:pt x="569811" y="1609820"/>
                        <a:pt x="569544" y="1609465"/>
                      </a:cubicBezTo>
                      <a:cubicBezTo>
                        <a:pt x="564648" y="1600536"/>
                        <a:pt x="559232" y="1591888"/>
                        <a:pt x="553321" y="1583595"/>
                      </a:cubicBezTo>
                      <a:cubicBezTo>
                        <a:pt x="554082" y="1582198"/>
                        <a:pt x="554894" y="1580852"/>
                        <a:pt x="555668" y="1579404"/>
                      </a:cubicBezTo>
                      <a:cubicBezTo>
                        <a:pt x="562466" y="1572292"/>
                        <a:pt x="567807" y="1563897"/>
                        <a:pt x="571346" y="1554702"/>
                      </a:cubicBezTo>
                      <a:cubicBezTo>
                        <a:pt x="571561" y="1554055"/>
                        <a:pt x="571739" y="1553394"/>
                        <a:pt x="571891" y="1552721"/>
                      </a:cubicBezTo>
                      <a:cubicBezTo>
                        <a:pt x="572018" y="1552302"/>
                        <a:pt x="572107" y="1551857"/>
                        <a:pt x="572157" y="1551426"/>
                      </a:cubicBezTo>
                      <a:cubicBezTo>
                        <a:pt x="572246" y="1550829"/>
                        <a:pt x="572335" y="1550295"/>
                        <a:pt x="572386" y="1549749"/>
                      </a:cubicBezTo>
                      <a:lnTo>
                        <a:pt x="572386" y="1549711"/>
                      </a:lnTo>
                      <a:cubicBezTo>
                        <a:pt x="573185" y="1548314"/>
                        <a:pt x="573958" y="1546917"/>
                        <a:pt x="574758" y="1545533"/>
                      </a:cubicBezTo>
                      <a:cubicBezTo>
                        <a:pt x="575125" y="1546066"/>
                        <a:pt x="575519" y="1546650"/>
                        <a:pt x="575937" y="1547285"/>
                      </a:cubicBezTo>
                      <a:cubicBezTo>
                        <a:pt x="576381" y="1545939"/>
                        <a:pt x="576432" y="1544504"/>
                        <a:pt x="576064" y="1543145"/>
                      </a:cubicBezTo>
                      <a:cubicBezTo>
                        <a:pt x="576521" y="1542332"/>
                        <a:pt x="576965" y="1541570"/>
                        <a:pt x="577409" y="1540758"/>
                      </a:cubicBezTo>
                      <a:cubicBezTo>
                        <a:pt x="577688" y="1540986"/>
                        <a:pt x="577865" y="1541202"/>
                        <a:pt x="578094" y="1541431"/>
                      </a:cubicBezTo>
                      <a:cubicBezTo>
                        <a:pt x="578537" y="1541875"/>
                        <a:pt x="578943" y="1542383"/>
                        <a:pt x="579349" y="1542828"/>
                      </a:cubicBezTo>
                      <a:cubicBezTo>
                        <a:pt x="579907" y="1543437"/>
                        <a:pt x="580503" y="1544009"/>
                        <a:pt x="581138" y="1544542"/>
                      </a:cubicBezTo>
                      <a:cubicBezTo>
                        <a:pt x="581226" y="1544631"/>
                        <a:pt x="581341" y="1544695"/>
                        <a:pt x="581455" y="1544720"/>
                      </a:cubicBezTo>
                      <a:cubicBezTo>
                        <a:pt x="581861" y="1544949"/>
                        <a:pt x="582038" y="1544669"/>
                        <a:pt x="581823" y="1543641"/>
                      </a:cubicBezTo>
                      <a:cubicBezTo>
                        <a:pt x="588875" y="1537341"/>
                        <a:pt x="596194" y="1540402"/>
                        <a:pt x="599707" y="1531804"/>
                      </a:cubicBezTo>
                      <a:cubicBezTo>
                        <a:pt x="605009" y="1527842"/>
                        <a:pt x="608155" y="1542066"/>
                        <a:pt x="607977" y="1533379"/>
                      </a:cubicBezTo>
                      <a:cubicBezTo>
                        <a:pt x="606696" y="1530763"/>
                        <a:pt x="605999" y="1527880"/>
                        <a:pt x="605948" y="1524972"/>
                      </a:cubicBezTo>
                      <a:cubicBezTo>
                        <a:pt x="606214" y="1524743"/>
                        <a:pt x="606493" y="1524565"/>
                        <a:pt x="606798" y="1524336"/>
                      </a:cubicBezTo>
                      <a:cubicBezTo>
                        <a:pt x="607077" y="1524438"/>
                        <a:pt x="607331" y="1524603"/>
                        <a:pt x="607521" y="1524832"/>
                      </a:cubicBezTo>
                      <a:cubicBezTo>
                        <a:pt x="607635" y="1524921"/>
                        <a:pt x="607749" y="1525022"/>
                        <a:pt x="607838" y="1525137"/>
                      </a:cubicBezTo>
                      <a:lnTo>
                        <a:pt x="608193" y="1525505"/>
                      </a:lnTo>
                      <a:cubicBezTo>
                        <a:pt x="608637" y="1526000"/>
                        <a:pt x="609043" y="1526521"/>
                        <a:pt x="609411" y="1527080"/>
                      </a:cubicBezTo>
                      <a:cubicBezTo>
                        <a:pt x="609918" y="1526521"/>
                        <a:pt x="610096" y="1525721"/>
                        <a:pt x="609855" y="1525010"/>
                      </a:cubicBezTo>
                      <a:cubicBezTo>
                        <a:pt x="609411" y="1524514"/>
                        <a:pt x="609677" y="1524552"/>
                        <a:pt x="609855" y="1525010"/>
                      </a:cubicBezTo>
                      <a:cubicBezTo>
                        <a:pt x="610286" y="1525454"/>
                        <a:pt x="610755" y="1525860"/>
                        <a:pt x="611250" y="1526216"/>
                      </a:cubicBezTo>
                      <a:cubicBezTo>
                        <a:pt x="609220" y="1521771"/>
                        <a:pt x="612239" y="1522482"/>
                        <a:pt x="612912" y="1525911"/>
                      </a:cubicBezTo>
                      <a:cubicBezTo>
                        <a:pt x="613051" y="1519155"/>
                        <a:pt x="619786" y="1525137"/>
                        <a:pt x="617820" y="1519561"/>
                      </a:cubicBezTo>
                      <a:cubicBezTo>
                        <a:pt x="615474" y="1518837"/>
                        <a:pt x="617592" y="1517390"/>
                        <a:pt x="618797" y="1516043"/>
                      </a:cubicBezTo>
                      <a:cubicBezTo>
                        <a:pt x="612201" y="1513122"/>
                        <a:pt x="605859" y="1510239"/>
                        <a:pt x="604198" y="1506277"/>
                      </a:cubicBezTo>
                      <a:cubicBezTo>
                        <a:pt x="601724" y="1500473"/>
                        <a:pt x="597906" y="1499927"/>
                        <a:pt x="605187" y="1498047"/>
                      </a:cubicBezTo>
                      <a:cubicBezTo>
                        <a:pt x="612417" y="1496206"/>
                        <a:pt x="611567" y="1496422"/>
                        <a:pt x="608776" y="1487748"/>
                      </a:cubicBezTo>
                      <a:cubicBezTo>
                        <a:pt x="605910" y="1478985"/>
                        <a:pt x="601090" y="1470997"/>
                        <a:pt x="594672" y="1464392"/>
                      </a:cubicBezTo>
                      <a:cubicBezTo>
                        <a:pt x="588824" y="1458627"/>
                        <a:pt x="595027" y="1455350"/>
                        <a:pt x="585501" y="1454309"/>
                      </a:cubicBezTo>
                      <a:cubicBezTo>
                        <a:pt x="575975" y="1453280"/>
                        <a:pt x="577320" y="1450435"/>
                        <a:pt x="571840" y="1453991"/>
                      </a:cubicBezTo>
                      <a:cubicBezTo>
                        <a:pt x="566361" y="1457598"/>
                        <a:pt x="573857" y="1465066"/>
                        <a:pt x="566361" y="1457598"/>
                      </a:cubicBezTo>
                      <a:cubicBezTo>
                        <a:pt x="558851" y="1450080"/>
                        <a:pt x="566538" y="1448772"/>
                        <a:pt x="560018" y="1441888"/>
                      </a:cubicBezTo>
                      <a:cubicBezTo>
                        <a:pt x="556289" y="1437253"/>
                        <a:pt x="551888" y="1433176"/>
                        <a:pt x="546992" y="1429785"/>
                      </a:cubicBezTo>
                      <a:cubicBezTo>
                        <a:pt x="541690" y="1426458"/>
                        <a:pt x="547169" y="1428172"/>
                        <a:pt x="548210" y="1413910"/>
                      </a:cubicBezTo>
                      <a:cubicBezTo>
                        <a:pt x="551013" y="1391710"/>
                        <a:pt x="557215" y="1370095"/>
                        <a:pt x="566589" y="1349788"/>
                      </a:cubicBezTo>
                      <a:cubicBezTo>
                        <a:pt x="573857" y="1338485"/>
                        <a:pt x="570407" y="1333633"/>
                        <a:pt x="577510" y="1341952"/>
                      </a:cubicBezTo>
                      <a:cubicBezTo>
                        <a:pt x="584562" y="1350283"/>
                        <a:pt x="579704" y="1361040"/>
                        <a:pt x="590714" y="1362119"/>
                      </a:cubicBezTo>
                      <a:cubicBezTo>
                        <a:pt x="601724" y="1363186"/>
                        <a:pt x="596333" y="1385691"/>
                        <a:pt x="601724" y="1363199"/>
                      </a:cubicBezTo>
                      <a:cubicBezTo>
                        <a:pt x="607077" y="1340644"/>
                        <a:pt x="600468" y="1344390"/>
                        <a:pt x="605910" y="1335526"/>
                      </a:cubicBezTo>
                      <a:cubicBezTo>
                        <a:pt x="611339" y="1326699"/>
                        <a:pt x="607115" y="1335437"/>
                        <a:pt x="616197" y="1324629"/>
                      </a:cubicBezTo>
                      <a:cubicBezTo>
                        <a:pt x="625278" y="1313834"/>
                        <a:pt x="613495" y="1312259"/>
                        <a:pt x="629008" y="1308208"/>
                      </a:cubicBezTo>
                      <a:cubicBezTo>
                        <a:pt x="644559" y="1304157"/>
                        <a:pt x="646753" y="1306862"/>
                        <a:pt x="655835" y="1295876"/>
                      </a:cubicBezTo>
                      <a:cubicBezTo>
                        <a:pt x="664917" y="1284853"/>
                        <a:pt x="657813" y="1280623"/>
                        <a:pt x="667796" y="1282744"/>
                      </a:cubicBezTo>
                      <a:cubicBezTo>
                        <a:pt x="677766" y="1284853"/>
                        <a:pt x="665767" y="1291558"/>
                        <a:pt x="678222" y="1292498"/>
                      </a:cubicBezTo>
                      <a:cubicBezTo>
                        <a:pt x="690615" y="1293450"/>
                        <a:pt x="686619" y="1289221"/>
                        <a:pt x="695067" y="1285983"/>
                      </a:cubicBezTo>
                      <a:cubicBezTo>
                        <a:pt x="703477" y="1282694"/>
                        <a:pt x="697046" y="1274147"/>
                        <a:pt x="706711" y="1282744"/>
                      </a:cubicBezTo>
                      <a:cubicBezTo>
                        <a:pt x="716376" y="1291291"/>
                        <a:pt x="710757" y="1295076"/>
                        <a:pt x="718888" y="1296372"/>
                      </a:cubicBezTo>
                      <a:cubicBezTo>
                        <a:pt x="727069" y="1297730"/>
                        <a:pt x="725319" y="1295698"/>
                        <a:pt x="733678" y="1295660"/>
                      </a:cubicBezTo>
                      <a:cubicBezTo>
                        <a:pt x="742075" y="1295609"/>
                        <a:pt x="739779" y="1299115"/>
                        <a:pt x="746261" y="1303255"/>
                      </a:cubicBezTo>
                      <a:cubicBezTo>
                        <a:pt x="752768" y="1307395"/>
                        <a:pt x="757803" y="1306582"/>
                        <a:pt x="763334" y="1318241"/>
                      </a:cubicBezTo>
                      <a:cubicBezTo>
                        <a:pt x="768864" y="1329899"/>
                        <a:pt x="769574" y="1349737"/>
                        <a:pt x="772402" y="1335526"/>
                      </a:cubicBezTo>
                      <a:cubicBezTo>
                        <a:pt x="775281" y="1321352"/>
                        <a:pt x="761355" y="1320273"/>
                        <a:pt x="775281" y="1321352"/>
                      </a:cubicBezTo>
                      <a:cubicBezTo>
                        <a:pt x="789221" y="1322432"/>
                        <a:pt x="788765" y="1330623"/>
                        <a:pt x="797580" y="1329722"/>
                      </a:cubicBezTo>
                      <a:cubicBezTo>
                        <a:pt x="806346" y="1328858"/>
                        <a:pt x="801348" y="1330661"/>
                        <a:pt x="810785" y="1323334"/>
                      </a:cubicBezTo>
                      <a:cubicBezTo>
                        <a:pt x="820272" y="1315993"/>
                        <a:pt x="802515" y="1314736"/>
                        <a:pt x="824268" y="1313745"/>
                      </a:cubicBezTo>
                      <a:cubicBezTo>
                        <a:pt x="845970" y="1312755"/>
                        <a:pt x="842648" y="1308297"/>
                        <a:pt x="850194" y="1313745"/>
                      </a:cubicBezTo>
                      <a:cubicBezTo>
                        <a:pt x="857792" y="1319193"/>
                        <a:pt x="851374" y="1326521"/>
                        <a:pt x="863132" y="1315904"/>
                      </a:cubicBezTo>
                      <a:cubicBezTo>
                        <a:pt x="874916" y="1305236"/>
                        <a:pt x="865251" y="1295609"/>
                        <a:pt x="874916" y="1305236"/>
                      </a:cubicBezTo>
                      <a:cubicBezTo>
                        <a:pt x="884569" y="1314913"/>
                        <a:pt x="870692" y="1315853"/>
                        <a:pt x="891000" y="1322330"/>
                      </a:cubicBezTo>
                      <a:cubicBezTo>
                        <a:pt x="911358" y="1328858"/>
                        <a:pt x="908757" y="1337494"/>
                        <a:pt x="917561" y="1334256"/>
                      </a:cubicBezTo>
                      <a:cubicBezTo>
                        <a:pt x="926325" y="1330979"/>
                        <a:pt x="920706" y="1324718"/>
                        <a:pt x="928888" y="1324629"/>
                      </a:cubicBezTo>
                      <a:cubicBezTo>
                        <a:pt x="937068" y="1324540"/>
                        <a:pt x="933111" y="1331068"/>
                        <a:pt x="945783" y="1328858"/>
                      </a:cubicBezTo>
                      <a:cubicBezTo>
                        <a:pt x="958505" y="1326699"/>
                        <a:pt x="964606" y="1333405"/>
                        <a:pt x="970136" y="1318241"/>
                      </a:cubicBezTo>
                      <a:cubicBezTo>
                        <a:pt x="975616" y="1303077"/>
                        <a:pt x="979891" y="1303610"/>
                        <a:pt x="963845" y="1296372"/>
                      </a:cubicBezTo>
                      <a:cubicBezTo>
                        <a:pt x="947761" y="1289171"/>
                        <a:pt x="946315" y="1288993"/>
                        <a:pt x="942764" y="1284764"/>
                      </a:cubicBezTo>
                      <a:cubicBezTo>
                        <a:pt x="939174" y="1280573"/>
                        <a:pt x="936663" y="1283456"/>
                        <a:pt x="934722" y="1276661"/>
                      </a:cubicBezTo>
                      <a:cubicBezTo>
                        <a:pt x="932743" y="1269828"/>
                        <a:pt x="929192" y="1268838"/>
                        <a:pt x="934722" y="1264520"/>
                      </a:cubicBezTo>
                      <a:cubicBezTo>
                        <a:pt x="940253" y="1260189"/>
                        <a:pt x="947799" y="1268254"/>
                        <a:pt x="946722" y="1252950"/>
                      </a:cubicBezTo>
                      <a:cubicBezTo>
                        <a:pt x="945643" y="1237650"/>
                        <a:pt x="937195" y="1241206"/>
                        <a:pt x="947850" y="1231938"/>
                      </a:cubicBezTo>
                      <a:cubicBezTo>
                        <a:pt x="958505" y="1222624"/>
                        <a:pt x="949017" y="1218799"/>
                        <a:pt x="961777" y="1219653"/>
                      </a:cubicBezTo>
                      <a:cubicBezTo>
                        <a:pt x="974538" y="1220508"/>
                        <a:pt x="977417" y="1228247"/>
                        <a:pt x="980296" y="1219564"/>
                      </a:cubicBezTo>
                      <a:cubicBezTo>
                        <a:pt x="983125" y="1210834"/>
                        <a:pt x="962818" y="1210610"/>
                        <a:pt x="960661" y="1204806"/>
                      </a:cubicBezTo>
                      <a:cubicBezTo>
                        <a:pt x="958505" y="1199045"/>
                        <a:pt x="966052" y="1206155"/>
                        <a:pt x="964923" y="1197741"/>
                      </a:cubicBezTo>
                      <a:cubicBezTo>
                        <a:pt x="963845" y="1189371"/>
                        <a:pt x="952797" y="1195986"/>
                        <a:pt x="954053" y="1189462"/>
                      </a:cubicBezTo>
                      <a:cubicBezTo>
                        <a:pt x="954421" y="1185013"/>
                        <a:pt x="956285" y="1180822"/>
                        <a:pt x="959355" y="1177582"/>
                      </a:cubicBezTo>
                      <a:cubicBezTo>
                        <a:pt x="962766" y="1173308"/>
                        <a:pt x="960483" y="1174613"/>
                        <a:pt x="973422" y="1175558"/>
                      </a:cubicBezTo>
                      <a:cubicBezTo>
                        <a:pt x="984431" y="1176348"/>
                        <a:pt x="995480" y="1175955"/>
                        <a:pt x="1006400" y="1174388"/>
                      </a:cubicBezTo>
                      <a:cubicBezTo>
                        <a:pt x="1010992" y="1173308"/>
                        <a:pt x="1005424" y="1170608"/>
                        <a:pt x="1023702" y="1167098"/>
                      </a:cubicBezTo>
                      <a:cubicBezTo>
                        <a:pt x="1031109" y="1165916"/>
                        <a:pt x="1038365" y="1163985"/>
                        <a:pt x="1045366" y="1161339"/>
                      </a:cubicBezTo>
                      <a:cubicBezTo>
                        <a:pt x="1060296" y="1157200"/>
                        <a:pt x="1053141" y="1156705"/>
                        <a:pt x="1062579" y="1158545"/>
                      </a:cubicBezTo>
                      <a:cubicBezTo>
                        <a:pt x="1072066" y="1160434"/>
                        <a:pt x="1062401" y="1169975"/>
                        <a:pt x="1073145" y="1157148"/>
                      </a:cubicBezTo>
                      <a:cubicBezTo>
                        <a:pt x="1083838" y="1144321"/>
                        <a:pt x="1067754" y="1144321"/>
                        <a:pt x="1083838" y="1144321"/>
                      </a:cubicBezTo>
                      <a:cubicBezTo>
                        <a:pt x="1099921" y="1144321"/>
                        <a:pt x="1074172" y="1148596"/>
                        <a:pt x="1099921" y="1144321"/>
                      </a:cubicBezTo>
                      <a:cubicBezTo>
                        <a:pt x="1125632" y="1140046"/>
                        <a:pt x="1115256" y="1146211"/>
                        <a:pt x="1132240" y="1140451"/>
                      </a:cubicBezTo>
                      <a:cubicBezTo>
                        <a:pt x="1149186" y="1134646"/>
                        <a:pt x="1140637" y="1146480"/>
                        <a:pt x="1149186" y="1134646"/>
                      </a:cubicBezTo>
                      <a:cubicBezTo>
                        <a:pt x="1157761" y="1122858"/>
                        <a:pt x="1150214" y="1127763"/>
                        <a:pt x="1159879" y="1120473"/>
                      </a:cubicBezTo>
                      <a:cubicBezTo>
                        <a:pt x="1169532" y="1113234"/>
                        <a:pt x="1158661" y="1111202"/>
                        <a:pt x="1173768" y="1109538"/>
                      </a:cubicBezTo>
                      <a:cubicBezTo>
                        <a:pt x="1188824" y="1107829"/>
                        <a:pt x="1182838" y="1106119"/>
                        <a:pt x="1192287" y="1109134"/>
                      </a:cubicBezTo>
                      <a:cubicBezTo>
                        <a:pt x="1201725" y="1112149"/>
                        <a:pt x="1195699" y="1112148"/>
                        <a:pt x="1206709" y="1113229"/>
                      </a:cubicBezTo>
                      <a:cubicBezTo>
                        <a:pt x="1217757" y="1114264"/>
                        <a:pt x="1204908" y="1115343"/>
                        <a:pt x="1217757" y="1114264"/>
                      </a:cubicBezTo>
                      <a:cubicBezTo>
                        <a:pt x="1230618" y="1113229"/>
                        <a:pt x="1229807" y="1108773"/>
                        <a:pt x="1231824" y="1117413"/>
                      </a:cubicBezTo>
                      <a:cubicBezTo>
                        <a:pt x="1233853" y="1126097"/>
                        <a:pt x="1232635" y="1128932"/>
                        <a:pt x="1239155" y="1134467"/>
                      </a:cubicBezTo>
                      <a:cubicBezTo>
                        <a:pt x="1245624" y="1140046"/>
                        <a:pt x="1247781" y="1139326"/>
                        <a:pt x="1245624" y="1146120"/>
                      </a:cubicBezTo>
                      <a:cubicBezTo>
                        <a:pt x="1244508" y="1150113"/>
                        <a:pt x="1243823" y="1154218"/>
                        <a:pt x="1243595" y="1158359"/>
                      </a:cubicBezTo>
                      <a:cubicBezTo>
                        <a:pt x="1242390" y="1164709"/>
                        <a:pt x="1240271" y="1161464"/>
                        <a:pt x="1242390" y="1164709"/>
                      </a:cubicBezTo>
                      <a:cubicBezTo>
                        <a:pt x="1244546" y="1167905"/>
                        <a:pt x="1236009" y="1168039"/>
                        <a:pt x="1248858" y="1165835"/>
                      </a:cubicBezTo>
                      <a:cubicBezTo>
                        <a:pt x="1261707" y="1163630"/>
                        <a:pt x="1259691" y="1162235"/>
                        <a:pt x="1270333" y="1165073"/>
                      </a:cubicBezTo>
                      <a:cubicBezTo>
                        <a:pt x="1280987" y="1167910"/>
                        <a:pt x="1273352" y="1168312"/>
                        <a:pt x="1281977" y="1171327"/>
                      </a:cubicBezTo>
                      <a:cubicBezTo>
                        <a:pt x="1290602" y="1174387"/>
                        <a:pt x="1286290" y="1164667"/>
                        <a:pt x="1297033" y="1170067"/>
                      </a:cubicBezTo>
                      <a:cubicBezTo>
                        <a:pt x="1307776" y="1175422"/>
                        <a:pt x="1299189" y="1172226"/>
                        <a:pt x="1307776" y="1175422"/>
                      </a:cubicBezTo>
                      <a:cubicBezTo>
                        <a:pt x="1316351" y="1178662"/>
                        <a:pt x="1308182" y="1183251"/>
                        <a:pt x="1309032" y="1191170"/>
                      </a:cubicBezTo>
                      <a:cubicBezTo>
                        <a:pt x="1309882" y="1199044"/>
                        <a:pt x="1322871" y="1190676"/>
                        <a:pt x="1331408" y="1194860"/>
                      </a:cubicBezTo>
                      <a:cubicBezTo>
                        <a:pt x="1339906" y="1199044"/>
                        <a:pt x="1337661" y="1192251"/>
                        <a:pt x="1349520" y="1186536"/>
                      </a:cubicBezTo>
                      <a:cubicBezTo>
                        <a:pt x="1361342" y="1180821"/>
                        <a:pt x="1349609" y="1182126"/>
                        <a:pt x="1364031" y="1175556"/>
                      </a:cubicBezTo>
                      <a:cubicBezTo>
                        <a:pt x="1378465" y="1168987"/>
                        <a:pt x="1373113" y="1168537"/>
                        <a:pt x="1384883" y="1162868"/>
                      </a:cubicBezTo>
                      <a:cubicBezTo>
                        <a:pt x="1396705" y="1157199"/>
                        <a:pt x="1400307" y="1146759"/>
                        <a:pt x="1401157" y="1154679"/>
                      </a:cubicBezTo>
                      <a:cubicBezTo>
                        <a:pt x="1402058" y="1162553"/>
                        <a:pt x="1394726" y="1154044"/>
                        <a:pt x="1395716" y="1166871"/>
                      </a:cubicBezTo>
                      <a:cubicBezTo>
                        <a:pt x="1396705" y="1179740"/>
                        <a:pt x="1442508" y="1229011"/>
                        <a:pt x="1450144" y="1240845"/>
                      </a:cubicBezTo>
                      <a:cubicBezTo>
                        <a:pt x="1458972" y="1255452"/>
                        <a:pt x="1467039" y="1270502"/>
                        <a:pt x="1474320" y="1285932"/>
                      </a:cubicBezTo>
                      <a:cubicBezTo>
                        <a:pt x="1475981" y="1290199"/>
                        <a:pt x="1485596" y="1318063"/>
                        <a:pt x="1490454" y="1320222"/>
                      </a:cubicBezTo>
                      <a:cubicBezTo>
                        <a:pt x="1495261" y="1322419"/>
                        <a:pt x="1496074" y="1323549"/>
                        <a:pt x="1501552" y="1317072"/>
                      </a:cubicBezTo>
                      <a:cubicBezTo>
                        <a:pt x="1507032" y="1310595"/>
                        <a:pt x="1504343" y="1302988"/>
                        <a:pt x="1511573" y="1304119"/>
                      </a:cubicBezTo>
                      <a:cubicBezTo>
                        <a:pt x="1518804" y="1305249"/>
                        <a:pt x="1523344" y="1300474"/>
                        <a:pt x="1525374" y="1308208"/>
                      </a:cubicBezTo>
                      <a:cubicBezTo>
                        <a:pt x="1527391" y="1315993"/>
                        <a:pt x="1514313" y="1320400"/>
                        <a:pt x="1527848" y="1321391"/>
                      </a:cubicBezTo>
                      <a:cubicBezTo>
                        <a:pt x="1541331" y="1322432"/>
                        <a:pt x="1558264" y="1325442"/>
                        <a:pt x="1564289" y="1326610"/>
                      </a:cubicBezTo>
                      <a:cubicBezTo>
                        <a:pt x="1570263" y="1327779"/>
                        <a:pt x="1566711" y="1319460"/>
                        <a:pt x="1575438" y="1318241"/>
                      </a:cubicBezTo>
                      <a:cubicBezTo>
                        <a:pt x="1584190" y="1317034"/>
                        <a:pt x="1589721" y="1312805"/>
                        <a:pt x="1593361" y="1319231"/>
                      </a:cubicBezTo>
                      <a:cubicBezTo>
                        <a:pt x="1597128" y="1328007"/>
                        <a:pt x="1603788" y="1335195"/>
                        <a:pt x="1612235" y="1339615"/>
                      </a:cubicBezTo>
                      <a:cubicBezTo>
                        <a:pt x="1627025" y="1349242"/>
                        <a:pt x="1618489" y="1330979"/>
                        <a:pt x="1627025" y="1349242"/>
                      </a:cubicBezTo>
                      <a:cubicBezTo>
                        <a:pt x="1635612" y="1367466"/>
                        <a:pt x="1628598" y="1365942"/>
                        <a:pt x="1637984" y="1371517"/>
                      </a:cubicBezTo>
                      <a:cubicBezTo>
                        <a:pt x="1647383" y="1377105"/>
                        <a:pt x="1639341" y="1384383"/>
                        <a:pt x="1655691" y="1381830"/>
                      </a:cubicBezTo>
                      <a:cubicBezTo>
                        <a:pt x="1672054" y="1379264"/>
                        <a:pt x="1671292" y="1371340"/>
                        <a:pt x="1679689" y="1372063"/>
                      </a:cubicBezTo>
                      <a:cubicBezTo>
                        <a:pt x="1688099" y="1372825"/>
                        <a:pt x="1676049" y="1376026"/>
                        <a:pt x="1684763" y="1383532"/>
                      </a:cubicBezTo>
                      <a:cubicBezTo>
                        <a:pt x="1693477" y="1391050"/>
                        <a:pt x="1698792" y="1394149"/>
                        <a:pt x="1698830" y="1397438"/>
                      </a:cubicBezTo>
                      <a:cubicBezTo>
                        <a:pt x="1698842" y="1397819"/>
                        <a:pt x="1698767" y="1398213"/>
                        <a:pt x="1698602" y="1398568"/>
                      </a:cubicBezTo>
                      <a:cubicBezTo>
                        <a:pt x="1700872" y="1398835"/>
                        <a:pt x="1703155" y="1398988"/>
                        <a:pt x="1705439" y="1399013"/>
                      </a:cubicBezTo>
                      <a:cubicBezTo>
                        <a:pt x="1709345" y="1398873"/>
                        <a:pt x="1706872" y="1399102"/>
                        <a:pt x="1713354" y="1396765"/>
                      </a:cubicBezTo>
                      <a:cubicBezTo>
                        <a:pt x="1719822" y="1394377"/>
                        <a:pt x="1717577" y="1395914"/>
                        <a:pt x="1721027" y="1392764"/>
                      </a:cubicBezTo>
                      <a:cubicBezTo>
                        <a:pt x="1724452" y="1389615"/>
                        <a:pt x="1724541" y="1388929"/>
                        <a:pt x="1727103" y="1386465"/>
                      </a:cubicBezTo>
                      <a:cubicBezTo>
                        <a:pt x="1729704" y="1383989"/>
                        <a:pt x="1731504" y="1385703"/>
                        <a:pt x="1734789" y="1383494"/>
                      </a:cubicBezTo>
                      <a:cubicBezTo>
                        <a:pt x="1738024" y="1381284"/>
                        <a:pt x="1737936" y="1384078"/>
                        <a:pt x="1745115" y="1384611"/>
                      </a:cubicBezTo>
                      <a:cubicBezTo>
                        <a:pt x="1752357" y="1385106"/>
                        <a:pt x="1745977" y="1380344"/>
                        <a:pt x="1750607" y="1377639"/>
                      </a:cubicBezTo>
                      <a:cubicBezTo>
                        <a:pt x="1755236" y="1374896"/>
                        <a:pt x="1759372" y="1377105"/>
                        <a:pt x="1764673" y="1373372"/>
                      </a:cubicBezTo>
                      <a:cubicBezTo>
                        <a:pt x="1769291" y="1369295"/>
                        <a:pt x="1773324" y="1364583"/>
                        <a:pt x="1776622" y="1359376"/>
                      </a:cubicBezTo>
                      <a:cubicBezTo>
                        <a:pt x="1781023" y="1353979"/>
                        <a:pt x="1781341" y="1352975"/>
                        <a:pt x="1786871" y="1352671"/>
                      </a:cubicBezTo>
                      <a:cubicBezTo>
                        <a:pt x="1792503" y="1351985"/>
                        <a:pt x="1797741" y="1349407"/>
                        <a:pt x="1801750" y="1345381"/>
                      </a:cubicBezTo>
                      <a:cubicBezTo>
                        <a:pt x="1808269" y="1340428"/>
                        <a:pt x="1803817" y="1340110"/>
                        <a:pt x="1810413" y="1340110"/>
                      </a:cubicBezTo>
                      <a:cubicBezTo>
                        <a:pt x="1817021" y="1340161"/>
                        <a:pt x="1818822" y="1335843"/>
                        <a:pt x="1824213" y="1333455"/>
                      </a:cubicBezTo>
                      <a:cubicBezTo>
                        <a:pt x="1829604" y="1331119"/>
                        <a:pt x="1826332" y="1331525"/>
                        <a:pt x="1833828" y="1332820"/>
                      </a:cubicBezTo>
                      <a:cubicBezTo>
                        <a:pt x="1841388" y="1334078"/>
                        <a:pt x="1836479" y="1324007"/>
                        <a:pt x="1842453" y="1321391"/>
                      </a:cubicBezTo>
                      <a:cubicBezTo>
                        <a:pt x="1848427" y="1318774"/>
                        <a:pt x="1843975" y="1322965"/>
                        <a:pt x="1849823" y="1327372"/>
                      </a:cubicBezTo>
                      <a:cubicBezTo>
                        <a:pt x="1855721" y="1331830"/>
                        <a:pt x="1853107" y="1327233"/>
                        <a:pt x="1857738" y="1323689"/>
                      </a:cubicBezTo>
                      <a:cubicBezTo>
                        <a:pt x="1862367" y="1320133"/>
                        <a:pt x="1861150" y="1327779"/>
                        <a:pt x="1862596" y="1331106"/>
                      </a:cubicBezTo>
                      <a:cubicBezTo>
                        <a:pt x="1864029" y="1334433"/>
                        <a:pt x="1875622" y="1333138"/>
                        <a:pt x="1882268" y="1333443"/>
                      </a:cubicBezTo>
                      <a:cubicBezTo>
                        <a:pt x="1888877" y="1333811"/>
                        <a:pt x="1891668" y="1337405"/>
                        <a:pt x="1895346" y="1338942"/>
                      </a:cubicBezTo>
                      <a:cubicBezTo>
                        <a:pt x="1898999" y="1340428"/>
                        <a:pt x="1904517" y="1351896"/>
                        <a:pt x="1907269" y="1356849"/>
                      </a:cubicBezTo>
                      <a:cubicBezTo>
                        <a:pt x="1909959" y="1361802"/>
                        <a:pt x="1908829" y="1359948"/>
                        <a:pt x="1917239" y="1361027"/>
                      </a:cubicBezTo>
                      <a:cubicBezTo>
                        <a:pt x="1921412" y="1361014"/>
                        <a:pt x="1925547" y="1361688"/>
                        <a:pt x="1929504" y="1363008"/>
                      </a:cubicBezTo>
                      <a:cubicBezTo>
                        <a:pt x="1938447" y="1365523"/>
                        <a:pt x="1932384" y="1364761"/>
                        <a:pt x="1938320" y="1363008"/>
                      </a:cubicBezTo>
                      <a:cubicBezTo>
                        <a:pt x="1941897" y="1361827"/>
                        <a:pt x="1945689" y="1361510"/>
                        <a:pt x="1949419" y="1362069"/>
                      </a:cubicBezTo>
                      <a:cubicBezTo>
                        <a:pt x="1955710" y="1362018"/>
                        <a:pt x="1955431" y="1362653"/>
                        <a:pt x="1958590" y="1366298"/>
                      </a:cubicBezTo>
                      <a:cubicBezTo>
                        <a:pt x="1961735" y="1369943"/>
                        <a:pt x="1961329" y="1366387"/>
                        <a:pt x="1967747" y="1365396"/>
                      </a:cubicBezTo>
                      <a:cubicBezTo>
                        <a:pt x="1974178" y="1364405"/>
                        <a:pt x="1976880" y="1368546"/>
                        <a:pt x="1983881" y="1371924"/>
                      </a:cubicBezTo>
                      <a:cubicBezTo>
                        <a:pt x="1990896" y="1375289"/>
                        <a:pt x="1987560" y="1367466"/>
                        <a:pt x="1998671" y="1363681"/>
                      </a:cubicBezTo>
                      <a:cubicBezTo>
                        <a:pt x="2009821" y="1359910"/>
                        <a:pt x="2005229" y="1358868"/>
                        <a:pt x="2007614" y="1356849"/>
                      </a:cubicBezTo>
                      <a:cubicBezTo>
                        <a:pt x="2009998" y="1354817"/>
                        <a:pt x="2009542" y="1348162"/>
                        <a:pt x="2009631" y="1342853"/>
                      </a:cubicBezTo>
                      <a:cubicBezTo>
                        <a:pt x="2007829" y="1333709"/>
                        <a:pt x="2005293" y="1324731"/>
                        <a:pt x="2002045" y="1315993"/>
                      </a:cubicBezTo>
                      <a:cubicBezTo>
                        <a:pt x="2001119" y="1308652"/>
                        <a:pt x="2002337" y="1301197"/>
                        <a:pt x="2005546" y="1294530"/>
                      </a:cubicBezTo>
                      <a:cubicBezTo>
                        <a:pt x="2011508" y="1286542"/>
                        <a:pt x="2018472" y="1279353"/>
                        <a:pt x="2026259" y="1273156"/>
                      </a:cubicBezTo>
                      <a:cubicBezTo>
                        <a:pt x="2031168" y="1269511"/>
                        <a:pt x="2029900" y="1265549"/>
                        <a:pt x="2034707" y="1264025"/>
                      </a:cubicBezTo>
                      <a:cubicBezTo>
                        <a:pt x="2039515" y="1262488"/>
                        <a:pt x="2052376" y="1276801"/>
                        <a:pt x="2061446" y="1281970"/>
                      </a:cubicBezTo>
                      <a:cubicBezTo>
                        <a:pt x="2070236" y="1285386"/>
                        <a:pt x="2079419" y="1287685"/>
                        <a:pt x="2088780" y="1288815"/>
                      </a:cubicBezTo>
                      <a:cubicBezTo>
                        <a:pt x="2094386" y="1291038"/>
                        <a:pt x="2100234" y="1292600"/>
                        <a:pt x="2106208" y="1293489"/>
                      </a:cubicBezTo>
                      <a:cubicBezTo>
                        <a:pt x="2116685" y="1295152"/>
                        <a:pt x="2114529" y="1295609"/>
                        <a:pt x="2119869" y="1305858"/>
                      </a:cubicBezTo>
                      <a:cubicBezTo>
                        <a:pt x="2124372" y="1313821"/>
                        <a:pt x="2127454" y="1322508"/>
                        <a:pt x="2128988" y="1331512"/>
                      </a:cubicBezTo>
                      <a:cubicBezTo>
                        <a:pt x="2131158" y="1342269"/>
                        <a:pt x="2132185" y="1339031"/>
                        <a:pt x="2136548" y="1343539"/>
                      </a:cubicBezTo>
                      <a:cubicBezTo>
                        <a:pt x="2140899" y="1347984"/>
                        <a:pt x="2139695" y="1345470"/>
                        <a:pt x="2147825" y="1345381"/>
                      </a:cubicBezTo>
                      <a:cubicBezTo>
                        <a:pt x="2155956" y="1345241"/>
                        <a:pt x="2152049" y="1348708"/>
                        <a:pt x="2156501" y="1351807"/>
                      </a:cubicBezTo>
                      <a:cubicBezTo>
                        <a:pt x="2160953" y="1354919"/>
                        <a:pt x="2163287" y="1352442"/>
                        <a:pt x="2168640" y="1353788"/>
                      </a:cubicBezTo>
                      <a:cubicBezTo>
                        <a:pt x="2173979" y="1355134"/>
                        <a:pt x="2173447" y="1351363"/>
                        <a:pt x="2177849" y="1348746"/>
                      </a:cubicBezTo>
                      <a:cubicBezTo>
                        <a:pt x="2182288" y="1346092"/>
                        <a:pt x="2184191" y="1347083"/>
                        <a:pt x="2188312" y="1344885"/>
                      </a:cubicBezTo>
                      <a:cubicBezTo>
                        <a:pt x="2194553" y="1342892"/>
                        <a:pt x="2201048" y="1341838"/>
                        <a:pt x="2207593" y="1341736"/>
                      </a:cubicBezTo>
                      <a:cubicBezTo>
                        <a:pt x="2212895" y="1341520"/>
                        <a:pt x="2218146" y="1340580"/>
                        <a:pt x="2223194" y="1338942"/>
                      </a:cubicBezTo>
                      <a:cubicBezTo>
                        <a:pt x="2230614" y="1336643"/>
                        <a:pt x="2229168" y="1341190"/>
                        <a:pt x="2238390" y="1344111"/>
                      </a:cubicBezTo>
                      <a:cubicBezTo>
                        <a:pt x="2247598" y="1347032"/>
                        <a:pt x="2243108" y="1343298"/>
                        <a:pt x="2252178" y="1346181"/>
                      </a:cubicBezTo>
                      <a:cubicBezTo>
                        <a:pt x="2261222" y="1349013"/>
                        <a:pt x="2258659" y="1348708"/>
                        <a:pt x="2259281" y="1353026"/>
                      </a:cubicBezTo>
                      <a:cubicBezTo>
                        <a:pt x="2259915" y="1357344"/>
                        <a:pt x="2264544" y="1357255"/>
                        <a:pt x="2271343" y="1361027"/>
                      </a:cubicBezTo>
                      <a:cubicBezTo>
                        <a:pt x="2278079" y="1364774"/>
                        <a:pt x="2283825" y="1358868"/>
                        <a:pt x="2287693" y="1364672"/>
                      </a:cubicBezTo>
                      <a:cubicBezTo>
                        <a:pt x="2291562" y="1370527"/>
                        <a:pt x="2287566" y="1369092"/>
                        <a:pt x="2287693" y="1374616"/>
                      </a:cubicBezTo>
                      <a:cubicBezTo>
                        <a:pt x="2287833" y="1380153"/>
                        <a:pt x="2292424" y="1380877"/>
                        <a:pt x="2296864" y="1384205"/>
                      </a:cubicBezTo>
                      <a:cubicBezTo>
                        <a:pt x="2301583" y="1387049"/>
                        <a:pt x="2307075" y="1388294"/>
                        <a:pt x="2312555" y="1387761"/>
                      </a:cubicBezTo>
                      <a:cubicBezTo>
                        <a:pt x="2319835" y="1388218"/>
                        <a:pt x="2317590" y="1388929"/>
                        <a:pt x="2323741" y="1390377"/>
                      </a:cubicBezTo>
                      <a:cubicBezTo>
                        <a:pt x="2328676" y="1391837"/>
                        <a:pt x="2333407" y="1393946"/>
                        <a:pt x="2337808" y="1396625"/>
                      </a:cubicBezTo>
                      <a:cubicBezTo>
                        <a:pt x="2340320" y="1397883"/>
                        <a:pt x="2348641" y="1393209"/>
                        <a:pt x="2356949" y="1394327"/>
                      </a:cubicBezTo>
                      <a:cubicBezTo>
                        <a:pt x="2362656" y="1395089"/>
                        <a:pt x="2368441" y="1394695"/>
                        <a:pt x="2373984" y="1393158"/>
                      </a:cubicBezTo>
                      <a:cubicBezTo>
                        <a:pt x="2382203" y="1392041"/>
                        <a:pt x="2380820" y="1387316"/>
                        <a:pt x="2387962" y="1388205"/>
                      </a:cubicBezTo>
                      <a:cubicBezTo>
                        <a:pt x="2395153" y="1389158"/>
                        <a:pt x="2408143" y="1380331"/>
                        <a:pt x="2412405" y="1379798"/>
                      </a:cubicBezTo>
                      <a:cubicBezTo>
                        <a:pt x="2418353" y="1378744"/>
                        <a:pt x="2424175" y="1377093"/>
                        <a:pt x="2429794" y="1374896"/>
                      </a:cubicBezTo>
                      <a:cubicBezTo>
                        <a:pt x="2434703" y="1371314"/>
                        <a:pt x="2438990" y="1366958"/>
                        <a:pt x="2442478" y="1361980"/>
                      </a:cubicBezTo>
                      <a:cubicBezTo>
                        <a:pt x="2445763" y="1358703"/>
                        <a:pt x="2449328" y="1355706"/>
                        <a:pt x="2453133" y="1353026"/>
                      </a:cubicBezTo>
                      <a:cubicBezTo>
                        <a:pt x="2457116" y="1350486"/>
                        <a:pt x="2461759" y="1349191"/>
                        <a:pt x="2466477" y="1349292"/>
                      </a:cubicBezTo>
                      <a:cubicBezTo>
                        <a:pt x="2470511" y="1349229"/>
                        <a:pt x="2474506" y="1349927"/>
                        <a:pt x="2478298" y="1351312"/>
                      </a:cubicBezTo>
                      <a:cubicBezTo>
                        <a:pt x="2482611" y="1352302"/>
                        <a:pt x="2486873" y="1358335"/>
                        <a:pt x="2491198" y="1359363"/>
                      </a:cubicBezTo>
                      <a:cubicBezTo>
                        <a:pt x="2495460" y="1360405"/>
                        <a:pt x="2498111" y="1365307"/>
                        <a:pt x="2503147" y="1367784"/>
                      </a:cubicBezTo>
                      <a:cubicBezTo>
                        <a:pt x="2508132" y="1370260"/>
                        <a:pt x="2510960" y="1363186"/>
                        <a:pt x="2516136" y="1361027"/>
                      </a:cubicBezTo>
                      <a:cubicBezTo>
                        <a:pt x="2521349" y="1358868"/>
                        <a:pt x="2522249" y="1361027"/>
                        <a:pt x="2527234" y="1362564"/>
                      </a:cubicBezTo>
                      <a:cubicBezTo>
                        <a:pt x="2532269" y="1364088"/>
                        <a:pt x="2532396" y="1367999"/>
                        <a:pt x="2534109" y="1369358"/>
                      </a:cubicBezTo>
                      <a:cubicBezTo>
                        <a:pt x="2535770" y="1370705"/>
                        <a:pt x="2538295" y="1370654"/>
                        <a:pt x="2542607" y="1371924"/>
                      </a:cubicBezTo>
                      <a:cubicBezTo>
                        <a:pt x="2546882" y="1373130"/>
                        <a:pt x="2548492" y="1375518"/>
                        <a:pt x="2554429" y="1377855"/>
                      </a:cubicBezTo>
                      <a:cubicBezTo>
                        <a:pt x="2560403" y="1380204"/>
                        <a:pt x="2563460" y="1377639"/>
                        <a:pt x="2572758" y="1374616"/>
                      </a:cubicBezTo>
                      <a:cubicBezTo>
                        <a:pt x="2582017" y="1371555"/>
                        <a:pt x="2581168" y="1367999"/>
                        <a:pt x="2590643" y="1363593"/>
                      </a:cubicBezTo>
                      <a:cubicBezTo>
                        <a:pt x="2594778" y="1361243"/>
                        <a:pt x="2599356" y="1359795"/>
                        <a:pt x="2604088" y="1359363"/>
                      </a:cubicBezTo>
                      <a:cubicBezTo>
                        <a:pt x="2611457" y="1357751"/>
                        <a:pt x="2607411" y="1350816"/>
                        <a:pt x="2609072" y="1347756"/>
                      </a:cubicBezTo>
                      <a:cubicBezTo>
                        <a:pt x="2610785" y="1344746"/>
                        <a:pt x="2609022" y="1344924"/>
                        <a:pt x="2605394" y="1341723"/>
                      </a:cubicBezTo>
                      <a:cubicBezTo>
                        <a:pt x="2601703" y="1338485"/>
                        <a:pt x="2608489" y="1334217"/>
                        <a:pt x="2611774" y="1329353"/>
                      </a:cubicBezTo>
                      <a:cubicBezTo>
                        <a:pt x="2614615" y="1323346"/>
                        <a:pt x="2616835" y="1317060"/>
                        <a:pt x="2618370" y="1310595"/>
                      </a:cubicBezTo>
                      <a:cubicBezTo>
                        <a:pt x="2619676" y="1307395"/>
                        <a:pt x="2625067" y="1292371"/>
                        <a:pt x="2627452" y="1288091"/>
                      </a:cubicBezTo>
                      <a:cubicBezTo>
                        <a:pt x="2630001" y="1283062"/>
                        <a:pt x="2633528" y="1278591"/>
                        <a:pt x="2637840" y="1274959"/>
                      </a:cubicBezTo>
                      <a:cubicBezTo>
                        <a:pt x="2643637" y="1269879"/>
                        <a:pt x="2643852" y="1271441"/>
                        <a:pt x="2648127" y="1266095"/>
                      </a:cubicBezTo>
                      <a:cubicBezTo>
                        <a:pt x="2652389" y="1260735"/>
                        <a:pt x="2649205" y="1256417"/>
                        <a:pt x="2649205" y="1251060"/>
                      </a:cubicBezTo>
                      <a:cubicBezTo>
                        <a:pt x="2649002" y="1246876"/>
                        <a:pt x="2646542" y="1243136"/>
                        <a:pt x="2642775" y="1241297"/>
                      </a:cubicBezTo>
                      <a:cubicBezTo>
                        <a:pt x="2640123" y="1239587"/>
                        <a:pt x="2635811" y="1241972"/>
                        <a:pt x="2630953" y="1238732"/>
                      </a:cubicBezTo>
                      <a:cubicBezTo>
                        <a:pt x="2626145" y="1235493"/>
                        <a:pt x="2630953" y="1238732"/>
                        <a:pt x="2633337" y="1231172"/>
                      </a:cubicBezTo>
                      <a:cubicBezTo>
                        <a:pt x="2636940" y="1223786"/>
                        <a:pt x="2642635" y="1217621"/>
                        <a:pt x="2649700" y="1213444"/>
                      </a:cubicBezTo>
                      <a:cubicBezTo>
                        <a:pt x="2652618" y="1210996"/>
                        <a:pt x="2656093" y="1209296"/>
                        <a:pt x="2659809" y="1208491"/>
                      </a:cubicBezTo>
                      <a:cubicBezTo>
                        <a:pt x="2662423" y="1207780"/>
                        <a:pt x="2665060" y="1207210"/>
                        <a:pt x="2667724" y="1206782"/>
                      </a:cubicBezTo>
                      <a:cubicBezTo>
                        <a:pt x="2670464" y="1206468"/>
                        <a:pt x="2673178" y="1205987"/>
                        <a:pt x="2675855" y="1205342"/>
                      </a:cubicBezTo>
                      <a:cubicBezTo>
                        <a:pt x="2679989" y="1204172"/>
                        <a:pt x="2681880" y="1202237"/>
                        <a:pt x="2691000" y="1199041"/>
                      </a:cubicBezTo>
                      <a:cubicBezTo>
                        <a:pt x="2700082" y="1195803"/>
                        <a:pt x="2691000" y="1199041"/>
                        <a:pt x="2698775" y="1201787"/>
                      </a:cubicBezTo>
                      <a:cubicBezTo>
                        <a:pt x="2706601" y="1204487"/>
                        <a:pt x="2702783" y="1201201"/>
                        <a:pt x="2709075" y="1200662"/>
                      </a:cubicBezTo>
                      <a:cubicBezTo>
                        <a:pt x="2715366" y="1200166"/>
                        <a:pt x="2711358" y="1196882"/>
                        <a:pt x="2717789" y="1196471"/>
                      </a:cubicBezTo>
                      <a:cubicBezTo>
                        <a:pt x="2720947" y="1196179"/>
                        <a:pt x="2724118" y="1196179"/>
                        <a:pt x="2727276" y="1196471"/>
                      </a:cubicBezTo>
                      <a:cubicBezTo>
                        <a:pt x="2734151" y="1196561"/>
                        <a:pt x="2730638" y="1195796"/>
                        <a:pt x="2736523" y="1199035"/>
                      </a:cubicBezTo>
                      <a:cubicBezTo>
                        <a:pt x="2742421" y="1202230"/>
                        <a:pt x="2736523" y="1199035"/>
                        <a:pt x="2742193" y="1203131"/>
                      </a:cubicBezTo>
                      <a:cubicBezTo>
                        <a:pt x="2747901" y="1207225"/>
                        <a:pt x="2746683" y="1205470"/>
                        <a:pt x="2751580" y="1209430"/>
                      </a:cubicBezTo>
                      <a:cubicBezTo>
                        <a:pt x="2756475" y="1213390"/>
                        <a:pt x="2756881" y="1213524"/>
                        <a:pt x="2758543" y="1215009"/>
                      </a:cubicBezTo>
                      <a:cubicBezTo>
                        <a:pt x="2760255" y="1216494"/>
                        <a:pt x="2763845" y="1215099"/>
                        <a:pt x="2766674" y="1213524"/>
                      </a:cubicBezTo>
                      <a:cubicBezTo>
                        <a:pt x="2769502" y="1211904"/>
                        <a:pt x="2771354" y="1213524"/>
                        <a:pt x="2776161" y="1215009"/>
                      </a:cubicBezTo>
                      <a:cubicBezTo>
                        <a:pt x="2781019" y="1216494"/>
                        <a:pt x="2781514" y="1218339"/>
                        <a:pt x="2787121" y="1217438"/>
                      </a:cubicBezTo>
                      <a:cubicBezTo>
                        <a:pt x="2792702" y="1216539"/>
                        <a:pt x="2789555" y="1219958"/>
                        <a:pt x="2792194" y="1226347"/>
                      </a:cubicBezTo>
                      <a:cubicBezTo>
                        <a:pt x="2794845" y="1232737"/>
                        <a:pt x="2793272" y="1229589"/>
                        <a:pt x="2800642" y="1236380"/>
                      </a:cubicBezTo>
                      <a:cubicBezTo>
                        <a:pt x="2808011" y="1243172"/>
                        <a:pt x="2801327" y="1239801"/>
                        <a:pt x="2805144" y="1245425"/>
                      </a:cubicBezTo>
                      <a:cubicBezTo>
                        <a:pt x="2810574" y="1258881"/>
                        <a:pt x="2815165" y="1272661"/>
                        <a:pt x="2818895" y="1286681"/>
                      </a:cubicBezTo>
                      <a:cubicBezTo>
                        <a:pt x="2819972" y="1292117"/>
                        <a:pt x="2821774" y="1297388"/>
                        <a:pt x="2824247" y="1302341"/>
                      </a:cubicBezTo>
                      <a:cubicBezTo>
                        <a:pt x="2827342" y="1306976"/>
                        <a:pt x="2849095" y="1374603"/>
                        <a:pt x="2849095" y="1374603"/>
                      </a:cubicBezTo>
                      <a:cubicBezTo>
                        <a:pt x="2851251" y="1376877"/>
                        <a:pt x="2853979" y="1378490"/>
                        <a:pt x="2856997" y="1379290"/>
                      </a:cubicBezTo>
                      <a:cubicBezTo>
                        <a:pt x="2861818" y="1379899"/>
                        <a:pt x="2866688" y="1379671"/>
                        <a:pt x="2871432" y="1378617"/>
                      </a:cubicBezTo>
                      <a:cubicBezTo>
                        <a:pt x="2877267" y="1378033"/>
                        <a:pt x="2875250" y="1380865"/>
                        <a:pt x="2878713" y="1384967"/>
                      </a:cubicBezTo>
                      <a:cubicBezTo>
                        <a:pt x="2882125" y="1389018"/>
                        <a:pt x="2883838" y="1384598"/>
                        <a:pt x="2893046" y="1383443"/>
                      </a:cubicBezTo>
                      <a:cubicBezTo>
                        <a:pt x="2902255" y="1382223"/>
                        <a:pt x="2896687" y="1388396"/>
                        <a:pt x="2902749" y="1391622"/>
                      </a:cubicBezTo>
                      <a:cubicBezTo>
                        <a:pt x="2906681" y="1394098"/>
                        <a:pt x="2909599" y="1397895"/>
                        <a:pt x="2910969" y="1402340"/>
                      </a:cubicBezTo>
                      <a:cubicBezTo>
                        <a:pt x="2913746" y="1404906"/>
                        <a:pt x="2917044" y="1406836"/>
                        <a:pt x="2920634" y="1408005"/>
                      </a:cubicBezTo>
                      <a:cubicBezTo>
                        <a:pt x="2924414" y="1408131"/>
                        <a:pt x="2927839" y="1410252"/>
                        <a:pt x="2929627" y="1413592"/>
                      </a:cubicBezTo>
                      <a:cubicBezTo>
                        <a:pt x="2931467" y="1417364"/>
                        <a:pt x="2927192" y="1416831"/>
                        <a:pt x="2928676" y="1423168"/>
                      </a:cubicBezTo>
                      <a:cubicBezTo>
                        <a:pt x="2930122" y="1429467"/>
                        <a:pt x="2932595" y="1427537"/>
                        <a:pt x="2932989" y="1435729"/>
                      </a:cubicBezTo>
                      <a:cubicBezTo>
                        <a:pt x="2932798" y="1441888"/>
                        <a:pt x="2934080" y="1448009"/>
                        <a:pt x="2936718" y="1453585"/>
                      </a:cubicBezTo>
                      <a:cubicBezTo>
                        <a:pt x="2939826" y="1460379"/>
                        <a:pt x="2942743" y="1458081"/>
                        <a:pt x="2947195" y="1457458"/>
                      </a:cubicBezTo>
                      <a:cubicBezTo>
                        <a:pt x="2951647" y="1456823"/>
                        <a:pt x="2950251" y="1457052"/>
                        <a:pt x="2955008" y="1460608"/>
                      </a:cubicBezTo>
                      <a:cubicBezTo>
                        <a:pt x="2959727" y="1464202"/>
                        <a:pt x="2960944" y="1459706"/>
                        <a:pt x="2967997" y="1458081"/>
                      </a:cubicBezTo>
                      <a:cubicBezTo>
                        <a:pt x="2975049" y="1456468"/>
                        <a:pt x="2973299" y="1458081"/>
                        <a:pt x="2978296" y="1458081"/>
                      </a:cubicBezTo>
                      <a:cubicBezTo>
                        <a:pt x="2983332" y="1458042"/>
                        <a:pt x="2986160" y="1452734"/>
                        <a:pt x="2988900" y="1449178"/>
                      </a:cubicBezTo>
                      <a:cubicBezTo>
                        <a:pt x="2990867" y="1446613"/>
                        <a:pt x="2993239" y="1444377"/>
                        <a:pt x="2995902" y="1442561"/>
                      </a:cubicBezTo>
                      <a:cubicBezTo>
                        <a:pt x="3000316" y="1438789"/>
                        <a:pt x="3000620" y="1442028"/>
                        <a:pt x="3005745" y="1441977"/>
                      </a:cubicBezTo>
                      <a:cubicBezTo>
                        <a:pt x="3010920" y="1441939"/>
                        <a:pt x="3009702" y="1439869"/>
                        <a:pt x="3012899" y="1435729"/>
                      </a:cubicBezTo>
                      <a:cubicBezTo>
                        <a:pt x="3016082" y="1431588"/>
                        <a:pt x="3024721" y="1432884"/>
                        <a:pt x="3029706" y="1431766"/>
                      </a:cubicBezTo>
                      <a:cubicBezTo>
                        <a:pt x="3033714" y="1430864"/>
                        <a:pt x="3037912" y="1431957"/>
                        <a:pt x="3040982" y="1434687"/>
                      </a:cubicBezTo>
                      <a:cubicBezTo>
                        <a:pt x="3044393" y="1436986"/>
                        <a:pt x="3042377" y="1446828"/>
                        <a:pt x="3043227" y="1455922"/>
                      </a:cubicBezTo>
                      <a:cubicBezTo>
                        <a:pt x="3044089" y="1464964"/>
                        <a:pt x="3039726" y="1465599"/>
                        <a:pt x="3033295" y="1470412"/>
                      </a:cubicBezTo>
                      <a:cubicBezTo>
                        <a:pt x="3026877" y="1475188"/>
                        <a:pt x="3023097" y="1501007"/>
                        <a:pt x="3020991" y="1510239"/>
                      </a:cubicBezTo>
                      <a:cubicBezTo>
                        <a:pt x="3018822" y="1519460"/>
                        <a:pt x="3019901" y="1516043"/>
                        <a:pt x="3017884" y="1523232"/>
                      </a:cubicBezTo>
                      <a:cubicBezTo>
                        <a:pt x="3015867" y="1530433"/>
                        <a:pt x="3015055" y="1529442"/>
                        <a:pt x="3010958" y="1532109"/>
                      </a:cubicBezTo>
                      <a:cubicBezTo>
                        <a:pt x="3006823" y="1534763"/>
                        <a:pt x="3006519" y="1545012"/>
                        <a:pt x="3003589" y="1551362"/>
                      </a:cubicBezTo>
                      <a:cubicBezTo>
                        <a:pt x="3000672" y="1557699"/>
                        <a:pt x="2997932" y="1563237"/>
                        <a:pt x="2995902" y="1568050"/>
                      </a:cubicBezTo>
                      <a:cubicBezTo>
                        <a:pt x="2995141" y="1569904"/>
                        <a:pt x="2993441" y="1569498"/>
                        <a:pt x="2991640" y="1568329"/>
                      </a:cubicBezTo>
                      <a:cubicBezTo>
                        <a:pt x="2989218" y="1578083"/>
                        <a:pt x="2979375" y="1594059"/>
                        <a:pt x="2975049" y="1584573"/>
                      </a:cubicBezTo>
                      <a:cubicBezTo>
                        <a:pt x="2969316" y="1577397"/>
                        <a:pt x="2968250" y="1567555"/>
                        <a:pt x="2972309" y="1559325"/>
                      </a:cubicBezTo>
                      <a:cubicBezTo>
                        <a:pt x="2970331" y="1557280"/>
                        <a:pt x="2967565" y="1556175"/>
                        <a:pt x="2964724" y="1556264"/>
                      </a:cubicBezTo>
                      <a:cubicBezTo>
                        <a:pt x="2959917" y="1557344"/>
                        <a:pt x="2962606" y="1559058"/>
                        <a:pt x="2958560" y="1562475"/>
                      </a:cubicBezTo>
                      <a:cubicBezTo>
                        <a:pt x="2954526" y="1565891"/>
                        <a:pt x="2953664" y="1568952"/>
                        <a:pt x="2951419" y="1568774"/>
                      </a:cubicBezTo>
                      <a:cubicBezTo>
                        <a:pt x="2949174" y="1568596"/>
                        <a:pt x="2948679" y="1569714"/>
                        <a:pt x="2944899" y="1571022"/>
                      </a:cubicBezTo>
                      <a:cubicBezTo>
                        <a:pt x="2941132" y="1572368"/>
                        <a:pt x="2942210" y="1565396"/>
                        <a:pt x="2941132" y="1572368"/>
                      </a:cubicBezTo>
                      <a:cubicBezTo>
                        <a:pt x="2940092" y="1579353"/>
                        <a:pt x="2944543" y="1619028"/>
                        <a:pt x="2944988" y="1624933"/>
                      </a:cubicBezTo>
                      <a:cubicBezTo>
                        <a:pt x="2946548" y="1630699"/>
                        <a:pt x="2946307" y="1636795"/>
                        <a:pt x="2944316" y="1642434"/>
                      </a:cubicBezTo>
                      <a:cubicBezTo>
                        <a:pt x="2941132" y="1650130"/>
                        <a:pt x="2940446" y="1658093"/>
                        <a:pt x="2935145" y="1657864"/>
                      </a:cubicBezTo>
                      <a:cubicBezTo>
                        <a:pt x="2931200" y="1657852"/>
                        <a:pt x="2927268" y="1658182"/>
                        <a:pt x="2923374" y="1658855"/>
                      </a:cubicBezTo>
                      <a:lnTo>
                        <a:pt x="2923514" y="1658995"/>
                      </a:lnTo>
                      <a:cubicBezTo>
                        <a:pt x="2924693" y="1660061"/>
                        <a:pt x="2925784" y="1661217"/>
                        <a:pt x="2926786" y="1662462"/>
                      </a:cubicBezTo>
                      <a:cubicBezTo>
                        <a:pt x="2928815" y="1665154"/>
                        <a:pt x="2924769" y="1667415"/>
                        <a:pt x="2928676" y="1672711"/>
                      </a:cubicBezTo>
                      <a:cubicBezTo>
                        <a:pt x="2929208" y="1673435"/>
                        <a:pt x="2929703" y="1674184"/>
                        <a:pt x="2930160" y="1674958"/>
                      </a:cubicBezTo>
                      <a:cubicBezTo>
                        <a:pt x="2933280" y="1673282"/>
                        <a:pt x="2935627" y="1670437"/>
                        <a:pt x="2936679" y="1667046"/>
                      </a:cubicBezTo>
                      <a:cubicBezTo>
                        <a:pt x="2935462" y="1663440"/>
                        <a:pt x="2925797" y="1660976"/>
                        <a:pt x="2935551" y="1660074"/>
                      </a:cubicBezTo>
                      <a:cubicBezTo>
                        <a:pt x="2936502" y="1661103"/>
                        <a:pt x="2934916" y="1661065"/>
                        <a:pt x="2934473" y="1661827"/>
                      </a:cubicBezTo>
                      <a:cubicBezTo>
                        <a:pt x="2936629" y="1660976"/>
                        <a:pt x="2941487" y="1663490"/>
                        <a:pt x="2937352" y="1662411"/>
                      </a:cubicBezTo>
                      <a:cubicBezTo>
                        <a:pt x="2931238" y="1665510"/>
                        <a:pt x="2946294" y="1659668"/>
                        <a:pt x="2944100" y="1663224"/>
                      </a:cubicBezTo>
                      <a:cubicBezTo>
                        <a:pt x="2946700" y="1665738"/>
                        <a:pt x="2947195" y="1667224"/>
                        <a:pt x="2946434" y="1662462"/>
                      </a:cubicBezTo>
                      <a:cubicBezTo>
                        <a:pt x="2946878" y="1657382"/>
                        <a:pt x="2950340" y="1656924"/>
                        <a:pt x="2953892" y="1652924"/>
                      </a:cubicBezTo>
                      <a:cubicBezTo>
                        <a:pt x="2952002" y="1654042"/>
                        <a:pt x="2958205" y="1640681"/>
                        <a:pt x="2962162" y="1641265"/>
                      </a:cubicBezTo>
                      <a:cubicBezTo>
                        <a:pt x="2960132" y="1640503"/>
                        <a:pt x="2963507" y="1633302"/>
                        <a:pt x="2964496" y="1636579"/>
                      </a:cubicBezTo>
                      <a:cubicBezTo>
                        <a:pt x="2973350" y="1637176"/>
                        <a:pt x="2967819" y="1637176"/>
                        <a:pt x="2964547" y="1644948"/>
                      </a:cubicBezTo>
                      <a:cubicBezTo>
                        <a:pt x="2967147" y="1646307"/>
                        <a:pt x="2971866" y="1642294"/>
                        <a:pt x="2976851" y="1637671"/>
                      </a:cubicBezTo>
                      <a:cubicBezTo>
                        <a:pt x="2982241" y="1629111"/>
                        <a:pt x="2972677" y="1662500"/>
                        <a:pt x="2980047" y="1651476"/>
                      </a:cubicBezTo>
                      <a:cubicBezTo>
                        <a:pt x="2983420" y="1648644"/>
                        <a:pt x="2985983" y="1658906"/>
                        <a:pt x="2989839" y="1652022"/>
                      </a:cubicBezTo>
                      <a:cubicBezTo>
                        <a:pt x="3060084" y="1678705"/>
                        <a:pt x="3171718" y="1470819"/>
                        <a:pt x="3203581" y="1403636"/>
                      </a:cubicBezTo>
                      <a:cubicBezTo>
                        <a:pt x="3216696" y="1379023"/>
                        <a:pt x="3203124" y="1318241"/>
                        <a:pt x="3221326" y="1293133"/>
                      </a:cubicBezTo>
                      <a:cubicBezTo>
                        <a:pt x="3227084" y="1281119"/>
                        <a:pt x="3233325" y="1271708"/>
                        <a:pt x="3238715" y="1262043"/>
                      </a:cubicBezTo>
                      <a:cubicBezTo>
                        <a:pt x="3223393" y="1246471"/>
                        <a:pt x="3239971" y="1234771"/>
                        <a:pt x="3216480" y="1217493"/>
                      </a:cubicBezTo>
                      <a:cubicBezTo>
                        <a:pt x="3222049" y="1216008"/>
                        <a:pt x="3226907" y="1229050"/>
                        <a:pt x="3231523" y="1221768"/>
                      </a:cubicBezTo>
                      <a:cubicBezTo>
                        <a:pt x="3225550" y="1220237"/>
                        <a:pt x="3234441" y="1219967"/>
                        <a:pt x="3234441" y="1219383"/>
                      </a:cubicBezTo>
                      <a:cubicBezTo>
                        <a:pt x="3240821" y="1209664"/>
                        <a:pt x="3225498" y="1206514"/>
                        <a:pt x="3222226" y="1200889"/>
                      </a:cubicBezTo>
                      <a:cubicBezTo>
                        <a:pt x="3234086" y="1200484"/>
                        <a:pt x="3209554" y="1197154"/>
                        <a:pt x="3210760" y="1189236"/>
                      </a:cubicBezTo>
                      <a:cubicBezTo>
                        <a:pt x="3203758" y="1178347"/>
                        <a:pt x="3196464" y="1171012"/>
                        <a:pt x="3189995" y="1161423"/>
                      </a:cubicBezTo>
                      <a:cubicBezTo>
                        <a:pt x="3149508" y="1167858"/>
                        <a:pt x="3168471" y="1158502"/>
                        <a:pt x="3153287" y="1197690"/>
                      </a:cubicBezTo>
                      <a:cubicBezTo>
                        <a:pt x="3148518" y="1200840"/>
                        <a:pt x="3141237" y="1199175"/>
                        <a:pt x="3148974" y="1194450"/>
                      </a:cubicBezTo>
                      <a:cubicBezTo>
                        <a:pt x="3170360" y="1152379"/>
                        <a:pt x="3135086" y="1212852"/>
                        <a:pt x="3116707" y="1195574"/>
                      </a:cubicBezTo>
                      <a:cubicBezTo>
                        <a:pt x="3125243" y="1190761"/>
                        <a:pt x="3127488" y="1184906"/>
                        <a:pt x="3135136" y="1177397"/>
                      </a:cubicBezTo>
                      <a:cubicBezTo>
                        <a:pt x="3129149" y="1182705"/>
                        <a:pt x="3111722" y="1166911"/>
                        <a:pt x="3123670" y="1169972"/>
                      </a:cubicBezTo>
                      <a:cubicBezTo>
                        <a:pt x="3123264" y="1174697"/>
                        <a:pt x="3125192" y="1167543"/>
                        <a:pt x="3127132" y="1166777"/>
                      </a:cubicBezTo>
                      <a:cubicBezTo>
                        <a:pt x="3133868" y="1158093"/>
                        <a:pt x="3129834" y="1162008"/>
                        <a:pt x="3121869" y="1160883"/>
                      </a:cubicBezTo>
                      <a:cubicBezTo>
                        <a:pt x="3116846" y="1164482"/>
                        <a:pt x="3107713" y="1172402"/>
                        <a:pt x="3118901" y="1174111"/>
                      </a:cubicBezTo>
                      <a:cubicBezTo>
                        <a:pt x="3100395" y="1206734"/>
                        <a:pt x="3100711" y="1161828"/>
                        <a:pt x="3106141" y="1154853"/>
                      </a:cubicBezTo>
                      <a:cubicBezTo>
                        <a:pt x="3113421" y="1132850"/>
                        <a:pt x="3065830" y="1158093"/>
                        <a:pt x="3058866" y="1135821"/>
                      </a:cubicBezTo>
                      <a:cubicBezTo>
                        <a:pt x="3060528" y="1134246"/>
                        <a:pt x="3062241" y="1132625"/>
                        <a:pt x="3063902" y="1131006"/>
                      </a:cubicBezTo>
                      <a:lnTo>
                        <a:pt x="3064130" y="1131050"/>
                      </a:lnTo>
                      <a:cubicBezTo>
                        <a:pt x="3064219" y="1130916"/>
                        <a:pt x="3064257" y="1130736"/>
                        <a:pt x="3064346" y="1130601"/>
                      </a:cubicBezTo>
                      <a:cubicBezTo>
                        <a:pt x="3076713" y="1118856"/>
                        <a:pt x="3089423" y="1106888"/>
                        <a:pt x="3101510" y="1095009"/>
                      </a:cubicBezTo>
                      <a:cubicBezTo>
                        <a:pt x="3105239" y="1091769"/>
                        <a:pt x="3108880" y="1088484"/>
                        <a:pt x="3112483" y="1085109"/>
                      </a:cubicBezTo>
                      <a:cubicBezTo>
                        <a:pt x="3124393" y="1073815"/>
                        <a:pt x="3135314" y="1061397"/>
                        <a:pt x="3146184" y="1049022"/>
                      </a:cubicBezTo>
                      <a:cubicBezTo>
                        <a:pt x="3159211" y="1034174"/>
                        <a:pt x="3171718" y="1018831"/>
                        <a:pt x="3184478" y="1003711"/>
                      </a:cubicBezTo>
                      <a:cubicBezTo>
                        <a:pt x="3196832" y="989133"/>
                        <a:pt x="3215618" y="979909"/>
                        <a:pt x="3220513" y="958986"/>
                      </a:cubicBezTo>
                      <a:cubicBezTo>
                        <a:pt x="3220615" y="958676"/>
                        <a:pt x="3220692" y="958361"/>
                        <a:pt x="3220742" y="958041"/>
                      </a:cubicBezTo>
                      <a:cubicBezTo>
                        <a:pt x="3221820" y="952867"/>
                        <a:pt x="3227972" y="948682"/>
                        <a:pt x="3231980" y="944183"/>
                      </a:cubicBezTo>
                      <a:cubicBezTo>
                        <a:pt x="3239971" y="935272"/>
                        <a:pt x="3248736" y="926949"/>
                        <a:pt x="3256068" y="917500"/>
                      </a:cubicBezTo>
                      <a:cubicBezTo>
                        <a:pt x="3265251" y="904488"/>
                        <a:pt x="3279470" y="895933"/>
                        <a:pt x="3295249" y="893921"/>
                      </a:cubicBezTo>
                      <a:cubicBezTo>
                        <a:pt x="3316000" y="891942"/>
                        <a:pt x="3336840" y="891131"/>
                        <a:pt x="3357667" y="891492"/>
                      </a:cubicBezTo>
                      <a:cubicBezTo>
                        <a:pt x="3362082" y="891537"/>
                        <a:pt x="3366344" y="897881"/>
                        <a:pt x="3370884" y="901076"/>
                      </a:cubicBezTo>
                      <a:cubicBezTo>
                        <a:pt x="3372356" y="901803"/>
                        <a:pt x="3373967" y="902231"/>
                        <a:pt x="3375603" y="902336"/>
                      </a:cubicBezTo>
                      <a:cubicBezTo>
                        <a:pt x="3375743" y="902381"/>
                        <a:pt x="3375831" y="902381"/>
                        <a:pt x="3375958" y="902426"/>
                      </a:cubicBezTo>
                      <a:cubicBezTo>
                        <a:pt x="3377899" y="899411"/>
                        <a:pt x="3379916" y="896396"/>
                        <a:pt x="3381362" y="894147"/>
                      </a:cubicBezTo>
                      <a:cubicBezTo>
                        <a:pt x="3381895" y="893337"/>
                        <a:pt x="3382338" y="892623"/>
                        <a:pt x="3382706" y="892077"/>
                      </a:cubicBezTo>
                      <a:cubicBezTo>
                        <a:pt x="3404853" y="893474"/>
                        <a:pt x="3425173" y="894731"/>
                        <a:pt x="3442703" y="895811"/>
                      </a:cubicBezTo>
                      <a:lnTo>
                        <a:pt x="3444453" y="895947"/>
                      </a:lnTo>
                      <a:cubicBezTo>
                        <a:pt x="3445709" y="894731"/>
                        <a:pt x="3446927" y="893562"/>
                        <a:pt x="3448131" y="892391"/>
                      </a:cubicBezTo>
                      <a:lnTo>
                        <a:pt x="3453256" y="887396"/>
                      </a:lnTo>
                      <a:cubicBezTo>
                        <a:pt x="3457023" y="883713"/>
                        <a:pt x="3460765" y="880062"/>
                        <a:pt x="3464532" y="876553"/>
                      </a:cubicBezTo>
                      <a:cubicBezTo>
                        <a:pt x="3465965" y="875203"/>
                        <a:pt x="3467411" y="873853"/>
                        <a:pt x="3468844" y="872547"/>
                      </a:cubicBezTo>
                      <a:cubicBezTo>
                        <a:pt x="3489925" y="876535"/>
                        <a:pt x="3510690" y="882010"/>
                        <a:pt x="3530997" y="888930"/>
                      </a:cubicBezTo>
                      <a:cubicBezTo>
                        <a:pt x="3536261" y="893609"/>
                        <a:pt x="3541512" y="898289"/>
                        <a:pt x="3547854" y="903958"/>
                      </a:cubicBezTo>
                      <a:cubicBezTo>
                        <a:pt x="3546002" y="904409"/>
                        <a:pt x="3544252" y="904858"/>
                        <a:pt x="3542464" y="905308"/>
                      </a:cubicBezTo>
                      <a:cubicBezTo>
                        <a:pt x="3534409" y="907332"/>
                        <a:pt x="3526646" y="909268"/>
                        <a:pt x="3515319" y="912058"/>
                      </a:cubicBezTo>
                      <a:cubicBezTo>
                        <a:pt x="3515675" y="912242"/>
                        <a:pt x="3516017" y="912456"/>
                        <a:pt x="3516347" y="912693"/>
                      </a:cubicBezTo>
                      <a:cubicBezTo>
                        <a:pt x="3523716" y="917057"/>
                        <a:pt x="3527407" y="920702"/>
                        <a:pt x="3529919" y="920072"/>
                      </a:cubicBezTo>
                      <a:cubicBezTo>
                        <a:pt x="3534904" y="918767"/>
                        <a:pt x="3540117" y="917913"/>
                        <a:pt x="3545292" y="917102"/>
                      </a:cubicBezTo>
                      <a:cubicBezTo>
                        <a:pt x="3545875" y="917012"/>
                        <a:pt x="3546408" y="916967"/>
                        <a:pt x="3546992" y="916832"/>
                      </a:cubicBezTo>
                      <a:cubicBezTo>
                        <a:pt x="3555490" y="915956"/>
                        <a:pt x="3563811" y="913818"/>
                        <a:pt x="3571675" y="910488"/>
                      </a:cubicBezTo>
                      <a:cubicBezTo>
                        <a:pt x="3573844" y="909503"/>
                        <a:pt x="3575937" y="908328"/>
                        <a:pt x="3577916" y="906978"/>
                      </a:cubicBezTo>
                      <a:cubicBezTo>
                        <a:pt x="3580554" y="905088"/>
                        <a:pt x="3582964" y="902899"/>
                        <a:pt x="3585108" y="900454"/>
                      </a:cubicBezTo>
                      <a:cubicBezTo>
                        <a:pt x="3590511" y="904937"/>
                        <a:pt x="3597373" y="907289"/>
                        <a:pt x="3604388" y="907068"/>
                      </a:cubicBezTo>
                      <a:cubicBezTo>
                        <a:pt x="3605364" y="907069"/>
                        <a:pt x="3606341" y="906979"/>
                        <a:pt x="3607305" y="906798"/>
                      </a:cubicBezTo>
                      <a:cubicBezTo>
                        <a:pt x="3613558" y="905618"/>
                        <a:pt x="3619634" y="903668"/>
                        <a:pt x="3625418" y="900994"/>
                      </a:cubicBezTo>
                      <a:cubicBezTo>
                        <a:pt x="3626902" y="900359"/>
                        <a:pt x="3628386" y="899778"/>
                        <a:pt x="3629908" y="899239"/>
                      </a:cubicBezTo>
                      <a:cubicBezTo>
                        <a:pt x="3625684" y="881555"/>
                        <a:pt x="3611390" y="892354"/>
                        <a:pt x="3603259" y="886865"/>
                      </a:cubicBezTo>
                      <a:cubicBezTo>
                        <a:pt x="3603246" y="881102"/>
                        <a:pt x="3604096" y="875369"/>
                        <a:pt x="3605770" y="869857"/>
                      </a:cubicBezTo>
                      <a:cubicBezTo>
                        <a:pt x="3605821" y="869658"/>
                        <a:pt x="3605885" y="869462"/>
                        <a:pt x="3605960" y="869272"/>
                      </a:cubicBezTo>
                      <a:cubicBezTo>
                        <a:pt x="3609195" y="859385"/>
                        <a:pt x="3614535" y="850314"/>
                        <a:pt x="3621600" y="842679"/>
                      </a:cubicBezTo>
                      <a:cubicBezTo>
                        <a:pt x="3623972" y="840024"/>
                        <a:pt x="3626445" y="837459"/>
                        <a:pt x="3629058" y="835030"/>
                      </a:cubicBezTo>
                      <a:cubicBezTo>
                        <a:pt x="3635147" y="829321"/>
                        <a:pt x="3640905" y="823267"/>
                        <a:pt x="3646309" y="816896"/>
                      </a:cubicBezTo>
                      <a:cubicBezTo>
                        <a:pt x="3657433" y="803741"/>
                        <a:pt x="3666997" y="789335"/>
                        <a:pt x="3674798" y="773970"/>
                      </a:cubicBezTo>
                      <a:cubicBezTo>
                        <a:pt x="3675749" y="772155"/>
                        <a:pt x="3676802" y="770397"/>
                        <a:pt x="3677943" y="768706"/>
                      </a:cubicBezTo>
                      <a:lnTo>
                        <a:pt x="3677943" y="768661"/>
                      </a:lnTo>
                      <a:cubicBezTo>
                        <a:pt x="3678578" y="767984"/>
                        <a:pt x="3679212" y="767354"/>
                        <a:pt x="3679834" y="766771"/>
                      </a:cubicBezTo>
                      <a:cubicBezTo>
                        <a:pt x="3680468" y="766186"/>
                        <a:pt x="3681140" y="765600"/>
                        <a:pt x="3681812" y="765061"/>
                      </a:cubicBezTo>
                      <a:cubicBezTo>
                        <a:pt x="3682332" y="764616"/>
                        <a:pt x="3682890" y="764211"/>
                        <a:pt x="3683474" y="763846"/>
                      </a:cubicBezTo>
                      <a:cubicBezTo>
                        <a:pt x="3685300" y="762602"/>
                        <a:pt x="3687304" y="761632"/>
                        <a:pt x="3689410" y="760966"/>
                      </a:cubicBezTo>
                      <a:cubicBezTo>
                        <a:pt x="3689981" y="760734"/>
                        <a:pt x="3690589" y="760567"/>
                        <a:pt x="3691211" y="760471"/>
                      </a:cubicBezTo>
                      <a:cubicBezTo>
                        <a:pt x="3691338" y="760407"/>
                        <a:pt x="3691465" y="760362"/>
                        <a:pt x="3691604" y="760336"/>
                      </a:cubicBezTo>
                      <a:cubicBezTo>
                        <a:pt x="3692530" y="760118"/>
                        <a:pt x="3693456" y="759967"/>
                        <a:pt x="3694394" y="759887"/>
                      </a:cubicBezTo>
                      <a:cubicBezTo>
                        <a:pt x="3695447" y="759756"/>
                        <a:pt x="3696500" y="759696"/>
                        <a:pt x="3697541" y="759706"/>
                      </a:cubicBezTo>
                      <a:cubicBezTo>
                        <a:pt x="3700965" y="759753"/>
                        <a:pt x="3704352" y="760223"/>
                        <a:pt x="3707662" y="761103"/>
                      </a:cubicBezTo>
                      <a:cubicBezTo>
                        <a:pt x="3713459" y="753634"/>
                        <a:pt x="3726943" y="761103"/>
                        <a:pt x="3732371" y="751654"/>
                      </a:cubicBezTo>
                      <a:cubicBezTo>
                        <a:pt x="3746261" y="745895"/>
                        <a:pt x="3744104" y="761239"/>
                        <a:pt x="3749546" y="758044"/>
                      </a:cubicBezTo>
                      <a:cubicBezTo>
                        <a:pt x="3748822" y="760577"/>
                        <a:pt x="3748848" y="763266"/>
                        <a:pt x="3749635" y="765783"/>
                      </a:cubicBezTo>
                      <a:cubicBezTo>
                        <a:pt x="3749723" y="765929"/>
                        <a:pt x="3749824" y="766064"/>
                        <a:pt x="3749939" y="766188"/>
                      </a:cubicBezTo>
                      <a:cubicBezTo>
                        <a:pt x="3750256" y="766524"/>
                        <a:pt x="3750700" y="766704"/>
                        <a:pt x="3751157" y="766684"/>
                      </a:cubicBezTo>
                      <a:cubicBezTo>
                        <a:pt x="3751461" y="766685"/>
                        <a:pt x="3751778" y="766623"/>
                        <a:pt x="3752057" y="766503"/>
                      </a:cubicBezTo>
                      <a:cubicBezTo>
                        <a:pt x="3752399" y="766399"/>
                        <a:pt x="3752729" y="766263"/>
                        <a:pt x="3753046" y="766098"/>
                      </a:cubicBezTo>
                      <a:cubicBezTo>
                        <a:pt x="3757942" y="762585"/>
                        <a:pt x="3762458" y="758575"/>
                        <a:pt x="3766529" y="754130"/>
                      </a:cubicBezTo>
                      <a:cubicBezTo>
                        <a:pt x="3767291" y="753410"/>
                        <a:pt x="3768014" y="752690"/>
                        <a:pt x="3768737" y="752104"/>
                      </a:cubicBezTo>
                      <a:cubicBezTo>
                        <a:pt x="3770170" y="751342"/>
                        <a:pt x="3771603" y="750580"/>
                        <a:pt x="3772999" y="749810"/>
                      </a:cubicBezTo>
                      <a:cubicBezTo>
                        <a:pt x="3773036" y="749879"/>
                        <a:pt x="3773050" y="749958"/>
                        <a:pt x="3773050" y="750035"/>
                      </a:cubicBezTo>
                      <a:cubicBezTo>
                        <a:pt x="3773227" y="750518"/>
                        <a:pt x="3773354" y="751014"/>
                        <a:pt x="3773455" y="751520"/>
                      </a:cubicBezTo>
                      <a:cubicBezTo>
                        <a:pt x="3773658" y="752394"/>
                        <a:pt x="3773811" y="753280"/>
                        <a:pt x="3773899" y="754174"/>
                      </a:cubicBezTo>
                      <a:cubicBezTo>
                        <a:pt x="3773937" y="754367"/>
                        <a:pt x="3773950" y="754563"/>
                        <a:pt x="3773950" y="754760"/>
                      </a:cubicBezTo>
                      <a:cubicBezTo>
                        <a:pt x="3773988" y="755395"/>
                        <a:pt x="3774026" y="756019"/>
                        <a:pt x="3774026" y="756649"/>
                      </a:cubicBezTo>
                      <a:cubicBezTo>
                        <a:pt x="3772885" y="768973"/>
                        <a:pt x="3767215" y="780434"/>
                        <a:pt x="3758120" y="788821"/>
                      </a:cubicBezTo>
                      <a:cubicBezTo>
                        <a:pt x="3753402" y="793501"/>
                        <a:pt x="3764018" y="785671"/>
                        <a:pt x="3762306" y="799575"/>
                      </a:cubicBezTo>
                      <a:cubicBezTo>
                        <a:pt x="3752514" y="819598"/>
                        <a:pt x="3762357" y="803220"/>
                        <a:pt x="3773544" y="802681"/>
                      </a:cubicBezTo>
                      <a:cubicBezTo>
                        <a:pt x="3778123" y="804480"/>
                        <a:pt x="3768419" y="815459"/>
                        <a:pt x="3767836" y="815414"/>
                      </a:cubicBezTo>
                      <a:cubicBezTo>
                        <a:pt x="3774800" y="818788"/>
                        <a:pt x="3761405" y="832782"/>
                        <a:pt x="3770081" y="828328"/>
                      </a:cubicBezTo>
                      <a:cubicBezTo>
                        <a:pt x="3773227" y="821089"/>
                        <a:pt x="3774394" y="822029"/>
                        <a:pt x="3779430" y="820499"/>
                      </a:cubicBezTo>
                      <a:cubicBezTo>
                        <a:pt x="3780647" y="823783"/>
                        <a:pt x="3780964" y="819959"/>
                        <a:pt x="3782486" y="819193"/>
                      </a:cubicBezTo>
                      <a:cubicBezTo>
                        <a:pt x="3783920" y="819913"/>
                        <a:pt x="3785543" y="823288"/>
                        <a:pt x="3785581" y="819955"/>
                      </a:cubicBezTo>
                      <a:cubicBezTo>
                        <a:pt x="3787294" y="816490"/>
                        <a:pt x="3789247" y="813153"/>
                        <a:pt x="3791429" y="809965"/>
                      </a:cubicBezTo>
                      <a:cubicBezTo>
                        <a:pt x="3791975" y="809516"/>
                        <a:pt x="3792557" y="809111"/>
                        <a:pt x="3793002" y="808661"/>
                      </a:cubicBezTo>
                      <a:cubicBezTo>
                        <a:pt x="3799204" y="802406"/>
                        <a:pt x="3805051" y="795834"/>
                        <a:pt x="3811026" y="789357"/>
                      </a:cubicBezTo>
                      <a:cubicBezTo>
                        <a:pt x="3811927" y="788595"/>
                        <a:pt x="3812776" y="787833"/>
                        <a:pt x="3813677" y="787062"/>
                      </a:cubicBezTo>
                      <a:cubicBezTo>
                        <a:pt x="3814667" y="786207"/>
                        <a:pt x="3815605" y="785353"/>
                        <a:pt x="3816594" y="784452"/>
                      </a:cubicBezTo>
                      <a:cubicBezTo>
                        <a:pt x="3816696" y="784335"/>
                        <a:pt x="3816823" y="784230"/>
                        <a:pt x="3816950" y="784139"/>
                      </a:cubicBezTo>
                      <a:cubicBezTo>
                        <a:pt x="3817812" y="783328"/>
                        <a:pt x="3818661" y="782518"/>
                        <a:pt x="3819473" y="781663"/>
                      </a:cubicBezTo>
                      <a:cubicBezTo>
                        <a:pt x="3820475" y="780713"/>
                        <a:pt x="3821414" y="779708"/>
                        <a:pt x="3822302" y="778648"/>
                      </a:cubicBezTo>
                      <a:cubicBezTo>
                        <a:pt x="3822797" y="778139"/>
                        <a:pt x="3823266" y="777598"/>
                        <a:pt x="3823697" y="777029"/>
                      </a:cubicBezTo>
                      <a:cubicBezTo>
                        <a:pt x="3824598" y="775994"/>
                        <a:pt x="3825448" y="774913"/>
                        <a:pt x="3826298" y="773744"/>
                      </a:cubicBezTo>
                      <a:cubicBezTo>
                        <a:pt x="3827870" y="772259"/>
                        <a:pt x="3829405" y="770684"/>
                        <a:pt x="3831016" y="769244"/>
                      </a:cubicBezTo>
                      <a:cubicBezTo>
                        <a:pt x="3832031" y="768360"/>
                        <a:pt x="3833109" y="767563"/>
                        <a:pt x="3834263" y="766859"/>
                      </a:cubicBezTo>
                      <a:lnTo>
                        <a:pt x="3835329" y="767400"/>
                      </a:lnTo>
                      <a:cubicBezTo>
                        <a:pt x="3837130" y="768200"/>
                        <a:pt x="3838956" y="768906"/>
                        <a:pt x="3840821" y="769514"/>
                      </a:cubicBezTo>
                      <a:cubicBezTo>
                        <a:pt x="3840910" y="769545"/>
                        <a:pt x="3840999" y="769560"/>
                        <a:pt x="3841087" y="769559"/>
                      </a:cubicBezTo>
                      <a:lnTo>
                        <a:pt x="3841087" y="769525"/>
                      </a:lnTo>
                      <a:lnTo>
                        <a:pt x="3840999" y="769434"/>
                      </a:lnTo>
                      <a:cubicBezTo>
                        <a:pt x="3840770" y="769300"/>
                        <a:pt x="3840149" y="768985"/>
                        <a:pt x="3838969" y="768444"/>
                      </a:cubicBezTo>
                      <a:cubicBezTo>
                        <a:pt x="3832728" y="762235"/>
                        <a:pt x="3853087" y="762325"/>
                        <a:pt x="3844093" y="768805"/>
                      </a:cubicBezTo>
                      <a:cubicBezTo>
                        <a:pt x="3845984" y="770448"/>
                        <a:pt x="3847506" y="772472"/>
                        <a:pt x="3848545" y="774744"/>
                      </a:cubicBezTo>
                      <a:cubicBezTo>
                        <a:pt x="3850575" y="774744"/>
                        <a:pt x="3852148" y="771864"/>
                        <a:pt x="3850207" y="770694"/>
                      </a:cubicBezTo>
                      <a:cubicBezTo>
                        <a:pt x="3853175" y="765699"/>
                        <a:pt x="3855915" y="770335"/>
                        <a:pt x="3857222" y="764217"/>
                      </a:cubicBezTo>
                      <a:cubicBezTo>
                        <a:pt x="3856612" y="763924"/>
                        <a:pt x="3856029" y="763594"/>
                        <a:pt x="3855471" y="763228"/>
                      </a:cubicBezTo>
                      <a:cubicBezTo>
                        <a:pt x="3854418" y="762554"/>
                        <a:pt x="3853455" y="761752"/>
                        <a:pt x="3852592" y="760843"/>
                      </a:cubicBezTo>
                      <a:lnTo>
                        <a:pt x="3851653" y="759628"/>
                      </a:lnTo>
                      <a:cubicBezTo>
                        <a:pt x="3853315" y="759043"/>
                        <a:pt x="3854977" y="758413"/>
                        <a:pt x="3856549" y="757738"/>
                      </a:cubicBezTo>
                      <a:cubicBezTo>
                        <a:pt x="3851108" y="742349"/>
                        <a:pt x="3858388" y="726242"/>
                        <a:pt x="3862295" y="710358"/>
                      </a:cubicBezTo>
                      <a:cubicBezTo>
                        <a:pt x="3862435" y="709907"/>
                        <a:pt x="3862574" y="709412"/>
                        <a:pt x="3862663" y="708961"/>
                      </a:cubicBezTo>
                      <a:cubicBezTo>
                        <a:pt x="3862828" y="708784"/>
                        <a:pt x="3863006" y="708619"/>
                        <a:pt x="3863196" y="708467"/>
                      </a:cubicBezTo>
                      <a:cubicBezTo>
                        <a:pt x="3883021" y="698434"/>
                        <a:pt x="3901172" y="692852"/>
                        <a:pt x="3916355" y="713547"/>
                      </a:cubicBezTo>
                      <a:cubicBezTo>
                        <a:pt x="3916254" y="713737"/>
                        <a:pt x="3916140" y="713918"/>
                        <a:pt x="3916000" y="714087"/>
                      </a:cubicBezTo>
                      <a:cubicBezTo>
                        <a:pt x="3914833" y="714221"/>
                        <a:pt x="3913717" y="714357"/>
                        <a:pt x="3912677" y="714492"/>
                      </a:cubicBezTo>
                      <a:cubicBezTo>
                        <a:pt x="3905713" y="714375"/>
                        <a:pt x="3898851" y="716248"/>
                        <a:pt x="3892902" y="719892"/>
                      </a:cubicBezTo>
                      <a:lnTo>
                        <a:pt x="3892813" y="719936"/>
                      </a:lnTo>
                      <a:cubicBezTo>
                        <a:pt x="3890657" y="720603"/>
                        <a:pt x="3888640" y="721671"/>
                        <a:pt x="3886878" y="723086"/>
                      </a:cubicBezTo>
                      <a:lnTo>
                        <a:pt x="3886788" y="723130"/>
                      </a:lnTo>
                      <a:cubicBezTo>
                        <a:pt x="3885976" y="723850"/>
                        <a:pt x="3885215" y="724616"/>
                        <a:pt x="3884492" y="725425"/>
                      </a:cubicBezTo>
                      <a:cubicBezTo>
                        <a:pt x="3884404" y="725471"/>
                        <a:pt x="3884366" y="725515"/>
                        <a:pt x="3884404" y="725561"/>
                      </a:cubicBezTo>
                      <a:cubicBezTo>
                        <a:pt x="3884087" y="725931"/>
                        <a:pt x="3883782" y="726322"/>
                        <a:pt x="3883516" y="726731"/>
                      </a:cubicBezTo>
                      <a:cubicBezTo>
                        <a:pt x="3883415" y="726797"/>
                        <a:pt x="3883338" y="726891"/>
                        <a:pt x="3883288" y="727001"/>
                      </a:cubicBezTo>
                      <a:cubicBezTo>
                        <a:pt x="3883021" y="727405"/>
                        <a:pt x="3882704" y="727856"/>
                        <a:pt x="3882438" y="728350"/>
                      </a:cubicBezTo>
                      <a:cubicBezTo>
                        <a:pt x="3882121" y="728861"/>
                        <a:pt x="3881841" y="729386"/>
                        <a:pt x="3881575" y="729925"/>
                      </a:cubicBezTo>
                      <a:cubicBezTo>
                        <a:pt x="3880903" y="731328"/>
                        <a:pt x="3880345" y="732789"/>
                        <a:pt x="3879914" y="734290"/>
                      </a:cubicBezTo>
                      <a:lnTo>
                        <a:pt x="3879508" y="735774"/>
                      </a:lnTo>
                      <a:lnTo>
                        <a:pt x="3879381" y="736450"/>
                      </a:lnTo>
                      <a:cubicBezTo>
                        <a:pt x="3879241" y="737085"/>
                        <a:pt x="3879153" y="737754"/>
                        <a:pt x="3879064" y="738430"/>
                      </a:cubicBezTo>
                      <a:cubicBezTo>
                        <a:pt x="3878924" y="739249"/>
                        <a:pt x="3878835" y="740075"/>
                        <a:pt x="3878797" y="740904"/>
                      </a:cubicBezTo>
                      <a:cubicBezTo>
                        <a:pt x="3878746" y="741759"/>
                        <a:pt x="3878696" y="742615"/>
                        <a:pt x="3878696" y="743514"/>
                      </a:cubicBezTo>
                      <a:cubicBezTo>
                        <a:pt x="3878696" y="744911"/>
                        <a:pt x="3878797" y="746348"/>
                        <a:pt x="3878924" y="747789"/>
                      </a:cubicBezTo>
                      <a:cubicBezTo>
                        <a:pt x="3881943" y="762503"/>
                        <a:pt x="3869221" y="767498"/>
                        <a:pt x="3870071" y="780906"/>
                      </a:cubicBezTo>
                      <a:cubicBezTo>
                        <a:pt x="3877301" y="773707"/>
                        <a:pt x="3877351" y="787206"/>
                        <a:pt x="3874523" y="791390"/>
                      </a:cubicBezTo>
                      <a:cubicBezTo>
                        <a:pt x="3866519" y="795979"/>
                        <a:pt x="3864236" y="799354"/>
                        <a:pt x="3864236" y="802058"/>
                      </a:cubicBezTo>
                      <a:cubicBezTo>
                        <a:pt x="3864236" y="802408"/>
                        <a:pt x="3864274" y="802755"/>
                        <a:pt x="3864363" y="803092"/>
                      </a:cubicBezTo>
                      <a:cubicBezTo>
                        <a:pt x="3864414" y="803403"/>
                        <a:pt x="3864502" y="803707"/>
                        <a:pt x="3864629" y="803992"/>
                      </a:cubicBezTo>
                      <a:cubicBezTo>
                        <a:pt x="3864693" y="804203"/>
                        <a:pt x="3864782" y="804401"/>
                        <a:pt x="3864909" y="804578"/>
                      </a:cubicBezTo>
                      <a:cubicBezTo>
                        <a:pt x="3865847" y="806468"/>
                        <a:pt x="3867597" y="807997"/>
                        <a:pt x="3868231" y="809481"/>
                      </a:cubicBezTo>
                      <a:cubicBezTo>
                        <a:pt x="3865441" y="812588"/>
                        <a:pt x="3861800" y="814796"/>
                        <a:pt x="3857754" y="815831"/>
                      </a:cubicBezTo>
                      <a:cubicBezTo>
                        <a:pt x="3856765" y="816102"/>
                        <a:pt x="3855827" y="816506"/>
                        <a:pt x="3854837" y="816866"/>
                      </a:cubicBezTo>
                      <a:cubicBezTo>
                        <a:pt x="3854736" y="816808"/>
                        <a:pt x="3854609" y="816792"/>
                        <a:pt x="3854482" y="816822"/>
                      </a:cubicBezTo>
                      <a:cubicBezTo>
                        <a:pt x="3854216" y="816732"/>
                        <a:pt x="3853936" y="816732"/>
                        <a:pt x="3853670" y="816822"/>
                      </a:cubicBezTo>
                      <a:cubicBezTo>
                        <a:pt x="3853302" y="816929"/>
                        <a:pt x="3852947" y="817113"/>
                        <a:pt x="3852642" y="817362"/>
                      </a:cubicBezTo>
                      <a:lnTo>
                        <a:pt x="3852554" y="817452"/>
                      </a:lnTo>
                      <a:cubicBezTo>
                        <a:pt x="3852326" y="817653"/>
                        <a:pt x="3852122" y="817865"/>
                        <a:pt x="3851919" y="818087"/>
                      </a:cubicBezTo>
                      <a:lnTo>
                        <a:pt x="3851881" y="818087"/>
                      </a:lnTo>
                      <a:cubicBezTo>
                        <a:pt x="3849852" y="819076"/>
                        <a:pt x="3847836" y="820201"/>
                        <a:pt x="3845857" y="821416"/>
                      </a:cubicBezTo>
                      <a:cubicBezTo>
                        <a:pt x="3840427" y="823845"/>
                        <a:pt x="3835189" y="826673"/>
                        <a:pt x="3830166" y="829875"/>
                      </a:cubicBezTo>
                      <a:cubicBezTo>
                        <a:pt x="3829405" y="830370"/>
                        <a:pt x="3828644" y="830866"/>
                        <a:pt x="3827921" y="831399"/>
                      </a:cubicBezTo>
                      <a:cubicBezTo>
                        <a:pt x="3823177" y="833970"/>
                        <a:pt x="3819486" y="838126"/>
                        <a:pt x="3817495" y="843143"/>
                      </a:cubicBezTo>
                      <a:cubicBezTo>
                        <a:pt x="3817444" y="843455"/>
                        <a:pt x="3817419" y="843771"/>
                        <a:pt x="3817406" y="844088"/>
                      </a:cubicBezTo>
                      <a:cubicBezTo>
                        <a:pt x="3817419" y="844375"/>
                        <a:pt x="3817444" y="844660"/>
                        <a:pt x="3817495" y="844942"/>
                      </a:cubicBezTo>
                      <a:cubicBezTo>
                        <a:pt x="3774939" y="888544"/>
                        <a:pt x="3728020" y="985285"/>
                        <a:pt x="3677372" y="980561"/>
                      </a:cubicBezTo>
                      <a:cubicBezTo>
                        <a:pt x="3627676" y="1064298"/>
                        <a:pt x="3641426" y="1180432"/>
                        <a:pt x="3663534" y="1294860"/>
                      </a:cubicBezTo>
                      <a:cubicBezTo>
                        <a:pt x="3664384" y="1302239"/>
                        <a:pt x="3669381" y="1306557"/>
                        <a:pt x="3671132" y="1312005"/>
                      </a:cubicBezTo>
                      <a:cubicBezTo>
                        <a:pt x="3672298" y="1317314"/>
                        <a:pt x="3664790" y="1326216"/>
                        <a:pt x="3673288" y="1316501"/>
                      </a:cubicBezTo>
                      <a:cubicBezTo>
                        <a:pt x="3693684" y="1295711"/>
                        <a:pt x="3714271" y="1277804"/>
                        <a:pt x="3721057" y="1253282"/>
                      </a:cubicBezTo>
                      <a:cubicBezTo>
                        <a:pt x="3724241" y="1249726"/>
                        <a:pt x="3720334" y="1250361"/>
                        <a:pt x="3718228" y="1250942"/>
                      </a:cubicBezTo>
                      <a:cubicBezTo>
                        <a:pt x="3723746" y="1245768"/>
                        <a:pt x="3719256" y="1244733"/>
                        <a:pt x="3718228" y="1239468"/>
                      </a:cubicBezTo>
                      <a:cubicBezTo>
                        <a:pt x="3723936" y="1243659"/>
                        <a:pt x="3723480" y="1236229"/>
                        <a:pt x="3720422" y="1233844"/>
                      </a:cubicBezTo>
                      <a:cubicBezTo>
                        <a:pt x="3722579" y="1233574"/>
                        <a:pt x="3727792" y="1226149"/>
                        <a:pt x="3720613" y="1225925"/>
                      </a:cubicBezTo>
                      <a:cubicBezTo>
                        <a:pt x="3717645" y="1234384"/>
                        <a:pt x="3718228" y="1212021"/>
                        <a:pt x="3725369" y="1223720"/>
                      </a:cubicBezTo>
                      <a:cubicBezTo>
                        <a:pt x="3725103" y="1236320"/>
                        <a:pt x="3737914" y="1211212"/>
                        <a:pt x="3745461" y="1215846"/>
                      </a:cubicBezTo>
                      <a:cubicBezTo>
                        <a:pt x="3755799" y="1204957"/>
                        <a:pt x="3755075" y="1215665"/>
                        <a:pt x="3764652" y="1218861"/>
                      </a:cubicBezTo>
                      <a:cubicBezTo>
                        <a:pt x="3763790" y="1218275"/>
                        <a:pt x="3764373" y="1207117"/>
                        <a:pt x="3761900" y="1211930"/>
                      </a:cubicBezTo>
                      <a:cubicBezTo>
                        <a:pt x="3759845" y="1215980"/>
                        <a:pt x="3762357" y="1205226"/>
                        <a:pt x="3760733" y="1204691"/>
                      </a:cubicBezTo>
                      <a:cubicBezTo>
                        <a:pt x="3758133" y="1201897"/>
                        <a:pt x="3754898" y="1195917"/>
                        <a:pt x="3761545" y="1201008"/>
                      </a:cubicBezTo>
                      <a:cubicBezTo>
                        <a:pt x="3753503" y="1193089"/>
                        <a:pt x="3769054" y="1139093"/>
                        <a:pt x="3797720" y="1150118"/>
                      </a:cubicBezTo>
                      <a:cubicBezTo>
                        <a:pt x="3862118" y="1141659"/>
                        <a:pt x="3779746" y="1127980"/>
                        <a:pt x="3832285" y="1056977"/>
                      </a:cubicBezTo>
                      <a:cubicBezTo>
                        <a:pt x="3838665" y="1049147"/>
                        <a:pt x="3844994" y="1058866"/>
                        <a:pt x="3848647" y="1049597"/>
                      </a:cubicBezTo>
                      <a:cubicBezTo>
                        <a:pt x="3855966" y="1059991"/>
                        <a:pt x="3823520" y="1059496"/>
                        <a:pt x="3846123" y="1076100"/>
                      </a:cubicBezTo>
                      <a:cubicBezTo>
                        <a:pt x="3866266" y="1069306"/>
                        <a:pt x="3858617" y="1037178"/>
                        <a:pt x="3841937" y="1037989"/>
                      </a:cubicBezTo>
                      <a:cubicBezTo>
                        <a:pt x="3833363" y="1001721"/>
                        <a:pt x="3874700" y="991418"/>
                        <a:pt x="3842800" y="977199"/>
                      </a:cubicBezTo>
                      <a:cubicBezTo>
                        <a:pt x="3830522" y="967614"/>
                        <a:pt x="3837852" y="987683"/>
                        <a:pt x="3829760" y="989527"/>
                      </a:cubicBezTo>
                      <a:cubicBezTo>
                        <a:pt x="3810937" y="974948"/>
                        <a:pt x="3827427" y="939896"/>
                        <a:pt x="3839958" y="927073"/>
                      </a:cubicBezTo>
                      <a:cubicBezTo>
                        <a:pt x="3838703" y="924959"/>
                        <a:pt x="3843878" y="924193"/>
                        <a:pt x="3845032" y="920819"/>
                      </a:cubicBezTo>
                      <a:cubicBezTo>
                        <a:pt x="3844359" y="926083"/>
                        <a:pt x="3852097" y="921224"/>
                        <a:pt x="3849396" y="917039"/>
                      </a:cubicBezTo>
                      <a:cubicBezTo>
                        <a:pt x="3836318" y="911279"/>
                        <a:pt x="3855332" y="906371"/>
                        <a:pt x="3852719" y="916814"/>
                      </a:cubicBezTo>
                      <a:cubicBezTo>
                        <a:pt x="3861712" y="912496"/>
                        <a:pt x="3839908" y="902056"/>
                        <a:pt x="3856181" y="902146"/>
                      </a:cubicBezTo>
                      <a:cubicBezTo>
                        <a:pt x="3853087" y="909929"/>
                        <a:pt x="3858655" y="900975"/>
                        <a:pt x="3857399" y="896970"/>
                      </a:cubicBezTo>
                      <a:cubicBezTo>
                        <a:pt x="3855217" y="894806"/>
                        <a:pt x="3854216" y="891725"/>
                        <a:pt x="3854697" y="888691"/>
                      </a:cubicBezTo>
                      <a:cubicBezTo>
                        <a:pt x="3854837" y="888195"/>
                        <a:pt x="3855015" y="887712"/>
                        <a:pt x="3855243" y="887251"/>
                      </a:cubicBezTo>
                      <a:lnTo>
                        <a:pt x="3860089" y="887656"/>
                      </a:lnTo>
                      <a:cubicBezTo>
                        <a:pt x="3861648" y="880618"/>
                        <a:pt x="3864033" y="873790"/>
                        <a:pt x="3867192" y="867318"/>
                      </a:cubicBezTo>
                      <a:cubicBezTo>
                        <a:pt x="3867293" y="867274"/>
                        <a:pt x="3867381" y="867213"/>
                        <a:pt x="3867470" y="867138"/>
                      </a:cubicBezTo>
                      <a:cubicBezTo>
                        <a:pt x="3868320" y="866688"/>
                        <a:pt x="3868764" y="866283"/>
                        <a:pt x="3868764" y="865563"/>
                      </a:cubicBezTo>
                      <a:cubicBezTo>
                        <a:pt x="3868764" y="865394"/>
                        <a:pt x="3868726" y="865228"/>
                        <a:pt x="3868676" y="865068"/>
                      </a:cubicBezTo>
                      <a:cubicBezTo>
                        <a:pt x="3870210" y="863089"/>
                        <a:pt x="3872163" y="861475"/>
                        <a:pt x="3874383" y="860344"/>
                      </a:cubicBezTo>
                      <a:cubicBezTo>
                        <a:pt x="3881714" y="857205"/>
                        <a:pt x="3889465" y="855173"/>
                        <a:pt x="3897392" y="854315"/>
                      </a:cubicBezTo>
                      <a:cubicBezTo>
                        <a:pt x="3901172" y="857689"/>
                        <a:pt x="3904851" y="861109"/>
                        <a:pt x="3908897" y="864753"/>
                      </a:cubicBezTo>
                      <a:cubicBezTo>
                        <a:pt x="3909354" y="865158"/>
                        <a:pt x="3909848" y="865609"/>
                        <a:pt x="3910343" y="866059"/>
                      </a:cubicBezTo>
                      <a:cubicBezTo>
                        <a:pt x="3912030" y="861784"/>
                        <a:pt x="3914136" y="857686"/>
                        <a:pt x="3916622" y="853820"/>
                      </a:cubicBezTo>
                      <a:cubicBezTo>
                        <a:pt x="3921239" y="847735"/>
                        <a:pt x="3927251" y="842854"/>
                        <a:pt x="3934151" y="839596"/>
                      </a:cubicBezTo>
                      <a:cubicBezTo>
                        <a:pt x="3936359" y="838336"/>
                        <a:pt x="3938831" y="836986"/>
                        <a:pt x="3941622" y="835501"/>
                      </a:cubicBezTo>
                      <a:cubicBezTo>
                        <a:pt x="3943905" y="834286"/>
                        <a:pt x="3946379" y="832981"/>
                        <a:pt x="3949081" y="831541"/>
                      </a:cubicBezTo>
                      <a:cubicBezTo>
                        <a:pt x="3947724" y="842745"/>
                        <a:pt x="3946556" y="852735"/>
                        <a:pt x="3945402" y="862679"/>
                      </a:cubicBezTo>
                      <a:cubicBezTo>
                        <a:pt x="3946163" y="863314"/>
                        <a:pt x="3946873" y="863939"/>
                        <a:pt x="3947647" y="864613"/>
                      </a:cubicBezTo>
                      <a:cubicBezTo>
                        <a:pt x="3948408" y="865248"/>
                        <a:pt x="3949220" y="865919"/>
                        <a:pt x="3950019" y="866593"/>
                      </a:cubicBezTo>
                      <a:cubicBezTo>
                        <a:pt x="3952492" y="862275"/>
                        <a:pt x="3955372" y="858134"/>
                        <a:pt x="3957439" y="853590"/>
                      </a:cubicBezTo>
                      <a:cubicBezTo>
                        <a:pt x="3959431" y="849179"/>
                        <a:pt x="3962272" y="845204"/>
                        <a:pt x="3965798" y="841890"/>
                      </a:cubicBezTo>
                      <a:cubicBezTo>
                        <a:pt x="3967638" y="840129"/>
                        <a:pt x="3969641" y="838547"/>
                        <a:pt x="3971773" y="837166"/>
                      </a:cubicBezTo>
                      <a:cubicBezTo>
                        <a:pt x="3971950" y="837031"/>
                        <a:pt x="3972140" y="836941"/>
                        <a:pt x="3972318" y="836805"/>
                      </a:cubicBezTo>
                      <a:cubicBezTo>
                        <a:pt x="3979307" y="832702"/>
                        <a:pt x="3986778" y="829497"/>
                        <a:pt x="3994566" y="827266"/>
                      </a:cubicBezTo>
                      <a:cubicBezTo>
                        <a:pt x="4021799" y="818357"/>
                        <a:pt x="4036678" y="824883"/>
                        <a:pt x="4051417" y="850440"/>
                      </a:cubicBezTo>
                      <a:cubicBezTo>
                        <a:pt x="4053700" y="853492"/>
                        <a:pt x="4056541" y="856099"/>
                        <a:pt x="4059775" y="858134"/>
                      </a:cubicBezTo>
                      <a:cubicBezTo>
                        <a:pt x="4059915" y="858225"/>
                        <a:pt x="4060054" y="858331"/>
                        <a:pt x="4060169" y="858449"/>
                      </a:cubicBezTo>
                      <a:cubicBezTo>
                        <a:pt x="4064709" y="849541"/>
                        <a:pt x="4069783" y="840915"/>
                        <a:pt x="4075364" y="832621"/>
                      </a:cubicBezTo>
                      <a:cubicBezTo>
                        <a:pt x="4076252" y="831489"/>
                        <a:pt x="4077191" y="830407"/>
                        <a:pt x="4078192" y="829382"/>
                      </a:cubicBezTo>
                      <a:cubicBezTo>
                        <a:pt x="4081021" y="826502"/>
                        <a:pt x="4083952" y="823667"/>
                        <a:pt x="4086869" y="820873"/>
                      </a:cubicBezTo>
                      <a:cubicBezTo>
                        <a:pt x="4087008" y="820727"/>
                        <a:pt x="4087161" y="820593"/>
                        <a:pt x="4087313" y="820468"/>
                      </a:cubicBezTo>
                      <a:cubicBezTo>
                        <a:pt x="4088530" y="819254"/>
                        <a:pt x="4089786" y="818039"/>
                        <a:pt x="4091041" y="816869"/>
                      </a:cubicBezTo>
                      <a:cubicBezTo>
                        <a:pt x="4091448" y="816508"/>
                        <a:pt x="4091803" y="816149"/>
                        <a:pt x="4092209" y="815789"/>
                      </a:cubicBezTo>
                      <a:cubicBezTo>
                        <a:pt x="4097029" y="811244"/>
                        <a:pt x="4101913" y="806789"/>
                        <a:pt x="4106872" y="802425"/>
                      </a:cubicBezTo>
                      <a:cubicBezTo>
                        <a:pt x="4107049" y="802291"/>
                        <a:pt x="4107176" y="802110"/>
                        <a:pt x="4107353" y="801976"/>
                      </a:cubicBezTo>
                      <a:cubicBezTo>
                        <a:pt x="4108889" y="800626"/>
                        <a:pt x="4110411" y="799276"/>
                        <a:pt x="4111945" y="797970"/>
                      </a:cubicBezTo>
                      <a:lnTo>
                        <a:pt x="4112034" y="797881"/>
                      </a:lnTo>
                      <a:cubicBezTo>
                        <a:pt x="4112935" y="797119"/>
                        <a:pt x="4113836" y="796306"/>
                        <a:pt x="4114736" y="795541"/>
                      </a:cubicBezTo>
                      <a:lnTo>
                        <a:pt x="4117564" y="793111"/>
                      </a:lnTo>
                      <a:cubicBezTo>
                        <a:pt x="4119759" y="791266"/>
                        <a:pt x="4121915" y="789422"/>
                        <a:pt x="4124122" y="787622"/>
                      </a:cubicBezTo>
                      <a:cubicBezTo>
                        <a:pt x="4124287" y="787458"/>
                        <a:pt x="4124478" y="787308"/>
                        <a:pt x="4124667" y="787171"/>
                      </a:cubicBezTo>
                      <a:cubicBezTo>
                        <a:pt x="4126012" y="786047"/>
                        <a:pt x="4127357" y="784922"/>
                        <a:pt x="4128702" y="783843"/>
                      </a:cubicBezTo>
                      <a:cubicBezTo>
                        <a:pt x="4129652" y="783032"/>
                        <a:pt x="4130642" y="782222"/>
                        <a:pt x="4131581" y="781458"/>
                      </a:cubicBezTo>
                      <a:lnTo>
                        <a:pt x="4134142" y="779299"/>
                      </a:lnTo>
                      <a:cubicBezTo>
                        <a:pt x="4137821" y="776193"/>
                        <a:pt x="4141424" y="772999"/>
                        <a:pt x="4145064" y="769850"/>
                      </a:cubicBezTo>
                      <a:cubicBezTo>
                        <a:pt x="4147398" y="767780"/>
                        <a:pt x="4149833" y="765755"/>
                        <a:pt x="4152294" y="763820"/>
                      </a:cubicBezTo>
                      <a:cubicBezTo>
                        <a:pt x="4155630" y="761082"/>
                        <a:pt x="4159169" y="758615"/>
                        <a:pt x="4162898" y="756441"/>
                      </a:cubicBezTo>
                      <a:cubicBezTo>
                        <a:pt x="4163075" y="756305"/>
                        <a:pt x="4163253" y="756185"/>
                        <a:pt x="4163443" y="756080"/>
                      </a:cubicBezTo>
                      <a:cubicBezTo>
                        <a:pt x="4165587" y="754708"/>
                        <a:pt x="4167819" y="753490"/>
                        <a:pt x="4170140" y="752436"/>
                      </a:cubicBezTo>
                      <a:cubicBezTo>
                        <a:pt x="4173007" y="751087"/>
                        <a:pt x="4175886" y="749737"/>
                        <a:pt x="4178765" y="748341"/>
                      </a:cubicBezTo>
                      <a:cubicBezTo>
                        <a:pt x="4179070" y="748209"/>
                        <a:pt x="4179375" y="748059"/>
                        <a:pt x="4179666" y="747891"/>
                      </a:cubicBezTo>
                      <a:cubicBezTo>
                        <a:pt x="4184917" y="745327"/>
                        <a:pt x="4190130" y="742717"/>
                        <a:pt x="4195306" y="739972"/>
                      </a:cubicBezTo>
                      <a:cubicBezTo>
                        <a:pt x="4196600" y="739297"/>
                        <a:pt x="4197906" y="738622"/>
                        <a:pt x="4199213" y="737903"/>
                      </a:cubicBezTo>
                      <a:cubicBezTo>
                        <a:pt x="4210718" y="731738"/>
                        <a:pt x="4221994" y="725169"/>
                        <a:pt x="4233003" y="718284"/>
                      </a:cubicBezTo>
                      <a:cubicBezTo>
                        <a:pt x="4237519" y="715291"/>
                        <a:pt x="4241604" y="711686"/>
                        <a:pt x="4245142" y="707575"/>
                      </a:cubicBezTo>
                      <a:cubicBezTo>
                        <a:pt x="4246981" y="705595"/>
                        <a:pt x="4248694" y="703571"/>
                        <a:pt x="4250305" y="701681"/>
                      </a:cubicBezTo>
                      <a:cubicBezTo>
                        <a:pt x="4252017" y="699701"/>
                        <a:pt x="4253589" y="697856"/>
                        <a:pt x="4255112" y="696281"/>
                      </a:cubicBezTo>
                      <a:cubicBezTo>
                        <a:pt x="4255238" y="696323"/>
                        <a:pt x="4255365" y="696384"/>
                        <a:pt x="4255480" y="696462"/>
                      </a:cubicBezTo>
                      <a:lnTo>
                        <a:pt x="4257090" y="697136"/>
                      </a:lnTo>
                      <a:cubicBezTo>
                        <a:pt x="4273682" y="704426"/>
                        <a:pt x="4290399" y="711760"/>
                        <a:pt x="4306800" y="718960"/>
                      </a:cubicBezTo>
                      <a:cubicBezTo>
                        <a:pt x="4307688" y="718059"/>
                        <a:pt x="4308588" y="717159"/>
                        <a:pt x="4309400" y="716304"/>
                      </a:cubicBezTo>
                      <a:cubicBezTo>
                        <a:pt x="4313624" y="712029"/>
                        <a:pt x="4317175" y="708476"/>
                        <a:pt x="4320689" y="704965"/>
                      </a:cubicBezTo>
                      <a:lnTo>
                        <a:pt x="4320689" y="689252"/>
                      </a:lnTo>
                      <a:cubicBezTo>
                        <a:pt x="4316351" y="673337"/>
                        <a:pt x="4307688" y="658943"/>
                        <a:pt x="4295651" y="647676"/>
                      </a:cubicBezTo>
                      <a:cubicBezTo>
                        <a:pt x="4295587" y="647564"/>
                        <a:pt x="4295498" y="647471"/>
                        <a:pt x="4295384" y="647405"/>
                      </a:cubicBezTo>
                      <a:cubicBezTo>
                        <a:pt x="4294991" y="646977"/>
                        <a:pt x="4294560" y="646572"/>
                        <a:pt x="4294129" y="646190"/>
                      </a:cubicBezTo>
                      <a:cubicBezTo>
                        <a:pt x="4293583" y="645650"/>
                        <a:pt x="4293050" y="645156"/>
                        <a:pt x="4292505" y="644666"/>
                      </a:cubicBezTo>
                      <a:cubicBezTo>
                        <a:pt x="4292416" y="644550"/>
                        <a:pt x="4292302" y="644445"/>
                        <a:pt x="4292188" y="644351"/>
                      </a:cubicBezTo>
                      <a:cubicBezTo>
                        <a:pt x="4309984" y="631397"/>
                        <a:pt x="4290982" y="618748"/>
                        <a:pt x="4291554" y="605159"/>
                      </a:cubicBezTo>
                      <a:cubicBezTo>
                        <a:pt x="4291604" y="604169"/>
                        <a:pt x="4288953" y="602189"/>
                        <a:pt x="4287646" y="602238"/>
                      </a:cubicBezTo>
                      <a:cubicBezTo>
                        <a:pt x="4286163" y="602283"/>
                        <a:pt x="4284818" y="602283"/>
                        <a:pt x="4283512" y="602193"/>
                      </a:cubicBezTo>
                      <a:cubicBezTo>
                        <a:pt x="4282168" y="602117"/>
                        <a:pt x="4280835" y="601937"/>
                        <a:pt x="4279516" y="601654"/>
                      </a:cubicBezTo>
                      <a:cubicBezTo>
                        <a:pt x="4264232" y="598458"/>
                        <a:pt x="4263509" y="583160"/>
                        <a:pt x="4261175" y="569436"/>
                      </a:cubicBezTo>
                      <a:cubicBezTo>
                        <a:pt x="4259196" y="570246"/>
                        <a:pt x="4257395" y="570966"/>
                        <a:pt x="4255784" y="571595"/>
                      </a:cubicBezTo>
                      <a:cubicBezTo>
                        <a:pt x="4252753" y="572905"/>
                        <a:pt x="4249569" y="573827"/>
                        <a:pt x="4246309" y="574340"/>
                      </a:cubicBezTo>
                      <a:cubicBezTo>
                        <a:pt x="4241540" y="574789"/>
                        <a:pt x="4238978" y="572269"/>
                        <a:pt x="4234031" y="565704"/>
                      </a:cubicBezTo>
                      <a:cubicBezTo>
                        <a:pt x="4233181" y="564580"/>
                        <a:pt x="4232280" y="563320"/>
                        <a:pt x="4231240" y="561924"/>
                      </a:cubicBezTo>
                      <a:cubicBezTo>
                        <a:pt x="4237672" y="561115"/>
                        <a:pt x="4243595" y="560349"/>
                        <a:pt x="4249937" y="559585"/>
                      </a:cubicBezTo>
                      <a:cubicBezTo>
                        <a:pt x="4251649" y="559360"/>
                        <a:pt x="4253400" y="559134"/>
                        <a:pt x="4255201" y="558909"/>
                      </a:cubicBezTo>
                      <a:cubicBezTo>
                        <a:pt x="4257851" y="558595"/>
                        <a:pt x="4260591" y="558235"/>
                        <a:pt x="4263509" y="557875"/>
                      </a:cubicBezTo>
                      <a:cubicBezTo>
                        <a:pt x="4277664" y="572861"/>
                        <a:pt x="4287469" y="574883"/>
                        <a:pt x="4310833" y="565840"/>
                      </a:cubicBezTo>
                      <a:cubicBezTo>
                        <a:pt x="4311987" y="565399"/>
                        <a:pt x="4313167" y="565053"/>
                        <a:pt x="4314385" y="564804"/>
                      </a:cubicBezTo>
                      <a:cubicBezTo>
                        <a:pt x="4316453" y="564309"/>
                        <a:pt x="4318609" y="563994"/>
                        <a:pt x="4320676" y="563499"/>
                      </a:cubicBezTo>
                      <a:lnTo>
                        <a:pt x="4320676" y="474441"/>
                      </a:lnTo>
                      <a:cubicBezTo>
                        <a:pt x="4324989" y="469717"/>
                        <a:pt x="4328490" y="462652"/>
                        <a:pt x="4333792" y="460852"/>
                      </a:cubicBezTo>
                      <a:cubicBezTo>
                        <a:pt x="4339005" y="459142"/>
                        <a:pt x="4345969" y="462787"/>
                        <a:pt x="4353389" y="464317"/>
                      </a:cubicBezTo>
                      <a:cubicBezTo>
                        <a:pt x="4351283" y="471021"/>
                        <a:pt x="4348493" y="479885"/>
                        <a:pt x="4346514" y="486230"/>
                      </a:cubicBezTo>
                      <a:cubicBezTo>
                        <a:pt x="4351321" y="497569"/>
                        <a:pt x="4355140" y="506569"/>
                        <a:pt x="4359731" y="517502"/>
                      </a:cubicBezTo>
                      <a:cubicBezTo>
                        <a:pt x="4368838" y="516583"/>
                        <a:pt x="4377882" y="515033"/>
                        <a:pt x="4386787" y="512868"/>
                      </a:cubicBezTo>
                      <a:cubicBezTo>
                        <a:pt x="4409884" y="505713"/>
                        <a:pt x="4428302" y="515789"/>
                        <a:pt x="4430915" y="540180"/>
                      </a:cubicBezTo>
                      <a:cubicBezTo>
                        <a:pt x="4430991" y="551682"/>
                        <a:pt x="4439248" y="561495"/>
                        <a:pt x="4450550" y="563533"/>
                      </a:cubicBezTo>
                      <a:cubicBezTo>
                        <a:pt x="4458553" y="565918"/>
                        <a:pt x="4468929" y="568842"/>
                        <a:pt x="4472747" y="575006"/>
                      </a:cubicBezTo>
                      <a:cubicBezTo>
                        <a:pt x="4481461" y="589000"/>
                        <a:pt x="4495135" y="591476"/>
                        <a:pt x="4508973" y="596695"/>
                      </a:cubicBezTo>
                      <a:cubicBezTo>
                        <a:pt x="4510813" y="592690"/>
                        <a:pt x="4511662" y="588146"/>
                        <a:pt x="4514364" y="585986"/>
                      </a:cubicBezTo>
                      <a:cubicBezTo>
                        <a:pt x="4516292" y="584462"/>
                        <a:pt x="4520795" y="586166"/>
                        <a:pt x="4526947" y="586661"/>
                      </a:cubicBezTo>
                      <a:cubicBezTo>
                        <a:pt x="4506994" y="569516"/>
                        <a:pt x="4507261" y="569832"/>
                        <a:pt x="4524384" y="553724"/>
                      </a:cubicBezTo>
                      <a:cubicBezTo>
                        <a:pt x="4527809" y="549490"/>
                        <a:pt x="4529446" y="544077"/>
                        <a:pt x="4528925" y="538650"/>
                      </a:cubicBezTo>
                      <a:cubicBezTo>
                        <a:pt x="4527885" y="527176"/>
                        <a:pt x="4525145" y="515837"/>
                        <a:pt x="4523623" y="507108"/>
                      </a:cubicBezTo>
                      <a:cubicBezTo>
                        <a:pt x="4535623" y="509807"/>
                        <a:pt x="4549017" y="512823"/>
                        <a:pt x="4565101" y="516467"/>
                      </a:cubicBezTo>
                      <a:cubicBezTo>
                        <a:pt x="4561638" y="508728"/>
                        <a:pt x="4559925" y="504858"/>
                        <a:pt x="4557642" y="499728"/>
                      </a:cubicBezTo>
                      <a:cubicBezTo>
                        <a:pt x="4565050" y="502383"/>
                        <a:pt x="4570453" y="504363"/>
                        <a:pt x="4577912" y="507018"/>
                      </a:cubicBezTo>
                      <a:cubicBezTo>
                        <a:pt x="4577950" y="490145"/>
                        <a:pt x="4585091" y="479930"/>
                        <a:pt x="4598625" y="477770"/>
                      </a:cubicBezTo>
                      <a:cubicBezTo>
                        <a:pt x="4578838" y="456443"/>
                        <a:pt x="4559698" y="435744"/>
                        <a:pt x="4539289" y="413786"/>
                      </a:cubicBezTo>
                      <a:close/>
                      <a:moveTo>
                        <a:pt x="2314267" y="1182587"/>
                      </a:moveTo>
                      <a:cubicBezTo>
                        <a:pt x="2289736" y="1207425"/>
                        <a:pt x="2344023" y="1188886"/>
                        <a:pt x="2296344" y="1218540"/>
                      </a:cubicBezTo>
                      <a:cubicBezTo>
                        <a:pt x="2291981" y="1242612"/>
                        <a:pt x="2249336" y="1245537"/>
                        <a:pt x="2238453" y="1258856"/>
                      </a:cubicBezTo>
                      <a:cubicBezTo>
                        <a:pt x="2242449" y="1285081"/>
                        <a:pt x="2197205" y="1300118"/>
                        <a:pt x="2174601" y="1289450"/>
                      </a:cubicBezTo>
                      <a:cubicBezTo>
                        <a:pt x="2149562" y="1278299"/>
                        <a:pt x="2211220" y="1280903"/>
                        <a:pt x="2216027" y="1267720"/>
                      </a:cubicBezTo>
                      <a:cubicBezTo>
                        <a:pt x="2240382" y="1242342"/>
                        <a:pt x="2248753" y="1227043"/>
                        <a:pt x="2272434" y="1204590"/>
                      </a:cubicBezTo>
                      <a:cubicBezTo>
                        <a:pt x="2305819" y="1183937"/>
                        <a:pt x="2312656" y="1090036"/>
                        <a:pt x="2341322" y="1091200"/>
                      </a:cubicBezTo>
                      <a:cubicBezTo>
                        <a:pt x="2338760" y="1114194"/>
                        <a:pt x="2329145" y="1213679"/>
                        <a:pt x="2314267" y="1182587"/>
                      </a:cubicBezTo>
                      <a:close/>
                      <a:moveTo>
                        <a:pt x="3813144" y="264631"/>
                      </a:moveTo>
                      <a:cubicBezTo>
                        <a:pt x="3809935" y="257532"/>
                        <a:pt x="3808033" y="249910"/>
                        <a:pt x="3807538" y="242133"/>
                      </a:cubicBezTo>
                      <a:lnTo>
                        <a:pt x="3807538" y="242043"/>
                      </a:lnTo>
                      <a:cubicBezTo>
                        <a:pt x="3807385" y="237739"/>
                        <a:pt x="3808222" y="233458"/>
                        <a:pt x="3809998" y="229535"/>
                      </a:cubicBezTo>
                      <a:cubicBezTo>
                        <a:pt x="3810836" y="227603"/>
                        <a:pt x="3811888" y="225777"/>
                        <a:pt x="3813144" y="224090"/>
                      </a:cubicBezTo>
                      <a:close/>
                    </a:path>
                  </a:pathLst>
                </a:custGeom>
                <a:grpFill/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38" name="Vrije vorm 437">
                  <a:extLst>
                    <a:ext uri="{FF2B5EF4-FFF2-40B4-BE49-F238E27FC236}">
                      <a16:creationId xmlns:a16="http://schemas.microsoft.com/office/drawing/2014/main" id="{FC28D2D3-873B-554F-979C-FE3D27413F6A}"/>
                    </a:ext>
                  </a:extLst>
                </p:cNvPr>
                <p:cNvSpPr/>
                <p:nvPr/>
              </p:nvSpPr>
              <p:spPr>
                <a:xfrm>
                  <a:off x="10566041" y="1442231"/>
                  <a:ext cx="83003" cy="61365"/>
                </a:xfrm>
                <a:custGeom>
                  <a:avLst/>
                  <a:gdLst>
                    <a:gd name="connsiteX0" fmla="*/ 82978 w 83003"/>
                    <a:gd name="connsiteY0" fmla="*/ 32884 h 61365"/>
                    <a:gd name="connsiteX1" fmla="*/ 20292 w 83003"/>
                    <a:gd name="connsiteY1" fmla="*/ 54982 h 61365"/>
                    <a:gd name="connsiteX2" fmla="*/ 20292 w 83003"/>
                    <a:gd name="connsiteY2" fmla="*/ 60243 h 61365"/>
                    <a:gd name="connsiteX3" fmla="*/ 4247 w 83003"/>
                    <a:gd name="connsiteY3" fmla="*/ 61366 h 61365"/>
                    <a:gd name="connsiteX4" fmla="*/ 20292 w 83003"/>
                    <a:gd name="connsiteY4" fmla="*/ 18306 h 61365"/>
                    <a:gd name="connsiteX5" fmla="*/ 20292 w 83003"/>
                    <a:gd name="connsiteY5" fmla="*/ 2602 h 61365"/>
                    <a:gd name="connsiteX6" fmla="*/ 82978 w 83003"/>
                    <a:gd name="connsiteY6" fmla="*/ 32884 h 613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3003" h="61365">
                      <a:moveTo>
                        <a:pt x="82978" y="32884"/>
                      </a:moveTo>
                      <a:cubicBezTo>
                        <a:pt x="65765" y="48149"/>
                        <a:pt x="43264" y="56078"/>
                        <a:pt x="20292" y="54982"/>
                      </a:cubicBezTo>
                      <a:lnTo>
                        <a:pt x="20292" y="60243"/>
                      </a:lnTo>
                      <a:cubicBezTo>
                        <a:pt x="15219" y="60602"/>
                        <a:pt x="10183" y="60963"/>
                        <a:pt x="4247" y="61366"/>
                      </a:cubicBezTo>
                      <a:cubicBezTo>
                        <a:pt x="-7701" y="40445"/>
                        <a:pt x="7926" y="29959"/>
                        <a:pt x="20292" y="18306"/>
                      </a:cubicBezTo>
                      <a:lnTo>
                        <a:pt x="20292" y="2602"/>
                      </a:lnTo>
                      <a:cubicBezTo>
                        <a:pt x="52155" y="-2798"/>
                        <a:pt x="52155" y="-2798"/>
                        <a:pt x="82978" y="32884"/>
                      </a:cubicBezTo>
                      <a:close/>
                    </a:path>
                  </a:pathLst>
                </a:custGeom>
                <a:grpFill/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39" name="Vrije vorm 438">
                  <a:extLst>
                    <a:ext uri="{FF2B5EF4-FFF2-40B4-BE49-F238E27FC236}">
                      <a16:creationId xmlns:a16="http://schemas.microsoft.com/office/drawing/2014/main" id="{2F16FD5E-3C7E-0643-BAA4-0C033232A003}"/>
                    </a:ext>
                  </a:extLst>
                </p:cNvPr>
                <p:cNvSpPr/>
                <p:nvPr/>
              </p:nvSpPr>
              <p:spPr>
                <a:xfrm>
                  <a:off x="6952546" y="1399981"/>
                  <a:ext cx="174519" cy="123468"/>
                </a:xfrm>
                <a:custGeom>
                  <a:avLst/>
                  <a:gdLst>
                    <a:gd name="connsiteX0" fmla="*/ 174494 w 174519"/>
                    <a:gd name="connsiteY0" fmla="*/ 123469 h 123468"/>
                    <a:gd name="connsiteX1" fmla="*/ 102092 w 174519"/>
                    <a:gd name="connsiteY1" fmla="*/ 123110 h 123468"/>
                    <a:gd name="connsiteX2" fmla="*/ 83219 w 174519"/>
                    <a:gd name="connsiteY2" fmla="*/ 113210 h 123468"/>
                    <a:gd name="connsiteX3" fmla="*/ 65473 w 174519"/>
                    <a:gd name="connsiteY3" fmla="*/ 102187 h 123468"/>
                    <a:gd name="connsiteX4" fmla="*/ 70952 w 174519"/>
                    <a:gd name="connsiteY4" fmla="*/ 80318 h 123468"/>
                    <a:gd name="connsiteX5" fmla="*/ 49923 w 174519"/>
                    <a:gd name="connsiteY5" fmla="*/ 49272 h 123468"/>
                    <a:gd name="connsiteX6" fmla="*/ 11312 w 174519"/>
                    <a:gd name="connsiteY6" fmla="*/ 50352 h 123468"/>
                    <a:gd name="connsiteX7" fmla="*/ 4843 w 174519"/>
                    <a:gd name="connsiteY7" fmla="*/ 1 h 123468"/>
                    <a:gd name="connsiteX8" fmla="*/ 112519 w 174519"/>
                    <a:gd name="connsiteY8" fmla="*/ 1 h 123468"/>
                    <a:gd name="connsiteX9" fmla="*/ 126358 w 174519"/>
                    <a:gd name="connsiteY9" fmla="*/ 55934 h 123468"/>
                    <a:gd name="connsiteX10" fmla="*/ 161645 w 174519"/>
                    <a:gd name="connsiteY10" fmla="*/ 106780 h 123468"/>
                    <a:gd name="connsiteX11" fmla="*/ 174494 w 174519"/>
                    <a:gd name="connsiteY11" fmla="*/ 123469 h 1234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74519" h="123468">
                      <a:moveTo>
                        <a:pt x="174494" y="123469"/>
                      </a:moveTo>
                      <a:cubicBezTo>
                        <a:pt x="147172" y="118881"/>
                        <a:pt x="125368" y="113615"/>
                        <a:pt x="102092" y="123110"/>
                      </a:cubicBezTo>
                      <a:cubicBezTo>
                        <a:pt x="96422" y="118747"/>
                        <a:pt x="90030" y="115398"/>
                        <a:pt x="83219" y="113210"/>
                      </a:cubicBezTo>
                      <a:cubicBezTo>
                        <a:pt x="75037" y="111726"/>
                        <a:pt x="66272" y="111545"/>
                        <a:pt x="65473" y="102187"/>
                      </a:cubicBezTo>
                      <a:cubicBezTo>
                        <a:pt x="66057" y="94640"/>
                        <a:pt x="67908" y="87246"/>
                        <a:pt x="70952" y="80318"/>
                      </a:cubicBezTo>
                      <a:cubicBezTo>
                        <a:pt x="64928" y="71409"/>
                        <a:pt x="57558" y="60565"/>
                        <a:pt x="49923" y="49272"/>
                      </a:cubicBezTo>
                      <a:cubicBezTo>
                        <a:pt x="38329" y="54490"/>
                        <a:pt x="24173" y="32398"/>
                        <a:pt x="11312" y="50352"/>
                      </a:cubicBezTo>
                      <a:cubicBezTo>
                        <a:pt x="-1626" y="28528"/>
                        <a:pt x="-3072" y="21015"/>
                        <a:pt x="4843" y="1"/>
                      </a:cubicBezTo>
                      <a:lnTo>
                        <a:pt x="112519" y="1"/>
                      </a:lnTo>
                      <a:cubicBezTo>
                        <a:pt x="114218" y="19249"/>
                        <a:pt x="118886" y="38117"/>
                        <a:pt x="126358" y="55934"/>
                      </a:cubicBezTo>
                      <a:cubicBezTo>
                        <a:pt x="134298" y="75242"/>
                        <a:pt x="146335" y="92591"/>
                        <a:pt x="161645" y="106780"/>
                      </a:cubicBezTo>
                      <a:cubicBezTo>
                        <a:pt x="166262" y="112075"/>
                        <a:pt x="170549" y="117649"/>
                        <a:pt x="174494" y="123469"/>
                      </a:cubicBezTo>
                      <a:close/>
                    </a:path>
                  </a:pathLst>
                </a:custGeom>
                <a:grpFill/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40" name="Vrije vorm 439">
                  <a:extLst>
                    <a:ext uri="{FF2B5EF4-FFF2-40B4-BE49-F238E27FC236}">
                      <a16:creationId xmlns:a16="http://schemas.microsoft.com/office/drawing/2014/main" id="{C4129A84-3482-0043-96B0-1F507CBD6396}"/>
                    </a:ext>
                  </a:extLst>
                </p:cNvPr>
                <p:cNvSpPr/>
                <p:nvPr/>
              </p:nvSpPr>
              <p:spPr>
                <a:xfrm>
                  <a:off x="6862268" y="1619861"/>
                  <a:ext cx="57906" cy="58739"/>
                </a:xfrm>
                <a:custGeom>
                  <a:avLst/>
                  <a:gdLst>
                    <a:gd name="connsiteX0" fmla="*/ 25079 w 57906"/>
                    <a:gd name="connsiteY0" fmla="*/ 55348 h 58739"/>
                    <a:gd name="connsiteX1" fmla="*/ 57880 w 57906"/>
                    <a:gd name="connsiteY1" fmla="*/ 24395 h 58739"/>
                    <a:gd name="connsiteX2" fmla="*/ 38372 w 57906"/>
                    <a:gd name="connsiteY2" fmla="*/ 7146 h 58739"/>
                    <a:gd name="connsiteX3" fmla="*/ 2641 w 57906"/>
                    <a:gd name="connsiteY3" fmla="*/ 17486 h 58739"/>
                    <a:gd name="connsiteX4" fmla="*/ 560 w 57906"/>
                    <a:gd name="connsiteY4" fmla="*/ 43109 h 58739"/>
                    <a:gd name="connsiteX5" fmla="*/ 25079 w 57906"/>
                    <a:gd name="connsiteY5" fmla="*/ 55348 h 587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7906" h="58739">
                      <a:moveTo>
                        <a:pt x="25079" y="55348"/>
                      </a:moveTo>
                      <a:cubicBezTo>
                        <a:pt x="36989" y="46111"/>
                        <a:pt x="47974" y="35745"/>
                        <a:pt x="57880" y="24395"/>
                      </a:cubicBezTo>
                      <a:cubicBezTo>
                        <a:pt x="48760" y="16281"/>
                        <a:pt x="43864" y="11314"/>
                        <a:pt x="38372" y="7146"/>
                      </a:cubicBezTo>
                      <a:cubicBezTo>
                        <a:pt x="22238" y="-5099"/>
                        <a:pt x="8818" y="-1574"/>
                        <a:pt x="2641" y="17486"/>
                      </a:cubicBezTo>
                      <a:cubicBezTo>
                        <a:pt x="41" y="25764"/>
                        <a:pt x="-670" y="34520"/>
                        <a:pt x="560" y="43109"/>
                      </a:cubicBezTo>
                      <a:cubicBezTo>
                        <a:pt x="2666" y="57161"/>
                        <a:pt x="12965" y="63013"/>
                        <a:pt x="25079" y="55348"/>
                      </a:cubicBezTo>
                      <a:close/>
                    </a:path>
                  </a:pathLst>
                </a:custGeom>
                <a:grpFill/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41" name="Vrije vorm 440">
                  <a:extLst>
                    <a:ext uri="{FF2B5EF4-FFF2-40B4-BE49-F238E27FC236}">
                      <a16:creationId xmlns:a16="http://schemas.microsoft.com/office/drawing/2014/main" id="{7D717DA5-C4DA-8144-A8DC-3EC035B7D7E7}"/>
                    </a:ext>
                  </a:extLst>
                </p:cNvPr>
                <p:cNvSpPr/>
                <p:nvPr/>
              </p:nvSpPr>
              <p:spPr>
                <a:xfrm>
                  <a:off x="7155953" y="1535610"/>
                  <a:ext cx="52177" cy="66207"/>
                </a:xfrm>
                <a:custGeom>
                  <a:avLst/>
                  <a:gdLst>
                    <a:gd name="connsiteX0" fmla="*/ 19883 w 52177"/>
                    <a:gd name="connsiteY0" fmla="*/ 50642 h 66207"/>
                    <a:gd name="connsiteX1" fmla="*/ 27328 w 52177"/>
                    <a:gd name="connsiteY1" fmla="*/ 57260 h 66207"/>
                    <a:gd name="connsiteX2" fmla="*/ 52152 w 52177"/>
                    <a:gd name="connsiteY2" fmla="*/ 62429 h 66207"/>
                    <a:gd name="connsiteX3" fmla="*/ 12057 w 52177"/>
                    <a:gd name="connsiteY3" fmla="*/ 1 h 66207"/>
                    <a:gd name="connsiteX4" fmla="*/ 19883 w 52177"/>
                    <a:gd name="connsiteY4" fmla="*/ 50642 h 662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2177" h="66207">
                      <a:moveTo>
                        <a:pt x="19883" y="50642"/>
                      </a:moveTo>
                      <a:cubicBezTo>
                        <a:pt x="22940" y="52104"/>
                        <a:pt x="25528" y="54398"/>
                        <a:pt x="27328" y="57260"/>
                      </a:cubicBezTo>
                      <a:cubicBezTo>
                        <a:pt x="32706" y="70364"/>
                        <a:pt x="41154" y="66277"/>
                        <a:pt x="52152" y="62429"/>
                      </a:cubicBezTo>
                      <a:cubicBezTo>
                        <a:pt x="49577" y="34489"/>
                        <a:pt x="21278" y="26849"/>
                        <a:pt x="12057" y="1"/>
                      </a:cubicBezTo>
                      <a:cubicBezTo>
                        <a:pt x="-5308" y="34077"/>
                        <a:pt x="-5016" y="35020"/>
                        <a:pt x="19883" y="50642"/>
                      </a:cubicBezTo>
                      <a:close/>
                    </a:path>
                  </a:pathLst>
                </a:custGeom>
                <a:grpFill/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42" name="Vrije vorm 441">
                  <a:extLst>
                    <a:ext uri="{FF2B5EF4-FFF2-40B4-BE49-F238E27FC236}">
                      <a16:creationId xmlns:a16="http://schemas.microsoft.com/office/drawing/2014/main" id="{F36BA648-F9DE-D541-A03F-9F8C181BB88A}"/>
                    </a:ext>
                  </a:extLst>
                </p:cNvPr>
                <p:cNvSpPr/>
                <p:nvPr/>
              </p:nvSpPr>
              <p:spPr>
                <a:xfrm>
                  <a:off x="10257852" y="1579472"/>
                  <a:ext cx="43481" cy="35922"/>
                </a:xfrm>
                <a:custGeom>
                  <a:avLst/>
                  <a:gdLst>
                    <a:gd name="connsiteX0" fmla="*/ 43455 w 43481"/>
                    <a:gd name="connsiteY0" fmla="*/ 11266 h 35922"/>
                    <a:gd name="connsiteX1" fmla="*/ -26 w 43481"/>
                    <a:gd name="connsiteY1" fmla="*/ 15004 h 35922"/>
                    <a:gd name="connsiteX2" fmla="*/ 36212 w 43481"/>
                    <a:gd name="connsiteY2" fmla="*/ 35923 h 35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3481" h="35922">
                      <a:moveTo>
                        <a:pt x="43455" y="11266"/>
                      </a:moveTo>
                      <a:cubicBezTo>
                        <a:pt x="11960" y="-4327"/>
                        <a:pt x="11960" y="-4327"/>
                        <a:pt x="-26" y="15004"/>
                      </a:cubicBezTo>
                      <a:lnTo>
                        <a:pt x="36212" y="35923"/>
                      </a:lnTo>
                      <a:close/>
                    </a:path>
                  </a:pathLst>
                </a:custGeom>
                <a:grpFill/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43" name="Vrije vorm 442">
                  <a:extLst>
                    <a:ext uri="{FF2B5EF4-FFF2-40B4-BE49-F238E27FC236}">
                      <a16:creationId xmlns:a16="http://schemas.microsoft.com/office/drawing/2014/main" id="{4C878C83-0C9D-5D47-836E-D44F18C3EBB2}"/>
                    </a:ext>
                  </a:extLst>
                </p:cNvPr>
                <p:cNvSpPr/>
                <p:nvPr/>
              </p:nvSpPr>
              <p:spPr>
                <a:xfrm>
                  <a:off x="6981134" y="1463347"/>
                  <a:ext cx="16783" cy="15833"/>
                </a:xfrm>
                <a:custGeom>
                  <a:avLst/>
                  <a:gdLst>
                    <a:gd name="connsiteX0" fmla="*/ 16298 w 16783"/>
                    <a:gd name="connsiteY0" fmla="*/ 15834 h 15833"/>
                    <a:gd name="connsiteX1" fmla="*/ -26 w 16783"/>
                    <a:gd name="connsiteY1" fmla="*/ 1 h 158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783" h="15833">
                      <a:moveTo>
                        <a:pt x="16298" y="15834"/>
                      </a:moveTo>
                      <a:cubicBezTo>
                        <a:pt x="18289" y="6055"/>
                        <a:pt x="13977" y="1229"/>
                        <a:pt x="-26" y="1"/>
                      </a:cubicBezTo>
                      <a:close/>
                    </a:path>
                  </a:pathLst>
                </a:custGeom>
                <a:grpFill/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44" name="Vrije vorm 443">
                  <a:extLst>
                    <a:ext uri="{FF2B5EF4-FFF2-40B4-BE49-F238E27FC236}">
                      <a16:creationId xmlns:a16="http://schemas.microsoft.com/office/drawing/2014/main" id="{54ACD280-F3D4-A947-AA1F-4980CDF0938A}"/>
                    </a:ext>
                  </a:extLst>
                </p:cNvPr>
                <p:cNvSpPr/>
                <p:nvPr/>
              </p:nvSpPr>
              <p:spPr>
                <a:xfrm>
                  <a:off x="9382757" y="2518418"/>
                  <a:ext cx="27814" cy="25523"/>
                </a:xfrm>
                <a:custGeom>
                  <a:avLst/>
                  <a:gdLst>
                    <a:gd name="connsiteX0" fmla="*/ 17859 w 27814"/>
                    <a:gd name="connsiteY0" fmla="*/ 670 h 25523"/>
                    <a:gd name="connsiteX1" fmla="*/ -26 w 27814"/>
                    <a:gd name="connsiteY1" fmla="*/ 19534 h 25523"/>
                    <a:gd name="connsiteX2" fmla="*/ 27271 w 27814"/>
                    <a:gd name="connsiteY2" fmla="*/ 7551 h 25523"/>
                    <a:gd name="connsiteX3" fmla="*/ 23250 w 27814"/>
                    <a:gd name="connsiteY3" fmla="*/ 5723 h 25523"/>
                    <a:gd name="connsiteX4" fmla="*/ 20573 w 27814"/>
                    <a:gd name="connsiteY4" fmla="*/ 1327 h 25523"/>
                    <a:gd name="connsiteX5" fmla="*/ 19558 w 27814"/>
                    <a:gd name="connsiteY5" fmla="*/ 1065 h 25523"/>
                    <a:gd name="connsiteX6" fmla="*/ 22171 w 27814"/>
                    <a:gd name="connsiteY6" fmla="*/ 246 h 25523"/>
                    <a:gd name="connsiteX7" fmla="*/ 17859 w 27814"/>
                    <a:gd name="connsiteY7" fmla="*/ 670 h 255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7814" h="25523">
                      <a:moveTo>
                        <a:pt x="17859" y="670"/>
                      </a:moveTo>
                      <a:cubicBezTo>
                        <a:pt x="7128" y="-1298"/>
                        <a:pt x="4147" y="7335"/>
                        <a:pt x="-26" y="19534"/>
                      </a:cubicBezTo>
                      <a:cubicBezTo>
                        <a:pt x="18303" y="5945"/>
                        <a:pt x="3285" y="47766"/>
                        <a:pt x="27271" y="7551"/>
                      </a:cubicBezTo>
                      <a:cubicBezTo>
                        <a:pt x="29351" y="5404"/>
                        <a:pt x="24581" y="5324"/>
                        <a:pt x="23250" y="5723"/>
                      </a:cubicBezTo>
                      <a:cubicBezTo>
                        <a:pt x="13812" y="10636"/>
                        <a:pt x="23795" y="5940"/>
                        <a:pt x="20573" y="1327"/>
                      </a:cubicBezTo>
                      <a:cubicBezTo>
                        <a:pt x="20218" y="1218"/>
                        <a:pt x="19901" y="1156"/>
                        <a:pt x="19558" y="1065"/>
                      </a:cubicBezTo>
                      <a:lnTo>
                        <a:pt x="22171" y="246"/>
                      </a:lnTo>
                      <a:cubicBezTo>
                        <a:pt x="21487" y="-258"/>
                        <a:pt x="19622" y="81"/>
                        <a:pt x="17859" y="670"/>
                      </a:cubicBezTo>
                      <a:close/>
                    </a:path>
                  </a:pathLst>
                </a:custGeom>
                <a:grpFill/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45" name="Vrije vorm 444">
                  <a:extLst>
                    <a:ext uri="{FF2B5EF4-FFF2-40B4-BE49-F238E27FC236}">
                      <a16:creationId xmlns:a16="http://schemas.microsoft.com/office/drawing/2014/main" id="{A5B6D524-8FDC-B94B-93FB-0F0064549B26}"/>
                    </a:ext>
                  </a:extLst>
                </p:cNvPr>
                <p:cNvSpPr/>
                <p:nvPr/>
              </p:nvSpPr>
              <p:spPr>
                <a:xfrm>
                  <a:off x="7466215" y="1831344"/>
                  <a:ext cx="12010" cy="19601"/>
                </a:xfrm>
                <a:custGeom>
                  <a:avLst/>
                  <a:gdLst>
                    <a:gd name="connsiteX0" fmla="*/ -26 w 12010"/>
                    <a:gd name="connsiteY0" fmla="*/ 1 h 19601"/>
                    <a:gd name="connsiteX1" fmla="*/ 10667 w 12010"/>
                    <a:gd name="connsiteY1" fmla="*/ 19602 h 19601"/>
                    <a:gd name="connsiteX2" fmla="*/ -26 w 12010"/>
                    <a:gd name="connsiteY2" fmla="*/ 1 h 196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2010" h="19601">
                      <a:moveTo>
                        <a:pt x="-26" y="1"/>
                      </a:moveTo>
                      <a:lnTo>
                        <a:pt x="10667" y="19602"/>
                      </a:lnTo>
                      <a:cubicBezTo>
                        <a:pt x="9005" y="13383"/>
                        <a:pt x="19406" y="2431"/>
                        <a:pt x="-26" y="1"/>
                      </a:cubicBezTo>
                      <a:close/>
                    </a:path>
                  </a:pathLst>
                </a:custGeom>
                <a:grpFill/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46" name="Vrije vorm 445">
                  <a:extLst>
                    <a:ext uri="{FF2B5EF4-FFF2-40B4-BE49-F238E27FC236}">
                      <a16:creationId xmlns:a16="http://schemas.microsoft.com/office/drawing/2014/main" id="{17C49FBC-355F-5342-8191-607E6F1DFB7A}"/>
                    </a:ext>
                  </a:extLst>
                </p:cNvPr>
                <p:cNvSpPr/>
                <p:nvPr/>
              </p:nvSpPr>
              <p:spPr>
                <a:xfrm>
                  <a:off x="7703105" y="1370010"/>
                  <a:ext cx="811" cy="809"/>
                </a:xfrm>
                <a:custGeom>
                  <a:avLst/>
                  <a:gdLst>
                    <a:gd name="connsiteX0" fmla="*/ 785 w 811"/>
                    <a:gd name="connsiteY0" fmla="*/ 3 h 809"/>
                    <a:gd name="connsiteX1" fmla="*/ 735 w 811"/>
                    <a:gd name="connsiteY1" fmla="*/ 49 h 809"/>
                    <a:gd name="connsiteX2" fmla="*/ 417 w 811"/>
                    <a:gd name="connsiteY2" fmla="*/ 811 h 809"/>
                    <a:gd name="connsiteX3" fmla="*/ -26 w 811"/>
                    <a:gd name="connsiteY3" fmla="*/ 767 h 809"/>
                    <a:gd name="connsiteX4" fmla="*/ 12 w 811"/>
                    <a:gd name="connsiteY4" fmla="*/ 676 h 809"/>
                    <a:gd name="connsiteX5" fmla="*/ 202 w 811"/>
                    <a:gd name="connsiteY5" fmla="*/ 496 h 809"/>
                    <a:gd name="connsiteX6" fmla="*/ 506 w 811"/>
                    <a:gd name="connsiteY6" fmla="*/ 46 h 809"/>
                    <a:gd name="connsiteX7" fmla="*/ 785 w 811"/>
                    <a:gd name="connsiteY7" fmla="*/ 3 h 8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1" h="809">
                      <a:moveTo>
                        <a:pt x="785" y="3"/>
                      </a:moveTo>
                      <a:lnTo>
                        <a:pt x="735" y="49"/>
                      </a:lnTo>
                      <a:cubicBezTo>
                        <a:pt x="646" y="310"/>
                        <a:pt x="544" y="565"/>
                        <a:pt x="417" y="811"/>
                      </a:cubicBezTo>
                      <a:cubicBezTo>
                        <a:pt x="278" y="776"/>
                        <a:pt x="126" y="761"/>
                        <a:pt x="-26" y="767"/>
                      </a:cubicBezTo>
                      <a:lnTo>
                        <a:pt x="12" y="676"/>
                      </a:lnTo>
                      <a:lnTo>
                        <a:pt x="202" y="496"/>
                      </a:lnTo>
                      <a:cubicBezTo>
                        <a:pt x="278" y="333"/>
                        <a:pt x="392" y="182"/>
                        <a:pt x="506" y="46"/>
                      </a:cubicBezTo>
                      <a:cubicBezTo>
                        <a:pt x="596" y="10"/>
                        <a:pt x="684" y="-5"/>
                        <a:pt x="785" y="3"/>
                      </a:cubicBezTo>
                      <a:close/>
                    </a:path>
                  </a:pathLst>
                </a:custGeom>
                <a:grpFill/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364" name="Vrije vorm 363">
              <a:extLst>
                <a:ext uri="{FF2B5EF4-FFF2-40B4-BE49-F238E27FC236}">
                  <a16:creationId xmlns:a16="http://schemas.microsoft.com/office/drawing/2014/main" id="{8C952CA0-4304-BC4A-8460-F6F0D3F45BF5}"/>
                </a:ext>
              </a:extLst>
            </p:cNvPr>
            <p:cNvSpPr/>
            <p:nvPr/>
          </p:nvSpPr>
          <p:spPr>
            <a:xfrm>
              <a:off x="5896103" y="4085220"/>
              <a:ext cx="371305" cy="247904"/>
            </a:xfrm>
            <a:custGeom>
              <a:avLst/>
              <a:gdLst>
                <a:gd name="connsiteX0" fmla="*/ 371279 w 371305"/>
                <a:gd name="connsiteY0" fmla="*/ 166372 h 247904"/>
                <a:gd name="connsiteX1" fmla="*/ 354117 w 371305"/>
                <a:gd name="connsiteY1" fmla="*/ 167452 h 247904"/>
                <a:gd name="connsiteX2" fmla="*/ 338566 w 371305"/>
                <a:gd name="connsiteY2" fmla="*/ 164746 h 247904"/>
                <a:gd name="connsiteX3" fmla="*/ 323599 w 371305"/>
                <a:gd name="connsiteY3" fmla="*/ 162638 h 247904"/>
                <a:gd name="connsiteX4" fmla="*/ 310205 w 371305"/>
                <a:gd name="connsiteY4" fmla="*/ 163667 h 247904"/>
                <a:gd name="connsiteX5" fmla="*/ 291420 w 371305"/>
                <a:gd name="connsiteY5" fmla="*/ 170639 h 247904"/>
                <a:gd name="connsiteX6" fmla="*/ 277530 w 371305"/>
                <a:gd name="connsiteY6" fmla="*/ 170639 h 247904"/>
                <a:gd name="connsiteX7" fmla="*/ 260901 w 371305"/>
                <a:gd name="connsiteY7" fmla="*/ 178158 h 247904"/>
                <a:gd name="connsiteX8" fmla="*/ 242167 w 371305"/>
                <a:gd name="connsiteY8" fmla="*/ 174970 h 247904"/>
                <a:gd name="connsiteX9" fmla="*/ 234125 w 371305"/>
                <a:gd name="connsiteY9" fmla="*/ 185130 h 247904"/>
                <a:gd name="connsiteX10" fmla="*/ 222341 w 371305"/>
                <a:gd name="connsiteY10" fmla="*/ 193728 h 247904"/>
                <a:gd name="connsiteX11" fmla="*/ 203556 w 371305"/>
                <a:gd name="connsiteY11" fmla="*/ 191569 h 247904"/>
                <a:gd name="connsiteX12" fmla="*/ 185900 w 371305"/>
                <a:gd name="connsiteY12" fmla="*/ 185676 h 247904"/>
                <a:gd name="connsiteX13" fmla="*/ 171973 w 371305"/>
                <a:gd name="connsiteY13" fmla="*/ 178158 h 247904"/>
                <a:gd name="connsiteX14" fmla="*/ 149496 w 371305"/>
                <a:gd name="connsiteY14" fmla="*/ 164759 h 247904"/>
                <a:gd name="connsiteX15" fmla="*/ 131256 w 371305"/>
                <a:gd name="connsiteY15" fmla="*/ 176545 h 247904"/>
                <a:gd name="connsiteX16" fmla="*/ 120018 w 371305"/>
                <a:gd name="connsiteY16" fmla="*/ 187835 h 247904"/>
                <a:gd name="connsiteX17" fmla="*/ 120196 w 371305"/>
                <a:gd name="connsiteY17" fmla="*/ 210149 h 247904"/>
                <a:gd name="connsiteX18" fmla="*/ 114132 w 371305"/>
                <a:gd name="connsiteY18" fmla="*/ 209298 h 247904"/>
                <a:gd name="connsiteX19" fmla="*/ 103934 w 371305"/>
                <a:gd name="connsiteY19" fmla="*/ 210873 h 247904"/>
                <a:gd name="connsiteX20" fmla="*/ 89995 w 371305"/>
                <a:gd name="connsiteY20" fmla="*/ 207139 h 247904"/>
                <a:gd name="connsiteX21" fmla="*/ 81458 w 371305"/>
                <a:gd name="connsiteY21" fmla="*/ 209298 h 247904"/>
                <a:gd name="connsiteX22" fmla="*/ 68609 w 371305"/>
                <a:gd name="connsiteY22" fmla="*/ 211419 h 247904"/>
                <a:gd name="connsiteX23" fmla="*/ 62673 w 371305"/>
                <a:gd name="connsiteY23" fmla="*/ 221630 h 247904"/>
                <a:gd name="connsiteX24" fmla="*/ 60022 w 371305"/>
                <a:gd name="connsiteY24" fmla="*/ 238229 h 247904"/>
                <a:gd name="connsiteX25" fmla="*/ 52513 w 371305"/>
                <a:gd name="connsiteY25" fmla="*/ 247906 h 247904"/>
                <a:gd name="connsiteX26" fmla="*/ 49824 w 371305"/>
                <a:gd name="connsiteY26" fmla="*/ 233949 h 247904"/>
                <a:gd name="connsiteX27" fmla="*/ 41287 w 371305"/>
                <a:gd name="connsiteY27" fmla="*/ 221630 h 247904"/>
                <a:gd name="connsiteX28" fmla="*/ 28388 w 371305"/>
                <a:gd name="connsiteY28" fmla="*/ 207673 h 247904"/>
                <a:gd name="connsiteX29" fmla="*/ 18773 w 371305"/>
                <a:gd name="connsiteY29" fmla="*/ 189943 h 247904"/>
                <a:gd name="connsiteX30" fmla="*/ 8562 w 371305"/>
                <a:gd name="connsiteY30" fmla="*/ 165826 h 247904"/>
                <a:gd name="connsiteX31" fmla="*/ 9107 w 371305"/>
                <a:gd name="connsiteY31" fmla="*/ 145988 h 247904"/>
                <a:gd name="connsiteX32" fmla="*/ 1104 w 371305"/>
                <a:gd name="connsiteY32" fmla="*/ 139550 h 247904"/>
                <a:gd name="connsiteX33" fmla="*/ 11796 w 371305"/>
                <a:gd name="connsiteY33" fmla="*/ 126138 h 247904"/>
                <a:gd name="connsiteX34" fmla="*/ 23035 w 371305"/>
                <a:gd name="connsiteY34" fmla="*/ 109501 h 247904"/>
                <a:gd name="connsiteX35" fmla="*/ 33334 w 371305"/>
                <a:gd name="connsiteY35" fmla="*/ 98783 h 247904"/>
                <a:gd name="connsiteX36" fmla="*/ 45017 w 371305"/>
                <a:gd name="connsiteY36" fmla="*/ 99329 h 247904"/>
                <a:gd name="connsiteX37" fmla="*/ 56255 w 371305"/>
                <a:gd name="connsiteY37" fmla="*/ 96090 h 247904"/>
                <a:gd name="connsiteX38" fmla="*/ 62140 w 371305"/>
                <a:gd name="connsiteY38" fmla="*/ 88572 h 247904"/>
                <a:gd name="connsiteX39" fmla="*/ 68609 w 371305"/>
                <a:gd name="connsiteY39" fmla="*/ 96090 h 247904"/>
                <a:gd name="connsiteX40" fmla="*/ 80380 w 371305"/>
                <a:gd name="connsiteY40" fmla="*/ 92890 h 247904"/>
                <a:gd name="connsiteX41" fmla="*/ 90540 w 371305"/>
                <a:gd name="connsiteY41" fmla="*/ 85384 h 247904"/>
                <a:gd name="connsiteX42" fmla="*/ 109820 w 371305"/>
                <a:gd name="connsiteY42" fmla="*/ 84838 h 247904"/>
                <a:gd name="connsiteX43" fmla="*/ 127515 w 371305"/>
                <a:gd name="connsiteY43" fmla="*/ 75707 h 247904"/>
                <a:gd name="connsiteX44" fmla="*/ 131789 w 371305"/>
                <a:gd name="connsiteY44" fmla="*/ 62842 h 247904"/>
                <a:gd name="connsiteX45" fmla="*/ 133945 w 371305"/>
                <a:gd name="connsiteY45" fmla="*/ 54777 h 247904"/>
                <a:gd name="connsiteX46" fmla="*/ 153758 w 371305"/>
                <a:gd name="connsiteY46" fmla="*/ 54777 h 247904"/>
                <a:gd name="connsiteX47" fmla="*/ 170894 w 371305"/>
                <a:gd name="connsiteY47" fmla="*/ 52669 h 247904"/>
                <a:gd name="connsiteX48" fmla="*/ 180014 w 371305"/>
                <a:gd name="connsiteY48" fmla="*/ 46776 h 247904"/>
                <a:gd name="connsiteX49" fmla="*/ 187510 w 371305"/>
                <a:gd name="connsiteY49" fmla="*/ 40337 h 247904"/>
                <a:gd name="connsiteX50" fmla="*/ 192863 w 371305"/>
                <a:gd name="connsiteY50" fmla="*/ 32285 h 247904"/>
                <a:gd name="connsiteX51" fmla="*/ 202529 w 371305"/>
                <a:gd name="connsiteY51" fmla="*/ 25313 h 247904"/>
                <a:gd name="connsiteX52" fmla="*/ 208947 w 371305"/>
                <a:gd name="connsiteY52" fmla="*/ 13515 h 247904"/>
                <a:gd name="connsiteX53" fmla="*/ 214845 w 371305"/>
                <a:gd name="connsiteY53" fmla="*/ 8663 h 247904"/>
                <a:gd name="connsiteX54" fmla="*/ 221809 w 371305"/>
                <a:gd name="connsiteY54" fmla="*/ 2225 h 247904"/>
                <a:gd name="connsiteX55" fmla="*/ 240010 w 371305"/>
                <a:gd name="connsiteY55" fmla="*/ 1145 h 247904"/>
                <a:gd name="connsiteX56" fmla="*/ 244234 w 371305"/>
                <a:gd name="connsiteY56" fmla="*/ 1640 h 247904"/>
                <a:gd name="connsiteX57" fmla="*/ 256639 w 371305"/>
                <a:gd name="connsiteY57" fmla="*/ 17795 h 247904"/>
                <a:gd name="connsiteX58" fmla="*/ 265709 w 371305"/>
                <a:gd name="connsiteY58" fmla="*/ 43538 h 247904"/>
                <a:gd name="connsiteX59" fmla="*/ 260369 w 371305"/>
                <a:gd name="connsiteY59" fmla="*/ 50510 h 247904"/>
                <a:gd name="connsiteX60" fmla="*/ 261447 w 371305"/>
                <a:gd name="connsiteY60" fmla="*/ 55857 h 247904"/>
                <a:gd name="connsiteX61" fmla="*/ 258745 w 371305"/>
                <a:gd name="connsiteY61" fmla="*/ 60721 h 247904"/>
                <a:gd name="connsiteX62" fmla="*/ 268410 w 371305"/>
                <a:gd name="connsiteY62" fmla="*/ 62296 h 247904"/>
                <a:gd name="connsiteX63" fmla="*/ 278837 w 371305"/>
                <a:gd name="connsiteY63" fmla="*/ 68061 h 247904"/>
                <a:gd name="connsiteX64" fmla="*/ 280181 w 371305"/>
                <a:gd name="connsiteY64" fmla="*/ 71973 h 247904"/>
                <a:gd name="connsiteX65" fmla="*/ 291952 w 371305"/>
                <a:gd name="connsiteY65" fmla="*/ 75161 h 247904"/>
                <a:gd name="connsiteX66" fmla="*/ 308049 w 371305"/>
                <a:gd name="connsiteY66" fmla="*/ 86997 h 247904"/>
                <a:gd name="connsiteX67" fmla="*/ 311283 w 371305"/>
                <a:gd name="connsiteY67" fmla="*/ 100954 h 247904"/>
                <a:gd name="connsiteX68" fmla="*/ 324678 w 371305"/>
                <a:gd name="connsiteY68" fmla="*/ 108460 h 247904"/>
                <a:gd name="connsiteX69" fmla="*/ 338554 w 371305"/>
                <a:gd name="connsiteY69" fmla="*/ 120792 h 247904"/>
                <a:gd name="connsiteX70" fmla="*/ 344490 w 371305"/>
                <a:gd name="connsiteY70" fmla="*/ 135282 h 247904"/>
                <a:gd name="connsiteX71" fmla="*/ 351454 w 371305"/>
                <a:gd name="connsiteY71" fmla="*/ 141709 h 247904"/>
                <a:gd name="connsiteX72" fmla="*/ 362159 w 371305"/>
                <a:gd name="connsiteY72" fmla="*/ 147068 h 247904"/>
                <a:gd name="connsiteX73" fmla="*/ 366421 w 371305"/>
                <a:gd name="connsiteY73" fmla="*/ 155120 h 247904"/>
                <a:gd name="connsiteX74" fmla="*/ 371279 w 371305"/>
                <a:gd name="connsiteY74" fmla="*/ 166372 h 247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371305" h="247904">
                  <a:moveTo>
                    <a:pt x="371279" y="166372"/>
                  </a:moveTo>
                  <a:cubicBezTo>
                    <a:pt x="365622" y="167401"/>
                    <a:pt x="359863" y="167769"/>
                    <a:pt x="354117" y="167452"/>
                  </a:cubicBezTo>
                  <a:cubicBezTo>
                    <a:pt x="348841" y="167172"/>
                    <a:pt x="343628" y="166258"/>
                    <a:pt x="338566" y="164746"/>
                  </a:cubicBezTo>
                  <a:cubicBezTo>
                    <a:pt x="333645" y="163591"/>
                    <a:pt x="328635" y="162880"/>
                    <a:pt x="323599" y="162638"/>
                  </a:cubicBezTo>
                  <a:cubicBezTo>
                    <a:pt x="316636" y="161559"/>
                    <a:pt x="318196" y="157774"/>
                    <a:pt x="310205" y="163667"/>
                  </a:cubicBezTo>
                  <a:cubicBezTo>
                    <a:pt x="302163" y="169573"/>
                    <a:pt x="296810" y="175503"/>
                    <a:pt x="291420" y="170639"/>
                  </a:cubicBezTo>
                  <a:cubicBezTo>
                    <a:pt x="286067" y="165826"/>
                    <a:pt x="291420" y="167452"/>
                    <a:pt x="277530" y="170639"/>
                  </a:cubicBezTo>
                  <a:cubicBezTo>
                    <a:pt x="263603" y="173890"/>
                    <a:pt x="268410" y="174970"/>
                    <a:pt x="260901" y="178158"/>
                  </a:cubicBezTo>
                  <a:cubicBezTo>
                    <a:pt x="253405" y="181396"/>
                    <a:pt x="246974" y="170639"/>
                    <a:pt x="242167" y="174970"/>
                  </a:cubicBezTo>
                  <a:cubicBezTo>
                    <a:pt x="237309" y="179237"/>
                    <a:pt x="239465" y="177624"/>
                    <a:pt x="234125" y="185130"/>
                  </a:cubicBezTo>
                  <a:cubicBezTo>
                    <a:pt x="228772" y="192648"/>
                    <a:pt x="235736" y="194807"/>
                    <a:pt x="222341" y="193728"/>
                  </a:cubicBezTo>
                  <a:cubicBezTo>
                    <a:pt x="208947" y="192648"/>
                    <a:pt x="214845" y="192648"/>
                    <a:pt x="203556" y="191569"/>
                  </a:cubicBezTo>
                  <a:cubicBezTo>
                    <a:pt x="192331" y="190489"/>
                    <a:pt x="193942" y="186209"/>
                    <a:pt x="185900" y="185676"/>
                  </a:cubicBezTo>
                  <a:cubicBezTo>
                    <a:pt x="177858" y="185143"/>
                    <a:pt x="179469" y="185676"/>
                    <a:pt x="171973" y="178158"/>
                  </a:cubicBezTo>
                  <a:cubicBezTo>
                    <a:pt x="164463" y="170652"/>
                    <a:pt x="159111" y="163667"/>
                    <a:pt x="149496" y="164759"/>
                  </a:cubicBezTo>
                  <a:cubicBezTo>
                    <a:pt x="141809" y="165305"/>
                    <a:pt x="134922" y="169750"/>
                    <a:pt x="131256" y="176545"/>
                  </a:cubicBezTo>
                  <a:cubicBezTo>
                    <a:pt x="126981" y="182984"/>
                    <a:pt x="123747" y="186756"/>
                    <a:pt x="120018" y="187835"/>
                  </a:cubicBezTo>
                  <a:cubicBezTo>
                    <a:pt x="116238" y="188915"/>
                    <a:pt x="120196" y="210149"/>
                    <a:pt x="120196" y="210149"/>
                  </a:cubicBezTo>
                  <a:cubicBezTo>
                    <a:pt x="118395" y="208993"/>
                    <a:pt x="116175" y="208688"/>
                    <a:pt x="114132" y="209298"/>
                  </a:cubicBezTo>
                  <a:cubicBezTo>
                    <a:pt x="109820" y="209844"/>
                    <a:pt x="109274" y="212498"/>
                    <a:pt x="103934" y="210873"/>
                  </a:cubicBezTo>
                  <a:cubicBezTo>
                    <a:pt x="99533" y="208841"/>
                    <a:pt x="94827" y="207571"/>
                    <a:pt x="89995" y="207139"/>
                  </a:cubicBezTo>
                  <a:cubicBezTo>
                    <a:pt x="84109" y="207139"/>
                    <a:pt x="85187" y="208219"/>
                    <a:pt x="81458" y="209298"/>
                  </a:cubicBezTo>
                  <a:cubicBezTo>
                    <a:pt x="77691" y="210327"/>
                    <a:pt x="70182" y="210327"/>
                    <a:pt x="68609" y="211419"/>
                  </a:cubicBezTo>
                  <a:cubicBezTo>
                    <a:pt x="66161" y="214518"/>
                    <a:pt x="64169" y="217959"/>
                    <a:pt x="62673" y="221630"/>
                  </a:cubicBezTo>
                  <a:cubicBezTo>
                    <a:pt x="60897" y="226976"/>
                    <a:pt x="60009" y="232590"/>
                    <a:pt x="60022" y="238229"/>
                  </a:cubicBezTo>
                  <a:cubicBezTo>
                    <a:pt x="60022" y="243093"/>
                    <a:pt x="54669" y="245747"/>
                    <a:pt x="52513" y="247906"/>
                  </a:cubicBezTo>
                  <a:cubicBezTo>
                    <a:pt x="52132" y="243169"/>
                    <a:pt x="51232" y="238495"/>
                    <a:pt x="49824" y="233949"/>
                  </a:cubicBezTo>
                  <a:cubicBezTo>
                    <a:pt x="47173" y="223738"/>
                    <a:pt x="48745" y="226443"/>
                    <a:pt x="41287" y="221630"/>
                  </a:cubicBezTo>
                  <a:cubicBezTo>
                    <a:pt x="35364" y="218785"/>
                    <a:pt x="30759" y="213806"/>
                    <a:pt x="28388" y="207673"/>
                  </a:cubicBezTo>
                  <a:cubicBezTo>
                    <a:pt x="23580" y="198541"/>
                    <a:pt x="20929" y="194274"/>
                    <a:pt x="18773" y="189943"/>
                  </a:cubicBezTo>
                  <a:cubicBezTo>
                    <a:pt x="16617" y="185676"/>
                    <a:pt x="7535" y="177624"/>
                    <a:pt x="8562" y="165826"/>
                  </a:cubicBezTo>
                  <a:cubicBezTo>
                    <a:pt x="9640" y="154040"/>
                    <a:pt x="14498" y="153507"/>
                    <a:pt x="9107" y="145988"/>
                  </a:cubicBezTo>
                  <a:cubicBezTo>
                    <a:pt x="3755" y="138470"/>
                    <a:pt x="-2663" y="146522"/>
                    <a:pt x="1104" y="139550"/>
                  </a:cubicBezTo>
                  <a:cubicBezTo>
                    <a:pt x="4009" y="134584"/>
                    <a:pt x="7611" y="130076"/>
                    <a:pt x="11796" y="126138"/>
                  </a:cubicBezTo>
                  <a:cubicBezTo>
                    <a:pt x="14993" y="122366"/>
                    <a:pt x="17149" y="116474"/>
                    <a:pt x="23035" y="109501"/>
                  </a:cubicBezTo>
                  <a:cubicBezTo>
                    <a:pt x="27220" y="104548"/>
                    <a:pt x="31482" y="101754"/>
                    <a:pt x="33334" y="98783"/>
                  </a:cubicBezTo>
                  <a:cubicBezTo>
                    <a:pt x="34324" y="98872"/>
                    <a:pt x="41554" y="99329"/>
                    <a:pt x="45017" y="99329"/>
                  </a:cubicBezTo>
                  <a:cubicBezTo>
                    <a:pt x="48936" y="98986"/>
                    <a:pt x="52754" y="97894"/>
                    <a:pt x="56255" y="96090"/>
                  </a:cubicBezTo>
                  <a:cubicBezTo>
                    <a:pt x="62140" y="93969"/>
                    <a:pt x="57866" y="90198"/>
                    <a:pt x="62140" y="88572"/>
                  </a:cubicBezTo>
                  <a:cubicBezTo>
                    <a:pt x="66453" y="86997"/>
                    <a:pt x="64829" y="93969"/>
                    <a:pt x="68609" y="96090"/>
                  </a:cubicBezTo>
                  <a:cubicBezTo>
                    <a:pt x="72338" y="98249"/>
                    <a:pt x="73949" y="94515"/>
                    <a:pt x="80380" y="92890"/>
                  </a:cubicBezTo>
                  <a:cubicBezTo>
                    <a:pt x="86811" y="91277"/>
                    <a:pt x="85187" y="89651"/>
                    <a:pt x="90540" y="85384"/>
                  </a:cubicBezTo>
                  <a:cubicBezTo>
                    <a:pt x="95880" y="81104"/>
                    <a:pt x="102349" y="85918"/>
                    <a:pt x="109820" y="84838"/>
                  </a:cubicBezTo>
                  <a:cubicBezTo>
                    <a:pt x="117316" y="83759"/>
                    <a:pt x="121096" y="77866"/>
                    <a:pt x="127515" y="75707"/>
                  </a:cubicBezTo>
                  <a:cubicBezTo>
                    <a:pt x="133945" y="73586"/>
                    <a:pt x="132335" y="65534"/>
                    <a:pt x="131789" y="62842"/>
                  </a:cubicBezTo>
                  <a:cubicBezTo>
                    <a:pt x="131256" y="60175"/>
                    <a:pt x="130178" y="60175"/>
                    <a:pt x="133945" y="54777"/>
                  </a:cubicBezTo>
                  <a:cubicBezTo>
                    <a:pt x="137674" y="49430"/>
                    <a:pt x="150524" y="55857"/>
                    <a:pt x="153758" y="54777"/>
                  </a:cubicBezTo>
                  <a:cubicBezTo>
                    <a:pt x="159377" y="53482"/>
                    <a:pt x="165123" y="52771"/>
                    <a:pt x="170894" y="52669"/>
                  </a:cubicBezTo>
                  <a:cubicBezTo>
                    <a:pt x="179469" y="52123"/>
                    <a:pt x="176285" y="48351"/>
                    <a:pt x="180014" y="46776"/>
                  </a:cubicBezTo>
                  <a:cubicBezTo>
                    <a:pt x="183743" y="45150"/>
                    <a:pt x="184822" y="42458"/>
                    <a:pt x="187510" y="40337"/>
                  </a:cubicBezTo>
                  <a:cubicBezTo>
                    <a:pt x="189933" y="38140"/>
                    <a:pt x="191772" y="35372"/>
                    <a:pt x="192863" y="32285"/>
                  </a:cubicBezTo>
                  <a:cubicBezTo>
                    <a:pt x="195020" y="27967"/>
                    <a:pt x="199827" y="26926"/>
                    <a:pt x="202529" y="25313"/>
                  </a:cubicBezTo>
                  <a:cubicBezTo>
                    <a:pt x="205180" y="23687"/>
                    <a:pt x="206258" y="21528"/>
                    <a:pt x="208947" y="13515"/>
                  </a:cubicBezTo>
                  <a:cubicBezTo>
                    <a:pt x="211598" y="5463"/>
                    <a:pt x="208947" y="13515"/>
                    <a:pt x="214845" y="8663"/>
                  </a:cubicBezTo>
                  <a:cubicBezTo>
                    <a:pt x="220731" y="3850"/>
                    <a:pt x="211598" y="6543"/>
                    <a:pt x="221809" y="2225"/>
                  </a:cubicBezTo>
                  <a:cubicBezTo>
                    <a:pt x="231956" y="-2043"/>
                    <a:pt x="229305" y="1145"/>
                    <a:pt x="240010" y="1145"/>
                  </a:cubicBezTo>
                  <a:cubicBezTo>
                    <a:pt x="241431" y="1094"/>
                    <a:pt x="242852" y="1272"/>
                    <a:pt x="244234" y="1640"/>
                  </a:cubicBezTo>
                  <a:cubicBezTo>
                    <a:pt x="250297" y="3164"/>
                    <a:pt x="249853" y="8790"/>
                    <a:pt x="256639" y="17795"/>
                  </a:cubicBezTo>
                  <a:cubicBezTo>
                    <a:pt x="264631" y="28501"/>
                    <a:pt x="267865" y="37099"/>
                    <a:pt x="265709" y="43538"/>
                  </a:cubicBezTo>
                  <a:cubicBezTo>
                    <a:pt x="263603" y="49964"/>
                    <a:pt x="260901" y="45697"/>
                    <a:pt x="260369" y="50510"/>
                  </a:cubicBezTo>
                  <a:cubicBezTo>
                    <a:pt x="259823" y="55323"/>
                    <a:pt x="264631" y="54777"/>
                    <a:pt x="261447" y="55857"/>
                  </a:cubicBezTo>
                  <a:cubicBezTo>
                    <a:pt x="258212" y="56936"/>
                    <a:pt x="258745" y="58562"/>
                    <a:pt x="258745" y="60721"/>
                  </a:cubicBezTo>
                  <a:cubicBezTo>
                    <a:pt x="258745" y="62842"/>
                    <a:pt x="261447" y="61267"/>
                    <a:pt x="268410" y="62296"/>
                  </a:cubicBezTo>
                  <a:cubicBezTo>
                    <a:pt x="272596" y="62448"/>
                    <a:pt x="276465" y="64594"/>
                    <a:pt x="278837" y="68061"/>
                  </a:cubicBezTo>
                  <a:cubicBezTo>
                    <a:pt x="279496" y="69281"/>
                    <a:pt x="279953" y="70601"/>
                    <a:pt x="280181" y="71973"/>
                  </a:cubicBezTo>
                  <a:cubicBezTo>
                    <a:pt x="281260" y="77866"/>
                    <a:pt x="283961" y="74132"/>
                    <a:pt x="291952" y="75161"/>
                  </a:cubicBezTo>
                  <a:cubicBezTo>
                    <a:pt x="299994" y="76240"/>
                    <a:pt x="300539" y="79479"/>
                    <a:pt x="308049" y="86997"/>
                  </a:cubicBezTo>
                  <a:cubicBezTo>
                    <a:pt x="315545" y="94515"/>
                    <a:pt x="310737" y="93436"/>
                    <a:pt x="311283" y="100954"/>
                  </a:cubicBezTo>
                  <a:cubicBezTo>
                    <a:pt x="311777" y="108460"/>
                    <a:pt x="318196" y="106847"/>
                    <a:pt x="324678" y="108460"/>
                  </a:cubicBezTo>
                  <a:cubicBezTo>
                    <a:pt x="331096" y="110035"/>
                    <a:pt x="331096" y="111114"/>
                    <a:pt x="338554" y="120792"/>
                  </a:cubicBezTo>
                  <a:cubicBezTo>
                    <a:pt x="346063" y="130418"/>
                    <a:pt x="340710" y="127764"/>
                    <a:pt x="344490" y="135282"/>
                  </a:cubicBezTo>
                  <a:cubicBezTo>
                    <a:pt x="348219" y="142750"/>
                    <a:pt x="348219" y="140096"/>
                    <a:pt x="351454" y="141709"/>
                  </a:cubicBezTo>
                  <a:cubicBezTo>
                    <a:pt x="354840" y="143830"/>
                    <a:pt x="358430" y="145633"/>
                    <a:pt x="362159" y="147068"/>
                  </a:cubicBezTo>
                  <a:cubicBezTo>
                    <a:pt x="370201" y="150268"/>
                    <a:pt x="365888" y="149189"/>
                    <a:pt x="366421" y="155120"/>
                  </a:cubicBezTo>
                  <a:cubicBezTo>
                    <a:pt x="366459" y="159374"/>
                    <a:pt x="368209" y="163426"/>
                    <a:pt x="371279" y="166372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5" name="Vrije vorm 364">
              <a:extLst>
                <a:ext uri="{FF2B5EF4-FFF2-40B4-BE49-F238E27FC236}">
                  <a16:creationId xmlns:a16="http://schemas.microsoft.com/office/drawing/2014/main" id="{FE5811A2-B41A-E84B-8280-40CE1A5D0FA3}"/>
                </a:ext>
              </a:extLst>
            </p:cNvPr>
            <p:cNvSpPr/>
            <p:nvPr/>
          </p:nvSpPr>
          <p:spPr>
            <a:xfrm>
              <a:off x="5332886" y="3964521"/>
              <a:ext cx="225678" cy="165758"/>
            </a:xfrm>
            <a:custGeom>
              <a:avLst/>
              <a:gdLst>
                <a:gd name="connsiteX0" fmla="*/ 224131 w 225678"/>
                <a:gd name="connsiteY0" fmla="*/ 98272 h 165758"/>
                <a:gd name="connsiteX1" fmla="*/ 214465 w 225678"/>
                <a:gd name="connsiteY1" fmla="*/ 108432 h 165758"/>
                <a:gd name="connsiteX2" fmla="*/ 199498 w 225678"/>
                <a:gd name="connsiteY2" fmla="*/ 108432 h 165758"/>
                <a:gd name="connsiteX3" fmla="*/ 187194 w 225678"/>
                <a:gd name="connsiteY3" fmla="*/ 114871 h 165758"/>
                <a:gd name="connsiteX4" fmla="*/ 185482 w 225678"/>
                <a:gd name="connsiteY4" fmla="*/ 118249 h 165758"/>
                <a:gd name="connsiteX5" fmla="*/ 162524 w 225678"/>
                <a:gd name="connsiteY5" fmla="*/ 116496 h 165758"/>
                <a:gd name="connsiteX6" fmla="*/ 156638 w 225678"/>
                <a:gd name="connsiteY6" fmla="*/ 116128 h 165758"/>
                <a:gd name="connsiteX7" fmla="*/ 156638 w 225678"/>
                <a:gd name="connsiteY7" fmla="*/ 115862 h 165758"/>
                <a:gd name="connsiteX8" fmla="*/ 148051 w 225678"/>
                <a:gd name="connsiteY8" fmla="*/ 113296 h 165758"/>
                <a:gd name="connsiteX9" fmla="*/ 132551 w 225678"/>
                <a:gd name="connsiteY9" fmla="*/ 118643 h 165758"/>
                <a:gd name="connsiteX10" fmla="*/ 93407 w 225678"/>
                <a:gd name="connsiteY10" fmla="*/ 118656 h 165758"/>
                <a:gd name="connsiteX11" fmla="*/ 79467 w 225678"/>
                <a:gd name="connsiteY11" fmla="*/ 119189 h 165758"/>
                <a:gd name="connsiteX12" fmla="*/ 77895 w 225678"/>
                <a:gd name="connsiteY12" fmla="*/ 133134 h 165758"/>
                <a:gd name="connsiteX13" fmla="*/ 81091 w 225678"/>
                <a:gd name="connsiteY13" fmla="*/ 164769 h 165758"/>
                <a:gd name="connsiteX14" fmla="*/ 81231 w 225678"/>
                <a:gd name="connsiteY14" fmla="*/ 165760 h 165758"/>
                <a:gd name="connsiteX15" fmla="*/ 71476 w 225678"/>
                <a:gd name="connsiteY15" fmla="*/ 156717 h 165758"/>
                <a:gd name="connsiteX16" fmla="*/ 50573 w 225678"/>
                <a:gd name="connsiteY16" fmla="*/ 150278 h 165758"/>
                <a:gd name="connsiteX17" fmla="*/ 34489 w 225678"/>
                <a:gd name="connsiteY17" fmla="*/ 156717 h 165758"/>
                <a:gd name="connsiteX18" fmla="*/ 24330 w 225678"/>
                <a:gd name="connsiteY18" fmla="*/ 155143 h 165758"/>
                <a:gd name="connsiteX19" fmla="*/ 15209 w 225678"/>
                <a:gd name="connsiteY19" fmla="*/ 146011 h 165758"/>
                <a:gd name="connsiteX20" fmla="*/ 2360 w 225678"/>
                <a:gd name="connsiteY20" fmla="*/ 138493 h 165758"/>
                <a:gd name="connsiteX21" fmla="*/ 14 w 225678"/>
                <a:gd name="connsiteY21" fmla="*/ 137236 h 165758"/>
                <a:gd name="connsiteX22" fmla="*/ -24 w 225678"/>
                <a:gd name="connsiteY22" fmla="*/ 137185 h 165758"/>
                <a:gd name="connsiteX23" fmla="*/ 2893 w 225678"/>
                <a:gd name="connsiteY23" fmla="*/ 120802 h 165758"/>
                <a:gd name="connsiteX24" fmla="*/ 9324 w 225678"/>
                <a:gd name="connsiteY24" fmla="*/ 106857 h 165758"/>
                <a:gd name="connsiteX25" fmla="*/ 9857 w 225678"/>
                <a:gd name="connsiteY25" fmla="*/ 91287 h 165758"/>
                <a:gd name="connsiteX26" fmla="*/ 25902 w 225678"/>
                <a:gd name="connsiteY26" fmla="*/ 84315 h 165758"/>
                <a:gd name="connsiteX27" fmla="*/ 31293 w 225678"/>
                <a:gd name="connsiteY27" fmla="*/ 69824 h 165758"/>
                <a:gd name="connsiteX28" fmla="*/ 36646 w 225678"/>
                <a:gd name="connsiteY28" fmla="*/ 54254 h 165758"/>
                <a:gd name="connsiteX29" fmla="*/ 47339 w 225678"/>
                <a:gd name="connsiteY29" fmla="*/ 46786 h 165758"/>
                <a:gd name="connsiteX30" fmla="*/ 62344 w 225678"/>
                <a:gd name="connsiteY30" fmla="*/ 54254 h 165758"/>
                <a:gd name="connsiteX31" fmla="*/ 67151 w 225678"/>
                <a:gd name="connsiteY31" fmla="*/ 40843 h 165758"/>
                <a:gd name="connsiteX32" fmla="*/ 74115 w 225678"/>
                <a:gd name="connsiteY32" fmla="*/ 40347 h 165758"/>
                <a:gd name="connsiteX33" fmla="*/ 84858 w 225678"/>
                <a:gd name="connsiteY33" fmla="*/ 27444 h 165758"/>
                <a:gd name="connsiteX34" fmla="*/ 97720 w 225678"/>
                <a:gd name="connsiteY34" fmla="*/ 26949 h 165758"/>
                <a:gd name="connsiteX35" fmla="*/ 103606 w 225678"/>
                <a:gd name="connsiteY35" fmla="*/ 17271 h 165758"/>
                <a:gd name="connsiteX36" fmla="*/ 120184 w 225678"/>
                <a:gd name="connsiteY36" fmla="*/ 12458 h 165758"/>
                <a:gd name="connsiteX37" fmla="*/ 142698 w 225678"/>
                <a:gd name="connsiteY37" fmla="*/ 88 h 165758"/>
                <a:gd name="connsiteX38" fmla="*/ 157716 w 225678"/>
                <a:gd name="connsiteY38" fmla="*/ 1701 h 165758"/>
                <a:gd name="connsiteX39" fmla="*/ 164591 w 225678"/>
                <a:gd name="connsiteY39" fmla="*/ 2870 h 165758"/>
                <a:gd name="connsiteX40" fmla="*/ 169487 w 225678"/>
                <a:gd name="connsiteY40" fmla="*/ 30683 h 165758"/>
                <a:gd name="connsiteX41" fmla="*/ 180231 w 225678"/>
                <a:gd name="connsiteY41" fmla="*/ 41389 h 165758"/>
                <a:gd name="connsiteX42" fmla="*/ 185038 w 225678"/>
                <a:gd name="connsiteY42" fmla="*/ 52146 h 165758"/>
                <a:gd name="connsiteX43" fmla="*/ 195185 w 225678"/>
                <a:gd name="connsiteY43" fmla="*/ 67665 h 165758"/>
                <a:gd name="connsiteX44" fmla="*/ 211281 w 225678"/>
                <a:gd name="connsiteY44" fmla="*/ 68757 h 165758"/>
                <a:gd name="connsiteX45" fmla="*/ 221429 w 225678"/>
                <a:gd name="connsiteY45" fmla="*/ 74650 h 165758"/>
                <a:gd name="connsiteX46" fmla="*/ 217700 w 225678"/>
                <a:gd name="connsiteY46" fmla="*/ 81076 h 165758"/>
                <a:gd name="connsiteX47" fmla="*/ 225615 w 225678"/>
                <a:gd name="connsiteY47" fmla="*/ 93459 h 165758"/>
                <a:gd name="connsiteX48" fmla="*/ 224131 w 225678"/>
                <a:gd name="connsiteY48" fmla="*/ 98272 h 165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225678" h="165758">
                  <a:moveTo>
                    <a:pt x="224131" y="98272"/>
                  </a:moveTo>
                  <a:cubicBezTo>
                    <a:pt x="221429" y="101460"/>
                    <a:pt x="218778" y="107899"/>
                    <a:pt x="214465" y="108432"/>
                  </a:cubicBezTo>
                  <a:cubicBezTo>
                    <a:pt x="210203" y="108978"/>
                    <a:pt x="205929" y="106324"/>
                    <a:pt x="199498" y="108432"/>
                  </a:cubicBezTo>
                  <a:cubicBezTo>
                    <a:pt x="193080" y="110591"/>
                    <a:pt x="187676" y="110591"/>
                    <a:pt x="187194" y="114871"/>
                  </a:cubicBezTo>
                  <a:cubicBezTo>
                    <a:pt x="187080" y="116179"/>
                    <a:pt x="186459" y="117386"/>
                    <a:pt x="185482" y="118249"/>
                  </a:cubicBezTo>
                  <a:cubicBezTo>
                    <a:pt x="177935" y="118833"/>
                    <a:pt x="170603" y="116001"/>
                    <a:pt x="162524" y="116496"/>
                  </a:cubicBezTo>
                  <a:cubicBezTo>
                    <a:pt x="160558" y="116573"/>
                    <a:pt x="158579" y="116458"/>
                    <a:pt x="156638" y="116128"/>
                  </a:cubicBezTo>
                  <a:lnTo>
                    <a:pt x="156638" y="115862"/>
                  </a:lnTo>
                  <a:cubicBezTo>
                    <a:pt x="152630" y="114553"/>
                    <a:pt x="150753" y="112128"/>
                    <a:pt x="148051" y="113296"/>
                  </a:cubicBezTo>
                  <a:cubicBezTo>
                    <a:pt x="143193" y="115874"/>
                    <a:pt x="137954" y="117678"/>
                    <a:pt x="132551" y="118643"/>
                  </a:cubicBezTo>
                  <a:cubicBezTo>
                    <a:pt x="126615" y="119189"/>
                    <a:pt x="102527" y="118109"/>
                    <a:pt x="93407" y="118656"/>
                  </a:cubicBezTo>
                  <a:cubicBezTo>
                    <a:pt x="84325" y="119189"/>
                    <a:pt x="81636" y="117030"/>
                    <a:pt x="79467" y="119189"/>
                  </a:cubicBezTo>
                  <a:cubicBezTo>
                    <a:pt x="77362" y="121348"/>
                    <a:pt x="76817" y="124002"/>
                    <a:pt x="77895" y="133134"/>
                  </a:cubicBezTo>
                  <a:cubicBezTo>
                    <a:pt x="78973" y="142227"/>
                    <a:pt x="80013" y="157251"/>
                    <a:pt x="81091" y="164769"/>
                  </a:cubicBezTo>
                  <a:cubicBezTo>
                    <a:pt x="81129" y="165087"/>
                    <a:pt x="81180" y="165404"/>
                    <a:pt x="81231" y="165760"/>
                  </a:cubicBezTo>
                  <a:cubicBezTo>
                    <a:pt x="81002" y="164909"/>
                    <a:pt x="79569" y="161175"/>
                    <a:pt x="71476" y="156717"/>
                  </a:cubicBezTo>
                  <a:cubicBezTo>
                    <a:pt x="60505" y="150736"/>
                    <a:pt x="60733" y="148666"/>
                    <a:pt x="50573" y="150278"/>
                  </a:cubicBezTo>
                  <a:cubicBezTo>
                    <a:pt x="40375" y="151904"/>
                    <a:pt x="40920" y="155638"/>
                    <a:pt x="34489" y="156717"/>
                  </a:cubicBezTo>
                  <a:cubicBezTo>
                    <a:pt x="28058" y="157797"/>
                    <a:pt x="29137" y="159410"/>
                    <a:pt x="24330" y="155143"/>
                  </a:cubicBezTo>
                  <a:cubicBezTo>
                    <a:pt x="19484" y="150825"/>
                    <a:pt x="21095" y="151358"/>
                    <a:pt x="15209" y="146011"/>
                  </a:cubicBezTo>
                  <a:cubicBezTo>
                    <a:pt x="11518" y="142608"/>
                    <a:pt x="7130" y="140042"/>
                    <a:pt x="2360" y="138493"/>
                  </a:cubicBezTo>
                  <a:cubicBezTo>
                    <a:pt x="1498" y="138087"/>
                    <a:pt x="737" y="137642"/>
                    <a:pt x="14" y="137236"/>
                  </a:cubicBezTo>
                  <a:lnTo>
                    <a:pt x="-24" y="137185"/>
                  </a:lnTo>
                  <a:cubicBezTo>
                    <a:pt x="-75" y="131597"/>
                    <a:pt x="914" y="126034"/>
                    <a:pt x="2893" y="120802"/>
                  </a:cubicBezTo>
                  <a:cubicBezTo>
                    <a:pt x="6622" y="110058"/>
                    <a:pt x="9324" y="117030"/>
                    <a:pt x="9324" y="106857"/>
                  </a:cubicBezTo>
                  <a:cubicBezTo>
                    <a:pt x="9324" y="96646"/>
                    <a:pt x="1269" y="96646"/>
                    <a:pt x="9857" y="91287"/>
                  </a:cubicBezTo>
                  <a:cubicBezTo>
                    <a:pt x="18444" y="85928"/>
                    <a:pt x="21628" y="90754"/>
                    <a:pt x="25902" y="84315"/>
                  </a:cubicBezTo>
                  <a:cubicBezTo>
                    <a:pt x="30215" y="77876"/>
                    <a:pt x="28058" y="74637"/>
                    <a:pt x="31293" y="69824"/>
                  </a:cubicBezTo>
                  <a:cubicBezTo>
                    <a:pt x="34489" y="65011"/>
                    <a:pt x="30760" y="60693"/>
                    <a:pt x="36646" y="54254"/>
                  </a:cubicBezTo>
                  <a:cubicBezTo>
                    <a:pt x="42531" y="47828"/>
                    <a:pt x="40907" y="45707"/>
                    <a:pt x="47339" y="46786"/>
                  </a:cubicBezTo>
                  <a:cubicBezTo>
                    <a:pt x="53769" y="47828"/>
                    <a:pt x="55380" y="57492"/>
                    <a:pt x="62344" y="54254"/>
                  </a:cubicBezTo>
                  <a:cubicBezTo>
                    <a:pt x="69308" y="51066"/>
                    <a:pt x="63422" y="43002"/>
                    <a:pt x="67151" y="40843"/>
                  </a:cubicBezTo>
                  <a:cubicBezTo>
                    <a:pt x="70931" y="38734"/>
                    <a:pt x="67151" y="49440"/>
                    <a:pt x="74115" y="40347"/>
                  </a:cubicBezTo>
                  <a:cubicBezTo>
                    <a:pt x="81091" y="31216"/>
                    <a:pt x="75738" y="30683"/>
                    <a:pt x="84858" y="27444"/>
                  </a:cubicBezTo>
                  <a:cubicBezTo>
                    <a:pt x="93940" y="24244"/>
                    <a:pt x="90744" y="33375"/>
                    <a:pt x="97720" y="26949"/>
                  </a:cubicBezTo>
                  <a:cubicBezTo>
                    <a:pt x="104684" y="20472"/>
                    <a:pt x="94485" y="19964"/>
                    <a:pt x="103606" y="17271"/>
                  </a:cubicBezTo>
                  <a:cubicBezTo>
                    <a:pt x="112726" y="14566"/>
                    <a:pt x="110569" y="17271"/>
                    <a:pt x="120184" y="12458"/>
                  </a:cubicBezTo>
                  <a:cubicBezTo>
                    <a:pt x="129849" y="7594"/>
                    <a:pt x="133083" y="-953"/>
                    <a:pt x="142698" y="88"/>
                  </a:cubicBezTo>
                  <a:cubicBezTo>
                    <a:pt x="147734" y="342"/>
                    <a:pt x="152744" y="888"/>
                    <a:pt x="157716" y="1701"/>
                  </a:cubicBezTo>
                  <a:cubicBezTo>
                    <a:pt x="159999" y="2196"/>
                    <a:pt x="162244" y="2603"/>
                    <a:pt x="164591" y="2870"/>
                  </a:cubicBezTo>
                  <a:cubicBezTo>
                    <a:pt x="164287" y="12382"/>
                    <a:pt x="165948" y="21856"/>
                    <a:pt x="169487" y="30683"/>
                  </a:cubicBezTo>
                  <a:cubicBezTo>
                    <a:pt x="171643" y="39281"/>
                    <a:pt x="175905" y="38201"/>
                    <a:pt x="180231" y="41389"/>
                  </a:cubicBezTo>
                  <a:cubicBezTo>
                    <a:pt x="184493" y="44627"/>
                    <a:pt x="187689" y="46253"/>
                    <a:pt x="185038" y="52146"/>
                  </a:cubicBezTo>
                  <a:cubicBezTo>
                    <a:pt x="182336" y="58038"/>
                    <a:pt x="189300" y="62318"/>
                    <a:pt x="195185" y="67665"/>
                  </a:cubicBezTo>
                  <a:cubicBezTo>
                    <a:pt x="201071" y="73075"/>
                    <a:pt x="204305" y="71450"/>
                    <a:pt x="211281" y="68757"/>
                  </a:cubicBezTo>
                  <a:cubicBezTo>
                    <a:pt x="218245" y="66103"/>
                    <a:pt x="217167" y="66636"/>
                    <a:pt x="221429" y="74650"/>
                  </a:cubicBezTo>
                  <a:cubicBezTo>
                    <a:pt x="225742" y="82702"/>
                    <a:pt x="218778" y="77342"/>
                    <a:pt x="217700" y="81076"/>
                  </a:cubicBezTo>
                  <a:cubicBezTo>
                    <a:pt x="216850" y="84137"/>
                    <a:pt x="222964" y="90296"/>
                    <a:pt x="225615" y="93459"/>
                  </a:cubicBezTo>
                  <a:cubicBezTo>
                    <a:pt x="225805" y="95199"/>
                    <a:pt x="225272" y="96939"/>
                    <a:pt x="224131" y="98272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6" name="Vrije vorm 365">
              <a:extLst>
                <a:ext uri="{FF2B5EF4-FFF2-40B4-BE49-F238E27FC236}">
                  <a16:creationId xmlns:a16="http://schemas.microsoft.com/office/drawing/2014/main" id="{D31AC202-8B58-E04E-80DC-08CF5E35E5B6}"/>
                </a:ext>
              </a:extLst>
            </p:cNvPr>
            <p:cNvSpPr/>
            <p:nvPr/>
          </p:nvSpPr>
          <p:spPr>
            <a:xfrm>
              <a:off x="6054066" y="4903443"/>
              <a:ext cx="264255" cy="281715"/>
            </a:xfrm>
            <a:custGeom>
              <a:avLst/>
              <a:gdLst>
                <a:gd name="connsiteX0" fmla="*/ 264230 w 264255"/>
                <a:gd name="connsiteY0" fmla="*/ 136069 h 281715"/>
                <a:gd name="connsiteX1" fmla="*/ 264192 w 264255"/>
                <a:gd name="connsiteY1" fmla="*/ 136069 h 281715"/>
                <a:gd name="connsiteX2" fmla="*/ 256683 w 264255"/>
                <a:gd name="connsiteY2" fmla="*/ 140387 h 281715"/>
                <a:gd name="connsiteX3" fmla="*/ 242210 w 264255"/>
                <a:gd name="connsiteY3" fmla="*/ 148401 h 281715"/>
                <a:gd name="connsiteX4" fmla="*/ 229894 w 264255"/>
                <a:gd name="connsiteY4" fmla="*/ 160770 h 281715"/>
                <a:gd name="connsiteX5" fmla="*/ 216512 w 264255"/>
                <a:gd name="connsiteY5" fmla="*/ 168784 h 281715"/>
                <a:gd name="connsiteX6" fmla="*/ 206352 w 264255"/>
                <a:gd name="connsiteY6" fmla="*/ 175211 h 281715"/>
                <a:gd name="connsiteX7" fmla="*/ 200466 w 264255"/>
                <a:gd name="connsiteY7" fmla="*/ 192406 h 281715"/>
                <a:gd name="connsiteX8" fmla="*/ 190801 w 264255"/>
                <a:gd name="connsiteY8" fmla="*/ 205818 h 281715"/>
                <a:gd name="connsiteX9" fmla="*/ 169910 w 264255"/>
                <a:gd name="connsiteY9" fmla="*/ 216524 h 281715"/>
                <a:gd name="connsiteX10" fmla="*/ 164557 w 264255"/>
                <a:gd name="connsiteY10" fmla="*/ 236374 h 281715"/>
                <a:gd name="connsiteX11" fmla="*/ 146850 w 264255"/>
                <a:gd name="connsiteY11" fmla="*/ 247118 h 281715"/>
                <a:gd name="connsiteX12" fmla="*/ 127570 w 264255"/>
                <a:gd name="connsiteY12" fmla="*/ 245505 h 281715"/>
                <a:gd name="connsiteX13" fmla="*/ 112603 w 264255"/>
                <a:gd name="connsiteY13" fmla="*/ 237987 h 281715"/>
                <a:gd name="connsiteX14" fmla="*/ 94350 w 264255"/>
                <a:gd name="connsiteY14" fmla="*/ 231548 h 281715"/>
                <a:gd name="connsiteX15" fmla="*/ 83658 w 264255"/>
                <a:gd name="connsiteY15" fmla="*/ 236907 h 281715"/>
                <a:gd name="connsiteX16" fmla="*/ 78317 w 264255"/>
                <a:gd name="connsiteY16" fmla="*/ 256211 h 281715"/>
                <a:gd name="connsiteX17" fmla="*/ 61143 w 264255"/>
                <a:gd name="connsiteY17" fmla="*/ 271235 h 281715"/>
                <a:gd name="connsiteX18" fmla="*/ 49905 w 264255"/>
                <a:gd name="connsiteY18" fmla="*/ 281459 h 281715"/>
                <a:gd name="connsiteX19" fmla="*/ 26313 w 264255"/>
                <a:gd name="connsiteY19" fmla="*/ 278220 h 281715"/>
                <a:gd name="connsiteX20" fmla="*/ 24207 w 264255"/>
                <a:gd name="connsiteY20" fmla="*/ 266968 h 281715"/>
                <a:gd name="connsiteX21" fmla="*/ 24207 w 264255"/>
                <a:gd name="connsiteY21" fmla="*/ 237987 h 281715"/>
                <a:gd name="connsiteX22" fmla="*/ 10280 w 264255"/>
                <a:gd name="connsiteY22" fmla="*/ 218683 h 281715"/>
                <a:gd name="connsiteX23" fmla="*/ 5155 w 264255"/>
                <a:gd name="connsiteY23" fmla="*/ 215216 h 281715"/>
                <a:gd name="connsiteX24" fmla="*/ 614 w 264255"/>
                <a:gd name="connsiteY24" fmla="*/ 174182 h 281715"/>
                <a:gd name="connsiteX25" fmla="*/ 10812 w 264255"/>
                <a:gd name="connsiteY25" fmla="*/ 131256 h 281715"/>
                <a:gd name="connsiteX26" fmla="*/ 31171 w 264255"/>
                <a:gd name="connsiteY26" fmla="*/ 127471 h 281715"/>
                <a:gd name="connsiteX27" fmla="*/ 30092 w 264255"/>
                <a:gd name="connsiteY27" fmla="*/ 48642 h 281715"/>
                <a:gd name="connsiteX28" fmla="*/ 65951 w 264255"/>
                <a:gd name="connsiteY28" fmla="*/ 9501 h 281715"/>
                <a:gd name="connsiteX29" fmla="*/ 98130 w 264255"/>
                <a:gd name="connsiteY29" fmla="*/ 10034 h 281715"/>
                <a:gd name="connsiteX30" fmla="*/ 102937 w 264255"/>
                <a:gd name="connsiteY30" fmla="*/ 21287 h 281715"/>
                <a:gd name="connsiteX31" fmla="*/ 113643 w 264255"/>
                <a:gd name="connsiteY31" fmla="*/ 15940 h 281715"/>
                <a:gd name="connsiteX32" fmla="*/ 127025 w 264255"/>
                <a:gd name="connsiteY32" fmla="*/ 6262 h 281715"/>
                <a:gd name="connsiteX33" fmla="*/ 132961 w 264255"/>
                <a:gd name="connsiteY33" fmla="*/ 11114 h 281715"/>
                <a:gd name="connsiteX34" fmla="*/ 144732 w 264255"/>
                <a:gd name="connsiteY34" fmla="*/ 5221 h 281715"/>
                <a:gd name="connsiteX35" fmla="*/ 148512 w 264255"/>
                <a:gd name="connsiteY35" fmla="*/ 1 h 281715"/>
                <a:gd name="connsiteX36" fmla="*/ 152063 w 264255"/>
                <a:gd name="connsiteY36" fmla="*/ 2884 h 281715"/>
                <a:gd name="connsiteX37" fmla="*/ 166168 w 264255"/>
                <a:gd name="connsiteY37" fmla="*/ 37403 h 281715"/>
                <a:gd name="connsiteX38" fmla="*/ 188644 w 264255"/>
                <a:gd name="connsiteY38" fmla="*/ 59894 h 281715"/>
                <a:gd name="connsiteX39" fmla="*/ 204728 w 264255"/>
                <a:gd name="connsiteY39" fmla="*/ 70651 h 281715"/>
                <a:gd name="connsiteX40" fmla="*/ 210081 w 264255"/>
                <a:gd name="connsiteY40" fmla="*/ 82437 h 281715"/>
                <a:gd name="connsiteX41" fmla="*/ 220774 w 264255"/>
                <a:gd name="connsiteY41" fmla="*/ 86717 h 281715"/>
                <a:gd name="connsiteX42" fmla="*/ 226164 w 264255"/>
                <a:gd name="connsiteY42" fmla="*/ 103367 h 281715"/>
                <a:gd name="connsiteX43" fmla="*/ 234701 w 264255"/>
                <a:gd name="connsiteY43" fmla="*/ 116765 h 281715"/>
                <a:gd name="connsiteX44" fmla="*/ 256137 w 264255"/>
                <a:gd name="connsiteY44" fmla="*/ 122658 h 281715"/>
                <a:gd name="connsiteX45" fmla="*/ 264230 w 264255"/>
                <a:gd name="connsiteY45" fmla="*/ 136069 h 281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264255" h="281715">
                  <a:moveTo>
                    <a:pt x="264230" y="136069"/>
                  </a:moveTo>
                  <a:lnTo>
                    <a:pt x="264192" y="136069"/>
                  </a:lnTo>
                  <a:cubicBezTo>
                    <a:pt x="262035" y="137149"/>
                    <a:pt x="260995" y="133910"/>
                    <a:pt x="256683" y="140387"/>
                  </a:cubicBezTo>
                  <a:cubicBezTo>
                    <a:pt x="252408" y="146826"/>
                    <a:pt x="255059" y="145200"/>
                    <a:pt x="242210" y="148401"/>
                  </a:cubicBezTo>
                  <a:cubicBezTo>
                    <a:pt x="229361" y="151639"/>
                    <a:pt x="236870" y="156452"/>
                    <a:pt x="229894" y="160770"/>
                  </a:cubicBezTo>
                  <a:cubicBezTo>
                    <a:pt x="225162" y="162955"/>
                    <a:pt x="220672" y="165647"/>
                    <a:pt x="216512" y="168784"/>
                  </a:cubicBezTo>
                  <a:cubicBezTo>
                    <a:pt x="211692" y="173102"/>
                    <a:pt x="210081" y="167210"/>
                    <a:pt x="206352" y="175211"/>
                  </a:cubicBezTo>
                  <a:cubicBezTo>
                    <a:pt x="203967" y="180799"/>
                    <a:pt x="202001" y="186539"/>
                    <a:pt x="200466" y="192406"/>
                  </a:cubicBezTo>
                  <a:cubicBezTo>
                    <a:pt x="198310" y="198299"/>
                    <a:pt x="198843" y="203658"/>
                    <a:pt x="190801" y="205818"/>
                  </a:cubicBezTo>
                  <a:cubicBezTo>
                    <a:pt x="182937" y="207265"/>
                    <a:pt x="175669" y="210986"/>
                    <a:pt x="169910" y="216524"/>
                  </a:cubicBezTo>
                  <a:cubicBezTo>
                    <a:pt x="166714" y="221388"/>
                    <a:pt x="170443" y="231548"/>
                    <a:pt x="164557" y="236374"/>
                  </a:cubicBezTo>
                  <a:cubicBezTo>
                    <a:pt x="158672" y="241225"/>
                    <a:pt x="157048" y="248197"/>
                    <a:pt x="146850" y="247118"/>
                  </a:cubicBezTo>
                  <a:cubicBezTo>
                    <a:pt x="136690" y="246038"/>
                    <a:pt x="137768" y="251398"/>
                    <a:pt x="127570" y="245505"/>
                  </a:cubicBezTo>
                  <a:cubicBezTo>
                    <a:pt x="122915" y="242368"/>
                    <a:pt x="117892" y="239841"/>
                    <a:pt x="112603" y="237987"/>
                  </a:cubicBezTo>
                  <a:cubicBezTo>
                    <a:pt x="104561" y="234786"/>
                    <a:pt x="100248" y="229935"/>
                    <a:pt x="94350" y="231548"/>
                  </a:cubicBezTo>
                  <a:cubicBezTo>
                    <a:pt x="88465" y="233173"/>
                    <a:pt x="87387" y="227280"/>
                    <a:pt x="83658" y="236907"/>
                  </a:cubicBezTo>
                  <a:cubicBezTo>
                    <a:pt x="79891" y="246585"/>
                    <a:pt x="88465" y="248693"/>
                    <a:pt x="78317" y="256211"/>
                  </a:cubicBezTo>
                  <a:cubicBezTo>
                    <a:pt x="68107" y="263730"/>
                    <a:pt x="71341" y="265342"/>
                    <a:pt x="61143" y="271235"/>
                  </a:cubicBezTo>
                  <a:cubicBezTo>
                    <a:pt x="50983" y="277128"/>
                    <a:pt x="65951" y="283033"/>
                    <a:pt x="49905" y="281459"/>
                  </a:cubicBezTo>
                  <a:cubicBezTo>
                    <a:pt x="33821" y="279833"/>
                    <a:pt x="29547" y="283033"/>
                    <a:pt x="26313" y="278220"/>
                  </a:cubicBezTo>
                  <a:cubicBezTo>
                    <a:pt x="23129" y="273394"/>
                    <a:pt x="22050" y="281992"/>
                    <a:pt x="24207" y="266968"/>
                  </a:cubicBezTo>
                  <a:cubicBezTo>
                    <a:pt x="26313" y="251931"/>
                    <a:pt x="28469" y="247664"/>
                    <a:pt x="24207" y="237987"/>
                  </a:cubicBezTo>
                  <a:cubicBezTo>
                    <a:pt x="21391" y="230417"/>
                    <a:pt x="16571" y="223737"/>
                    <a:pt x="10280" y="218683"/>
                  </a:cubicBezTo>
                  <a:cubicBezTo>
                    <a:pt x="8250" y="217336"/>
                    <a:pt x="6449" y="216168"/>
                    <a:pt x="5155" y="215216"/>
                  </a:cubicBezTo>
                  <a:cubicBezTo>
                    <a:pt x="4394" y="201449"/>
                    <a:pt x="1781" y="182818"/>
                    <a:pt x="614" y="174182"/>
                  </a:cubicBezTo>
                  <a:cubicBezTo>
                    <a:pt x="-1618" y="159094"/>
                    <a:pt x="2035" y="143727"/>
                    <a:pt x="10812" y="131256"/>
                  </a:cubicBezTo>
                  <a:cubicBezTo>
                    <a:pt x="16165" y="124283"/>
                    <a:pt x="27936" y="129643"/>
                    <a:pt x="31171" y="127471"/>
                  </a:cubicBezTo>
                  <a:cubicBezTo>
                    <a:pt x="34367" y="125363"/>
                    <a:pt x="26313" y="85675"/>
                    <a:pt x="30092" y="48642"/>
                  </a:cubicBezTo>
                  <a:cubicBezTo>
                    <a:pt x="30435" y="28399"/>
                    <a:pt x="45833" y="11584"/>
                    <a:pt x="65951" y="9501"/>
                  </a:cubicBezTo>
                  <a:cubicBezTo>
                    <a:pt x="76656" y="8358"/>
                    <a:pt x="87463" y="8535"/>
                    <a:pt x="98130" y="10034"/>
                  </a:cubicBezTo>
                  <a:cubicBezTo>
                    <a:pt x="104561" y="12193"/>
                    <a:pt x="100781" y="14314"/>
                    <a:pt x="102937" y="21287"/>
                  </a:cubicBezTo>
                  <a:cubicBezTo>
                    <a:pt x="105094" y="28259"/>
                    <a:pt x="109368" y="18632"/>
                    <a:pt x="113643" y="15940"/>
                  </a:cubicBezTo>
                  <a:cubicBezTo>
                    <a:pt x="117955" y="13235"/>
                    <a:pt x="120061" y="6796"/>
                    <a:pt x="127025" y="6262"/>
                  </a:cubicBezTo>
                  <a:cubicBezTo>
                    <a:pt x="133988" y="5716"/>
                    <a:pt x="128648" y="13235"/>
                    <a:pt x="132961" y="11114"/>
                  </a:cubicBezTo>
                  <a:cubicBezTo>
                    <a:pt x="137223" y="8955"/>
                    <a:pt x="138314" y="6262"/>
                    <a:pt x="144732" y="5221"/>
                  </a:cubicBezTo>
                  <a:cubicBezTo>
                    <a:pt x="149045" y="4510"/>
                    <a:pt x="149006" y="1754"/>
                    <a:pt x="148512" y="1"/>
                  </a:cubicBezTo>
                  <a:cubicBezTo>
                    <a:pt x="150173" y="1309"/>
                    <a:pt x="151112" y="2249"/>
                    <a:pt x="152063" y="2884"/>
                  </a:cubicBezTo>
                  <a:cubicBezTo>
                    <a:pt x="154004" y="15330"/>
                    <a:pt x="158837" y="27154"/>
                    <a:pt x="166168" y="37403"/>
                  </a:cubicBezTo>
                  <a:cubicBezTo>
                    <a:pt x="173119" y="45417"/>
                    <a:pt x="180628" y="52935"/>
                    <a:pt x="188644" y="59894"/>
                  </a:cubicBezTo>
                  <a:cubicBezTo>
                    <a:pt x="197765" y="66372"/>
                    <a:pt x="200466" y="66867"/>
                    <a:pt x="204728" y="70651"/>
                  </a:cubicBezTo>
                  <a:cubicBezTo>
                    <a:pt x="209003" y="74385"/>
                    <a:pt x="207925" y="77624"/>
                    <a:pt x="210081" y="82437"/>
                  </a:cubicBezTo>
                  <a:cubicBezTo>
                    <a:pt x="212237" y="87250"/>
                    <a:pt x="218122" y="80811"/>
                    <a:pt x="220774" y="86717"/>
                  </a:cubicBezTo>
                  <a:cubicBezTo>
                    <a:pt x="222917" y="92140"/>
                    <a:pt x="224719" y="97703"/>
                    <a:pt x="226164" y="103367"/>
                  </a:cubicBezTo>
                  <a:cubicBezTo>
                    <a:pt x="227242" y="106605"/>
                    <a:pt x="222397" y="113578"/>
                    <a:pt x="234701" y="116765"/>
                  </a:cubicBezTo>
                  <a:cubicBezTo>
                    <a:pt x="247068" y="120004"/>
                    <a:pt x="251875" y="116232"/>
                    <a:pt x="256137" y="122658"/>
                  </a:cubicBezTo>
                  <a:cubicBezTo>
                    <a:pt x="259067" y="126989"/>
                    <a:pt x="261769" y="131459"/>
                    <a:pt x="264230" y="136069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7" name="Vrije vorm 366">
              <a:extLst>
                <a:ext uri="{FF2B5EF4-FFF2-40B4-BE49-F238E27FC236}">
                  <a16:creationId xmlns:a16="http://schemas.microsoft.com/office/drawing/2014/main" id="{8F2A99E7-C28B-414F-BE4A-FD007FDACB64}"/>
                </a:ext>
              </a:extLst>
            </p:cNvPr>
            <p:cNvSpPr/>
            <p:nvPr/>
          </p:nvSpPr>
          <p:spPr>
            <a:xfrm>
              <a:off x="6364233" y="5148490"/>
              <a:ext cx="37665" cy="51023"/>
            </a:xfrm>
            <a:custGeom>
              <a:avLst/>
              <a:gdLst>
                <a:gd name="connsiteX0" fmla="*/ 31728 w 37665"/>
                <a:gd name="connsiteY0" fmla="*/ 47117 h 51023"/>
                <a:gd name="connsiteX1" fmla="*/ 22063 w 37665"/>
                <a:gd name="connsiteY1" fmla="*/ 49277 h 51023"/>
                <a:gd name="connsiteX2" fmla="*/ 3316 w 37665"/>
                <a:gd name="connsiteY2" fmla="*/ 40679 h 51023"/>
                <a:gd name="connsiteX3" fmla="*/ 1159 w 37665"/>
                <a:gd name="connsiteY3" fmla="*/ 19762 h 51023"/>
                <a:gd name="connsiteX4" fmla="*/ 14554 w 37665"/>
                <a:gd name="connsiteY4" fmla="*/ 1537 h 51023"/>
                <a:gd name="connsiteX5" fmla="*/ 30105 w 37665"/>
                <a:gd name="connsiteY5" fmla="*/ 9043 h 51023"/>
                <a:gd name="connsiteX6" fmla="*/ 32933 w 37665"/>
                <a:gd name="connsiteY6" fmla="*/ 7481 h 51023"/>
                <a:gd name="connsiteX7" fmla="*/ 37614 w 37665"/>
                <a:gd name="connsiteY7" fmla="*/ 16561 h 51023"/>
                <a:gd name="connsiteX8" fmla="*/ 35457 w 37665"/>
                <a:gd name="connsiteY8" fmla="*/ 33706 h 51023"/>
                <a:gd name="connsiteX9" fmla="*/ 31728 w 37665"/>
                <a:gd name="connsiteY9" fmla="*/ 47117 h 51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7665" h="51023">
                  <a:moveTo>
                    <a:pt x="31728" y="47117"/>
                  </a:moveTo>
                  <a:cubicBezTo>
                    <a:pt x="30650" y="53544"/>
                    <a:pt x="28481" y="50356"/>
                    <a:pt x="22063" y="49277"/>
                  </a:cubicBezTo>
                  <a:cubicBezTo>
                    <a:pt x="15290" y="47740"/>
                    <a:pt x="8897" y="44819"/>
                    <a:pt x="3316" y="40679"/>
                  </a:cubicBezTo>
                  <a:cubicBezTo>
                    <a:pt x="-997" y="37440"/>
                    <a:pt x="-451" y="29439"/>
                    <a:pt x="1159" y="19762"/>
                  </a:cubicBezTo>
                  <a:cubicBezTo>
                    <a:pt x="2783" y="10122"/>
                    <a:pt x="8123" y="6884"/>
                    <a:pt x="14554" y="1537"/>
                  </a:cubicBezTo>
                  <a:cubicBezTo>
                    <a:pt x="20985" y="-3822"/>
                    <a:pt x="25247" y="6351"/>
                    <a:pt x="30105" y="9043"/>
                  </a:cubicBezTo>
                  <a:cubicBezTo>
                    <a:pt x="32083" y="10122"/>
                    <a:pt x="32756" y="9183"/>
                    <a:pt x="32933" y="7481"/>
                  </a:cubicBezTo>
                  <a:cubicBezTo>
                    <a:pt x="36079" y="9386"/>
                    <a:pt x="37880" y="12891"/>
                    <a:pt x="37614" y="16561"/>
                  </a:cubicBezTo>
                  <a:cubicBezTo>
                    <a:pt x="37068" y="23000"/>
                    <a:pt x="35457" y="33706"/>
                    <a:pt x="35457" y="33706"/>
                  </a:cubicBezTo>
                  <a:cubicBezTo>
                    <a:pt x="27948" y="34252"/>
                    <a:pt x="32756" y="40679"/>
                    <a:pt x="31728" y="47117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8" name="Vrije vorm 367">
              <a:extLst>
                <a:ext uri="{FF2B5EF4-FFF2-40B4-BE49-F238E27FC236}">
                  <a16:creationId xmlns:a16="http://schemas.microsoft.com/office/drawing/2014/main" id="{E4FA8067-A711-4947-816F-024FDA9FD899}"/>
                </a:ext>
              </a:extLst>
            </p:cNvPr>
            <p:cNvSpPr/>
            <p:nvPr/>
          </p:nvSpPr>
          <p:spPr>
            <a:xfrm>
              <a:off x="6256788" y="5239799"/>
              <a:ext cx="65672" cy="61523"/>
            </a:xfrm>
            <a:custGeom>
              <a:avLst/>
              <a:gdLst>
                <a:gd name="connsiteX0" fmla="*/ 64704 w 65672"/>
                <a:gd name="connsiteY0" fmla="*/ 22306 h 61523"/>
                <a:gd name="connsiteX1" fmla="*/ 60925 w 65672"/>
                <a:gd name="connsiteY1" fmla="*/ 37876 h 61523"/>
                <a:gd name="connsiteX2" fmla="*/ 48608 w 65672"/>
                <a:gd name="connsiteY2" fmla="*/ 50742 h 61523"/>
                <a:gd name="connsiteX3" fmla="*/ 30952 w 65672"/>
                <a:gd name="connsiteY3" fmla="*/ 60914 h 61523"/>
                <a:gd name="connsiteX4" fmla="*/ 13790 w 65672"/>
                <a:gd name="connsiteY4" fmla="*/ 59873 h 61523"/>
                <a:gd name="connsiteX5" fmla="*/ 1474 w 65672"/>
                <a:gd name="connsiteY5" fmla="*/ 45928 h 61523"/>
                <a:gd name="connsiteX6" fmla="*/ 6814 w 65672"/>
                <a:gd name="connsiteY6" fmla="*/ 21773 h 61523"/>
                <a:gd name="connsiteX7" fmla="*/ 27172 w 65672"/>
                <a:gd name="connsiteY7" fmla="*/ 4082 h 61523"/>
                <a:gd name="connsiteX8" fmla="*/ 48076 w 65672"/>
                <a:gd name="connsiteY8" fmla="*/ 843 h 61523"/>
                <a:gd name="connsiteX9" fmla="*/ 62548 w 65672"/>
                <a:gd name="connsiteY9" fmla="*/ 9975 h 61523"/>
                <a:gd name="connsiteX10" fmla="*/ 64704 w 65672"/>
                <a:gd name="connsiteY10" fmla="*/ 22306 h 61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5672" h="61523">
                  <a:moveTo>
                    <a:pt x="64704" y="22306"/>
                  </a:moveTo>
                  <a:cubicBezTo>
                    <a:pt x="64235" y="27653"/>
                    <a:pt x="62967" y="32911"/>
                    <a:pt x="60925" y="37876"/>
                  </a:cubicBezTo>
                  <a:cubicBezTo>
                    <a:pt x="58920" y="43782"/>
                    <a:pt x="54418" y="48494"/>
                    <a:pt x="48608" y="50742"/>
                  </a:cubicBezTo>
                  <a:cubicBezTo>
                    <a:pt x="43268" y="52901"/>
                    <a:pt x="41112" y="59873"/>
                    <a:pt x="30952" y="60914"/>
                  </a:cubicBezTo>
                  <a:cubicBezTo>
                    <a:pt x="25231" y="61994"/>
                    <a:pt x="19333" y="61638"/>
                    <a:pt x="13790" y="59873"/>
                  </a:cubicBezTo>
                  <a:cubicBezTo>
                    <a:pt x="9097" y="55783"/>
                    <a:pt x="4962" y="51097"/>
                    <a:pt x="1474" y="45928"/>
                  </a:cubicBezTo>
                  <a:cubicBezTo>
                    <a:pt x="-3879" y="39502"/>
                    <a:pt x="6814" y="27666"/>
                    <a:pt x="6814" y="21773"/>
                  </a:cubicBezTo>
                  <a:cubicBezTo>
                    <a:pt x="6814" y="15867"/>
                    <a:pt x="20208" y="8362"/>
                    <a:pt x="27172" y="4082"/>
                  </a:cubicBezTo>
                  <a:cubicBezTo>
                    <a:pt x="33413" y="195"/>
                    <a:pt x="40960" y="-986"/>
                    <a:pt x="48076" y="843"/>
                  </a:cubicBezTo>
                  <a:cubicBezTo>
                    <a:pt x="48076" y="843"/>
                    <a:pt x="57196" y="6241"/>
                    <a:pt x="62548" y="9975"/>
                  </a:cubicBezTo>
                  <a:cubicBezTo>
                    <a:pt x="67888" y="13709"/>
                    <a:pt x="64704" y="18039"/>
                    <a:pt x="64704" y="22306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9" name="Vrije vorm 368">
              <a:extLst>
                <a:ext uri="{FF2B5EF4-FFF2-40B4-BE49-F238E27FC236}">
                  <a16:creationId xmlns:a16="http://schemas.microsoft.com/office/drawing/2014/main" id="{948563A1-ECD9-294B-A3E3-DEF156FB9D01}"/>
                </a:ext>
              </a:extLst>
            </p:cNvPr>
            <p:cNvSpPr/>
            <p:nvPr/>
          </p:nvSpPr>
          <p:spPr>
            <a:xfrm>
              <a:off x="6206156" y="4842633"/>
              <a:ext cx="223284" cy="202237"/>
            </a:xfrm>
            <a:custGeom>
              <a:avLst/>
              <a:gdLst>
                <a:gd name="connsiteX0" fmla="*/ 220856 w 223284"/>
                <a:gd name="connsiteY0" fmla="*/ 131462 h 202237"/>
                <a:gd name="connsiteX1" fmla="*/ 210658 w 223284"/>
                <a:gd name="connsiteY1" fmla="*/ 143781 h 202237"/>
                <a:gd name="connsiteX2" fmla="*/ 203188 w 223284"/>
                <a:gd name="connsiteY2" fmla="*/ 152925 h 202237"/>
                <a:gd name="connsiteX3" fmla="*/ 202109 w 223284"/>
                <a:gd name="connsiteY3" fmla="*/ 167911 h 202237"/>
                <a:gd name="connsiteX4" fmla="*/ 194067 w 223284"/>
                <a:gd name="connsiteY4" fmla="*/ 177575 h 202237"/>
                <a:gd name="connsiteX5" fmla="*/ 171020 w 223284"/>
                <a:gd name="connsiteY5" fmla="*/ 202239 h 202237"/>
                <a:gd name="connsiteX6" fmla="*/ 169041 w 223284"/>
                <a:gd name="connsiteY6" fmla="*/ 200804 h 202237"/>
                <a:gd name="connsiteX7" fmla="*/ 161938 w 223284"/>
                <a:gd name="connsiteY7" fmla="*/ 200118 h 202237"/>
                <a:gd name="connsiteX8" fmla="*/ 146387 w 223284"/>
                <a:gd name="connsiteY8" fmla="*/ 200118 h 202237"/>
                <a:gd name="connsiteX9" fmla="*/ 131369 w 223284"/>
                <a:gd name="connsiteY9" fmla="*/ 196346 h 202237"/>
                <a:gd name="connsiteX10" fmla="*/ 112140 w 223284"/>
                <a:gd name="connsiteY10" fmla="*/ 196880 h 202237"/>
                <a:gd name="connsiteX11" fmla="*/ 104048 w 223284"/>
                <a:gd name="connsiteY11" fmla="*/ 183468 h 202237"/>
                <a:gd name="connsiteX12" fmla="*/ 82611 w 223284"/>
                <a:gd name="connsiteY12" fmla="*/ 177575 h 202237"/>
                <a:gd name="connsiteX13" fmla="*/ 74075 w 223284"/>
                <a:gd name="connsiteY13" fmla="*/ 164177 h 202237"/>
                <a:gd name="connsiteX14" fmla="*/ 68684 w 223284"/>
                <a:gd name="connsiteY14" fmla="*/ 147527 h 202237"/>
                <a:gd name="connsiteX15" fmla="*/ 57991 w 223284"/>
                <a:gd name="connsiteY15" fmla="*/ 143247 h 202237"/>
                <a:gd name="connsiteX16" fmla="*/ 52639 w 223284"/>
                <a:gd name="connsiteY16" fmla="*/ 131462 h 202237"/>
                <a:gd name="connsiteX17" fmla="*/ 36555 w 223284"/>
                <a:gd name="connsiteY17" fmla="*/ 120705 h 202237"/>
                <a:gd name="connsiteX18" fmla="*/ 14079 w 223284"/>
                <a:gd name="connsiteY18" fmla="*/ 98213 h 202237"/>
                <a:gd name="connsiteX19" fmla="*/ -26 w 223284"/>
                <a:gd name="connsiteY19" fmla="*/ 63695 h 202237"/>
                <a:gd name="connsiteX20" fmla="*/ 4959 w 223284"/>
                <a:gd name="connsiteY20" fmla="*/ 64418 h 202237"/>
                <a:gd name="connsiteX21" fmla="*/ 15652 w 223284"/>
                <a:gd name="connsiteY21" fmla="*/ 64952 h 202237"/>
                <a:gd name="connsiteX22" fmla="*/ 26395 w 223284"/>
                <a:gd name="connsiteY22" fmla="*/ 69232 h 202237"/>
                <a:gd name="connsiteX23" fmla="*/ 39244 w 223284"/>
                <a:gd name="connsiteY23" fmla="*/ 69232 h 202237"/>
                <a:gd name="connsiteX24" fmla="*/ 55835 w 223284"/>
                <a:gd name="connsiteY24" fmla="*/ 63872 h 202237"/>
                <a:gd name="connsiteX25" fmla="*/ 97629 w 223284"/>
                <a:gd name="connsiteY25" fmla="*/ 18838 h 202237"/>
                <a:gd name="connsiteX26" fmla="*/ 124406 w 223284"/>
                <a:gd name="connsiteY26" fmla="*/ 563 h 202237"/>
                <a:gd name="connsiteX27" fmla="*/ 141580 w 223284"/>
                <a:gd name="connsiteY27" fmla="*/ 30 h 202237"/>
                <a:gd name="connsiteX28" fmla="*/ 142341 w 223284"/>
                <a:gd name="connsiteY28" fmla="*/ 30 h 202237"/>
                <a:gd name="connsiteX29" fmla="*/ 146387 w 223284"/>
                <a:gd name="connsiteY29" fmla="*/ 2722 h 202237"/>
                <a:gd name="connsiteX30" fmla="*/ 145842 w 223284"/>
                <a:gd name="connsiteY30" fmla="*/ 10786 h 202237"/>
                <a:gd name="connsiteX31" fmla="*/ 160315 w 223284"/>
                <a:gd name="connsiteY31" fmla="*/ 10240 h 202237"/>
                <a:gd name="connsiteX32" fmla="*/ 174242 w 223284"/>
                <a:gd name="connsiteY32" fmla="*/ 14520 h 202237"/>
                <a:gd name="connsiteX33" fmla="*/ 182284 w 223284"/>
                <a:gd name="connsiteY33" fmla="*/ 17759 h 202237"/>
                <a:gd name="connsiteX34" fmla="*/ 192444 w 223284"/>
                <a:gd name="connsiteY34" fmla="*/ 24185 h 202237"/>
                <a:gd name="connsiteX35" fmla="*/ 207449 w 223284"/>
                <a:gd name="connsiteY35" fmla="*/ 27385 h 202237"/>
                <a:gd name="connsiteX36" fmla="*/ 218687 w 223284"/>
                <a:gd name="connsiteY36" fmla="*/ 33278 h 202237"/>
                <a:gd name="connsiteX37" fmla="*/ 217609 w 223284"/>
                <a:gd name="connsiteY37" fmla="*/ 39717 h 202237"/>
                <a:gd name="connsiteX38" fmla="*/ 221389 w 223284"/>
                <a:gd name="connsiteY38" fmla="*/ 81563 h 202237"/>
                <a:gd name="connsiteX39" fmla="*/ 216582 w 223284"/>
                <a:gd name="connsiteY39" fmla="*/ 91228 h 202237"/>
                <a:gd name="connsiteX40" fmla="*/ 211724 w 223284"/>
                <a:gd name="connsiteY40" fmla="*/ 97134 h 202237"/>
                <a:gd name="connsiteX41" fmla="*/ 213880 w 223284"/>
                <a:gd name="connsiteY41" fmla="*/ 103560 h 202237"/>
                <a:gd name="connsiteX42" fmla="*/ 213880 w 223284"/>
                <a:gd name="connsiteY42" fmla="*/ 109453 h 202237"/>
                <a:gd name="connsiteX43" fmla="*/ 218155 w 223284"/>
                <a:gd name="connsiteY43" fmla="*/ 121251 h 202237"/>
                <a:gd name="connsiteX44" fmla="*/ 220856 w 223284"/>
                <a:gd name="connsiteY44" fmla="*/ 131462 h 202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223284" h="202237">
                  <a:moveTo>
                    <a:pt x="220856" y="131462"/>
                  </a:moveTo>
                  <a:cubicBezTo>
                    <a:pt x="216049" y="137888"/>
                    <a:pt x="213347" y="137355"/>
                    <a:pt x="210658" y="143781"/>
                  </a:cubicBezTo>
                  <a:cubicBezTo>
                    <a:pt x="207995" y="150220"/>
                    <a:pt x="203188" y="142714"/>
                    <a:pt x="203188" y="152925"/>
                  </a:cubicBezTo>
                  <a:cubicBezTo>
                    <a:pt x="203188" y="163085"/>
                    <a:pt x="204760" y="163085"/>
                    <a:pt x="202109" y="167911"/>
                  </a:cubicBezTo>
                  <a:cubicBezTo>
                    <a:pt x="200118" y="171645"/>
                    <a:pt x="197378" y="174934"/>
                    <a:pt x="194067" y="177575"/>
                  </a:cubicBezTo>
                  <a:cubicBezTo>
                    <a:pt x="191911" y="179201"/>
                    <a:pt x="171020" y="202239"/>
                    <a:pt x="171020" y="202239"/>
                  </a:cubicBezTo>
                  <a:cubicBezTo>
                    <a:pt x="171020" y="202239"/>
                    <a:pt x="171236" y="201426"/>
                    <a:pt x="169041" y="200804"/>
                  </a:cubicBezTo>
                  <a:cubicBezTo>
                    <a:pt x="166708" y="200270"/>
                    <a:pt x="164323" y="200042"/>
                    <a:pt x="161938" y="200118"/>
                  </a:cubicBezTo>
                  <a:cubicBezTo>
                    <a:pt x="152273" y="200118"/>
                    <a:pt x="156040" y="202239"/>
                    <a:pt x="146387" y="200118"/>
                  </a:cubicBezTo>
                  <a:cubicBezTo>
                    <a:pt x="136722" y="197959"/>
                    <a:pt x="144764" y="196346"/>
                    <a:pt x="131369" y="196346"/>
                  </a:cubicBezTo>
                  <a:cubicBezTo>
                    <a:pt x="124964" y="195660"/>
                    <a:pt x="118495" y="195851"/>
                    <a:pt x="112140" y="196880"/>
                  </a:cubicBezTo>
                  <a:cubicBezTo>
                    <a:pt x="109680" y="192269"/>
                    <a:pt x="106978" y="187799"/>
                    <a:pt x="104048" y="183468"/>
                  </a:cubicBezTo>
                  <a:cubicBezTo>
                    <a:pt x="99786" y="177042"/>
                    <a:pt x="94979" y="180827"/>
                    <a:pt x="82611" y="177575"/>
                  </a:cubicBezTo>
                  <a:cubicBezTo>
                    <a:pt x="70308" y="174388"/>
                    <a:pt x="75153" y="167415"/>
                    <a:pt x="74075" y="164177"/>
                  </a:cubicBezTo>
                  <a:cubicBezTo>
                    <a:pt x="72616" y="158513"/>
                    <a:pt x="70815" y="152950"/>
                    <a:pt x="68684" y="147527"/>
                  </a:cubicBezTo>
                  <a:cubicBezTo>
                    <a:pt x="66033" y="141635"/>
                    <a:pt x="60148" y="148061"/>
                    <a:pt x="57991" y="143247"/>
                  </a:cubicBezTo>
                  <a:cubicBezTo>
                    <a:pt x="55835" y="138434"/>
                    <a:pt x="56913" y="135196"/>
                    <a:pt x="52639" y="131462"/>
                  </a:cubicBezTo>
                  <a:cubicBezTo>
                    <a:pt x="48377" y="127677"/>
                    <a:pt x="45675" y="127182"/>
                    <a:pt x="36555" y="120705"/>
                  </a:cubicBezTo>
                  <a:cubicBezTo>
                    <a:pt x="28539" y="113745"/>
                    <a:pt x="21030" y="106227"/>
                    <a:pt x="14079" y="98213"/>
                  </a:cubicBezTo>
                  <a:cubicBezTo>
                    <a:pt x="6748" y="87964"/>
                    <a:pt x="1915" y="76140"/>
                    <a:pt x="-26" y="63695"/>
                  </a:cubicBezTo>
                  <a:cubicBezTo>
                    <a:pt x="1496" y="64520"/>
                    <a:pt x="3259" y="64774"/>
                    <a:pt x="4959" y="64418"/>
                  </a:cubicBezTo>
                  <a:cubicBezTo>
                    <a:pt x="11390" y="63872"/>
                    <a:pt x="11390" y="60634"/>
                    <a:pt x="15652" y="64952"/>
                  </a:cubicBezTo>
                  <a:cubicBezTo>
                    <a:pt x="19964" y="69232"/>
                    <a:pt x="17808" y="72470"/>
                    <a:pt x="26395" y="69232"/>
                  </a:cubicBezTo>
                  <a:cubicBezTo>
                    <a:pt x="34982" y="66031"/>
                    <a:pt x="29046" y="64952"/>
                    <a:pt x="39244" y="69232"/>
                  </a:cubicBezTo>
                  <a:cubicBezTo>
                    <a:pt x="49404" y="73512"/>
                    <a:pt x="49404" y="67606"/>
                    <a:pt x="55835" y="63872"/>
                  </a:cubicBezTo>
                  <a:cubicBezTo>
                    <a:pt x="62253" y="60100"/>
                    <a:pt x="83157" y="30624"/>
                    <a:pt x="97629" y="18838"/>
                  </a:cubicBezTo>
                  <a:cubicBezTo>
                    <a:pt x="112090" y="7002"/>
                    <a:pt x="113713" y="1109"/>
                    <a:pt x="124406" y="563"/>
                  </a:cubicBezTo>
                  <a:cubicBezTo>
                    <a:pt x="135149" y="30"/>
                    <a:pt x="137801" y="30"/>
                    <a:pt x="141580" y="30"/>
                  </a:cubicBezTo>
                  <a:lnTo>
                    <a:pt x="142341" y="30"/>
                  </a:lnTo>
                  <a:cubicBezTo>
                    <a:pt x="145259" y="-21"/>
                    <a:pt x="144904" y="-288"/>
                    <a:pt x="146387" y="2722"/>
                  </a:cubicBezTo>
                  <a:cubicBezTo>
                    <a:pt x="147998" y="5922"/>
                    <a:pt x="143686" y="10240"/>
                    <a:pt x="145842" y="10786"/>
                  </a:cubicBezTo>
                  <a:cubicBezTo>
                    <a:pt x="147998" y="11320"/>
                    <a:pt x="152273" y="9707"/>
                    <a:pt x="160315" y="10240"/>
                  </a:cubicBezTo>
                  <a:cubicBezTo>
                    <a:pt x="168357" y="10786"/>
                    <a:pt x="166200" y="11320"/>
                    <a:pt x="174242" y="14520"/>
                  </a:cubicBezTo>
                  <a:cubicBezTo>
                    <a:pt x="182284" y="17759"/>
                    <a:pt x="175320" y="15053"/>
                    <a:pt x="182284" y="17759"/>
                  </a:cubicBezTo>
                  <a:cubicBezTo>
                    <a:pt x="189260" y="20413"/>
                    <a:pt x="182829" y="20413"/>
                    <a:pt x="192444" y="24185"/>
                  </a:cubicBezTo>
                  <a:cubicBezTo>
                    <a:pt x="197086" y="26560"/>
                    <a:pt x="202262" y="27652"/>
                    <a:pt x="207449" y="27385"/>
                  </a:cubicBezTo>
                  <a:cubicBezTo>
                    <a:pt x="211191" y="27385"/>
                    <a:pt x="220083" y="29455"/>
                    <a:pt x="218687" y="33278"/>
                  </a:cubicBezTo>
                  <a:cubicBezTo>
                    <a:pt x="217977" y="35259"/>
                    <a:pt x="217077" y="32249"/>
                    <a:pt x="217609" y="39717"/>
                  </a:cubicBezTo>
                  <a:cubicBezTo>
                    <a:pt x="218155" y="47223"/>
                    <a:pt x="226729" y="76204"/>
                    <a:pt x="221389" y="81563"/>
                  </a:cubicBezTo>
                  <a:cubicBezTo>
                    <a:pt x="216037" y="86910"/>
                    <a:pt x="214426" y="87456"/>
                    <a:pt x="216582" y="91228"/>
                  </a:cubicBezTo>
                  <a:cubicBezTo>
                    <a:pt x="218687" y="94975"/>
                    <a:pt x="214958" y="91774"/>
                    <a:pt x="211724" y="97134"/>
                  </a:cubicBezTo>
                  <a:cubicBezTo>
                    <a:pt x="208527" y="102480"/>
                    <a:pt x="211191" y="103560"/>
                    <a:pt x="213880" y="103560"/>
                  </a:cubicBezTo>
                  <a:cubicBezTo>
                    <a:pt x="216582" y="103560"/>
                    <a:pt x="213335" y="102480"/>
                    <a:pt x="213880" y="109453"/>
                  </a:cubicBezTo>
                  <a:cubicBezTo>
                    <a:pt x="214426" y="116425"/>
                    <a:pt x="213880" y="112691"/>
                    <a:pt x="218155" y="121251"/>
                  </a:cubicBezTo>
                  <a:cubicBezTo>
                    <a:pt x="222467" y="129836"/>
                    <a:pt x="225664" y="125023"/>
                    <a:pt x="220856" y="131462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0" name="Vrije vorm 369">
              <a:extLst>
                <a:ext uri="{FF2B5EF4-FFF2-40B4-BE49-F238E27FC236}">
                  <a16:creationId xmlns:a16="http://schemas.microsoft.com/office/drawing/2014/main" id="{84C8BF48-D3E9-4848-B98E-9947BB28C27F}"/>
                </a:ext>
              </a:extLst>
            </p:cNvPr>
            <p:cNvSpPr/>
            <p:nvPr/>
          </p:nvSpPr>
          <p:spPr>
            <a:xfrm>
              <a:off x="6111155" y="4626812"/>
              <a:ext cx="332268" cy="286539"/>
            </a:xfrm>
            <a:custGeom>
              <a:avLst/>
              <a:gdLst>
                <a:gd name="connsiteX0" fmla="*/ 322821 w 332268"/>
                <a:gd name="connsiteY0" fmla="*/ 76950 h 286539"/>
                <a:gd name="connsiteX1" fmla="*/ 323899 w 332268"/>
                <a:gd name="connsiteY1" fmla="*/ 85535 h 286539"/>
                <a:gd name="connsiteX2" fmla="*/ 321743 w 332268"/>
                <a:gd name="connsiteY2" fmla="*/ 93549 h 286539"/>
                <a:gd name="connsiteX3" fmla="*/ 322275 w 332268"/>
                <a:gd name="connsiteY3" fmla="*/ 102681 h 286539"/>
                <a:gd name="connsiteX4" fmla="*/ 322275 w 332268"/>
                <a:gd name="connsiteY4" fmla="*/ 115546 h 286539"/>
                <a:gd name="connsiteX5" fmla="*/ 328706 w 332268"/>
                <a:gd name="connsiteY5" fmla="*/ 119864 h 286539"/>
                <a:gd name="connsiteX6" fmla="*/ 327095 w 332268"/>
                <a:gd name="connsiteY6" fmla="*/ 125223 h 286539"/>
                <a:gd name="connsiteX7" fmla="*/ 316935 w 332268"/>
                <a:gd name="connsiteY7" fmla="*/ 129503 h 286539"/>
                <a:gd name="connsiteX8" fmla="*/ 315312 w 332268"/>
                <a:gd name="connsiteY8" fmla="*/ 141822 h 286539"/>
                <a:gd name="connsiteX9" fmla="*/ 311050 w 332268"/>
                <a:gd name="connsiteY9" fmla="*/ 152579 h 286539"/>
                <a:gd name="connsiteX10" fmla="*/ 307270 w 332268"/>
                <a:gd name="connsiteY10" fmla="*/ 160097 h 286539"/>
                <a:gd name="connsiteX11" fmla="*/ 314817 w 332268"/>
                <a:gd name="connsiteY11" fmla="*/ 169368 h 286539"/>
                <a:gd name="connsiteX12" fmla="*/ 306737 w 332268"/>
                <a:gd name="connsiteY12" fmla="*/ 174537 h 286539"/>
                <a:gd name="connsiteX13" fmla="*/ 256939 w 332268"/>
                <a:gd name="connsiteY13" fmla="*/ 187453 h 286539"/>
                <a:gd name="connsiteX14" fmla="*/ 239777 w 332268"/>
                <a:gd name="connsiteY14" fmla="*/ 199239 h 286539"/>
                <a:gd name="connsiteX15" fmla="*/ 237342 w 332268"/>
                <a:gd name="connsiteY15" fmla="*/ 215850 h 286539"/>
                <a:gd name="connsiteX16" fmla="*/ 236581 w 332268"/>
                <a:gd name="connsiteY16" fmla="*/ 215850 h 286539"/>
                <a:gd name="connsiteX17" fmla="*/ 219419 w 332268"/>
                <a:gd name="connsiteY17" fmla="*/ 216384 h 286539"/>
                <a:gd name="connsiteX18" fmla="*/ 192630 w 332268"/>
                <a:gd name="connsiteY18" fmla="*/ 234659 h 286539"/>
                <a:gd name="connsiteX19" fmla="*/ 150836 w 332268"/>
                <a:gd name="connsiteY19" fmla="*/ 279693 h 286539"/>
                <a:gd name="connsiteX20" fmla="*/ 134258 w 332268"/>
                <a:gd name="connsiteY20" fmla="*/ 285053 h 286539"/>
                <a:gd name="connsiteX21" fmla="*/ 121409 w 332268"/>
                <a:gd name="connsiteY21" fmla="*/ 285053 h 286539"/>
                <a:gd name="connsiteX22" fmla="*/ 110665 w 332268"/>
                <a:gd name="connsiteY22" fmla="*/ 280773 h 286539"/>
                <a:gd name="connsiteX23" fmla="*/ 99972 w 332268"/>
                <a:gd name="connsiteY23" fmla="*/ 280239 h 286539"/>
                <a:gd name="connsiteX24" fmla="*/ 94975 w 332268"/>
                <a:gd name="connsiteY24" fmla="*/ 279515 h 286539"/>
                <a:gd name="connsiteX25" fmla="*/ 91423 w 332268"/>
                <a:gd name="connsiteY25" fmla="*/ 276632 h 286539"/>
                <a:gd name="connsiteX26" fmla="*/ 85500 w 332268"/>
                <a:gd name="connsiteY26" fmla="*/ 272721 h 286539"/>
                <a:gd name="connsiteX27" fmla="*/ 69949 w 332268"/>
                <a:gd name="connsiteY27" fmla="*/ 270016 h 286539"/>
                <a:gd name="connsiteX28" fmla="*/ 40420 w 332268"/>
                <a:gd name="connsiteY28" fmla="*/ 275324 h 286539"/>
                <a:gd name="connsiteX29" fmla="*/ 11564 w 332268"/>
                <a:gd name="connsiteY29" fmla="*/ 245899 h 286539"/>
                <a:gd name="connsiteX30" fmla="*/ 3522 w 332268"/>
                <a:gd name="connsiteY30" fmla="*/ 238393 h 286539"/>
                <a:gd name="connsiteX31" fmla="*/ 338 w 332268"/>
                <a:gd name="connsiteY31" fmla="*/ 181509 h 286539"/>
                <a:gd name="connsiteX32" fmla="*/ 23880 w 332268"/>
                <a:gd name="connsiteY32" fmla="*/ 139168 h 286539"/>
                <a:gd name="connsiteX33" fmla="*/ 61412 w 332268"/>
                <a:gd name="connsiteY33" fmla="*/ 121984 h 286539"/>
                <a:gd name="connsiteX34" fmla="*/ 58394 w 332268"/>
                <a:gd name="connsiteY34" fmla="*/ 78563 h 286539"/>
                <a:gd name="connsiteX35" fmla="*/ 60867 w 332268"/>
                <a:gd name="connsiteY35" fmla="*/ 76950 h 286539"/>
                <a:gd name="connsiteX36" fmla="*/ 68909 w 332268"/>
                <a:gd name="connsiteY36" fmla="*/ 82843 h 286539"/>
                <a:gd name="connsiteX37" fmla="*/ 71027 w 332268"/>
                <a:gd name="connsiteY37" fmla="*/ 93549 h 286539"/>
                <a:gd name="connsiteX38" fmla="*/ 82303 w 332268"/>
                <a:gd name="connsiteY38" fmla="*/ 90349 h 286539"/>
                <a:gd name="connsiteX39" fmla="*/ 95698 w 332268"/>
                <a:gd name="connsiteY39" fmla="*/ 88190 h 286539"/>
                <a:gd name="connsiteX40" fmla="*/ 97803 w 332268"/>
                <a:gd name="connsiteY40" fmla="*/ 97321 h 286539"/>
                <a:gd name="connsiteX41" fmla="*/ 104234 w 332268"/>
                <a:gd name="connsiteY41" fmla="*/ 103227 h 286539"/>
                <a:gd name="connsiteX42" fmla="*/ 113354 w 332268"/>
                <a:gd name="connsiteY42" fmla="*/ 105386 h 286539"/>
                <a:gd name="connsiteX43" fmla="*/ 122474 w 332268"/>
                <a:gd name="connsiteY43" fmla="*/ 105919 h 286539"/>
                <a:gd name="connsiteX44" fmla="*/ 130478 w 332268"/>
                <a:gd name="connsiteY44" fmla="*/ 109653 h 286539"/>
                <a:gd name="connsiteX45" fmla="*/ 141221 w 332268"/>
                <a:gd name="connsiteY45" fmla="*/ 107494 h 286539"/>
                <a:gd name="connsiteX46" fmla="*/ 147107 w 332268"/>
                <a:gd name="connsiteY46" fmla="*/ 98947 h 286539"/>
                <a:gd name="connsiteX47" fmla="*/ 148185 w 332268"/>
                <a:gd name="connsiteY47" fmla="*/ 98502 h 286539"/>
                <a:gd name="connsiteX48" fmla="*/ 153538 w 332268"/>
                <a:gd name="connsiteY48" fmla="*/ 105386 h 286539"/>
                <a:gd name="connsiteX49" fmla="*/ 167998 w 332268"/>
                <a:gd name="connsiteY49" fmla="*/ 119876 h 286539"/>
                <a:gd name="connsiteX50" fmla="*/ 183016 w 332268"/>
                <a:gd name="connsiteY50" fmla="*/ 124144 h 286539"/>
                <a:gd name="connsiteX51" fmla="*/ 191552 w 332268"/>
                <a:gd name="connsiteY51" fmla="*/ 137555 h 286539"/>
                <a:gd name="connsiteX52" fmla="*/ 199594 w 332268"/>
                <a:gd name="connsiteY52" fmla="*/ 149340 h 286539"/>
                <a:gd name="connsiteX53" fmla="*/ 213534 w 332268"/>
                <a:gd name="connsiteY53" fmla="*/ 148807 h 286539"/>
                <a:gd name="connsiteX54" fmla="*/ 219419 w 332268"/>
                <a:gd name="connsiteY54" fmla="*/ 148807 h 286539"/>
                <a:gd name="connsiteX55" fmla="*/ 224759 w 332268"/>
                <a:gd name="connsiteY55" fmla="*/ 141835 h 286539"/>
                <a:gd name="connsiteX56" fmla="*/ 223186 w 332268"/>
                <a:gd name="connsiteY56" fmla="*/ 113438 h 286539"/>
                <a:gd name="connsiteX57" fmla="*/ 215145 w 332268"/>
                <a:gd name="connsiteY57" fmla="*/ 116638 h 286539"/>
                <a:gd name="connsiteX58" fmla="*/ 207103 w 332268"/>
                <a:gd name="connsiteY58" fmla="*/ 121451 h 286539"/>
                <a:gd name="connsiteX59" fmla="*/ 196410 w 332268"/>
                <a:gd name="connsiteY59" fmla="*/ 112904 h 286539"/>
                <a:gd name="connsiteX60" fmla="*/ 185121 w 332268"/>
                <a:gd name="connsiteY60" fmla="*/ 101601 h 286539"/>
                <a:gd name="connsiteX61" fmla="*/ 187278 w 332268"/>
                <a:gd name="connsiteY61" fmla="*/ 78563 h 286539"/>
                <a:gd name="connsiteX62" fmla="*/ 192630 w 332268"/>
                <a:gd name="connsiteY62" fmla="*/ 65698 h 286539"/>
                <a:gd name="connsiteX63" fmla="*/ 190512 w 332268"/>
                <a:gd name="connsiteY63" fmla="*/ 37796 h 286539"/>
                <a:gd name="connsiteX64" fmla="*/ 189979 w 332268"/>
                <a:gd name="connsiteY64" fmla="*/ 28132 h 286539"/>
                <a:gd name="connsiteX65" fmla="*/ 217796 w 332268"/>
                <a:gd name="connsiteY65" fmla="*/ 4548 h 286539"/>
                <a:gd name="connsiteX66" fmla="*/ 242467 w 332268"/>
                <a:gd name="connsiteY66" fmla="*/ 2389 h 286539"/>
                <a:gd name="connsiteX67" fmla="*/ 246868 w 332268"/>
                <a:gd name="connsiteY67" fmla="*/ 1 h 286539"/>
                <a:gd name="connsiteX68" fmla="*/ 243912 w 332268"/>
                <a:gd name="connsiteY68" fmla="*/ 9501 h 286539"/>
                <a:gd name="connsiteX69" fmla="*/ 245485 w 332268"/>
                <a:gd name="connsiteY69" fmla="*/ 12104 h 286539"/>
                <a:gd name="connsiteX70" fmla="*/ 248403 w 332268"/>
                <a:gd name="connsiteY70" fmla="*/ 9945 h 286539"/>
                <a:gd name="connsiteX71" fmla="*/ 249747 w 332268"/>
                <a:gd name="connsiteY71" fmla="*/ 10212 h 286539"/>
                <a:gd name="connsiteX72" fmla="*/ 253210 w 332268"/>
                <a:gd name="connsiteY72" fmla="*/ 11977 h 286539"/>
                <a:gd name="connsiteX73" fmla="*/ 262279 w 332268"/>
                <a:gd name="connsiteY73" fmla="*/ 16702 h 286539"/>
                <a:gd name="connsiteX74" fmla="*/ 264169 w 332268"/>
                <a:gd name="connsiteY74" fmla="*/ 14632 h 286539"/>
                <a:gd name="connsiteX75" fmla="*/ 262913 w 332268"/>
                <a:gd name="connsiteY75" fmla="*/ 10440 h 286539"/>
                <a:gd name="connsiteX76" fmla="*/ 269788 w 332268"/>
                <a:gd name="connsiteY76" fmla="*/ 12066 h 286539"/>
                <a:gd name="connsiteX77" fmla="*/ 277297 w 332268"/>
                <a:gd name="connsiteY77" fmla="*/ 20067 h 286539"/>
                <a:gd name="connsiteX78" fmla="*/ 283715 w 332268"/>
                <a:gd name="connsiteY78" fmla="*/ 24931 h 286539"/>
                <a:gd name="connsiteX79" fmla="*/ 293875 w 332268"/>
                <a:gd name="connsiteY79" fmla="*/ 28132 h 286539"/>
                <a:gd name="connsiteX80" fmla="*/ 310504 w 332268"/>
                <a:gd name="connsiteY80" fmla="*/ 35104 h 286539"/>
                <a:gd name="connsiteX81" fmla="*/ 318812 w 332268"/>
                <a:gd name="connsiteY81" fmla="*/ 38927 h 286539"/>
                <a:gd name="connsiteX82" fmla="*/ 318812 w 332268"/>
                <a:gd name="connsiteY82" fmla="*/ 38965 h 286539"/>
                <a:gd name="connsiteX83" fmla="*/ 324432 w 332268"/>
                <a:gd name="connsiteY83" fmla="*/ 49582 h 286539"/>
                <a:gd name="connsiteX84" fmla="*/ 330863 w 332268"/>
                <a:gd name="connsiteY84" fmla="*/ 67806 h 286539"/>
                <a:gd name="connsiteX85" fmla="*/ 322821 w 332268"/>
                <a:gd name="connsiteY85" fmla="*/ 76950 h 286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</a:cxnLst>
              <a:rect l="l" t="t" r="r" b="b"/>
              <a:pathLst>
                <a:path w="332268" h="286539">
                  <a:moveTo>
                    <a:pt x="322821" y="76950"/>
                  </a:moveTo>
                  <a:cubicBezTo>
                    <a:pt x="322275" y="83377"/>
                    <a:pt x="324432" y="80138"/>
                    <a:pt x="323899" y="85535"/>
                  </a:cubicBezTo>
                  <a:cubicBezTo>
                    <a:pt x="323353" y="90895"/>
                    <a:pt x="321197" y="88736"/>
                    <a:pt x="321743" y="93549"/>
                  </a:cubicBezTo>
                  <a:cubicBezTo>
                    <a:pt x="322275" y="98413"/>
                    <a:pt x="323899" y="92508"/>
                    <a:pt x="322275" y="102681"/>
                  </a:cubicBezTo>
                  <a:cubicBezTo>
                    <a:pt x="320664" y="112892"/>
                    <a:pt x="318013" y="110199"/>
                    <a:pt x="322275" y="115546"/>
                  </a:cubicBezTo>
                  <a:cubicBezTo>
                    <a:pt x="326550" y="120905"/>
                    <a:pt x="326550" y="115546"/>
                    <a:pt x="328706" y="119864"/>
                  </a:cubicBezTo>
                  <a:cubicBezTo>
                    <a:pt x="330863" y="124144"/>
                    <a:pt x="331408" y="120359"/>
                    <a:pt x="327095" y="125223"/>
                  </a:cubicBezTo>
                  <a:cubicBezTo>
                    <a:pt x="322821" y="130036"/>
                    <a:pt x="319586" y="124144"/>
                    <a:pt x="316935" y="129503"/>
                  </a:cubicBezTo>
                  <a:cubicBezTo>
                    <a:pt x="314234" y="134849"/>
                    <a:pt x="318013" y="130036"/>
                    <a:pt x="315312" y="141822"/>
                  </a:cubicBezTo>
                  <a:cubicBezTo>
                    <a:pt x="312623" y="153658"/>
                    <a:pt x="315857" y="148794"/>
                    <a:pt x="311050" y="152579"/>
                  </a:cubicBezTo>
                  <a:cubicBezTo>
                    <a:pt x="306192" y="156313"/>
                    <a:pt x="301930" y="155233"/>
                    <a:pt x="307270" y="160097"/>
                  </a:cubicBezTo>
                  <a:cubicBezTo>
                    <a:pt x="310238" y="162790"/>
                    <a:pt x="312775" y="165914"/>
                    <a:pt x="314817" y="169368"/>
                  </a:cubicBezTo>
                  <a:cubicBezTo>
                    <a:pt x="312597" y="171743"/>
                    <a:pt x="309820" y="173521"/>
                    <a:pt x="306737" y="174537"/>
                  </a:cubicBezTo>
                  <a:cubicBezTo>
                    <a:pt x="298683" y="177242"/>
                    <a:pt x="268710" y="185294"/>
                    <a:pt x="256939" y="187453"/>
                  </a:cubicBezTo>
                  <a:cubicBezTo>
                    <a:pt x="245117" y="189561"/>
                    <a:pt x="246196" y="191733"/>
                    <a:pt x="239777" y="199239"/>
                  </a:cubicBezTo>
                  <a:cubicBezTo>
                    <a:pt x="236315" y="204052"/>
                    <a:pt x="235401" y="210250"/>
                    <a:pt x="237342" y="215850"/>
                  </a:cubicBezTo>
                  <a:lnTo>
                    <a:pt x="236581" y="215850"/>
                  </a:lnTo>
                  <a:cubicBezTo>
                    <a:pt x="232814" y="215850"/>
                    <a:pt x="230150" y="215850"/>
                    <a:pt x="219419" y="216384"/>
                  </a:cubicBezTo>
                  <a:cubicBezTo>
                    <a:pt x="208727" y="216930"/>
                    <a:pt x="207103" y="222822"/>
                    <a:pt x="192630" y="234659"/>
                  </a:cubicBezTo>
                  <a:cubicBezTo>
                    <a:pt x="178158" y="246445"/>
                    <a:pt x="157267" y="275921"/>
                    <a:pt x="150836" y="279693"/>
                  </a:cubicBezTo>
                  <a:cubicBezTo>
                    <a:pt x="144418" y="283427"/>
                    <a:pt x="144418" y="289320"/>
                    <a:pt x="134258" y="285053"/>
                  </a:cubicBezTo>
                  <a:cubicBezTo>
                    <a:pt x="124047" y="280773"/>
                    <a:pt x="129983" y="281852"/>
                    <a:pt x="121409" y="285053"/>
                  </a:cubicBezTo>
                  <a:cubicBezTo>
                    <a:pt x="112821" y="288291"/>
                    <a:pt x="114978" y="285053"/>
                    <a:pt x="110665" y="280773"/>
                  </a:cubicBezTo>
                  <a:cubicBezTo>
                    <a:pt x="106391" y="276455"/>
                    <a:pt x="106391" y="279693"/>
                    <a:pt x="99972" y="280239"/>
                  </a:cubicBezTo>
                  <a:cubicBezTo>
                    <a:pt x="98273" y="280582"/>
                    <a:pt x="96509" y="280328"/>
                    <a:pt x="94975" y="279515"/>
                  </a:cubicBezTo>
                  <a:cubicBezTo>
                    <a:pt x="94036" y="278880"/>
                    <a:pt x="93085" y="277940"/>
                    <a:pt x="91423" y="276632"/>
                  </a:cubicBezTo>
                  <a:cubicBezTo>
                    <a:pt x="89533" y="275210"/>
                    <a:pt x="87554" y="273902"/>
                    <a:pt x="85500" y="272721"/>
                  </a:cubicBezTo>
                  <a:cubicBezTo>
                    <a:pt x="75340" y="266828"/>
                    <a:pt x="75340" y="271108"/>
                    <a:pt x="69949" y="270016"/>
                  </a:cubicBezTo>
                  <a:cubicBezTo>
                    <a:pt x="59992" y="271070"/>
                    <a:pt x="50124" y="272835"/>
                    <a:pt x="40420" y="275324"/>
                  </a:cubicBezTo>
                  <a:cubicBezTo>
                    <a:pt x="38974" y="273978"/>
                    <a:pt x="15698" y="251613"/>
                    <a:pt x="11564" y="245899"/>
                  </a:cubicBezTo>
                  <a:cubicBezTo>
                    <a:pt x="7302" y="240005"/>
                    <a:pt x="7834" y="243739"/>
                    <a:pt x="3522" y="238393"/>
                  </a:cubicBezTo>
                  <a:cubicBezTo>
                    <a:pt x="-740" y="233033"/>
                    <a:pt x="-207" y="188482"/>
                    <a:pt x="338" y="181509"/>
                  </a:cubicBezTo>
                  <a:cubicBezTo>
                    <a:pt x="871" y="174537"/>
                    <a:pt x="338" y="137009"/>
                    <a:pt x="23880" y="139168"/>
                  </a:cubicBezTo>
                  <a:cubicBezTo>
                    <a:pt x="47472" y="141289"/>
                    <a:pt x="60334" y="137555"/>
                    <a:pt x="61412" y="121984"/>
                  </a:cubicBezTo>
                  <a:cubicBezTo>
                    <a:pt x="61577" y="107456"/>
                    <a:pt x="60563" y="92927"/>
                    <a:pt x="58394" y="78563"/>
                  </a:cubicBezTo>
                  <a:cubicBezTo>
                    <a:pt x="59116" y="76988"/>
                    <a:pt x="59028" y="75642"/>
                    <a:pt x="60867" y="76950"/>
                  </a:cubicBezTo>
                  <a:cubicBezTo>
                    <a:pt x="64596" y="79643"/>
                    <a:pt x="66220" y="78030"/>
                    <a:pt x="68909" y="82843"/>
                  </a:cubicBezTo>
                  <a:cubicBezTo>
                    <a:pt x="71560" y="87657"/>
                    <a:pt x="61412" y="89815"/>
                    <a:pt x="71027" y="93549"/>
                  </a:cubicBezTo>
                  <a:cubicBezTo>
                    <a:pt x="80680" y="97321"/>
                    <a:pt x="75340" y="90349"/>
                    <a:pt x="82303" y="90349"/>
                  </a:cubicBezTo>
                  <a:cubicBezTo>
                    <a:pt x="89267" y="90349"/>
                    <a:pt x="93542" y="87657"/>
                    <a:pt x="95698" y="88190"/>
                  </a:cubicBezTo>
                  <a:cubicBezTo>
                    <a:pt x="97803" y="88736"/>
                    <a:pt x="94074" y="91975"/>
                    <a:pt x="97803" y="97321"/>
                  </a:cubicBezTo>
                  <a:cubicBezTo>
                    <a:pt x="101583" y="102681"/>
                    <a:pt x="97803" y="102681"/>
                    <a:pt x="104234" y="103227"/>
                  </a:cubicBezTo>
                  <a:cubicBezTo>
                    <a:pt x="110665" y="103760"/>
                    <a:pt x="107469" y="103760"/>
                    <a:pt x="113354" y="105386"/>
                  </a:cubicBezTo>
                  <a:cubicBezTo>
                    <a:pt x="119240" y="106961"/>
                    <a:pt x="117629" y="104306"/>
                    <a:pt x="122474" y="105919"/>
                  </a:cubicBezTo>
                  <a:cubicBezTo>
                    <a:pt x="127294" y="107494"/>
                    <a:pt x="125125" y="109653"/>
                    <a:pt x="130478" y="109653"/>
                  </a:cubicBezTo>
                  <a:cubicBezTo>
                    <a:pt x="135868" y="109653"/>
                    <a:pt x="137442" y="110199"/>
                    <a:pt x="141221" y="107494"/>
                  </a:cubicBezTo>
                  <a:cubicBezTo>
                    <a:pt x="144950" y="104840"/>
                    <a:pt x="142832" y="100026"/>
                    <a:pt x="147107" y="98947"/>
                  </a:cubicBezTo>
                  <a:cubicBezTo>
                    <a:pt x="147487" y="98871"/>
                    <a:pt x="147855" y="98718"/>
                    <a:pt x="148185" y="98502"/>
                  </a:cubicBezTo>
                  <a:cubicBezTo>
                    <a:pt x="149466" y="101144"/>
                    <a:pt x="151280" y="103493"/>
                    <a:pt x="153538" y="105386"/>
                  </a:cubicBezTo>
                  <a:cubicBezTo>
                    <a:pt x="163685" y="115546"/>
                    <a:pt x="162112" y="119330"/>
                    <a:pt x="167998" y="119876"/>
                  </a:cubicBezTo>
                  <a:cubicBezTo>
                    <a:pt x="173896" y="120372"/>
                    <a:pt x="179236" y="117717"/>
                    <a:pt x="183016" y="124144"/>
                  </a:cubicBezTo>
                  <a:cubicBezTo>
                    <a:pt x="186745" y="130582"/>
                    <a:pt x="186745" y="135929"/>
                    <a:pt x="191552" y="137555"/>
                  </a:cubicBezTo>
                  <a:cubicBezTo>
                    <a:pt x="196410" y="139180"/>
                    <a:pt x="189979" y="145073"/>
                    <a:pt x="199594" y="149340"/>
                  </a:cubicBezTo>
                  <a:cubicBezTo>
                    <a:pt x="209259" y="153658"/>
                    <a:pt x="207103" y="150420"/>
                    <a:pt x="213534" y="148807"/>
                  </a:cubicBezTo>
                  <a:cubicBezTo>
                    <a:pt x="219952" y="147232"/>
                    <a:pt x="215145" y="145607"/>
                    <a:pt x="219419" y="148807"/>
                  </a:cubicBezTo>
                  <a:cubicBezTo>
                    <a:pt x="223732" y="152045"/>
                    <a:pt x="223732" y="150420"/>
                    <a:pt x="224759" y="141835"/>
                  </a:cubicBezTo>
                  <a:cubicBezTo>
                    <a:pt x="225051" y="132335"/>
                    <a:pt x="224531" y="122836"/>
                    <a:pt x="223186" y="113438"/>
                  </a:cubicBezTo>
                  <a:cubicBezTo>
                    <a:pt x="223186" y="113438"/>
                    <a:pt x="216768" y="112904"/>
                    <a:pt x="215145" y="116638"/>
                  </a:cubicBezTo>
                  <a:cubicBezTo>
                    <a:pt x="213534" y="120372"/>
                    <a:pt x="215145" y="125223"/>
                    <a:pt x="207103" y="121451"/>
                  </a:cubicBezTo>
                  <a:cubicBezTo>
                    <a:pt x="199061" y="117717"/>
                    <a:pt x="202296" y="119330"/>
                    <a:pt x="196410" y="112904"/>
                  </a:cubicBezTo>
                  <a:cubicBezTo>
                    <a:pt x="190512" y="106465"/>
                    <a:pt x="185667" y="105386"/>
                    <a:pt x="185121" y="101601"/>
                  </a:cubicBezTo>
                  <a:cubicBezTo>
                    <a:pt x="184588" y="97867"/>
                    <a:pt x="181938" y="83377"/>
                    <a:pt x="187278" y="78563"/>
                  </a:cubicBezTo>
                  <a:cubicBezTo>
                    <a:pt x="191311" y="75604"/>
                    <a:pt x="193366" y="70651"/>
                    <a:pt x="192630" y="65698"/>
                  </a:cubicBezTo>
                  <a:cubicBezTo>
                    <a:pt x="192630" y="60301"/>
                    <a:pt x="190512" y="37796"/>
                    <a:pt x="190512" y="37796"/>
                  </a:cubicBezTo>
                  <a:cubicBezTo>
                    <a:pt x="190512" y="37796"/>
                    <a:pt x="181938" y="40451"/>
                    <a:pt x="189979" y="28132"/>
                  </a:cubicBezTo>
                  <a:cubicBezTo>
                    <a:pt x="197983" y="15800"/>
                    <a:pt x="207636" y="4001"/>
                    <a:pt x="217796" y="4548"/>
                  </a:cubicBezTo>
                  <a:cubicBezTo>
                    <a:pt x="226079" y="5297"/>
                    <a:pt x="234438" y="4573"/>
                    <a:pt x="242467" y="2389"/>
                  </a:cubicBezTo>
                  <a:cubicBezTo>
                    <a:pt x="244001" y="1449"/>
                    <a:pt x="245701" y="585"/>
                    <a:pt x="246868" y="1"/>
                  </a:cubicBezTo>
                  <a:cubicBezTo>
                    <a:pt x="248136" y="4548"/>
                    <a:pt x="240855" y="5716"/>
                    <a:pt x="243912" y="9501"/>
                  </a:cubicBezTo>
                  <a:cubicBezTo>
                    <a:pt x="243507" y="11698"/>
                    <a:pt x="249253" y="8104"/>
                    <a:pt x="245485" y="12104"/>
                  </a:cubicBezTo>
                  <a:cubicBezTo>
                    <a:pt x="246386" y="12739"/>
                    <a:pt x="250331" y="9996"/>
                    <a:pt x="248403" y="9945"/>
                  </a:cubicBezTo>
                  <a:cubicBezTo>
                    <a:pt x="248580" y="9094"/>
                    <a:pt x="250381" y="9044"/>
                    <a:pt x="249747" y="10212"/>
                  </a:cubicBezTo>
                  <a:cubicBezTo>
                    <a:pt x="250331" y="11342"/>
                    <a:pt x="252259" y="11304"/>
                    <a:pt x="253210" y="11977"/>
                  </a:cubicBezTo>
                  <a:cubicBezTo>
                    <a:pt x="255810" y="13323"/>
                    <a:pt x="259679" y="21604"/>
                    <a:pt x="262279" y="16702"/>
                  </a:cubicBezTo>
                  <a:cubicBezTo>
                    <a:pt x="262824" y="14670"/>
                    <a:pt x="265032" y="19076"/>
                    <a:pt x="264169" y="14632"/>
                  </a:cubicBezTo>
                  <a:cubicBezTo>
                    <a:pt x="264626" y="13107"/>
                    <a:pt x="263408" y="11876"/>
                    <a:pt x="262913" y="10440"/>
                  </a:cubicBezTo>
                  <a:cubicBezTo>
                    <a:pt x="265311" y="10364"/>
                    <a:pt x="267683" y="10923"/>
                    <a:pt x="269788" y="12066"/>
                  </a:cubicBezTo>
                  <a:cubicBezTo>
                    <a:pt x="277297" y="15254"/>
                    <a:pt x="274063" y="20067"/>
                    <a:pt x="277297" y="20067"/>
                  </a:cubicBezTo>
                  <a:cubicBezTo>
                    <a:pt x="280481" y="20067"/>
                    <a:pt x="281559" y="21146"/>
                    <a:pt x="283715" y="24931"/>
                  </a:cubicBezTo>
                  <a:cubicBezTo>
                    <a:pt x="285834" y="28665"/>
                    <a:pt x="287445" y="25465"/>
                    <a:pt x="293875" y="28132"/>
                  </a:cubicBezTo>
                  <a:cubicBezTo>
                    <a:pt x="300306" y="30824"/>
                    <a:pt x="302463" y="31370"/>
                    <a:pt x="310504" y="35104"/>
                  </a:cubicBezTo>
                  <a:cubicBezTo>
                    <a:pt x="316263" y="37796"/>
                    <a:pt x="317062" y="38291"/>
                    <a:pt x="318812" y="38927"/>
                  </a:cubicBezTo>
                  <a:lnTo>
                    <a:pt x="318812" y="38965"/>
                  </a:lnTo>
                  <a:cubicBezTo>
                    <a:pt x="318724" y="39066"/>
                    <a:pt x="318686" y="40235"/>
                    <a:pt x="324432" y="49582"/>
                  </a:cubicBezTo>
                  <a:cubicBezTo>
                    <a:pt x="332841" y="63310"/>
                    <a:pt x="333513" y="61380"/>
                    <a:pt x="330863" y="67806"/>
                  </a:cubicBezTo>
                  <a:cubicBezTo>
                    <a:pt x="328173" y="74245"/>
                    <a:pt x="323353" y="70512"/>
                    <a:pt x="322821" y="76950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1" name="Vrije vorm 370">
              <a:extLst>
                <a:ext uri="{FF2B5EF4-FFF2-40B4-BE49-F238E27FC236}">
                  <a16:creationId xmlns:a16="http://schemas.microsoft.com/office/drawing/2014/main" id="{9F25C726-3411-3B4A-8948-160F2B0C502D}"/>
                </a:ext>
              </a:extLst>
            </p:cNvPr>
            <p:cNvSpPr/>
            <p:nvPr/>
          </p:nvSpPr>
          <p:spPr>
            <a:xfrm>
              <a:off x="6415978" y="4665776"/>
              <a:ext cx="92524" cy="225719"/>
            </a:xfrm>
            <a:custGeom>
              <a:avLst/>
              <a:gdLst>
                <a:gd name="connsiteX0" fmla="*/ 92467 w 92524"/>
                <a:gd name="connsiteY0" fmla="*/ 157037 h 225719"/>
                <a:gd name="connsiteX1" fmla="*/ 88154 w 92524"/>
                <a:gd name="connsiteY1" fmla="*/ 189257 h 225719"/>
                <a:gd name="connsiteX2" fmla="*/ 74760 w 92524"/>
                <a:gd name="connsiteY2" fmla="*/ 192991 h 225719"/>
                <a:gd name="connsiteX3" fmla="*/ 76371 w 92524"/>
                <a:gd name="connsiteY3" fmla="*/ 219267 h 225719"/>
                <a:gd name="connsiteX4" fmla="*/ 69953 w 92524"/>
                <a:gd name="connsiteY4" fmla="*/ 219800 h 225719"/>
                <a:gd name="connsiteX5" fmla="*/ 66223 w 92524"/>
                <a:gd name="connsiteY5" fmla="*/ 210135 h 225719"/>
                <a:gd name="connsiteX6" fmla="*/ 51205 w 92524"/>
                <a:gd name="connsiteY6" fmla="*/ 191365 h 225719"/>
                <a:gd name="connsiteX7" fmla="*/ 52829 w 92524"/>
                <a:gd name="connsiteY7" fmla="*/ 166714 h 225719"/>
                <a:gd name="connsiteX8" fmla="*/ 50672 w 92524"/>
                <a:gd name="connsiteY8" fmla="*/ 145251 h 225719"/>
                <a:gd name="connsiteX9" fmla="*/ 41007 w 92524"/>
                <a:gd name="connsiteY9" fmla="*/ 142051 h 225719"/>
                <a:gd name="connsiteX10" fmla="*/ 30315 w 92524"/>
                <a:gd name="connsiteY10" fmla="*/ 148489 h 225719"/>
                <a:gd name="connsiteX11" fmla="*/ 21195 w 92524"/>
                <a:gd name="connsiteY11" fmla="*/ 137733 h 225719"/>
                <a:gd name="connsiteX12" fmla="*/ 14231 w 92524"/>
                <a:gd name="connsiteY12" fmla="*/ 128601 h 225719"/>
                <a:gd name="connsiteX13" fmla="*/ 9994 w 92524"/>
                <a:gd name="connsiteY13" fmla="*/ 130405 h 225719"/>
                <a:gd name="connsiteX14" fmla="*/ 2447 w 92524"/>
                <a:gd name="connsiteY14" fmla="*/ 121134 h 225719"/>
                <a:gd name="connsiteX15" fmla="*/ 6227 w 92524"/>
                <a:gd name="connsiteY15" fmla="*/ 113616 h 225719"/>
                <a:gd name="connsiteX16" fmla="*/ 10489 w 92524"/>
                <a:gd name="connsiteY16" fmla="*/ 102858 h 225719"/>
                <a:gd name="connsiteX17" fmla="*/ 12113 w 92524"/>
                <a:gd name="connsiteY17" fmla="*/ 90527 h 225719"/>
                <a:gd name="connsiteX18" fmla="*/ 22273 w 92524"/>
                <a:gd name="connsiteY18" fmla="*/ 86259 h 225719"/>
                <a:gd name="connsiteX19" fmla="*/ 23883 w 92524"/>
                <a:gd name="connsiteY19" fmla="*/ 80900 h 225719"/>
                <a:gd name="connsiteX20" fmla="*/ 17465 w 92524"/>
                <a:gd name="connsiteY20" fmla="*/ 76582 h 225719"/>
                <a:gd name="connsiteX21" fmla="*/ 17465 w 92524"/>
                <a:gd name="connsiteY21" fmla="*/ 63717 h 225719"/>
                <a:gd name="connsiteX22" fmla="*/ 16920 w 92524"/>
                <a:gd name="connsiteY22" fmla="*/ 54586 h 225719"/>
                <a:gd name="connsiteX23" fmla="*/ 19076 w 92524"/>
                <a:gd name="connsiteY23" fmla="*/ 46572 h 225719"/>
                <a:gd name="connsiteX24" fmla="*/ 17998 w 92524"/>
                <a:gd name="connsiteY24" fmla="*/ 37974 h 225719"/>
                <a:gd name="connsiteX25" fmla="*/ 26040 w 92524"/>
                <a:gd name="connsiteY25" fmla="*/ 28843 h 225719"/>
                <a:gd name="connsiteX26" fmla="*/ 19622 w 92524"/>
                <a:gd name="connsiteY26" fmla="*/ 10618 h 225719"/>
                <a:gd name="connsiteX27" fmla="*/ 14003 w 92524"/>
                <a:gd name="connsiteY27" fmla="*/ 1 h 225719"/>
                <a:gd name="connsiteX28" fmla="*/ 16920 w 92524"/>
                <a:gd name="connsiteY28" fmla="*/ 941 h 225719"/>
                <a:gd name="connsiteX29" fmla="*/ 37456 w 92524"/>
                <a:gd name="connsiteY29" fmla="*/ 4548 h 225719"/>
                <a:gd name="connsiteX30" fmla="*/ 36466 w 92524"/>
                <a:gd name="connsiteY30" fmla="*/ 8866 h 225719"/>
                <a:gd name="connsiteX31" fmla="*/ 38940 w 92524"/>
                <a:gd name="connsiteY31" fmla="*/ 15800 h 225719"/>
                <a:gd name="connsiteX32" fmla="*/ 45497 w 92524"/>
                <a:gd name="connsiteY32" fmla="*/ 27230 h 225719"/>
                <a:gd name="connsiteX33" fmla="*/ 46170 w 92524"/>
                <a:gd name="connsiteY33" fmla="*/ 45721 h 225719"/>
                <a:gd name="connsiteX34" fmla="*/ 48288 w 92524"/>
                <a:gd name="connsiteY34" fmla="*/ 61825 h 225719"/>
                <a:gd name="connsiteX35" fmla="*/ 40728 w 92524"/>
                <a:gd name="connsiteY35" fmla="*/ 80494 h 225719"/>
                <a:gd name="connsiteX36" fmla="*/ 44242 w 92524"/>
                <a:gd name="connsiteY36" fmla="*/ 87783 h 225719"/>
                <a:gd name="connsiteX37" fmla="*/ 48060 w 92524"/>
                <a:gd name="connsiteY37" fmla="*/ 98134 h 225719"/>
                <a:gd name="connsiteX38" fmla="*/ 47831 w 92524"/>
                <a:gd name="connsiteY38" fmla="*/ 109742 h 225719"/>
                <a:gd name="connsiteX39" fmla="*/ 54123 w 92524"/>
                <a:gd name="connsiteY39" fmla="*/ 116854 h 225719"/>
                <a:gd name="connsiteX40" fmla="*/ 56152 w 92524"/>
                <a:gd name="connsiteY40" fmla="*/ 133859 h 225719"/>
                <a:gd name="connsiteX41" fmla="*/ 58892 w 92524"/>
                <a:gd name="connsiteY41" fmla="*/ 135751 h 225719"/>
                <a:gd name="connsiteX42" fmla="*/ 60959 w 92524"/>
                <a:gd name="connsiteY42" fmla="*/ 136615 h 225719"/>
                <a:gd name="connsiteX43" fmla="*/ 62406 w 92524"/>
                <a:gd name="connsiteY43" fmla="*/ 133326 h 225719"/>
                <a:gd name="connsiteX44" fmla="*/ 63572 w 92524"/>
                <a:gd name="connsiteY44" fmla="*/ 129274 h 225719"/>
                <a:gd name="connsiteX45" fmla="*/ 65817 w 92524"/>
                <a:gd name="connsiteY45" fmla="*/ 132919 h 225719"/>
                <a:gd name="connsiteX46" fmla="*/ 70219 w 92524"/>
                <a:gd name="connsiteY46" fmla="*/ 136704 h 225719"/>
                <a:gd name="connsiteX47" fmla="*/ 72464 w 92524"/>
                <a:gd name="connsiteY47" fmla="*/ 131662 h 225719"/>
                <a:gd name="connsiteX48" fmla="*/ 71259 w 92524"/>
                <a:gd name="connsiteY48" fmla="*/ 126849 h 225719"/>
                <a:gd name="connsiteX49" fmla="*/ 79072 w 92524"/>
                <a:gd name="connsiteY49" fmla="*/ 133465 h 225719"/>
                <a:gd name="connsiteX50" fmla="*/ 92467 w 92524"/>
                <a:gd name="connsiteY50" fmla="*/ 157037 h 22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92524" h="225719">
                  <a:moveTo>
                    <a:pt x="92467" y="157037"/>
                  </a:moveTo>
                  <a:cubicBezTo>
                    <a:pt x="92657" y="167933"/>
                    <a:pt x="91198" y="178792"/>
                    <a:pt x="88154" y="189257"/>
                  </a:cubicBezTo>
                  <a:cubicBezTo>
                    <a:pt x="84425" y="198337"/>
                    <a:pt x="84425" y="190285"/>
                    <a:pt x="74760" y="192991"/>
                  </a:cubicBezTo>
                  <a:cubicBezTo>
                    <a:pt x="65145" y="195683"/>
                    <a:pt x="77994" y="206935"/>
                    <a:pt x="76371" y="219267"/>
                  </a:cubicBezTo>
                  <a:cubicBezTo>
                    <a:pt x="74760" y="231598"/>
                    <a:pt x="74265" y="223051"/>
                    <a:pt x="69953" y="219800"/>
                  </a:cubicBezTo>
                  <a:cubicBezTo>
                    <a:pt x="65678" y="216562"/>
                    <a:pt x="72642" y="216066"/>
                    <a:pt x="66223" y="210135"/>
                  </a:cubicBezTo>
                  <a:cubicBezTo>
                    <a:pt x="59793" y="204243"/>
                    <a:pt x="60325" y="210135"/>
                    <a:pt x="51205" y="191365"/>
                  </a:cubicBezTo>
                  <a:cubicBezTo>
                    <a:pt x="42085" y="172607"/>
                    <a:pt x="52283" y="177420"/>
                    <a:pt x="52829" y="166714"/>
                  </a:cubicBezTo>
                  <a:cubicBezTo>
                    <a:pt x="54008" y="159488"/>
                    <a:pt x="53260" y="152084"/>
                    <a:pt x="50672" y="145251"/>
                  </a:cubicBezTo>
                  <a:cubicBezTo>
                    <a:pt x="47971" y="139358"/>
                    <a:pt x="48516" y="142051"/>
                    <a:pt x="41007" y="142051"/>
                  </a:cubicBezTo>
                  <a:cubicBezTo>
                    <a:pt x="33549" y="142051"/>
                    <a:pt x="37278" y="145251"/>
                    <a:pt x="30315" y="148489"/>
                  </a:cubicBezTo>
                  <a:cubicBezTo>
                    <a:pt x="23351" y="151690"/>
                    <a:pt x="27118" y="142546"/>
                    <a:pt x="21195" y="137733"/>
                  </a:cubicBezTo>
                  <a:cubicBezTo>
                    <a:pt x="15309" y="132919"/>
                    <a:pt x="18544" y="129135"/>
                    <a:pt x="14231" y="128601"/>
                  </a:cubicBezTo>
                  <a:cubicBezTo>
                    <a:pt x="12607" y="128436"/>
                    <a:pt x="11009" y="129122"/>
                    <a:pt x="9994" y="130405"/>
                  </a:cubicBezTo>
                  <a:cubicBezTo>
                    <a:pt x="7952" y="126950"/>
                    <a:pt x="5415" y="123826"/>
                    <a:pt x="2447" y="121134"/>
                  </a:cubicBezTo>
                  <a:cubicBezTo>
                    <a:pt x="-2893" y="116270"/>
                    <a:pt x="1369" y="117349"/>
                    <a:pt x="6227" y="113616"/>
                  </a:cubicBezTo>
                  <a:cubicBezTo>
                    <a:pt x="11034" y="109831"/>
                    <a:pt x="7800" y="114695"/>
                    <a:pt x="10489" y="102858"/>
                  </a:cubicBezTo>
                  <a:cubicBezTo>
                    <a:pt x="13191" y="91073"/>
                    <a:pt x="9411" y="95886"/>
                    <a:pt x="12113" y="90527"/>
                  </a:cubicBezTo>
                  <a:cubicBezTo>
                    <a:pt x="14764" y="85180"/>
                    <a:pt x="17998" y="91073"/>
                    <a:pt x="22273" y="86259"/>
                  </a:cubicBezTo>
                  <a:cubicBezTo>
                    <a:pt x="26585" y="81395"/>
                    <a:pt x="26040" y="85180"/>
                    <a:pt x="23883" y="80900"/>
                  </a:cubicBezTo>
                  <a:cubicBezTo>
                    <a:pt x="21727" y="76582"/>
                    <a:pt x="21727" y="81941"/>
                    <a:pt x="17465" y="76582"/>
                  </a:cubicBezTo>
                  <a:cubicBezTo>
                    <a:pt x="13191" y="71236"/>
                    <a:pt x="15842" y="73928"/>
                    <a:pt x="17465" y="63717"/>
                  </a:cubicBezTo>
                  <a:cubicBezTo>
                    <a:pt x="19076" y="53544"/>
                    <a:pt x="17465" y="59437"/>
                    <a:pt x="16920" y="54586"/>
                  </a:cubicBezTo>
                  <a:cubicBezTo>
                    <a:pt x="16375" y="49773"/>
                    <a:pt x="18544" y="51931"/>
                    <a:pt x="19076" y="46572"/>
                  </a:cubicBezTo>
                  <a:cubicBezTo>
                    <a:pt x="19622" y="41175"/>
                    <a:pt x="17453" y="44413"/>
                    <a:pt x="17998" y="37974"/>
                  </a:cubicBezTo>
                  <a:cubicBezTo>
                    <a:pt x="18544" y="31548"/>
                    <a:pt x="23351" y="35282"/>
                    <a:pt x="26040" y="28843"/>
                  </a:cubicBezTo>
                  <a:cubicBezTo>
                    <a:pt x="28691" y="22404"/>
                    <a:pt x="28019" y="24347"/>
                    <a:pt x="19622" y="10618"/>
                  </a:cubicBezTo>
                  <a:cubicBezTo>
                    <a:pt x="13863" y="1258"/>
                    <a:pt x="13901" y="90"/>
                    <a:pt x="14003" y="1"/>
                  </a:cubicBezTo>
                  <a:cubicBezTo>
                    <a:pt x="14675" y="230"/>
                    <a:pt x="15525" y="496"/>
                    <a:pt x="16920" y="941"/>
                  </a:cubicBezTo>
                  <a:cubicBezTo>
                    <a:pt x="21233" y="2389"/>
                    <a:pt x="31203" y="2566"/>
                    <a:pt x="37456" y="4548"/>
                  </a:cubicBezTo>
                  <a:cubicBezTo>
                    <a:pt x="36403" y="5716"/>
                    <a:pt x="36022" y="7355"/>
                    <a:pt x="36466" y="8866"/>
                  </a:cubicBezTo>
                  <a:cubicBezTo>
                    <a:pt x="37950" y="10847"/>
                    <a:pt x="37811" y="13450"/>
                    <a:pt x="38940" y="15800"/>
                  </a:cubicBezTo>
                  <a:cubicBezTo>
                    <a:pt x="40195" y="19394"/>
                    <a:pt x="48998" y="24207"/>
                    <a:pt x="45497" y="27230"/>
                  </a:cubicBezTo>
                  <a:cubicBezTo>
                    <a:pt x="44698" y="33389"/>
                    <a:pt x="44927" y="39638"/>
                    <a:pt x="46170" y="45721"/>
                  </a:cubicBezTo>
                  <a:cubicBezTo>
                    <a:pt x="44242" y="50445"/>
                    <a:pt x="48466" y="56478"/>
                    <a:pt x="48288" y="61825"/>
                  </a:cubicBezTo>
                  <a:cubicBezTo>
                    <a:pt x="44559" y="67273"/>
                    <a:pt x="37988" y="72709"/>
                    <a:pt x="40728" y="80494"/>
                  </a:cubicBezTo>
                  <a:cubicBezTo>
                    <a:pt x="41680" y="83288"/>
                    <a:pt x="46664" y="82564"/>
                    <a:pt x="44242" y="87783"/>
                  </a:cubicBezTo>
                  <a:cubicBezTo>
                    <a:pt x="44686" y="91695"/>
                    <a:pt x="47616" y="94083"/>
                    <a:pt x="48060" y="98134"/>
                  </a:cubicBezTo>
                  <a:cubicBezTo>
                    <a:pt x="49163" y="101931"/>
                    <a:pt x="49087" y="105983"/>
                    <a:pt x="47831" y="109742"/>
                  </a:cubicBezTo>
                  <a:cubicBezTo>
                    <a:pt x="48681" y="113031"/>
                    <a:pt x="50482" y="117476"/>
                    <a:pt x="54123" y="116854"/>
                  </a:cubicBezTo>
                  <a:cubicBezTo>
                    <a:pt x="61226" y="123788"/>
                    <a:pt x="50482" y="126442"/>
                    <a:pt x="56152" y="133859"/>
                  </a:cubicBezTo>
                  <a:cubicBezTo>
                    <a:pt x="56507" y="135256"/>
                    <a:pt x="58131" y="134850"/>
                    <a:pt x="58892" y="135751"/>
                  </a:cubicBezTo>
                  <a:cubicBezTo>
                    <a:pt x="58258" y="137783"/>
                    <a:pt x="59793" y="136920"/>
                    <a:pt x="60959" y="136615"/>
                  </a:cubicBezTo>
                  <a:cubicBezTo>
                    <a:pt x="63027" y="136069"/>
                    <a:pt x="62089" y="134672"/>
                    <a:pt x="62406" y="133326"/>
                  </a:cubicBezTo>
                  <a:cubicBezTo>
                    <a:pt x="64562" y="132157"/>
                    <a:pt x="62038" y="130354"/>
                    <a:pt x="63572" y="129274"/>
                  </a:cubicBezTo>
                  <a:cubicBezTo>
                    <a:pt x="65678" y="129630"/>
                    <a:pt x="65640" y="131256"/>
                    <a:pt x="65817" y="132919"/>
                  </a:cubicBezTo>
                  <a:cubicBezTo>
                    <a:pt x="67251" y="134316"/>
                    <a:pt x="69813" y="133643"/>
                    <a:pt x="70219" y="136704"/>
                  </a:cubicBezTo>
                  <a:cubicBezTo>
                    <a:pt x="78489" y="146013"/>
                    <a:pt x="74532" y="136615"/>
                    <a:pt x="72464" y="131662"/>
                  </a:cubicBezTo>
                  <a:cubicBezTo>
                    <a:pt x="71969" y="130075"/>
                    <a:pt x="71563" y="128474"/>
                    <a:pt x="71259" y="126849"/>
                  </a:cubicBezTo>
                  <a:cubicBezTo>
                    <a:pt x="72730" y="127344"/>
                    <a:pt x="74620" y="127750"/>
                    <a:pt x="79072" y="133465"/>
                  </a:cubicBezTo>
                  <a:cubicBezTo>
                    <a:pt x="86569" y="143092"/>
                    <a:pt x="93000" y="147410"/>
                    <a:pt x="92467" y="157037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2" name="Vrije vorm 371">
              <a:extLst>
                <a:ext uri="{FF2B5EF4-FFF2-40B4-BE49-F238E27FC236}">
                  <a16:creationId xmlns:a16="http://schemas.microsoft.com/office/drawing/2014/main" id="{A4857913-09EB-C142-8D69-8CD968F0710E}"/>
                </a:ext>
              </a:extLst>
            </p:cNvPr>
            <p:cNvSpPr/>
            <p:nvPr/>
          </p:nvSpPr>
          <p:spPr>
            <a:xfrm>
              <a:off x="6310099" y="4426584"/>
              <a:ext cx="55727" cy="49395"/>
            </a:xfrm>
            <a:custGeom>
              <a:avLst/>
              <a:gdLst>
                <a:gd name="connsiteX0" fmla="*/ 54760 w 55727"/>
                <a:gd name="connsiteY0" fmla="*/ 34736 h 49395"/>
                <a:gd name="connsiteX1" fmla="*/ 47835 w 55727"/>
                <a:gd name="connsiteY1" fmla="*/ 38647 h 49395"/>
                <a:gd name="connsiteX2" fmla="*/ 38715 w 55727"/>
                <a:gd name="connsiteY2" fmla="*/ 34736 h 49395"/>
                <a:gd name="connsiteX3" fmla="*/ 28517 w 55727"/>
                <a:gd name="connsiteY3" fmla="*/ 36349 h 49395"/>
                <a:gd name="connsiteX4" fmla="*/ 29595 w 55727"/>
                <a:gd name="connsiteY4" fmla="*/ 44908 h 49395"/>
                <a:gd name="connsiteX5" fmla="*/ 19384 w 55727"/>
                <a:gd name="connsiteY5" fmla="*/ 49226 h 49395"/>
                <a:gd name="connsiteX6" fmla="*/ 10848 w 55727"/>
                <a:gd name="connsiteY6" fmla="*/ 44908 h 49395"/>
                <a:gd name="connsiteX7" fmla="*/ 104 w 55727"/>
                <a:gd name="connsiteY7" fmla="*/ 44362 h 49395"/>
                <a:gd name="connsiteX8" fmla="*/ 2806 w 55727"/>
                <a:gd name="connsiteY8" fmla="*/ 35269 h 49395"/>
                <a:gd name="connsiteX9" fmla="*/ 6002 w 55727"/>
                <a:gd name="connsiteY9" fmla="*/ 24525 h 49395"/>
                <a:gd name="connsiteX10" fmla="*/ 9769 w 55727"/>
                <a:gd name="connsiteY10" fmla="*/ 13806 h 49395"/>
                <a:gd name="connsiteX11" fmla="*/ 18712 w 55727"/>
                <a:gd name="connsiteY11" fmla="*/ 8815 h 49395"/>
                <a:gd name="connsiteX12" fmla="*/ 21008 w 55727"/>
                <a:gd name="connsiteY12" fmla="*/ 7913 h 49395"/>
                <a:gd name="connsiteX13" fmla="*/ 28517 w 55727"/>
                <a:gd name="connsiteY13" fmla="*/ 12193 h 49395"/>
                <a:gd name="connsiteX14" fmla="*/ 37091 w 55727"/>
                <a:gd name="connsiteY14" fmla="*/ 4141 h 49395"/>
                <a:gd name="connsiteX15" fmla="*/ 42938 w 55727"/>
                <a:gd name="connsiteY15" fmla="*/ 1 h 49395"/>
                <a:gd name="connsiteX16" fmla="*/ 47797 w 55727"/>
                <a:gd name="connsiteY16" fmla="*/ 4141 h 49395"/>
                <a:gd name="connsiteX17" fmla="*/ 55293 w 55727"/>
                <a:gd name="connsiteY17" fmla="*/ 19165 h 49395"/>
                <a:gd name="connsiteX18" fmla="*/ 54760 w 55727"/>
                <a:gd name="connsiteY18" fmla="*/ 34736 h 49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5727" h="49395">
                  <a:moveTo>
                    <a:pt x="54760" y="34736"/>
                  </a:moveTo>
                  <a:cubicBezTo>
                    <a:pt x="54760" y="34736"/>
                    <a:pt x="51336" y="36768"/>
                    <a:pt x="47835" y="38647"/>
                  </a:cubicBezTo>
                  <a:cubicBezTo>
                    <a:pt x="45729" y="36082"/>
                    <a:pt x="42304" y="33072"/>
                    <a:pt x="38715" y="34736"/>
                  </a:cubicBezTo>
                  <a:cubicBezTo>
                    <a:pt x="35556" y="36310"/>
                    <a:pt x="31992" y="36882"/>
                    <a:pt x="28517" y="36349"/>
                  </a:cubicBezTo>
                  <a:cubicBezTo>
                    <a:pt x="28517" y="36349"/>
                    <a:pt x="34935" y="40629"/>
                    <a:pt x="29595" y="44908"/>
                  </a:cubicBezTo>
                  <a:cubicBezTo>
                    <a:pt x="24242" y="49226"/>
                    <a:pt x="25815" y="49760"/>
                    <a:pt x="19384" y="49226"/>
                  </a:cubicBezTo>
                  <a:cubicBezTo>
                    <a:pt x="12966" y="48680"/>
                    <a:pt x="14044" y="47601"/>
                    <a:pt x="10848" y="44908"/>
                  </a:cubicBezTo>
                  <a:cubicBezTo>
                    <a:pt x="7613" y="42241"/>
                    <a:pt x="4962" y="42241"/>
                    <a:pt x="104" y="44362"/>
                  </a:cubicBezTo>
                  <a:cubicBezTo>
                    <a:pt x="-403" y="41086"/>
                    <a:pt x="586" y="37746"/>
                    <a:pt x="2806" y="35269"/>
                  </a:cubicBezTo>
                  <a:cubicBezTo>
                    <a:pt x="6535" y="30951"/>
                    <a:pt x="2806" y="33110"/>
                    <a:pt x="6002" y="24525"/>
                  </a:cubicBezTo>
                  <a:cubicBezTo>
                    <a:pt x="9237" y="15965"/>
                    <a:pt x="6535" y="19699"/>
                    <a:pt x="9769" y="13806"/>
                  </a:cubicBezTo>
                  <a:cubicBezTo>
                    <a:pt x="12471" y="8815"/>
                    <a:pt x="14805" y="9945"/>
                    <a:pt x="18712" y="8815"/>
                  </a:cubicBezTo>
                  <a:cubicBezTo>
                    <a:pt x="19511" y="8599"/>
                    <a:pt x="20272" y="8294"/>
                    <a:pt x="21008" y="7913"/>
                  </a:cubicBezTo>
                  <a:cubicBezTo>
                    <a:pt x="26361" y="5221"/>
                    <a:pt x="25320" y="9539"/>
                    <a:pt x="28517" y="12193"/>
                  </a:cubicBezTo>
                  <a:cubicBezTo>
                    <a:pt x="31751" y="14885"/>
                    <a:pt x="31751" y="10568"/>
                    <a:pt x="37091" y="4141"/>
                  </a:cubicBezTo>
                  <a:cubicBezTo>
                    <a:pt x="38639" y="2262"/>
                    <a:pt x="40655" y="827"/>
                    <a:pt x="42938" y="1"/>
                  </a:cubicBezTo>
                  <a:cubicBezTo>
                    <a:pt x="44461" y="1297"/>
                    <a:pt x="46262" y="2795"/>
                    <a:pt x="47797" y="4141"/>
                  </a:cubicBezTo>
                  <a:cubicBezTo>
                    <a:pt x="52477" y="7723"/>
                    <a:pt x="55242" y="13260"/>
                    <a:pt x="55293" y="19165"/>
                  </a:cubicBezTo>
                  <a:cubicBezTo>
                    <a:pt x="55978" y="24347"/>
                    <a:pt x="55800" y="29605"/>
                    <a:pt x="54760" y="34736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3" name="Vrije vorm 372">
              <a:extLst>
                <a:ext uri="{FF2B5EF4-FFF2-40B4-BE49-F238E27FC236}">
                  <a16:creationId xmlns:a16="http://schemas.microsoft.com/office/drawing/2014/main" id="{43411641-8D31-314F-9F5E-3EACBA3F24DC}"/>
                </a:ext>
              </a:extLst>
            </p:cNvPr>
            <p:cNvSpPr/>
            <p:nvPr/>
          </p:nvSpPr>
          <p:spPr>
            <a:xfrm>
              <a:off x="6327543" y="4280877"/>
              <a:ext cx="153392" cy="158707"/>
            </a:xfrm>
            <a:custGeom>
              <a:avLst/>
              <a:gdLst>
                <a:gd name="connsiteX0" fmla="*/ 149305 w 153392"/>
                <a:gd name="connsiteY0" fmla="*/ 78525 h 158707"/>
                <a:gd name="connsiteX1" fmla="*/ 135910 w 153392"/>
                <a:gd name="connsiteY1" fmla="*/ 91937 h 158707"/>
                <a:gd name="connsiteX2" fmla="*/ 126207 w 153392"/>
                <a:gd name="connsiteY2" fmla="*/ 108853 h 158707"/>
                <a:gd name="connsiteX3" fmla="*/ 120005 w 153392"/>
                <a:gd name="connsiteY3" fmla="*/ 110110 h 158707"/>
                <a:gd name="connsiteX4" fmla="*/ 119015 w 153392"/>
                <a:gd name="connsiteY4" fmla="*/ 105652 h 158707"/>
                <a:gd name="connsiteX5" fmla="*/ 115108 w 153392"/>
                <a:gd name="connsiteY5" fmla="*/ 109259 h 158707"/>
                <a:gd name="connsiteX6" fmla="*/ 112090 w 153392"/>
                <a:gd name="connsiteY6" fmla="*/ 106199 h 158707"/>
                <a:gd name="connsiteX7" fmla="*/ 107460 w 153392"/>
                <a:gd name="connsiteY7" fmla="*/ 102465 h 158707"/>
                <a:gd name="connsiteX8" fmla="*/ 89448 w 153392"/>
                <a:gd name="connsiteY8" fmla="*/ 110339 h 158707"/>
                <a:gd name="connsiteX9" fmla="*/ 82573 w 153392"/>
                <a:gd name="connsiteY9" fmla="*/ 113260 h 158707"/>
                <a:gd name="connsiteX10" fmla="*/ 69306 w 153392"/>
                <a:gd name="connsiteY10" fmla="*/ 118924 h 158707"/>
                <a:gd name="connsiteX11" fmla="*/ 70029 w 153392"/>
                <a:gd name="connsiteY11" fmla="*/ 123064 h 158707"/>
                <a:gd name="connsiteX12" fmla="*/ 64092 w 153392"/>
                <a:gd name="connsiteY12" fmla="*/ 145696 h 158707"/>
                <a:gd name="connsiteX13" fmla="*/ 35693 w 153392"/>
                <a:gd name="connsiteY13" fmla="*/ 143943 h 158707"/>
                <a:gd name="connsiteX14" fmla="*/ 25494 w 153392"/>
                <a:gd name="connsiteY14" fmla="*/ 145696 h 158707"/>
                <a:gd name="connsiteX15" fmla="*/ 19647 w 153392"/>
                <a:gd name="connsiteY15" fmla="*/ 149836 h 158707"/>
                <a:gd name="connsiteX16" fmla="*/ 11073 w 153392"/>
                <a:gd name="connsiteY16" fmla="*/ 157888 h 158707"/>
                <a:gd name="connsiteX17" fmla="*/ 3564 w 153392"/>
                <a:gd name="connsiteY17" fmla="*/ 153620 h 158707"/>
                <a:gd name="connsiteX18" fmla="*/ 1268 w 153392"/>
                <a:gd name="connsiteY18" fmla="*/ 154522 h 158707"/>
                <a:gd name="connsiteX19" fmla="*/ 1940 w 153392"/>
                <a:gd name="connsiteY19" fmla="*/ 130532 h 158707"/>
                <a:gd name="connsiteX20" fmla="*/ 10527 w 153392"/>
                <a:gd name="connsiteY20" fmla="*/ 99442 h 158707"/>
                <a:gd name="connsiteX21" fmla="*/ 29274 w 153392"/>
                <a:gd name="connsiteY21" fmla="*/ 75274 h 158707"/>
                <a:gd name="connsiteX22" fmla="*/ 48047 w 153392"/>
                <a:gd name="connsiteY22" fmla="*/ 57596 h 158707"/>
                <a:gd name="connsiteX23" fmla="*/ 46436 w 153392"/>
                <a:gd name="connsiteY23" fmla="*/ 49544 h 158707"/>
                <a:gd name="connsiteX24" fmla="*/ 38394 w 153392"/>
                <a:gd name="connsiteY24" fmla="*/ 45810 h 158707"/>
                <a:gd name="connsiteX25" fmla="*/ 36238 w 153392"/>
                <a:gd name="connsiteY25" fmla="*/ 21642 h 158707"/>
                <a:gd name="connsiteX26" fmla="*/ 36771 w 153392"/>
                <a:gd name="connsiteY26" fmla="*/ 13501 h 158707"/>
                <a:gd name="connsiteX27" fmla="*/ 36771 w 153392"/>
                <a:gd name="connsiteY27" fmla="*/ 13451 h 158707"/>
                <a:gd name="connsiteX28" fmla="*/ 40551 w 153392"/>
                <a:gd name="connsiteY28" fmla="*/ 12016 h 158707"/>
                <a:gd name="connsiteX29" fmla="*/ 51789 w 153392"/>
                <a:gd name="connsiteY29" fmla="*/ 10402 h 158707"/>
                <a:gd name="connsiteX30" fmla="*/ 61442 w 153392"/>
                <a:gd name="connsiteY30" fmla="*/ 8777 h 158707"/>
                <a:gd name="connsiteX31" fmla="*/ 69445 w 153392"/>
                <a:gd name="connsiteY31" fmla="*/ 15749 h 158707"/>
                <a:gd name="connsiteX32" fmla="*/ 75876 w 153392"/>
                <a:gd name="connsiteY32" fmla="*/ 12562 h 158707"/>
                <a:gd name="connsiteX33" fmla="*/ 85541 w 153392"/>
                <a:gd name="connsiteY33" fmla="*/ 10402 h 158707"/>
                <a:gd name="connsiteX34" fmla="*/ 97845 w 153392"/>
                <a:gd name="connsiteY34" fmla="*/ 6123 h 158707"/>
                <a:gd name="connsiteX35" fmla="*/ 110707 w 153392"/>
                <a:gd name="connsiteY35" fmla="*/ 9310 h 158707"/>
                <a:gd name="connsiteX36" fmla="*/ 125357 w 153392"/>
                <a:gd name="connsiteY36" fmla="*/ 1 h 158707"/>
                <a:gd name="connsiteX37" fmla="*/ 129987 w 153392"/>
                <a:gd name="connsiteY37" fmla="*/ 7202 h 158707"/>
                <a:gd name="connsiteX38" fmla="*/ 137483 w 153392"/>
                <a:gd name="connsiteY38" fmla="*/ 11469 h 158707"/>
                <a:gd name="connsiteX39" fmla="*/ 141796 w 153392"/>
                <a:gd name="connsiteY39" fmla="*/ 26506 h 158707"/>
                <a:gd name="connsiteX40" fmla="*/ 149800 w 153392"/>
                <a:gd name="connsiteY40" fmla="*/ 40997 h 158707"/>
                <a:gd name="connsiteX41" fmla="*/ 153034 w 153392"/>
                <a:gd name="connsiteY41" fmla="*/ 60301 h 158707"/>
                <a:gd name="connsiteX42" fmla="*/ 149305 w 153392"/>
                <a:gd name="connsiteY42" fmla="*/ 78525 h 158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53392" h="158707">
                  <a:moveTo>
                    <a:pt x="149305" y="78525"/>
                  </a:moveTo>
                  <a:cubicBezTo>
                    <a:pt x="142341" y="85498"/>
                    <a:pt x="138029" y="84964"/>
                    <a:pt x="135910" y="91937"/>
                  </a:cubicBezTo>
                  <a:cubicBezTo>
                    <a:pt x="133412" y="97969"/>
                    <a:pt x="130152" y="103646"/>
                    <a:pt x="126207" y="108853"/>
                  </a:cubicBezTo>
                  <a:cubicBezTo>
                    <a:pt x="124139" y="109297"/>
                    <a:pt x="122072" y="109704"/>
                    <a:pt x="120005" y="110110"/>
                  </a:cubicBezTo>
                  <a:cubicBezTo>
                    <a:pt x="119687" y="108624"/>
                    <a:pt x="119370" y="107138"/>
                    <a:pt x="119015" y="105652"/>
                  </a:cubicBezTo>
                  <a:cubicBezTo>
                    <a:pt x="118229" y="107316"/>
                    <a:pt x="116821" y="108612"/>
                    <a:pt x="115108" y="109259"/>
                  </a:cubicBezTo>
                  <a:cubicBezTo>
                    <a:pt x="113358" y="109704"/>
                    <a:pt x="111151" y="107773"/>
                    <a:pt x="112090" y="106199"/>
                  </a:cubicBezTo>
                  <a:cubicBezTo>
                    <a:pt x="110567" y="104941"/>
                    <a:pt x="109032" y="103722"/>
                    <a:pt x="107460" y="102465"/>
                  </a:cubicBezTo>
                  <a:cubicBezTo>
                    <a:pt x="104530" y="109501"/>
                    <a:pt x="96589" y="112968"/>
                    <a:pt x="89448" y="110339"/>
                  </a:cubicBezTo>
                  <a:cubicBezTo>
                    <a:pt x="87153" y="111329"/>
                    <a:pt x="84857" y="112320"/>
                    <a:pt x="82573" y="113260"/>
                  </a:cubicBezTo>
                  <a:cubicBezTo>
                    <a:pt x="78159" y="115152"/>
                    <a:pt x="73720" y="117032"/>
                    <a:pt x="69306" y="118924"/>
                  </a:cubicBezTo>
                  <a:cubicBezTo>
                    <a:pt x="69534" y="120321"/>
                    <a:pt x="69800" y="121667"/>
                    <a:pt x="70029" y="123064"/>
                  </a:cubicBezTo>
                  <a:cubicBezTo>
                    <a:pt x="67467" y="130443"/>
                    <a:pt x="65488" y="138012"/>
                    <a:pt x="64092" y="145696"/>
                  </a:cubicBezTo>
                  <a:cubicBezTo>
                    <a:pt x="57712" y="145162"/>
                    <a:pt x="37494" y="143499"/>
                    <a:pt x="35693" y="143943"/>
                  </a:cubicBezTo>
                  <a:cubicBezTo>
                    <a:pt x="32230" y="144070"/>
                    <a:pt x="28805" y="144654"/>
                    <a:pt x="25494" y="145696"/>
                  </a:cubicBezTo>
                  <a:cubicBezTo>
                    <a:pt x="23211" y="146534"/>
                    <a:pt x="21195" y="147956"/>
                    <a:pt x="19647" y="149836"/>
                  </a:cubicBezTo>
                  <a:cubicBezTo>
                    <a:pt x="14307" y="156275"/>
                    <a:pt x="14307" y="160593"/>
                    <a:pt x="11073" y="157888"/>
                  </a:cubicBezTo>
                  <a:cubicBezTo>
                    <a:pt x="7876" y="155233"/>
                    <a:pt x="8916" y="150915"/>
                    <a:pt x="3564" y="153620"/>
                  </a:cubicBezTo>
                  <a:cubicBezTo>
                    <a:pt x="2828" y="154001"/>
                    <a:pt x="2067" y="154306"/>
                    <a:pt x="1268" y="154522"/>
                  </a:cubicBezTo>
                  <a:cubicBezTo>
                    <a:pt x="-660" y="146610"/>
                    <a:pt x="-432" y="138317"/>
                    <a:pt x="1940" y="130532"/>
                  </a:cubicBezTo>
                  <a:cubicBezTo>
                    <a:pt x="6798" y="118213"/>
                    <a:pt x="6798" y="104802"/>
                    <a:pt x="10527" y="99442"/>
                  </a:cubicBezTo>
                  <a:cubicBezTo>
                    <a:pt x="14307" y="94096"/>
                    <a:pt x="17491" y="81218"/>
                    <a:pt x="29274" y="75274"/>
                  </a:cubicBezTo>
                  <a:cubicBezTo>
                    <a:pt x="41083" y="69381"/>
                    <a:pt x="48047" y="62955"/>
                    <a:pt x="48047" y="57596"/>
                  </a:cubicBezTo>
                  <a:cubicBezTo>
                    <a:pt x="48047" y="52249"/>
                    <a:pt x="52867" y="50623"/>
                    <a:pt x="46436" y="49544"/>
                  </a:cubicBezTo>
                  <a:cubicBezTo>
                    <a:pt x="40005" y="48464"/>
                    <a:pt x="42123" y="53316"/>
                    <a:pt x="38394" y="45810"/>
                  </a:cubicBezTo>
                  <a:cubicBezTo>
                    <a:pt x="35401" y="38127"/>
                    <a:pt x="34653" y="29745"/>
                    <a:pt x="36238" y="21642"/>
                  </a:cubicBezTo>
                  <a:cubicBezTo>
                    <a:pt x="36885" y="18988"/>
                    <a:pt x="37063" y="16232"/>
                    <a:pt x="36771" y="13501"/>
                  </a:cubicBezTo>
                  <a:lnTo>
                    <a:pt x="36771" y="13451"/>
                  </a:lnTo>
                  <a:cubicBezTo>
                    <a:pt x="37989" y="12854"/>
                    <a:pt x="39244" y="12371"/>
                    <a:pt x="40551" y="12016"/>
                  </a:cubicBezTo>
                  <a:cubicBezTo>
                    <a:pt x="43735" y="11469"/>
                    <a:pt x="44280" y="9310"/>
                    <a:pt x="51789" y="10402"/>
                  </a:cubicBezTo>
                  <a:cubicBezTo>
                    <a:pt x="59285" y="11482"/>
                    <a:pt x="55518" y="11469"/>
                    <a:pt x="61442" y="8777"/>
                  </a:cubicBezTo>
                  <a:cubicBezTo>
                    <a:pt x="67340" y="6123"/>
                    <a:pt x="65716" y="13641"/>
                    <a:pt x="69445" y="15749"/>
                  </a:cubicBezTo>
                  <a:cubicBezTo>
                    <a:pt x="73225" y="17908"/>
                    <a:pt x="74303" y="15216"/>
                    <a:pt x="75876" y="12562"/>
                  </a:cubicBezTo>
                  <a:cubicBezTo>
                    <a:pt x="77487" y="9856"/>
                    <a:pt x="82295" y="10936"/>
                    <a:pt x="85541" y="10402"/>
                  </a:cubicBezTo>
                  <a:cubicBezTo>
                    <a:pt x="89753" y="9310"/>
                    <a:pt x="93862" y="7875"/>
                    <a:pt x="97845" y="6123"/>
                  </a:cubicBezTo>
                  <a:cubicBezTo>
                    <a:pt x="100547" y="5043"/>
                    <a:pt x="99469" y="10936"/>
                    <a:pt x="110707" y="9310"/>
                  </a:cubicBezTo>
                  <a:cubicBezTo>
                    <a:pt x="116618" y="8269"/>
                    <a:pt x="121894" y="4929"/>
                    <a:pt x="125357" y="1"/>
                  </a:cubicBezTo>
                  <a:cubicBezTo>
                    <a:pt x="126664" y="2541"/>
                    <a:pt x="128211" y="4954"/>
                    <a:pt x="129987" y="7202"/>
                  </a:cubicBezTo>
                  <a:cubicBezTo>
                    <a:pt x="133221" y="10936"/>
                    <a:pt x="135910" y="4497"/>
                    <a:pt x="137483" y="11469"/>
                  </a:cubicBezTo>
                  <a:cubicBezTo>
                    <a:pt x="139107" y="18454"/>
                    <a:pt x="137483" y="18988"/>
                    <a:pt x="141796" y="26506"/>
                  </a:cubicBezTo>
                  <a:cubicBezTo>
                    <a:pt x="146070" y="34024"/>
                    <a:pt x="148760" y="35053"/>
                    <a:pt x="149800" y="40997"/>
                  </a:cubicBezTo>
                  <a:cubicBezTo>
                    <a:pt x="152463" y="47055"/>
                    <a:pt x="153580" y="53697"/>
                    <a:pt x="153034" y="60301"/>
                  </a:cubicBezTo>
                  <a:cubicBezTo>
                    <a:pt x="151956" y="72086"/>
                    <a:pt x="156230" y="71553"/>
                    <a:pt x="149305" y="78525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4" name="Vrije vorm 373">
              <a:extLst>
                <a:ext uri="{FF2B5EF4-FFF2-40B4-BE49-F238E27FC236}">
                  <a16:creationId xmlns:a16="http://schemas.microsoft.com/office/drawing/2014/main" id="{8F307FCF-F95C-7843-A3E7-32A230D5B767}"/>
                </a:ext>
              </a:extLst>
            </p:cNvPr>
            <p:cNvSpPr/>
            <p:nvPr/>
          </p:nvSpPr>
          <p:spPr>
            <a:xfrm>
              <a:off x="6425980" y="3970668"/>
              <a:ext cx="423619" cy="328128"/>
            </a:xfrm>
            <a:custGeom>
              <a:avLst/>
              <a:gdLst>
                <a:gd name="connsiteX0" fmla="*/ 423593 w 423619"/>
                <a:gd name="connsiteY0" fmla="*/ 202095 h 328128"/>
                <a:gd name="connsiteX1" fmla="*/ 337455 w 423619"/>
                <a:gd name="connsiteY1" fmla="*/ 286817 h 328128"/>
                <a:gd name="connsiteX2" fmla="*/ 310666 w 423619"/>
                <a:gd name="connsiteY2" fmla="*/ 285737 h 328128"/>
                <a:gd name="connsiteX3" fmla="*/ 249059 w 423619"/>
                <a:gd name="connsiteY3" fmla="*/ 313093 h 328128"/>
                <a:gd name="connsiteX4" fmla="*/ 248564 w 423619"/>
                <a:gd name="connsiteY4" fmla="*/ 313411 h 328128"/>
                <a:gd name="connsiteX5" fmla="*/ 234586 w 423619"/>
                <a:gd name="connsiteY5" fmla="*/ 313093 h 328128"/>
                <a:gd name="connsiteX6" fmla="*/ 221724 w 423619"/>
                <a:gd name="connsiteY6" fmla="*/ 305041 h 328128"/>
                <a:gd name="connsiteX7" fmla="*/ 206719 w 423619"/>
                <a:gd name="connsiteY7" fmla="*/ 309359 h 328128"/>
                <a:gd name="connsiteX8" fmla="*/ 193870 w 423619"/>
                <a:gd name="connsiteY8" fmla="*/ 317411 h 328128"/>
                <a:gd name="connsiteX9" fmla="*/ 181008 w 423619"/>
                <a:gd name="connsiteY9" fmla="*/ 328130 h 328128"/>
                <a:gd name="connsiteX10" fmla="*/ 153686 w 423619"/>
                <a:gd name="connsiteY10" fmla="*/ 323850 h 328128"/>
                <a:gd name="connsiteX11" fmla="*/ 140292 w 423619"/>
                <a:gd name="connsiteY11" fmla="*/ 320611 h 328128"/>
                <a:gd name="connsiteX12" fmla="*/ 124259 w 423619"/>
                <a:gd name="connsiteY12" fmla="*/ 308813 h 328128"/>
                <a:gd name="connsiteX13" fmla="*/ 100666 w 423619"/>
                <a:gd name="connsiteY13" fmla="*/ 299148 h 328128"/>
                <a:gd name="connsiteX14" fmla="*/ 85826 w 423619"/>
                <a:gd name="connsiteY14" fmla="*/ 299961 h 328128"/>
                <a:gd name="connsiteX15" fmla="*/ 79763 w 423619"/>
                <a:gd name="connsiteY15" fmla="*/ 287896 h 328128"/>
                <a:gd name="connsiteX16" fmla="*/ 78685 w 423619"/>
                <a:gd name="connsiteY16" fmla="*/ 276098 h 328128"/>
                <a:gd name="connsiteX17" fmla="*/ 69603 w 423619"/>
                <a:gd name="connsiteY17" fmla="*/ 273939 h 328128"/>
                <a:gd name="connsiteX18" fmla="*/ 62106 w 423619"/>
                <a:gd name="connsiteY18" fmla="*/ 266967 h 328128"/>
                <a:gd name="connsiteX19" fmla="*/ 49245 w 423619"/>
                <a:gd name="connsiteY19" fmla="*/ 241770 h 328128"/>
                <a:gd name="connsiteX20" fmla="*/ 34785 w 423619"/>
                <a:gd name="connsiteY20" fmla="*/ 225666 h 328128"/>
                <a:gd name="connsiteX21" fmla="*/ 20845 w 423619"/>
                <a:gd name="connsiteY21" fmla="*/ 209055 h 328128"/>
                <a:gd name="connsiteX22" fmla="*/ 5839 w 423619"/>
                <a:gd name="connsiteY22" fmla="*/ 205816 h 328128"/>
                <a:gd name="connsiteX23" fmla="*/ 1565 w 423619"/>
                <a:gd name="connsiteY23" fmla="*/ 200469 h 328128"/>
                <a:gd name="connsiteX24" fmla="*/ 5839 w 423619"/>
                <a:gd name="connsiteY24" fmla="*/ 189713 h 328128"/>
                <a:gd name="connsiteX25" fmla="*/ 13348 w 423619"/>
                <a:gd name="connsiteY25" fmla="*/ 187592 h 328128"/>
                <a:gd name="connsiteX26" fmla="*/ 25652 w 423619"/>
                <a:gd name="connsiteY26" fmla="*/ 187592 h 328128"/>
                <a:gd name="connsiteX27" fmla="*/ 31550 w 423619"/>
                <a:gd name="connsiteY27" fmla="*/ 177381 h 328128"/>
                <a:gd name="connsiteX28" fmla="*/ 30510 w 423619"/>
                <a:gd name="connsiteY28" fmla="*/ 158077 h 328128"/>
                <a:gd name="connsiteX29" fmla="*/ 32616 w 423619"/>
                <a:gd name="connsiteY29" fmla="*/ 150025 h 328128"/>
                <a:gd name="connsiteX30" fmla="*/ 37969 w 423619"/>
                <a:gd name="connsiteY30" fmla="*/ 124828 h 328128"/>
                <a:gd name="connsiteX31" fmla="*/ 47088 w 423619"/>
                <a:gd name="connsiteY31" fmla="*/ 118389 h 328128"/>
                <a:gd name="connsiteX32" fmla="*/ 54598 w 423619"/>
                <a:gd name="connsiteY32" fmla="*/ 114122 h 328128"/>
                <a:gd name="connsiteX33" fmla="*/ 69070 w 423619"/>
                <a:gd name="connsiteY33" fmla="*/ 73355 h 328128"/>
                <a:gd name="connsiteX34" fmla="*/ 88883 w 423619"/>
                <a:gd name="connsiteY34" fmla="*/ 63132 h 328128"/>
                <a:gd name="connsiteX35" fmla="*/ 99588 w 423619"/>
                <a:gd name="connsiteY35" fmla="*/ 22365 h 328128"/>
                <a:gd name="connsiteX36" fmla="*/ 100349 w 423619"/>
                <a:gd name="connsiteY36" fmla="*/ 15176 h 328128"/>
                <a:gd name="connsiteX37" fmla="*/ 107085 w 423619"/>
                <a:gd name="connsiteY37" fmla="*/ 15938 h 328128"/>
                <a:gd name="connsiteX38" fmla="*/ 114594 w 423619"/>
                <a:gd name="connsiteY38" fmla="*/ 14313 h 328128"/>
                <a:gd name="connsiteX39" fmla="*/ 123714 w 423619"/>
                <a:gd name="connsiteY39" fmla="*/ 14859 h 328128"/>
                <a:gd name="connsiteX40" fmla="*/ 130677 w 423619"/>
                <a:gd name="connsiteY40" fmla="*/ 22911 h 328128"/>
                <a:gd name="connsiteX41" fmla="*/ 137108 w 423619"/>
                <a:gd name="connsiteY41" fmla="*/ 1448 h 328128"/>
                <a:gd name="connsiteX42" fmla="*/ 142994 w 423619"/>
                <a:gd name="connsiteY42" fmla="*/ 4140 h 328128"/>
                <a:gd name="connsiteX43" fmla="*/ 151581 w 423619"/>
                <a:gd name="connsiteY43" fmla="*/ 12192 h 328128"/>
                <a:gd name="connsiteX44" fmla="*/ 163884 w 423619"/>
                <a:gd name="connsiteY44" fmla="*/ 10579 h 328128"/>
                <a:gd name="connsiteX45" fmla="*/ 172433 w 423619"/>
                <a:gd name="connsiteY45" fmla="*/ 11125 h 328128"/>
                <a:gd name="connsiteX46" fmla="*/ 183710 w 423619"/>
                <a:gd name="connsiteY46" fmla="*/ 8966 h 328128"/>
                <a:gd name="connsiteX47" fmla="*/ 193324 w 423619"/>
                <a:gd name="connsiteY47" fmla="*/ 12205 h 328128"/>
                <a:gd name="connsiteX48" fmla="*/ 212655 w 423619"/>
                <a:gd name="connsiteY48" fmla="*/ 18631 h 328128"/>
                <a:gd name="connsiteX49" fmla="*/ 236742 w 423619"/>
                <a:gd name="connsiteY49" fmla="*/ 37401 h 328128"/>
                <a:gd name="connsiteX50" fmla="*/ 265409 w 423619"/>
                <a:gd name="connsiteY50" fmla="*/ 71323 h 328128"/>
                <a:gd name="connsiteX51" fmla="*/ 264597 w 423619"/>
                <a:gd name="connsiteY51" fmla="*/ 72276 h 328128"/>
                <a:gd name="connsiteX52" fmla="*/ 253853 w 423619"/>
                <a:gd name="connsiteY52" fmla="*/ 89954 h 328128"/>
                <a:gd name="connsiteX53" fmla="*/ 248501 w 423619"/>
                <a:gd name="connsiteY53" fmla="*/ 103365 h 328128"/>
                <a:gd name="connsiteX54" fmla="*/ 253321 w 423619"/>
                <a:gd name="connsiteY54" fmla="*/ 115684 h 328128"/>
                <a:gd name="connsiteX55" fmla="*/ 268326 w 423619"/>
                <a:gd name="connsiteY55" fmla="*/ 113030 h 328128"/>
                <a:gd name="connsiteX56" fmla="*/ 277446 w 423619"/>
                <a:gd name="connsiteY56" fmla="*/ 116776 h 328128"/>
                <a:gd name="connsiteX57" fmla="*/ 281175 w 423619"/>
                <a:gd name="connsiteY57" fmla="*/ 138239 h 328128"/>
                <a:gd name="connsiteX58" fmla="*/ 304235 w 423619"/>
                <a:gd name="connsiteY58" fmla="*/ 166129 h 328128"/>
                <a:gd name="connsiteX59" fmla="*/ 350291 w 423619"/>
                <a:gd name="connsiteY59" fmla="*/ 183820 h 328128"/>
                <a:gd name="connsiteX60" fmla="*/ 397438 w 423619"/>
                <a:gd name="connsiteY60" fmla="*/ 199390 h 328128"/>
                <a:gd name="connsiteX61" fmla="*/ 423593 w 423619"/>
                <a:gd name="connsiteY61" fmla="*/ 202095 h 328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423619" h="328128">
                  <a:moveTo>
                    <a:pt x="423593" y="202095"/>
                  </a:moveTo>
                  <a:lnTo>
                    <a:pt x="337455" y="286817"/>
                  </a:lnTo>
                  <a:lnTo>
                    <a:pt x="310666" y="285737"/>
                  </a:lnTo>
                  <a:cubicBezTo>
                    <a:pt x="310666" y="285737"/>
                    <a:pt x="253866" y="310439"/>
                    <a:pt x="249059" y="313093"/>
                  </a:cubicBezTo>
                  <a:cubicBezTo>
                    <a:pt x="248894" y="313207"/>
                    <a:pt x="248729" y="313309"/>
                    <a:pt x="248564" y="313411"/>
                  </a:cubicBezTo>
                  <a:cubicBezTo>
                    <a:pt x="244099" y="315455"/>
                    <a:pt x="238949" y="315341"/>
                    <a:pt x="234586" y="313093"/>
                  </a:cubicBezTo>
                  <a:cubicBezTo>
                    <a:pt x="224959" y="309359"/>
                    <a:pt x="228155" y="305041"/>
                    <a:pt x="221724" y="305041"/>
                  </a:cubicBezTo>
                  <a:cubicBezTo>
                    <a:pt x="215306" y="305041"/>
                    <a:pt x="216384" y="305041"/>
                    <a:pt x="206719" y="309359"/>
                  </a:cubicBezTo>
                  <a:cubicBezTo>
                    <a:pt x="201861" y="310985"/>
                    <a:pt x="197460" y="313753"/>
                    <a:pt x="193870" y="317411"/>
                  </a:cubicBezTo>
                  <a:cubicBezTo>
                    <a:pt x="190141" y="320611"/>
                    <a:pt x="191219" y="328130"/>
                    <a:pt x="181008" y="328130"/>
                  </a:cubicBezTo>
                  <a:cubicBezTo>
                    <a:pt x="170861" y="328130"/>
                    <a:pt x="160117" y="323304"/>
                    <a:pt x="153686" y="323850"/>
                  </a:cubicBezTo>
                  <a:cubicBezTo>
                    <a:pt x="147255" y="324383"/>
                    <a:pt x="144072" y="324383"/>
                    <a:pt x="140292" y="320611"/>
                  </a:cubicBezTo>
                  <a:cubicBezTo>
                    <a:pt x="136423" y="314985"/>
                    <a:pt x="130766" y="310832"/>
                    <a:pt x="124259" y="308813"/>
                  </a:cubicBezTo>
                  <a:cubicBezTo>
                    <a:pt x="114594" y="306121"/>
                    <a:pt x="108708" y="296494"/>
                    <a:pt x="100666" y="299148"/>
                  </a:cubicBezTo>
                  <a:cubicBezTo>
                    <a:pt x="95821" y="300444"/>
                    <a:pt x="90773" y="300723"/>
                    <a:pt x="85826" y="299961"/>
                  </a:cubicBezTo>
                  <a:cubicBezTo>
                    <a:pt x="83581" y="296050"/>
                    <a:pt x="81551" y="292024"/>
                    <a:pt x="79763" y="287896"/>
                  </a:cubicBezTo>
                  <a:cubicBezTo>
                    <a:pt x="78152" y="283616"/>
                    <a:pt x="80308" y="282537"/>
                    <a:pt x="78685" y="276098"/>
                  </a:cubicBezTo>
                  <a:cubicBezTo>
                    <a:pt x="77112" y="269672"/>
                    <a:pt x="77657" y="273405"/>
                    <a:pt x="69603" y="273939"/>
                  </a:cubicBezTo>
                  <a:cubicBezTo>
                    <a:pt x="61561" y="274485"/>
                    <a:pt x="66368" y="274485"/>
                    <a:pt x="62106" y="266967"/>
                  </a:cubicBezTo>
                  <a:cubicBezTo>
                    <a:pt x="57794" y="259461"/>
                    <a:pt x="52987" y="249822"/>
                    <a:pt x="49245" y="241770"/>
                  </a:cubicBezTo>
                  <a:cubicBezTo>
                    <a:pt x="45477" y="233718"/>
                    <a:pt x="41203" y="227279"/>
                    <a:pt x="34785" y="225666"/>
                  </a:cubicBezTo>
                  <a:cubicBezTo>
                    <a:pt x="28354" y="224041"/>
                    <a:pt x="26198" y="215494"/>
                    <a:pt x="20845" y="209055"/>
                  </a:cubicBezTo>
                  <a:cubicBezTo>
                    <a:pt x="15505" y="202628"/>
                    <a:pt x="13348" y="207975"/>
                    <a:pt x="5839" y="205816"/>
                  </a:cubicBezTo>
                  <a:cubicBezTo>
                    <a:pt x="-1670" y="203657"/>
                    <a:pt x="-591" y="204203"/>
                    <a:pt x="1565" y="200469"/>
                  </a:cubicBezTo>
                  <a:cubicBezTo>
                    <a:pt x="3861" y="197282"/>
                    <a:pt x="5319" y="193599"/>
                    <a:pt x="5839" y="189713"/>
                  </a:cubicBezTo>
                  <a:cubicBezTo>
                    <a:pt x="6372" y="184899"/>
                    <a:pt x="7996" y="187592"/>
                    <a:pt x="13348" y="187592"/>
                  </a:cubicBezTo>
                  <a:cubicBezTo>
                    <a:pt x="18688" y="187592"/>
                    <a:pt x="18156" y="189217"/>
                    <a:pt x="25652" y="187592"/>
                  </a:cubicBezTo>
                  <a:cubicBezTo>
                    <a:pt x="33161" y="185979"/>
                    <a:pt x="30510" y="183274"/>
                    <a:pt x="31550" y="177381"/>
                  </a:cubicBezTo>
                  <a:cubicBezTo>
                    <a:pt x="31931" y="170929"/>
                    <a:pt x="31589" y="164452"/>
                    <a:pt x="30510" y="158077"/>
                  </a:cubicBezTo>
                  <a:cubicBezTo>
                    <a:pt x="34785" y="159156"/>
                    <a:pt x="31550" y="154343"/>
                    <a:pt x="32616" y="150025"/>
                  </a:cubicBezTo>
                  <a:cubicBezTo>
                    <a:pt x="33707" y="145745"/>
                    <a:pt x="35863" y="130188"/>
                    <a:pt x="37969" y="124828"/>
                  </a:cubicBezTo>
                  <a:cubicBezTo>
                    <a:pt x="40125" y="119469"/>
                    <a:pt x="41748" y="116230"/>
                    <a:pt x="47088" y="118389"/>
                  </a:cubicBezTo>
                  <a:cubicBezTo>
                    <a:pt x="52441" y="120548"/>
                    <a:pt x="53519" y="117856"/>
                    <a:pt x="54598" y="114122"/>
                  </a:cubicBezTo>
                  <a:cubicBezTo>
                    <a:pt x="55676" y="110338"/>
                    <a:pt x="64263" y="83528"/>
                    <a:pt x="69070" y="73355"/>
                  </a:cubicBezTo>
                  <a:cubicBezTo>
                    <a:pt x="73877" y="63132"/>
                    <a:pt x="88350" y="66370"/>
                    <a:pt x="88883" y="63132"/>
                  </a:cubicBezTo>
                  <a:cubicBezTo>
                    <a:pt x="89428" y="59944"/>
                    <a:pt x="99043" y="25070"/>
                    <a:pt x="99588" y="22365"/>
                  </a:cubicBezTo>
                  <a:cubicBezTo>
                    <a:pt x="99982" y="19990"/>
                    <a:pt x="100235" y="17589"/>
                    <a:pt x="100349" y="15176"/>
                  </a:cubicBezTo>
                  <a:cubicBezTo>
                    <a:pt x="102620" y="14884"/>
                    <a:pt x="104928" y="15138"/>
                    <a:pt x="107085" y="15938"/>
                  </a:cubicBezTo>
                  <a:cubicBezTo>
                    <a:pt x="111397" y="17551"/>
                    <a:pt x="110319" y="17551"/>
                    <a:pt x="114594" y="14313"/>
                  </a:cubicBezTo>
                  <a:cubicBezTo>
                    <a:pt x="118855" y="11125"/>
                    <a:pt x="119401" y="12192"/>
                    <a:pt x="123714" y="14859"/>
                  </a:cubicBezTo>
                  <a:cubicBezTo>
                    <a:pt x="127988" y="17551"/>
                    <a:pt x="127988" y="23990"/>
                    <a:pt x="130677" y="22911"/>
                  </a:cubicBezTo>
                  <a:cubicBezTo>
                    <a:pt x="133328" y="21831"/>
                    <a:pt x="136030" y="4686"/>
                    <a:pt x="137108" y="1448"/>
                  </a:cubicBezTo>
                  <a:cubicBezTo>
                    <a:pt x="138186" y="-1753"/>
                    <a:pt x="139759" y="902"/>
                    <a:pt x="142994" y="4140"/>
                  </a:cubicBezTo>
                  <a:cubicBezTo>
                    <a:pt x="146177" y="7341"/>
                    <a:pt x="147255" y="5766"/>
                    <a:pt x="151581" y="12192"/>
                  </a:cubicBezTo>
                  <a:cubicBezTo>
                    <a:pt x="155843" y="18631"/>
                    <a:pt x="157466" y="11658"/>
                    <a:pt x="163884" y="10579"/>
                  </a:cubicBezTo>
                  <a:cubicBezTo>
                    <a:pt x="170315" y="9499"/>
                    <a:pt x="170861" y="6845"/>
                    <a:pt x="172433" y="11125"/>
                  </a:cubicBezTo>
                  <a:cubicBezTo>
                    <a:pt x="174044" y="15392"/>
                    <a:pt x="176746" y="11658"/>
                    <a:pt x="183710" y="8966"/>
                  </a:cubicBezTo>
                  <a:cubicBezTo>
                    <a:pt x="190673" y="6312"/>
                    <a:pt x="185815" y="10579"/>
                    <a:pt x="193324" y="12205"/>
                  </a:cubicBezTo>
                  <a:cubicBezTo>
                    <a:pt x="200148" y="12954"/>
                    <a:pt x="206732" y="15151"/>
                    <a:pt x="212655" y="18631"/>
                  </a:cubicBezTo>
                  <a:cubicBezTo>
                    <a:pt x="221115" y="24308"/>
                    <a:pt x="229157" y="30582"/>
                    <a:pt x="236742" y="37401"/>
                  </a:cubicBezTo>
                  <a:cubicBezTo>
                    <a:pt x="238353" y="39014"/>
                    <a:pt x="265409" y="71323"/>
                    <a:pt x="265409" y="71323"/>
                  </a:cubicBezTo>
                  <a:cubicBezTo>
                    <a:pt x="265117" y="71615"/>
                    <a:pt x="264838" y="71933"/>
                    <a:pt x="264597" y="72276"/>
                  </a:cubicBezTo>
                  <a:cubicBezTo>
                    <a:pt x="260462" y="77813"/>
                    <a:pt x="256872" y="83731"/>
                    <a:pt x="253853" y="89954"/>
                  </a:cubicBezTo>
                  <a:cubicBezTo>
                    <a:pt x="251202" y="95847"/>
                    <a:pt x="247422" y="96926"/>
                    <a:pt x="248501" y="103365"/>
                  </a:cubicBezTo>
                  <a:cubicBezTo>
                    <a:pt x="249591" y="109791"/>
                    <a:pt x="247968" y="114122"/>
                    <a:pt x="253321" y="115684"/>
                  </a:cubicBezTo>
                  <a:cubicBezTo>
                    <a:pt x="258711" y="117310"/>
                    <a:pt x="261362" y="113576"/>
                    <a:pt x="268326" y="113030"/>
                  </a:cubicBezTo>
                  <a:cubicBezTo>
                    <a:pt x="271839" y="112331"/>
                    <a:pt x="275442" y="113792"/>
                    <a:pt x="277446" y="116776"/>
                  </a:cubicBezTo>
                  <a:cubicBezTo>
                    <a:pt x="269937" y="126441"/>
                    <a:pt x="275835" y="126987"/>
                    <a:pt x="281175" y="138239"/>
                  </a:cubicBezTo>
                  <a:cubicBezTo>
                    <a:pt x="287289" y="148730"/>
                    <a:pt x="295077" y="158153"/>
                    <a:pt x="304235" y="166129"/>
                  </a:cubicBezTo>
                  <a:cubicBezTo>
                    <a:pt x="318327" y="174904"/>
                    <a:pt x="333954" y="180899"/>
                    <a:pt x="350291" y="183820"/>
                  </a:cubicBezTo>
                  <a:cubicBezTo>
                    <a:pt x="362075" y="185979"/>
                    <a:pt x="375457" y="195643"/>
                    <a:pt x="397438" y="199390"/>
                  </a:cubicBezTo>
                  <a:cubicBezTo>
                    <a:pt x="406000" y="201397"/>
                    <a:pt x="414803" y="202311"/>
                    <a:pt x="423593" y="202095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5" name="Vrije vorm 374">
              <a:extLst>
                <a:ext uri="{FF2B5EF4-FFF2-40B4-BE49-F238E27FC236}">
                  <a16:creationId xmlns:a16="http://schemas.microsoft.com/office/drawing/2014/main" id="{9187BAF9-1493-FD4B-8FE3-C917CFF62F95}"/>
                </a:ext>
              </a:extLst>
            </p:cNvPr>
            <p:cNvSpPr/>
            <p:nvPr/>
          </p:nvSpPr>
          <p:spPr>
            <a:xfrm>
              <a:off x="6174965" y="4048322"/>
              <a:ext cx="336866" cy="249099"/>
            </a:xfrm>
            <a:custGeom>
              <a:avLst/>
              <a:gdLst>
                <a:gd name="connsiteX0" fmla="*/ 336840 w 336866"/>
                <a:gd name="connsiteY0" fmla="*/ 222306 h 249099"/>
                <a:gd name="connsiteX1" fmla="*/ 324892 w 336866"/>
                <a:gd name="connsiteY1" fmla="*/ 217226 h 249099"/>
                <a:gd name="connsiteX2" fmla="*/ 319007 w 336866"/>
                <a:gd name="connsiteY2" fmla="*/ 204895 h 249099"/>
                <a:gd name="connsiteX3" fmla="*/ 294919 w 336866"/>
                <a:gd name="connsiteY3" fmla="*/ 214521 h 249099"/>
                <a:gd name="connsiteX4" fmla="*/ 283097 w 336866"/>
                <a:gd name="connsiteY4" fmla="*/ 226853 h 249099"/>
                <a:gd name="connsiteX5" fmla="*/ 277922 w 336866"/>
                <a:gd name="connsiteY5" fmla="*/ 232568 h 249099"/>
                <a:gd name="connsiteX6" fmla="*/ 263272 w 336866"/>
                <a:gd name="connsiteY6" fmla="*/ 241877 h 249099"/>
                <a:gd name="connsiteX7" fmla="*/ 250423 w 336866"/>
                <a:gd name="connsiteY7" fmla="*/ 238689 h 249099"/>
                <a:gd name="connsiteX8" fmla="*/ 238107 w 336866"/>
                <a:gd name="connsiteY8" fmla="*/ 242957 h 249099"/>
                <a:gd name="connsiteX9" fmla="*/ 228454 w 336866"/>
                <a:gd name="connsiteY9" fmla="*/ 245116 h 249099"/>
                <a:gd name="connsiteX10" fmla="*/ 222023 w 336866"/>
                <a:gd name="connsiteY10" fmla="*/ 248316 h 249099"/>
                <a:gd name="connsiteX11" fmla="*/ 214019 w 336866"/>
                <a:gd name="connsiteY11" fmla="*/ 241344 h 249099"/>
                <a:gd name="connsiteX12" fmla="*/ 204367 w 336866"/>
                <a:gd name="connsiteY12" fmla="*/ 242957 h 249099"/>
                <a:gd name="connsiteX13" fmla="*/ 193129 w 336866"/>
                <a:gd name="connsiteY13" fmla="*/ 244582 h 249099"/>
                <a:gd name="connsiteX14" fmla="*/ 189349 w 336866"/>
                <a:gd name="connsiteY14" fmla="*/ 246017 h 249099"/>
                <a:gd name="connsiteX15" fmla="*/ 189349 w 336866"/>
                <a:gd name="connsiteY15" fmla="*/ 246068 h 249099"/>
                <a:gd name="connsiteX16" fmla="*/ 183197 w 336866"/>
                <a:gd name="connsiteY16" fmla="*/ 245027 h 249099"/>
                <a:gd name="connsiteX17" fmla="*/ 182931 w 336866"/>
                <a:gd name="connsiteY17" fmla="*/ 244582 h 249099"/>
                <a:gd name="connsiteX18" fmla="*/ 172770 w 336866"/>
                <a:gd name="connsiteY18" fmla="*/ 236530 h 249099"/>
                <a:gd name="connsiteX19" fmla="*/ 164183 w 336866"/>
                <a:gd name="connsiteY19" fmla="*/ 226358 h 249099"/>
                <a:gd name="connsiteX20" fmla="*/ 154518 w 336866"/>
                <a:gd name="connsiteY20" fmla="*/ 218306 h 249099"/>
                <a:gd name="connsiteX21" fmla="*/ 144371 w 336866"/>
                <a:gd name="connsiteY21" fmla="*/ 226358 h 249099"/>
                <a:gd name="connsiteX22" fmla="*/ 133627 w 336866"/>
                <a:gd name="connsiteY22" fmla="*/ 222573 h 249099"/>
                <a:gd name="connsiteX23" fmla="*/ 113802 w 336866"/>
                <a:gd name="connsiteY23" fmla="*/ 225278 h 249099"/>
                <a:gd name="connsiteX24" fmla="*/ 92416 w 336866"/>
                <a:gd name="connsiteY24" fmla="*/ 203269 h 249099"/>
                <a:gd name="connsiteX25" fmla="*/ 87558 w 336866"/>
                <a:gd name="connsiteY25" fmla="*/ 192030 h 249099"/>
                <a:gd name="connsiteX26" fmla="*/ 83296 w 336866"/>
                <a:gd name="connsiteY26" fmla="*/ 183965 h 249099"/>
                <a:gd name="connsiteX27" fmla="*/ 72604 w 336866"/>
                <a:gd name="connsiteY27" fmla="*/ 178618 h 249099"/>
                <a:gd name="connsiteX28" fmla="*/ 65627 w 336866"/>
                <a:gd name="connsiteY28" fmla="*/ 172179 h 249099"/>
                <a:gd name="connsiteX29" fmla="*/ 59703 w 336866"/>
                <a:gd name="connsiteY29" fmla="*/ 157689 h 249099"/>
                <a:gd name="connsiteX30" fmla="*/ 45815 w 336866"/>
                <a:gd name="connsiteY30" fmla="*/ 145357 h 249099"/>
                <a:gd name="connsiteX31" fmla="*/ 32420 w 336866"/>
                <a:gd name="connsiteY31" fmla="*/ 137851 h 249099"/>
                <a:gd name="connsiteX32" fmla="*/ 29186 w 336866"/>
                <a:gd name="connsiteY32" fmla="*/ 123894 h 249099"/>
                <a:gd name="connsiteX33" fmla="*/ 13102 w 336866"/>
                <a:gd name="connsiteY33" fmla="*/ 112070 h 249099"/>
                <a:gd name="connsiteX34" fmla="*/ 1318 w 336866"/>
                <a:gd name="connsiteY34" fmla="*/ 108870 h 249099"/>
                <a:gd name="connsiteX35" fmla="*/ -26 w 336866"/>
                <a:gd name="connsiteY35" fmla="*/ 104958 h 249099"/>
                <a:gd name="connsiteX36" fmla="*/ 15258 w 336866"/>
                <a:gd name="connsiteY36" fmla="*/ 82048 h 249099"/>
                <a:gd name="connsiteX37" fmla="*/ 27029 w 336866"/>
                <a:gd name="connsiteY37" fmla="*/ 56317 h 249099"/>
                <a:gd name="connsiteX38" fmla="*/ 47387 w 336866"/>
                <a:gd name="connsiteY38" fmla="*/ 53079 h 249099"/>
                <a:gd name="connsiteX39" fmla="*/ 73086 w 336866"/>
                <a:gd name="connsiteY39" fmla="*/ 79355 h 249099"/>
                <a:gd name="connsiteX40" fmla="*/ 106343 w 336866"/>
                <a:gd name="connsiteY40" fmla="*/ 73996 h 249099"/>
                <a:gd name="connsiteX41" fmla="*/ 118127 w 336866"/>
                <a:gd name="connsiteY41" fmla="*/ 85794 h 249099"/>
                <a:gd name="connsiteX42" fmla="*/ 133627 w 336866"/>
                <a:gd name="connsiteY42" fmla="*/ 77247 h 249099"/>
                <a:gd name="connsiteX43" fmla="*/ 153985 w 336866"/>
                <a:gd name="connsiteY43" fmla="*/ 67570 h 249099"/>
                <a:gd name="connsiteX44" fmla="*/ 166885 w 336866"/>
                <a:gd name="connsiteY44" fmla="*/ 56863 h 249099"/>
                <a:gd name="connsiteX45" fmla="*/ 186698 w 336866"/>
                <a:gd name="connsiteY45" fmla="*/ 71837 h 249099"/>
                <a:gd name="connsiteX46" fmla="*/ 207601 w 336866"/>
                <a:gd name="connsiteY46" fmla="*/ 63836 h 249099"/>
                <a:gd name="connsiteX47" fmla="*/ 226881 w 336866"/>
                <a:gd name="connsiteY47" fmla="*/ 43986 h 249099"/>
                <a:gd name="connsiteX48" fmla="*/ 231143 w 336866"/>
                <a:gd name="connsiteY48" fmla="*/ 16097 h 249099"/>
                <a:gd name="connsiteX49" fmla="*/ 228987 w 336866"/>
                <a:gd name="connsiteY49" fmla="*/ 8032 h 249099"/>
                <a:gd name="connsiteX50" fmla="*/ 243459 w 336866"/>
                <a:gd name="connsiteY50" fmla="*/ 2685 h 249099"/>
                <a:gd name="connsiteX51" fmla="*/ 253125 w 336866"/>
                <a:gd name="connsiteY51" fmla="*/ 1060 h 249099"/>
                <a:gd name="connsiteX52" fmla="*/ 254203 w 336866"/>
                <a:gd name="connsiteY52" fmla="*/ 18751 h 249099"/>
                <a:gd name="connsiteX53" fmla="*/ 254736 w 336866"/>
                <a:gd name="connsiteY53" fmla="*/ 41293 h 249099"/>
                <a:gd name="connsiteX54" fmla="*/ 271327 w 336866"/>
                <a:gd name="connsiteY54" fmla="*/ 53079 h 249099"/>
                <a:gd name="connsiteX55" fmla="*/ 277745 w 336866"/>
                <a:gd name="connsiteY55" fmla="*/ 69729 h 249099"/>
                <a:gd name="connsiteX56" fmla="*/ 281525 w 336866"/>
                <a:gd name="connsiteY56" fmla="*/ 80435 h 249099"/>
                <a:gd name="connsiteX57" fmla="*/ 282565 w 336866"/>
                <a:gd name="connsiteY57" fmla="*/ 99739 h 249099"/>
                <a:gd name="connsiteX58" fmla="*/ 276667 w 336866"/>
                <a:gd name="connsiteY58" fmla="*/ 109950 h 249099"/>
                <a:gd name="connsiteX59" fmla="*/ 264363 w 336866"/>
                <a:gd name="connsiteY59" fmla="*/ 109950 h 249099"/>
                <a:gd name="connsiteX60" fmla="*/ 256854 w 336866"/>
                <a:gd name="connsiteY60" fmla="*/ 112070 h 249099"/>
                <a:gd name="connsiteX61" fmla="*/ 252579 w 336866"/>
                <a:gd name="connsiteY61" fmla="*/ 122827 h 249099"/>
                <a:gd name="connsiteX62" fmla="*/ 256854 w 336866"/>
                <a:gd name="connsiteY62" fmla="*/ 128174 h 249099"/>
                <a:gd name="connsiteX63" fmla="*/ 271859 w 336866"/>
                <a:gd name="connsiteY63" fmla="*/ 131413 h 249099"/>
                <a:gd name="connsiteX64" fmla="*/ 285799 w 336866"/>
                <a:gd name="connsiteY64" fmla="*/ 148024 h 249099"/>
                <a:gd name="connsiteX65" fmla="*/ 300259 w 336866"/>
                <a:gd name="connsiteY65" fmla="*/ 164128 h 249099"/>
                <a:gd name="connsiteX66" fmla="*/ 313121 w 336866"/>
                <a:gd name="connsiteY66" fmla="*/ 189325 h 249099"/>
                <a:gd name="connsiteX67" fmla="*/ 320617 w 336866"/>
                <a:gd name="connsiteY67" fmla="*/ 196297 h 249099"/>
                <a:gd name="connsiteX68" fmla="*/ 329699 w 336866"/>
                <a:gd name="connsiteY68" fmla="*/ 198456 h 249099"/>
                <a:gd name="connsiteX69" fmla="*/ 330777 w 336866"/>
                <a:gd name="connsiteY69" fmla="*/ 210254 h 249099"/>
                <a:gd name="connsiteX70" fmla="*/ 336840 w 336866"/>
                <a:gd name="connsiteY70" fmla="*/ 222306 h 249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336866" h="249099">
                  <a:moveTo>
                    <a:pt x="336840" y="222306"/>
                  </a:moveTo>
                  <a:cubicBezTo>
                    <a:pt x="331133" y="221544"/>
                    <a:pt x="326008" y="219741"/>
                    <a:pt x="324892" y="217226"/>
                  </a:cubicBezTo>
                  <a:cubicBezTo>
                    <a:pt x="322735" y="212413"/>
                    <a:pt x="328126" y="202736"/>
                    <a:pt x="319007" y="204895"/>
                  </a:cubicBezTo>
                  <a:cubicBezTo>
                    <a:pt x="310470" y="206660"/>
                    <a:pt x="302314" y="209911"/>
                    <a:pt x="294919" y="214521"/>
                  </a:cubicBezTo>
                  <a:cubicBezTo>
                    <a:pt x="291139" y="217760"/>
                    <a:pt x="287956" y="223119"/>
                    <a:pt x="283097" y="226853"/>
                  </a:cubicBezTo>
                  <a:cubicBezTo>
                    <a:pt x="281195" y="228580"/>
                    <a:pt x="279457" y="230498"/>
                    <a:pt x="277922" y="232568"/>
                  </a:cubicBezTo>
                  <a:cubicBezTo>
                    <a:pt x="274472" y="237483"/>
                    <a:pt x="269196" y="240836"/>
                    <a:pt x="263272" y="241877"/>
                  </a:cubicBezTo>
                  <a:cubicBezTo>
                    <a:pt x="252046" y="243503"/>
                    <a:pt x="253125" y="237610"/>
                    <a:pt x="250423" y="238689"/>
                  </a:cubicBezTo>
                  <a:cubicBezTo>
                    <a:pt x="246440" y="240442"/>
                    <a:pt x="242330" y="241864"/>
                    <a:pt x="238107" y="242957"/>
                  </a:cubicBezTo>
                  <a:cubicBezTo>
                    <a:pt x="234872" y="243503"/>
                    <a:pt x="230065" y="242423"/>
                    <a:pt x="228454" y="245116"/>
                  </a:cubicBezTo>
                  <a:cubicBezTo>
                    <a:pt x="226881" y="247770"/>
                    <a:pt x="225803" y="250475"/>
                    <a:pt x="222023" y="248316"/>
                  </a:cubicBezTo>
                  <a:cubicBezTo>
                    <a:pt x="218294" y="246195"/>
                    <a:pt x="219918" y="238689"/>
                    <a:pt x="214019" y="241344"/>
                  </a:cubicBezTo>
                  <a:cubicBezTo>
                    <a:pt x="208096" y="244036"/>
                    <a:pt x="211863" y="244036"/>
                    <a:pt x="204367" y="242957"/>
                  </a:cubicBezTo>
                  <a:cubicBezTo>
                    <a:pt x="196858" y="241877"/>
                    <a:pt x="196312" y="244036"/>
                    <a:pt x="193129" y="244582"/>
                  </a:cubicBezTo>
                  <a:cubicBezTo>
                    <a:pt x="191822" y="244938"/>
                    <a:pt x="190554" y="245420"/>
                    <a:pt x="189349" y="246017"/>
                  </a:cubicBezTo>
                  <a:lnTo>
                    <a:pt x="189349" y="246068"/>
                  </a:lnTo>
                  <a:cubicBezTo>
                    <a:pt x="187370" y="247478"/>
                    <a:pt x="184618" y="247008"/>
                    <a:pt x="183197" y="245027"/>
                  </a:cubicBezTo>
                  <a:cubicBezTo>
                    <a:pt x="183096" y="244887"/>
                    <a:pt x="183007" y="244735"/>
                    <a:pt x="182931" y="244582"/>
                  </a:cubicBezTo>
                  <a:cubicBezTo>
                    <a:pt x="179734" y="239769"/>
                    <a:pt x="184541" y="241344"/>
                    <a:pt x="172770" y="236530"/>
                  </a:cubicBezTo>
                  <a:cubicBezTo>
                    <a:pt x="160949" y="231705"/>
                    <a:pt x="167380" y="229012"/>
                    <a:pt x="164183" y="226358"/>
                  </a:cubicBezTo>
                  <a:cubicBezTo>
                    <a:pt x="160949" y="223653"/>
                    <a:pt x="159921" y="216147"/>
                    <a:pt x="154518" y="218306"/>
                  </a:cubicBezTo>
                  <a:cubicBezTo>
                    <a:pt x="149178" y="220414"/>
                    <a:pt x="147060" y="226358"/>
                    <a:pt x="144371" y="226358"/>
                  </a:cubicBezTo>
                  <a:cubicBezTo>
                    <a:pt x="141669" y="226358"/>
                    <a:pt x="143825" y="221494"/>
                    <a:pt x="133627" y="222573"/>
                  </a:cubicBezTo>
                  <a:cubicBezTo>
                    <a:pt x="123467" y="223653"/>
                    <a:pt x="120232" y="228466"/>
                    <a:pt x="113802" y="225278"/>
                  </a:cubicBezTo>
                  <a:cubicBezTo>
                    <a:pt x="107383" y="222040"/>
                    <a:pt x="97769" y="203269"/>
                    <a:pt x="92416" y="203269"/>
                  </a:cubicBezTo>
                  <a:cubicBezTo>
                    <a:pt x="89346" y="200335"/>
                    <a:pt x="87596" y="196271"/>
                    <a:pt x="87558" y="192030"/>
                  </a:cubicBezTo>
                  <a:cubicBezTo>
                    <a:pt x="87025" y="186086"/>
                    <a:pt x="91338" y="187166"/>
                    <a:pt x="83296" y="183965"/>
                  </a:cubicBezTo>
                  <a:cubicBezTo>
                    <a:pt x="79567" y="182530"/>
                    <a:pt x="75990" y="180739"/>
                    <a:pt x="72604" y="178618"/>
                  </a:cubicBezTo>
                  <a:cubicBezTo>
                    <a:pt x="69356" y="176993"/>
                    <a:pt x="69356" y="179647"/>
                    <a:pt x="65627" y="172179"/>
                  </a:cubicBezTo>
                  <a:cubicBezTo>
                    <a:pt x="61860" y="164674"/>
                    <a:pt x="67200" y="167328"/>
                    <a:pt x="59703" y="157689"/>
                  </a:cubicBezTo>
                  <a:cubicBezTo>
                    <a:pt x="52245" y="148024"/>
                    <a:pt x="52245" y="146945"/>
                    <a:pt x="45815" y="145357"/>
                  </a:cubicBezTo>
                  <a:cubicBezTo>
                    <a:pt x="39346" y="143744"/>
                    <a:pt x="32914" y="145357"/>
                    <a:pt x="32420" y="137851"/>
                  </a:cubicBezTo>
                  <a:cubicBezTo>
                    <a:pt x="31887" y="130333"/>
                    <a:pt x="36694" y="131413"/>
                    <a:pt x="29186" y="123894"/>
                  </a:cubicBezTo>
                  <a:cubicBezTo>
                    <a:pt x="21676" y="116388"/>
                    <a:pt x="21144" y="113150"/>
                    <a:pt x="13102" y="112070"/>
                  </a:cubicBezTo>
                  <a:cubicBezTo>
                    <a:pt x="5098" y="111029"/>
                    <a:pt x="2397" y="114763"/>
                    <a:pt x="1318" y="108870"/>
                  </a:cubicBezTo>
                  <a:cubicBezTo>
                    <a:pt x="1090" y="107498"/>
                    <a:pt x="633" y="106178"/>
                    <a:pt x="-26" y="104958"/>
                  </a:cubicBezTo>
                  <a:cubicBezTo>
                    <a:pt x="1547" y="103879"/>
                    <a:pt x="8827" y="89566"/>
                    <a:pt x="15258" y="82048"/>
                  </a:cubicBezTo>
                  <a:cubicBezTo>
                    <a:pt x="21270" y="74605"/>
                    <a:pt x="25317" y="65754"/>
                    <a:pt x="27029" y="56317"/>
                  </a:cubicBezTo>
                  <a:cubicBezTo>
                    <a:pt x="30264" y="44481"/>
                    <a:pt x="42035" y="52533"/>
                    <a:pt x="47387" y="53079"/>
                  </a:cubicBezTo>
                  <a:cubicBezTo>
                    <a:pt x="52727" y="53612"/>
                    <a:pt x="64549" y="77247"/>
                    <a:pt x="73086" y="79355"/>
                  </a:cubicBezTo>
                  <a:cubicBezTo>
                    <a:pt x="84400" y="79431"/>
                    <a:pt x="95638" y="77615"/>
                    <a:pt x="106343" y="73996"/>
                  </a:cubicBezTo>
                  <a:cubicBezTo>
                    <a:pt x="114893" y="72383"/>
                    <a:pt x="108994" y="83673"/>
                    <a:pt x="118127" y="85794"/>
                  </a:cubicBezTo>
                  <a:cubicBezTo>
                    <a:pt x="124735" y="87534"/>
                    <a:pt x="131559" y="83775"/>
                    <a:pt x="133627" y="77247"/>
                  </a:cubicBezTo>
                  <a:cubicBezTo>
                    <a:pt x="135238" y="72929"/>
                    <a:pt x="148633" y="69729"/>
                    <a:pt x="153985" y="67570"/>
                  </a:cubicBezTo>
                  <a:cubicBezTo>
                    <a:pt x="159376" y="65411"/>
                    <a:pt x="159376" y="60585"/>
                    <a:pt x="166885" y="56863"/>
                  </a:cubicBezTo>
                  <a:cubicBezTo>
                    <a:pt x="174343" y="53079"/>
                    <a:pt x="180774" y="70262"/>
                    <a:pt x="186698" y="71837"/>
                  </a:cubicBezTo>
                  <a:cubicBezTo>
                    <a:pt x="192583" y="73462"/>
                    <a:pt x="198481" y="67023"/>
                    <a:pt x="207601" y="63836"/>
                  </a:cubicBezTo>
                  <a:cubicBezTo>
                    <a:pt x="216670" y="60597"/>
                    <a:pt x="221490" y="49345"/>
                    <a:pt x="226881" y="43986"/>
                  </a:cubicBezTo>
                  <a:cubicBezTo>
                    <a:pt x="232221" y="38588"/>
                    <a:pt x="231689" y="24098"/>
                    <a:pt x="231143" y="16097"/>
                  </a:cubicBezTo>
                  <a:cubicBezTo>
                    <a:pt x="230610" y="8032"/>
                    <a:pt x="224179" y="8578"/>
                    <a:pt x="228987" y="8032"/>
                  </a:cubicBezTo>
                  <a:cubicBezTo>
                    <a:pt x="234175" y="7460"/>
                    <a:pt x="239147" y="5619"/>
                    <a:pt x="243459" y="2685"/>
                  </a:cubicBezTo>
                  <a:cubicBezTo>
                    <a:pt x="248267" y="-553"/>
                    <a:pt x="248267" y="-553"/>
                    <a:pt x="253125" y="1060"/>
                  </a:cubicBezTo>
                  <a:cubicBezTo>
                    <a:pt x="257932" y="2685"/>
                    <a:pt x="253658" y="10699"/>
                    <a:pt x="254203" y="18751"/>
                  </a:cubicBezTo>
                  <a:cubicBezTo>
                    <a:pt x="254736" y="26803"/>
                    <a:pt x="253658" y="33775"/>
                    <a:pt x="254736" y="41293"/>
                  </a:cubicBezTo>
                  <a:cubicBezTo>
                    <a:pt x="255776" y="48812"/>
                    <a:pt x="263818" y="47186"/>
                    <a:pt x="271327" y="53079"/>
                  </a:cubicBezTo>
                  <a:cubicBezTo>
                    <a:pt x="276578" y="56863"/>
                    <a:pt x="279102" y="63391"/>
                    <a:pt x="277745" y="69729"/>
                  </a:cubicBezTo>
                  <a:cubicBezTo>
                    <a:pt x="277745" y="75621"/>
                    <a:pt x="277212" y="79355"/>
                    <a:pt x="281525" y="80435"/>
                  </a:cubicBezTo>
                  <a:cubicBezTo>
                    <a:pt x="282603" y="86810"/>
                    <a:pt x="282945" y="93287"/>
                    <a:pt x="282565" y="99739"/>
                  </a:cubicBezTo>
                  <a:cubicBezTo>
                    <a:pt x="281525" y="105632"/>
                    <a:pt x="284176" y="108337"/>
                    <a:pt x="276667" y="109950"/>
                  </a:cubicBezTo>
                  <a:cubicBezTo>
                    <a:pt x="269170" y="111575"/>
                    <a:pt x="269703" y="109950"/>
                    <a:pt x="264363" y="109950"/>
                  </a:cubicBezTo>
                  <a:cubicBezTo>
                    <a:pt x="259010" y="109950"/>
                    <a:pt x="257387" y="107257"/>
                    <a:pt x="256854" y="112070"/>
                  </a:cubicBezTo>
                  <a:cubicBezTo>
                    <a:pt x="256334" y="115957"/>
                    <a:pt x="254875" y="119640"/>
                    <a:pt x="252579" y="122827"/>
                  </a:cubicBezTo>
                  <a:cubicBezTo>
                    <a:pt x="250423" y="126561"/>
                    <a:pt x="249345" y="126015"/>
                    <a:pt x="256854" y="128174"/>
                  </a:cubicBezTo>
                  <a:cubicBezTo>
                    <a:pt x="264363" y="130333"/>
                    <a:pt x="266519" y="124986"/>
                    <a:pt x="271859" y="131413"/>
                  </a:cubicBezTo>
                  <a:cubicBezTo>
                    <a:pt x="277212" y="137851"/>
                    <a:pt x="279368" y="146398"/>
                    <a:pt x="285799" y="148024"/>
                  </a:cubicBezTo>
                  <a:cubicBezTo>
                    <a:pt x="292218" y="149637"/>
                    <a:pt x="296492" y="156076"/>
                    <a:pt x="300259" y="164128"/>
                  </a:cubicBezTo>
                  <a:cubicBezTo>
                    <a:pt x="304001" y="172179"/>
                    <a:pt x="308808" y="181819"/>
                    <a:pt x="313121" y="189325"/>
                  </a:cubicBezTo>
                  <a:cubicBezTo>
                    <a:pt x="317383" y="196843"/>
                    <a:pt x="312575" y="196843"/>
                    <a:pt x="320617" y="196297"/>
                  </a:cubicBezTo>
                  <a:cubicBezTo>
                    <a:pt x="328672" y="195763"/>
                    <a:pt x="328126" y="192030"/>
                    <a:pt x="329699" y="198456"/>
                  </a:cubicBezTo>
                  <a:cubicBezTo>
                    <a:pt x="331323" y="204895"/>
                    <a:pt x="329167" y="205974"/>
                    <a:pt x="330777" y="210254"/>
                  </a:cubicBezTo>
                  <a:cubicBezTo>
                    <a:pt x="332566" y="214382"/>
                    <a:pt x="334595" y="218407"/>
                    <a:pt x="336840" y="222306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6" name="Vrije vorm 375">
              <a:extLst>
                <a:ext uri="{FF2B5EF4-FFF2-40B4-BE49-F238E27FC236}">
                  <a16:creationId xmlns:a16="http://schemas.microsoft.com/office/drawing/2014/main" id="{EC5A0E5C-0B26-0C44-8F07-42B400C1686D}"/>
                </a:ext>
              </a:extLst>
            </p:cNvPr>
            <p:cNvSpPr/>
            <p:nvPr/>
          </p:nvSpPr>
          <p:spPr>
            <a:xfrm>
              <a:off x="5071733" y="3600957"/>
              <a:ext cx="176328" cy="181854"/>
            </a:xfrm>
            <a:custGeom>
              <a:avLst/>
              <a:gdLst>
                <a:gd name="connsiteX0" fmla="*/ 168141 w 176328"/>
                <a:gd name="connsiteY0" fmla="*/ 28970 h 181854"/>
                <a:gd name="connsiteX1" fmla="*/ 134933 w 176328"/>
                <a:gd name="connsiteY1" fmla="*/ 37568 h 181854"/>
                <a:gd name="connsiteX2" fmla="*/ 97452 w 176328"/>
                <a:gd name="connsiteY2" fmla="*/ 35409 h 181854"/>
                <a:gd name="connsiteX3" fmla="*/ 77094 w 176328"/>
                <a:gd name="connsiteY3" fmla="*/ 55792 h 181854"/>
                <a:gd name="connsiteX4" fmla="*/ 77094 w 176328"/>
                <a:gd name="connsiteY4" fmla="*/ 104065 h 181854"/>
                <a:gd name="connsiteX5" fmla="*/ 54579 w 176328"/>
                <a:gd name="connsiteY5" fmla="*/ 126607 h 181854"/>
                <a:gd name="connsiteX6" fmla="*/ 45992 w 176328"/>
                <a:gd name="connsiteY6" fmla="*/ 157710 h 181854"/>
                <a:gd name="connsiteX7" fmla="*/ 33143 w 176328"/>
                <a:gd name="connsiteY7" fmla="*/ 181332 h 181854"/>
                <a:gd name="connsiteX8" fmla="*/ -26 w 176328"/>
                <a:gd name="connsiteY8" fmla="*/ 176252 h 181854"/>
                <a:gd name="connsiteX9" fmla="*/ 16019 w 176328"/>
                <a:gd name="connsiteY9" fmla="*/ 140565 h 181854"/>
                <a:gd name="connsiteX10" fmla="*/ 34221 w 176328"/>
                <a:gd name="connsiteY10" fmla="*/ 100839 h 181854"/>
                <a:gd name="connsiteX11" fmla="*/ 61010 w 176328"/>
                <a:gd name="connsiteY11" fmla="*/ 75096 h 181854"/>
                <a:gd name="connsiteX12" fmla="*/ 78134 w 176328"/>
                <a:gd name="connsiteY12" fmla="*/ 38647 h 181854"/>
                <a:gd name="connsiteX13" fmla="*/ 100648 w 176328"/>
                <a:gd name="connsiteY13" fmla="*/ 11825 h 181854"/>
                <a:gd name="connsiteX14" fmla="*/ 119928 w 176328"/>
                <a:gd name="connsiteY14" fmla="*/ 4319 h 181854"/>
                <a:gd name="connsiteX15" fmla="*/ 138168 w 176328"/>
                <a:gd name="connsiteY15" fmla="*/ 8586 h 181854"/>
                <a:gd name="connsiteX16" fmla="*/ 157448 w 176328"/>
                <a:gd name="connsiteY16" fmla="*/ 2160 h 181854"/>
                <a:gd name="connsiteX17" fmla="*/ 172415 w 176328"/>
                <a:gd name="connsiteY17" fmla="*/ 1 h 181854"/>
                <a:gd name="connsiteX18" fmla="*/ 168141 w 176328"/>
                <a:gd name="connsiteY18" fmla="*/ 28970 h 181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76328" h="181854">
                  <a:moveTo>
                    <a:pt x="168141" y="28970"/>
                  </a:moveTo>
                  <a:cubicBezTo>
                    <a:pt x="152057" y="38647"/>
                    <a:pt x="157448" y="39676"/>
                    <a:pt x="134933" y="37568"/>
                  </a:cubicBezTo>
                  <a:cubicBezTo>
                    <a:pt x="112419" y="35409"/>
                    <a:pt x="108144" y="28970"/>
                    <a:pt x="97452" y="35409"/>
                  </a:cubicBezTo>
                  <a:cubicBezTo>
                    <a:pt x="86708" y="41835"/>
                    <a:pt x="79199" y="34329"/>
                    <a:pt x="77094" y="55792"/>
                  </a:cubicBezTo>
                  <a:cubicBezTo>
                    <a:pt x="74937" y="77255"/>
                    <a:pt x="83524" y="94400"/>
                    <a:pt x="77094" y="104065"/>
                  </a:cubicBezTo>
                  <a:cubicBezTo>
                    <a:pt x="70663" y="113742"/>
                    <a:pt x="58841" y="114784"/>
                    <a:pt x="54579" y="126607"/>
                  </a:cubicBezTo>
                  <a:cubicBezTo>
                    <a:pt x="49835" y="136361"/>
                    <a:pt x="46931" y="146902"/>
                    <a:pt x="45992" y="157710"/>
                  </a:cubicBezTo>
                  <a:cubicBezTo>
                    <a:pt x="44914" y="172734"/>
                    <a:pt x="52423" y="184519"/>
                    <a:pt x="33143" y="181332"/>
                  </a:cubicBezTo>
                  <a:cubicBezTo>
                    <a:pt x="24429" y="179884"/>
                    <a:pt x="12239" y="177725"/>
                    <a:pt x="-26" y="176252"/>
                  </a:cubicBezTo>
                  <a:cubicBezTo>
                    <a:pt x="4248" y="176252"/>
                    <a:pt x="8510" y="158789"/>
                    <a:pt x="16019" y="140565"/>
                  </a:cubicBezTo>
                  <a:cubicBezTo>
                    <a:pt x="23528" y="122302"/>
                    <a:pt x="21372" y="105157"/>
                    <a:pt x="34221" y="100839"/>
                  </a:cubicBezTo>
                  <a:cubicBezTo>
                    <a:pt x="47070" y="96559"/>
                    <a:pt x="56735" y="78335"/>
                    <a:pt x="61010" y="75096"/>
                  </a:cubicBezTo>
                  <a:cubicBezTo>
                    <a:pt x="68177" y="63692"/>
                    <a:pt x="73922" y="51449"/>
                    <a:pt x="78134" y="38647"/>
                  </a:cubicBezTo>
                  <a:cubicBezTo>
                    <a:pt x="83093" y="27840"/>
                    <a:pt x="90869" y="18581"/>
                    <a:pt x="100648" y="11825"/>
                  </a:cubicBezTo>
                  <a:cubicBezTo>
                    <a:pt x="110301" y="5398"/>
                    <a:pt x="104910" y="5398"/>
                    <a:pt x="119928" y="4319"/>
                  </a:cubicBezTo>
                  <a:cubicBezTo>
                    <a:pt x="134933" y="3240"/>
                    <a:pt x="130659" y="10745"/>
                    <a:pt x="138168" y="8586"/>
                  </a:cubicBezTo>
                  <a:cubicBezTo>
                    <a:pt x="144218" y="5437"/>
                    <a:pt x="150725" y="3265"/>
                    <a:pt x="157448" y="2160"/>
                  </a:cubicBezTo>
                  <a:cubicBezTo>
                    <a:pt x="171375" y="1"/>
                    <a:pt x="172415" y="1"/>
                    <a:pt x="172415" y="1"/>
                  </a:cubicBezTo>
                  <a:cubicBezTo>
                    <a:pt x="171375" y="6427"/>
                    <a:pt x="184237" y="19343"/>
                    <a:pt x="168141" y="28970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7" name="Vrije vorm 376">
              <a:extLst>
                <a:ext uri="{FF2B5EF4-FFF2-40B4-BE49-F238E27FC236}">
                  <a16:creationId xmlns:a16="http://schemas.microsoft.com/office/drawing/2014/main" id="{3E020D90-A093-CD47-B35A-62904A21BB08}"/>
                </a:ext>
              </a:extLst>
            </p:cNvPr>
            <p:cNvSpPr/>
            <p:nvPr/>
          </p:nvSpPr>
          <p:spPr>
            <a:xfrm>
              <a:off x="5875264" y="3714698"/>
              <a:ext cx="296326" cy="469849"/>
            </a:xfrm>
            <a:custGeom>
              <a:avLst/>
              <a:gdLst>
                <a:gd name="connsiteX0" fmla="*/ 294602 w 296326"/>
                <a:gd name="connsiteY0" fmla="*/ 231687 h 469849"/>
                <a:gd name="connsiteX1" fmla="*/ 277478 w 296326"/>
                <a:gd name="connsiteY1" fmla="*/ 232767 h 469849"/>
                <a:gd name="connsiteX2" fmla="*/ 266735 w 296326"/>
                <a:gd name="connsiteY2" fmla="*/ 236005 h 469849"/>
                <a:gd name="connsiteX3" fmla="*/ 262460 w 296326"/>
                <a:gd name="connsiteY3" fmla="*/ 253150 h 469849"/>
                <a:gd name="connsiteX4" fmla="*/ 250689 w 296326"/>
                <a:gd name="connsiteY4" fmla="*/ 268174 h 469849"/>
                <a:gd name="connsiteX5" fmla="*/ 252807 w 296326"/>
                <a:gd name="connsiteY5" fmla="*/ 283211 h 469849"/>
                <a:gd name="connsiteX6" fmla="*/ 243180 w 296326"/>
                <a:gd name="connsiteY6" fmla="*/ 288558 h 469849"/>
                <a:gd name="connsiteX7" fmla="*/ 245299 w 296326"/>
                <a:gd name="connsiteY7" fmla="*/ 304623 h 469849"/>
                <a:gd name="connsiteX8" fmla="*/ 234606 w 296326"/>
                <a:gd name="connsiteY8" fmla="*/ 318581 h 469849"/>
                <a:gd name="connsiteX9" fmla="*/ 249611 w 296326"/>
                <a:gd name="connsiteY9" fmla="*/ 322899 h 469849"/>
                <a:gd name="connsiteX10" fmla="*/ 252807 w 296326"/>
                <a:gd name="connsiteY10" fmla="*/ 341110 h 469849"/>
                <a:gd name="connsiteX11" fmla="*/ 256042 w 296326"/>
                <a:gd name="connsiteY11" fmla="*/ 351829 h 469849"/>
                <a:gd name="connsiteX12" fmla="*/ 265657 w 296326"/>
                <a:gd name="connsiteY12" fmla="*/ 360414 h 469849"/>
                <a:gd name="connsiteX13" fmla="*/ 265073 w 296326"/>
                <a:gd name="connsiteY13" fmla="*/ 372162 h 469849"/>
                <a:gd name="connsiteX14" fmla="*/ 260849 w 296326"/>
                <a:gd name="connsiteY14" fmla="*/ 371667 h 469849"/>
                <a:gd name="connsiteX15" fmla="*/ 242648 w 296326"/>
                <a:gd name="connsiteY15" fmla="*/ 372746 h 469849"/>
                <a:gd name="connsiteX16" fmla="*/ 235684 w 296326"/>
                <a:gd name="connsiteY16" fmla="*/ 379185 h 469849"/>
                <a:gd name="connsiteX17" fmla="*/ 229798 w 296326"/>
                <a:gd name="connsiteY17" fmla="*/ 384049 h 469849"/>
                <a:gd name="connsiteX18" fmla="*/ 223368 w 296326"/>
                <a:gd name="connsiteY18" fmla="*/ 395835 h 469849"/>
                <a:gd name="connsiteX19" fmla="*/ 213702 w 296326"/>
                <a:gd name="connsiteY19" fmla="*/ 402807 h 469849"/>
                <a:gd name="connsiteX20" fmla="*/ 208362 w 296326"/>
                <a:gd name="connsiteY20" fmla="*/ 410859 h 469849"/>
                <a:gd name="connsiteX21" fmla="*/ 200853 w 296326"/>
                <a:gd name="connsiteY21" fmla="*/ 417298 h 469849"/>
                <a:gd name="connsiteX22" fmla="*/ 191733 w 296326"/>
                <a:gd name="connsiteY22" fmla="*/ 423191 h 469849"/>
                <a:gd name="connsiteX23" fmla="*/ 174609 w 296326"/>
                <a:gd name="connsiteY23" fmla="*/ 425299 h 469849"/>
                <a:gd name="connsiteX24" fmla="*/ 154784 w 296326"/>
                <a:gd name="connsiteY24" fmla="*/ 425299 h 469849"/>
                <a:gd name="connsiteX25" fmla="*/ 152628 w 296326"/>
                <a:gd name="connsiteY25" fmla="*/ 433363 h 469849"/>
                <a:gd name="connsiteX26" fmla="*/ 148366 w 296326"/>
                <a:gd name="connsiteY26" fmla="*/ 446228 h 469849"/>
                <a:gd name="connsiteX27" fmla="*/ 130659 w 296326"/>
                <a:gd name="connsiteY27" fmla="*/ 455360 h 469849"/>
                <a:gd name="connsiteX28" fmla="*/ 111379 w 296326"/>
                <a:gd name="connsiteY28" fmla="*/ 455906 h 469849"/>
                <a:gd name="connsiteX29" fmla="*/ 101219 w 296326"/>
                <a:gd name="connsiteY29" fmla="*/ 463411 h 469849"/>
                <a:gd name="connsiteX30" fmla="*/ 89448 w 296326"/>
                <a:gd name="connsiteY30" fmla="*/ 466612 h 469849"/>
                <a:gd name="connsiteX31" fmla="*/ 82979 w 296326"/>
                <a:gd name="connsiteY31" fmla="*/ 459093 h 469849"/>
                <a:gd name="connsiteX32" fmla="*/ 77094 w 296326"/>
                <a:gd name="connsiteY32" fmla="*/ 466612 h 469849"/>
                <a:gd name="connsiteX33" fmla="*/ 65856 w 296326"/>
                <a:gd name="connsiteY33" fmla="*/ 469850 h 469849"/>
                <a:gd name="connsiteX34" fmla="*/ 54173 w 296326"/>
                <a:gd name="connsiteY34" fmla="*/ 469317 h 469849"/>
                <a:gd name="connsiteX35" fmla="*/ 55163 w 296326"/>
                <a:gd name="connsiteY35" fmla="*/ 465570 h 469849"/>
                <a:gd name="connsiteX36" fmla="*/ 47121 w 296326"/>
                <a:gd name="connsiteY36" fmla="*/ 443028 h 469849"/>
                <a:gd name="connsiteX37" fmla="*/ 24061 w 296326"/>
                <a:gd name="connsiteY37" fmla="*/ 422645 h 469849"/>
                <a:gd name="connsiteX38" fmla="*/ 14446 w 296326"/>
                <a:gd name="connsiteY38" fmla="*/ 400102 h 469849"/>
                <a:gd name="connsiteX39" fmla="*/ 30492 w 296326"/>
                <a:gd name="connsiteY39" fmla="*/ 396914 h 469849"/>
                <a:gd name="connsiteX40" fmla="*/ 44952 w 296326"/>
                <a:gd name="connsiteY40" fmla="*/ 397448 h 469849"/>
                <a:gd name="connsiteX41" fmla="*/ 56735 w 296326"/>
                <a:gd name="connsiteY41" fmla="*/ 397994 h 469849"/>
                <a:gd name="connsiteX42" fmla="*/ 44419 w 296326"/>
                <a:gd name="connsiteY42" fmla="*/ 375451 h 469849"/>
                <a:gd name="connsiteX43" fmla="*/ 42301 w 296326"/>
                <a:gd name="connsiteY43" fmla="*/ 354522 h 469849"/>
                <a:gd name="connsiteX44" fmla="*/ 40145 w 296326"/>
                <a:gd name="connsiteY44" fmla="*/ 333059 h 469849"/>
                <a:gd name="connsiteX45" fmla="*/ 33726 w 296326"/>
                <a:gd name="connsiteY45" fmla="*/ 317488 h 469849"/>
                <a:gd name="connsiteX46" fmla="*/ 23516 w 296326"/>
                <a:gd name="connsiteY46" fmla="*/ 308941 h 469849"/>
                <a:gd name="connsiteX47" fmla="*/ 12417 w 296326"/>
                <a:gd name="connsiteY47" fmla="*/ 307913 h 469849"/>
                <a:gd name="connsiteX48" fmla="*/ 9588 w 296326"/>
                <a:gd name="connsiteY48" fmla="*/ 301436 h 469849"/>
                <a:gd name="connsiteX49" fmla="*/ -26 w 296326"/>
                <a:gd name="connsiteY49" fmla="*/ 290679 h 469849"/>
                <a:gd name="connsiteX50" fmla="*/ 32103 w 296326"/>
                <a:gd name="connsiteY50" fmla="*/ 218822 h 469849"/>
                <a:gd name="connsiteX51" fmla="*/ 62126 w 296326"/>
                <a:gd name="connsiteY51" fmla="*/ 111545 h 469849"/>
                <a:gd name="connsiteX52" fmla="*/ 41362 w 296326"/>
                <a:gd name="connsiteY52" fmla="*/ 14809 h 469849"/>
                <a:gd name="connsiteX53" fmla="*/ 66388 w 296326"/>
                <a:gd name="connsiteY53" fmla="*/ 1 h 469849"/>
                <a:gd name="connsiteX54" fmla="*/ 295135 w 296326"/>
                <a:gd name="connsiteY54" fmla="*/ 120994 h 469849"/>
                <a:gd name="connsiteX55" fmla="*/ 294602 w 296326"/>
                <a:gd name="connsiteY55" fmla="*/ 231687 h 469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296326" h="469849">
                  <a:moveTo>
                    <a:pt x="294602" y="231687"/>
                  </a:moveTo>
                  <a:cubicBezTo>
                    <a:pt x="290327" y="234926"/>
                    <a:pt x="283909" y="231687"/>
                    <a:pt x="277478" y="232767"/>
                  </a:cubicBezTo>
                  <a:cubicBezTo>
                    <a:pt x="271048" y="233846"/>
                    <a:pt x="269969" y="230608"/>
                    <a:pt x="266735" y="236005"/>
                  </a:cubicBezTo>
                  <a:cubicBezTo>
                    <a:pt x="263538" y="241365"/>
                    <a:pt x="269969" y="246711"/>
                    <a:pt x="262460" y="253150"/>
                  </a:cubicBezTo>
                  <a:cubicBezTo>
                    <a:pt x="254964" y="259589"/>
                    <a:pt x="251729" y="261748"/>
                    <a:pt x="250689" y="268174"/>
                  </a:cubicBezTo>
                  <a:cubicBezTo>
                    <a:pt x="249611" y="274613"/>
                    <a:pt x="259226" y="282132"/>
                    <a:pt x="252807" y="283211"/>
                  </a:cubicBezTo>
                  <a:cubicBezTo>
                    <a:pt x="246377" y="284240"/>
                    <a:pt x="243180" y="285319"/>
                    <a:pt x="243180" y="288558"/>
                  </a:cubicBezTo>
                  <a:cubicBezTo>
                    <a:pt x="243180" y="291758"/>
                    <a:pt x="251729" y="301436"/>
                    <a:pt x="245299" y="304623"/>
                  </a:cubicBezTo>
                  <a:cubicBezTo>
                    <a:pt x="238868" y="307862"/>
                    <a:pt x="227097" y="314301"/>
                    <a:pt x="234606" y="318581"/>
                  </a:cubicBezTo>
                  <a:cubicBezTo>
                    <a:pt x="242102" y="322899"/>
                    <a:pt x="246377" y="315380"/>
                    <a:pt x="249611" y="322899"/>
                  </a:cubicBezTo>
                  <a:cubicBezTo>
                    <a:pt x="252807" y="330404"/>
                    <a:pt x="245299" y="336843"/>
                    <a:pt x="252807" y="341110"/>
                  </a:cubicBezTo>
                  <a:cubicBezTo>
                    <a:pt x="260304" y="345390"/>
                    <a:pt x="247455" y="346470"/>
                    <a:pt x="256042" y="351829"/>
                  </a:cubicBezTo>
                  <a:cubicBezTo>
                    <a:pt x="264629" y="357227"/>
                    <a:pt x="265657" y="349708"/>
                    <a:pt x="265657" y="360414"/>
                  </a:cubicBezTo>
                  <a:cubicBezTo>
                    <a:pt x="265707" y="364339"/>
                    <a:pt x="265517" y="368263"/>
                    <a:pt x="265073" y="372162"/>
                  </a:cubicBezTo>
                  <a:cubicBezTo>
                    <a:pt x="263691" y="371794"/>
                    <a:pt x="262270" y="371628"/>
                    <a:pt x="260849" y="371667"/>
                  </a:cubicBezTo>
                  <a:cubicBezTo>
                    <a:pt x="250157" y="371667"/>
                    <a:pt x="252807" y="368479"/>
                    <a:pt x="242648" y="372746"/>
                  </a:cubicBezTo>
                  <a:cubicBezTo>
                    <a:pt x="232450" y="377064"/>
                    <a:pt x="241569" y="374372"/>
                    <a:pt x="235684" y="379185"/>
                  </a:cubicBezTo>
                  <a:cubicBezTo>
                    <a:pt x="229798" y="384049"/>
                    <a:pt x="232450" y="375985"/>
                    <a:pt x="229798" y="384049"/>
                  </a:cubicBezTo>
                  <a:cubicBezTo>
                    <a:pt x="227097" y="392050"/>
                    <a:pt x="226019" y="394209"/>
                    <a:pt x="223368" y="395835"/>
                  </a:cubicBezTo>
                  <a:cubicBezTo>
                    <a:pt x="220666" y="397448"/>
                    <a:pt x="215859" y="398489"/>
                    <a:pt x="213702" y="402807"/>
                  </a:cubicBezTo>
                  <a:cubicBezTo>
                    <a:pt x="212611" y="405893"/>
                    <a:pt x="210785" y="408662"/>
                    <a:pt x="208362" y="410859"/>
                  </a:cubicBezTo>
                  <a:cubicBezTo>
                    <a:pt x="205661" y="412980"/>
                    <a:pt x="204582" y="415672"/>
                    <a:pt x="200853" y="417298"/>
                  </a:cubicBezTo>
                  <a:cubicBezTo>
                    <a:pt x="197124" y="418872"/>
                    <a:pt x="200308" y="422645"/>
                    <a:pt x="191733" y="423191"/>
                  </a:cubicBezTo>
                  <a:cubicBezTo>
                    <a:pt x="185962" y="423292"/>
                    <a:pt x="180229" y="424003"/>
                    <a:pt x="174609" y="425299"/>
                  </a:cubicBezTo>
                  <a:cubicBezTo>
                    <a:pt x="171375" y="426391"/>
                    <a:pt x="158513" y="419952"/>
                    <a:pt x="154784" y="425299"/>
                  </a:cubicBezTo>
                  <a:cubicBezTo>
                    <a:pt x="151017" y="430709"/>
                    <a:pt x="152095" y="430709"/>
                    <a:pt x="152628" y="433363"/>
                  </a:cubicBezTo>
                  <a:cubicBezTo>
                    <a:pt x="153173" y="436056"/>
                    <a:pt x="154784" y="444107"/>
                    <a:pt x="148366" y="446228"/>
                  </a:cubicBezTo>
                  <a:cubicBezTo>
                    <a:pt x="141935" y="448387"/>
                    <a:pt x="138168" y="454280"/>
                    <a:pt x="130659" y="455360"/>
                  </a:cubicBezTo>
                  <a:cubicBezTo>
                    <a:pt x="123201" y="456439"/>
                    <a:pt x="116732" y="451626"/>
                    <a:pt x="111379" y="455906"/>
                  </a:cubicBezTo>
                  <a:cubicBezTo>
                    <a:pt x="106026" y="460173"/>
                    <a:pt x="107650" y="461799"/>
                    <a:pt x="101219" y="463411"/>
                  </a:cubicBezTo>
                  <a:cubicBezTo>
                    <a:pt x="94801" y="465037"/>
                    <a:pt x="93177" y="468771"/>
                    <a:pt x="89448" y="466612"/>
                  </a:cubicBezTo>
                  <a:cubicBezTo>
                    <a:pt x="85668" y="464491"/>
                    <a:pt x="87292" y="457519"/>
                    <a:pt x="82979" y="459093"/>
                  </a:cubicBezTo>
                  <a:cubicBezTo>
                    <a:pt x="78705" y="460719"/>
                    <a:pt x="82979" y="464491"/>
                    <a:pt x="77094" y="466612"/>
                  </a:cubicBezTo>
                  <a:cubicBezTo>
                    <a:pt x="73593" y="468415"/>
                    <a:pt x="69775" y="469507"/>
                    <a:pt x="65856" y="469850"/>
                  </a:cubicBezTo>
                  <a:cubicBezTo>
                    <a:pt x="62393" y="469850"/>
                    <a:pt x="55163" y="469406"/>
                    <a:pt x="54173" y="469317"/>
                  </a:cubicBezTo>
                  <a:cubicBezTo>
                    <a:pt x="54934" y="468225"/>
                    <a:pt x="55289" y="466904"/>
                    <a:pt x="55163" y="465570"/>
                  </a:cubicBezTo>
                  <a:cubicBezTo>
                    <a:pt x="54173" y="457557"/>
                    <a:pt x="51421" y="449861"/>
                    <a:pt x="47121" y="443028"/>
                  </a:cubicBezTo>
                  <a:cubicBezTo>
                    <a:pt x="41768" y="434976"/>
                    <a:pt x="31570" y="432817"/>
                    <a:pt x="24061" y="422645"/>
                  </a:cubicBezTo>
                  <a:cubicBezTo>
                    <a:pt x="16552" y="412434"/>
                    <a:pt x="6937" y="404966"/>
                    <a:pt x="14446" y="400102"/>
                  </a:cubicBezTo>
                  <a:cubicBezTo>
                    <a:pt x="21943" y="395289"/>
                    <a:pt x="21943" y="396914"/>
                    <a:pt x="30492" y="396914"/>
                  </a:cubicBezTo>
                  <a:cubicBezTo>
                    <a:pt x="39067" y="396914"/>
                    <a:pt x="39612" y="397448"/>
                    <a:pt x="44952" y="397448"/>
                  </a:cubicBezTo>
                  <a:cubicBezTo>
                    <a:pt x="50305" y="397448"/>
                    <a:pt x="55695" y="403887"/>
                    <a:pt x="56735" y="397994"/>
                  </a:cubicBezTo>
                  <a:cubicBezTo>
                    <a:pt x="57814" y="392050"/>
                    <a:pt x="46043" y="383503"/>
                    <a:pt x="44419" y="375451"/>
                  </a:cubicBezTo>
                  <a:cubicBezTo>
                    <a:pt x="41984" y="368758"/>
                    <a:pt x="41248" y="361570"/>
                    <a:pt x="42301" y="354522"/>
                  </a:cubicBezTo>
                  <a:cubicBezTo>
                    <a:pt x="44077" y="347333"/>
                    <a:pt x="43316" y="339752"/>
                    <a:pt x="40145" y="333059"/>
                  </a:cubicBezTo>
                  <a:cubicBezTo>
                    <a:pt x="38673" y="327623"/>
                    <a:pt x="36517" y="322391"/>
                    <a:pt x="33726" y="317488"/>
                  </a:cubicBezTo>
                  <a:cubicBezTo>
                    <a:pt x="31608" y="313386"/>
                    <a:pt x="27930" y="310300"/>
                    <a:pt x="23516" y="308941"/>
                  </a:cubicBezTo>
                  <a:cubicBezTo>
                    <a:pt x="19900" y="308002"/>
                    <a:pt x="16159" y="307659"/>
                    <a:pt x="12417" y="307913"/>
                  </a:cubicBezTo>
                  <a:cubicBezTo>
                    <a:pt x="11517" y="305754"/>
                    <a:pt x="10578" y="303595"/>
                    <a:pt x="9588" y="301436"/>
                  </a:cubicBezTo>
                  <a:cubicBezTo>
                    <a:pt x="4781" y="290679"/>
                    <a:pt x="8561" y="291225"/>
                    <a:pt x="-26" y="290679"/>
                  </a:cubicBezTo>
                  <a:lnTo>
                    <a:pt x="32103" y="218822"/>
                  </a:lnTo>
                  <a:cubicBezTo>
                    <a:pt x="48085" y="185015"/>
                    <a:pt x="58232" y="148744"/>
                    <a:pt x="62126" y="111545"/>
                  </a:cubicBezTo>
                  <a:cubicBezTo>
                    <a:pt x="63407" y="78068"/>
                    <a:pt x="56266" y="44807"/>
                    <a:pt x="41362" y="14809"/>
                  </a:cubicBezTo>
                  <a:lnTo>
                    <a:pt x="66388" y="1"/>
                  </a:lnTo>
                  <a:lnTo>
                    <a:pt x="295135" y="120994"/>
                  </a:lnTo>
                  <a:cubicBezTo>
                    <a:pt x="295185" y="152985"/>
                    <a:pt x="298052" y="229071"/>
                    <a:pt x="294602" y="231687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8" name="Vrije vorm 377">
              <a:extLst>
                <a:ext uri="{FF2B5EF4-FFF2-40B4-BE49-F238E27FC236}">
                  <a16:creationId xmlns:a16="http://schemas.microsoft.com/office/drawing/2014/main" id="{E300B927-898B-E546-B54C-12F4A514A24C}"/>
                </a:ext>
              </a:extLst>
            </p:cNvPr>
            <p:cNvSpPr/>
            <p:nvPr/>
          </p:nvSpPr>
          <p:spPr>
            <a:xfrm>
              <a:off x="3516830" y="4672964"/>
              <a:ext cx="342943" cy="388798"/>
            </a:xfrm>
            <a:custGeom>
              <a:avLst/>
              <a:gdLst>
                <a:gd name="connsiteX0" fmla="*/ 342802 w 342943"/>
                <a:gd name="connsiteY0" fmla="*/ 247715 h 388798"/>
                <a:gd name="connsiteX1" fmla="*/ 333771 w 342943"/>
                <a:gd name="connsiteY1" fmla="*/ 270524 h 388798"/>
                <a:gd name="connsiteX2" fmla="*/ 328063 w 342943"/>
                <a:gd name="connsiteY2" fmla="*/ 287173 h 388798"/>
                <a:gd name="connsiteX3" fmla="*/ 331297 w 342943"/>
                <a:gd name="connsiteY3" fmla="*/ 297206 h 388798"/>
                <a:gd name="connsiteX4" fmla="*/ 330131 w 342943"/>
                <a:gd name="connsiteY4" fmla="*/ 300000 h 388798"/>
                <a:gd name="connsiteX5" fmla="*/ 327035 w 342943"/>
                <a:gd name="connsiteY5" fmla="*/ 302299 h 388798"/>
                <a:gd name="connsiteX6" fmla="*/ 317104 w 342943"/>
                <a:gd name="connsiteY6" fmla="*/ 288888 h 388798"/>
                <a:gd name="connsiteX7" fmla="*/ 290594 w 342943"/>
                <a:gd name="connsiteY7" fmla="*/ 276696 h 388798"/>
                <a:gd name="connsiteX8" fmla="*/ 245692 w 342943"/>
                <a:gd name="connsiteY8" fmla="*/ 282906 h 388798"/>
                <a:gd name="connsiteX9" fmla="*/ 209923 w 342943"/>
                <a:gd name="connsiteY9" fmla="*/ 316155 h 388798"/>
                <a:gd name="connsiteX10" fmla="*/ 197708 w 342943"/>
                <a:gd name="connsiteY10" fmla="*/ 367005 h 388798"/>
                <a:gd name="connsiteX11" fmla="*/ 194067 w 342943"/>
                <a:gd name="connsiteY11" fmla="*/ 364085 h 388798"/>
                <a:gd name="connsiteX12" fmla="*/ 186875 w 342943"/>
                <a:gd name="connsiteY12" fmla="*/ 359716 h 388798"/>
                <a:gd name="connsiteX13" fmla="*/ 173075 w 342943"/>
                <a:gd name="connsiteY13" fmla="*/ 360402 h 388798"/>
                <a:gd name="connsiteX14" fmla="*/ 161431 w 342943"/>
                <a:gd name="connsiteY14" fmla="*/ 359589 h 388798"/>
                <a:gd name="connsiteX15" fmla="*/ 154607 w 342943"/>
                <a:gd name="connsiteY15" fmla="*/ 370790 h 388798"/>
                <a:gd name="connsiteX16" fmla="*/ 149571 w 342943"/>
                <a:gd name="connsiteY16" fmla="*/ 387122 h 388798"/>
                <a:gd name="connsiteX17" fmla="*/ 144447 w 342943"/>
                <a:gd name="connsiteY17" fmla="*/ 378842 h 388798"/>
                <a:gd name="connsiteX18" fmla="*/ 139284 w 342943"/>
                <a:gd name="connsiteY18" fmla="*/ 364935 h 388798"/>
                <a:gd name="connsiteX19" fmla="*/ 134071 w 342943"/>
                <a:gd name="connsiteY19" fmla="*/ 362332 h 388798"/>
                <a:gd name="connsiteX20" fmla="*/ 120499 w 342943"/>
                <a:gd name="connsiteY20" fmla="*/ 362738 h 388798"/>
                <a:gd name="connsiteX21" fmla="*/ 109311 w 342943"/>
                <a:gd name="connsiteY21" fmla="*/ 363183 h 388798"/>
                <a:gd name="connsiteX22" fmla="*/ 95778 w 342943"/>
                <a:gd name="connsiteY22" fmla="*/ 354776 h 388798"/>
                <a:gd name="connsiteX23" fmla="*/ 88548 w 342943"/>
                <a:gd name="connsiteY23" fmla="*/ 364351 h 388798"/>
                <a:gd name="connsiteX24" fmla="*/ 79656 w 342943"/>
                <a:gd name="connsiteY24" fmla="*/ 370790 h 388798"/>
                <a:gd name="connsiteX25" fmla="*/ 72464 w 342943"/>
                <a:gd name="connsiteY25" fmla="*/ 378791 h 388798"/>
                <a:gd name="connsiteX26" fmla="*/ 68240 w 342943"/>
                <a:gd name="connsiteY26" fmla="*/ 384646 h 388798"/>
                <a:gd name="connsiteX27" fmla="*/ 68240 w 342943"/>
                <a:gd name="connsiteY27" fmla="*/ 384786 h 388798"/>
                <a:gd name="connsiteX28" fmla="*/ 50622 w 342943"/>
                <a:gd name="connsiteY28" fmla="*/ 387122 h 388798"/>
                <a:gd name="connsiteX29" fmla="*/ 45231 w 342943"/>
                <a:gd name="connsiteY29" fmla="*/ 372949 h 388798"/>
                <a:gd name="connsiteX30" fmla="*/ 41007 w 342943"/>
                <a:gd name="connsiteY30" fmla="*/ 345542 h 388798"/>
                <a:gd name="connsiteX31" fmla="*/ 31291 w 342943"/>
                <a:gd name="connsiteY31" fmla="*/ 330468 h 388798"/>
                <a:gd name="connsiteX32" fmla="*/ 28957 w 342943"/>
                <a:gd name="connsiteY32" fmla="*/ 319939 h 388798"/>
                <a:gd name="connsiteX33" fmla="*/ 24416 w 342943"/>
                <a:gd name="connsiteY33" fmla="*/ 311253 h 388798"/>
                <a:gd name="connsiteX34" fmla="*/ 27702 w 342943"/>
                <a:gd name="connsiteY34" fmla="*/ 300737 h 388798"/>
                <a:gd name="connsiteX35" fmla="*/ 25583 w 342943"/>
                <a:gd name="connsiteY35" fmla="*/ 285738 h 388798"/>
                <a:gd name="connsiteX36" fmla="*/ 16692 w 342943"/>
                <a:gd name="connsiteY36" fmla="*/ 263196 h 388798"/>
                <a:gd name="connsiteX37" fmla="*/ 14041 w 342943"/>
                <a:gd name="connsiteY37" fmla="*/ 243308 h 388798"/>
                <a:gd name="connsiteX38" fmla="*/ 9538 w 342943"/>
                <a:gd name="connsiteY38" fmla="*/ 238405 h 388798"/>
                <a:gd name="connsiteX39" fmla="*/ 7204 w 342943"/>
                <a:gd name="connsiteY39" fmla="*/ 231840 h 388798"/>
                <a:gd name="connsiteX40" fmla="*/ 3652 w 342943"/>
                <a:gd name="connsiteY40" fmla="*/ 224867 h 388798"/>
                <a:gd name="connsiteX41" fmla="*/ 595 w 342943"/>
                <a:gd name="connsiteY41" fmla="*/ 218161 h 388798"/>
                <a:gd name="connsiteX42" fmla="*/ 15296 w 342943"/>
                <a:gd name="connsiteY42" fmla="*/ 198946 h 388798"/>
                <a:gd name="connsiteX43" fmla="*/ 14890 w 342943"/>
                <a:gd name="connsiteY43" fmla="*/ 188685 h 388798"/>
                <a:gd name="connsiteX44" fmla="*/ 7255 w 342943"/>
                <a:gd name="connsiteY44" fmla="*/ 177572 h 388798"/>
                <a:gd name="connsiteX45" fmla="*/ 11605 w 342943"/>
                <a:gd name="connsiteY45" fmla="*/ 158853 h 388798"/>
                <a:gd name="connsiteX46" fmla="*/ 7255 w 342943"/>
                <a:gd name="connsiteY46" fmla="*/ 143422 h 388798"/>
                <a:gd name="connsiteX47" fmla="*/ 13673 w 342943"/>
                <a:gd name="connsiteY47" fmla="*/ 133427 h 388798"/>
                <a:gd name="connsiteX48" fmla="*/ 16692 w 342943"/>
                <a:gd name="connsiteY48" fmla="*/ 123394 h 388798"/>
                <a:gd name="connsiteX49" fmla="*/ 15740 w 342943"/>
                <a:gd name="connsiteY49" fmla="*/ 111786 h 388798"/>
                <a:gd name="connsiteX50" fmla="*/ 17985 w 342943"/>
                <a:gd name="connsiteY50" fmla="*/ 103061 h 388798"/>
                <a:gd name="connsiteX51" fmla="*/ 17719 w 342943"/>
                <a:gd name="connsiteY51" fmla="*/ 88888 h 388798"/>
                <a:gd name="connsiteX52" fmla="*/ 23199 w 342943"/>
                <a:gd name="connsiteY52" fmla="*/ 79440 h 388798"/>
                <a:gd name="connsiteX53" fmla="*/ 18620 w 342943"/>
                <a:gd name="connsiteY53" fmla="*/ 64809 h 388798"/>
                <a:gd name="connsiteX54" fmla="*/ 5631 w 342943"/>
                <a:gd name="connsiteY54" fmla="*/ 43943 h 388798"/>
                <a:gd name="connsiteX55" fmla="*/ -26 w 342943"/>
                <a:gd name="connsiteY55" fmla="*/ 32729 h 388798"/>
                <a:gd name="connsiteX56" fmla="*/ 5771 w 342943"/>
                <a:gd name="connsiteY56" fmla="*/ 33453 h 388798"/>
                <a:gd name="connsiteX57" fmla="*/ 18264 w 342943"/>
                <a:gd name="connsiteY57" fmla="*/ 35345 h 388798"/>
                <a:gd name="connsiteX58" fmla="*/ 23833 w 342943"/>
                <a:gd name="connsiteY58" fmla="*/ 39396 h 388798"/>
                <a:gd name="connsiteX59" fmla="*/ 38927 w 342943"/>
                <a:gd name="connsiteY59" fmla="*/ 33008 h 388798"/>
                <a:gd name="connsiteX60" fmla="*/ 47286 w 342943"/>
                <a:gd name="connsiteY60" fmla="*/ 25617 h 388798"/>
                <a:gd name="connsiteX61" fmla="*/ 59336 w 342943"/>
                <a:gd name="connsiteY61" fmla="*/ 21350 h 388798"/>
                <a:gd name="connsiteX62" fmla="*/ 72768 w 342943"/>
                <a:gd name="connsiteY62" fmla="*/ 12891 h 388798"/>
                <a:gd name="connsiteX63" fmla="*/ 91643 w 342943"/>
                <a:gd name="connsiteY63" fmla="*/ 3303 h 388798"/>
                <a:gd name="connsiteX64" fmla="*/ 107282 w 342943"/>
                <a:gd name="connsiteY64" fmla="*/ 509 h 388798"/>
                <a:gd name="connsiteX65" fmla="*/ 117899 w 342943"/>
                <a:gd name="connsiteY65" fmla="*/ 13 h 388798"/>
                <a:gd name="connsiteX66" fmla="*/ 122161 w 342943"/>
                <a:gd name="connsiteY66" fmla="*/ 12574 h 388798"/>
                <a:gd name="connsiteX67" fmla="*/ 122161 w 342943"/>
                <a:gd name="connsiteY67" fmla="*/ 49823 h 388798"/>
                <a:gd name="connsiteX68" fmla="*/ 129352 w 342943"/>
                <a:gd name="connsiteY68" fmla="*/ 59996 h 388798"/>
                <a:gd name="connsiteX69" fmla="*/ 138155 w 342943"/>
                <a:gd name="connsiteY69" fmla="*/ 68416 h 388798"/>
                <a:gd name="connsiteX70" fmla="*/ 146565 w 342943"/>
                <a:gd name="connsiteY70" fmla="*/ 76556 h 388798"/>
                <a:gd name="connsiteX71" fmla="*/ 155418 w 342943"/>
                <a:gd name="connsiteY71" fmla="*/ 78258 h 388798"/>
                <a:gd name="connsiteX72" fmla="*/ 164450 w 342943"/>
                <a:gd name="connsiteY72" fmla="*/ 77230 h 388798"/>
                <a:gd name="connsiteX73" fmla="*/ 175954 w 342943"/>
                <a:gd name="connsiteY73" fmla="*/ 82894 h 388798"/>
                <a:gd name="connsiteX74" fmla="*/ 185835 w 342943"/>
                <a:gd name="connsiteY74" fmla="*/ 84418 h 388798"/>
                <a:gd name="connsiteX75" fmla="*/ 196046 w 342943"/>
                <a:gd name="connsiteY75" fmla="*/ 93473 h 388798"/>
                <a:gd name="connsiteX76" fmla="*/ 209529 w 342943"/>
                <a:gd name="connsiteY76" fmla="*/ 96483 h 388798"/>
                <a:gd name="connsiteX77" fmla="*/ 215148 w 342943"/>
                <a:gd name="connsiteY77" fmla="*/ 103049 h 388798"/>
                <a:gd name="connsiteX78" fmla="*/ 223050 w 342943"/>
                <a:gd name="connsiteY78" fmla="*/ 108586 h 388798"/>
                <a:gd name="connsiteX79" fmla="*/ 234023 w 342943"/>
                <a:gd name="connsiteY79" fmla="*/ 107329 h 388798"/>
                <a:gd name="connsiteX80" fmla="*/ 245071 w 342943"/>
                <a:gd name="connsiteY80" fmla="*/ 108230 h 388798"/>
                <a:gd name="connsiteX81" fmla="*/ 261750 w 342943"/>
                <a:gd name="connsiteY81" fmla="*/ 128296 h 388798"/>
                <a:gd name="connsiteX82" fmla="*/ 264579 w 342943"/>
                <a:gd name="connsiteY82" fmla="*/ 145924 h 388798"/>
                <a:gd name="connsiteX83" fmla="*/ 263145 w 342943"/>
                <a:gd name="connsiteY83" fmla="*/ 160732 h 388798"/>
                <a:gd name="connsiteX84" fmla="*/ 264667 w 342943"/>
                <a:gd name="connsiteY84" fmla="*/ 181344 h 388798"/>
                <a:gd name="connsiteX85" fmla="*/ 298052 w 342943"/>
                <a:gd name="connsiteY85" fmla="*/ 191060 h 388798"/>
                <a:gd name="connsiteX86" fmla="*/ 315810 w 342943"/>
                <a:gd name="connsiteY86" fmla="*/ 190209 h 388798"/>
                <a:gd name="connsiteX87" fmla="*/ 316787 w 342943"/>
                <a:gd name="connsiteY87" fmla="*/ 206947 h 388798"/>
                <a:gd name="connsiteX88" fmla="*/ 322951 w 342943"/>
                <a:gd name="connsiteY88" fmla="*/ 221743 h 388798"/>
                <a:gd name="connsiteX89" fmla="*/ 333784 w 342943"/>
                <a:gd name="connsiteY89" fmla="*/ 228537 h 388798"/>
                <a:gd name="connsiteX90" fmla="*/ 338502 w 342943"/>
                <a:gd name="connsiteY90" fmla="*/ 240425 h 388798"/>
                <a:gd name="connsiteX91" fmla="*/ 342802 w 342943"/>
                <a:gd name="connsiteY91" fmla="*/ 247715 h 388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342943" h="388798">
                  <a:moveTo>
                    <a:pt x="342802" y="247715"/>
                  </a:moveTo>
                  <a:cubicBezTo>
                    <a:pt x="340278" y="255499"/>
                    <a:pt x="337259" y="263119"/>
                    <a:pt x="333771" y="270524"/>
                  </a:cubicBezTo>
                  <a:cubicBezTo>
                    <a:pt x="330181" y="275350"/>
                    <a:pt x="328190" y="281166"/>
                    <a:pt x="328063" y="287173"/>
                  </a:cubicBezTo>
                  <a:cubicBezTo>
                    <a:pt x="328786" y="293168"/>
                    <a:pt x="329636" y="295809"/>
                    <a:pt x="331297" y="297206"/>
                  </a:cubicBezTo>
                  <a:cubicBezTo>
                    <a:pt x="332921" y="298603"/>
                    <a:pt x="332059" y="298337"/>
                    <a:pt x="330131" y="300000"/>
                  </a:cubicBezTo>
                  <a:cubicBezTo>
                    <a:pt x="329141" y="300826"/>
                    <a:pt x="328101" y="301588"/>
                    <a:pt x="327035" y="302299"/>
                  </a:cubicBezTo>
                  <a:cubicBezTo>
                    <a:pt x="324854" y="297092"/>
                    <a:pt x="321442" y="292494"/>
                    <a:pt x="317104" y="288888"/>
                  </a:cubicBezTo>
                  <a:cubicBezTo>
                    <a:pt x="309443" y="282627"/>
                    <a:pt x="300323" y="278436"/>
                    <a:pt x="290594" y="276696"/>
                  </a:cubicBezTo>
                  <a:cubicBezTo>
                    <a:pt x="275335" y="274537"/>
                    <a:pt x="259784" y="276683"/>
                    <a:pt x="245692" y="282906"/>
                  </a:cubicBezTo>
                  <a:cubicBezTo>
                    <a:pt x="229938" y="288964"/>
                    <a:pt x="217127" y="300876"/>
                    <a:pt x="209923" y="316155"/>
                  </a:cubicBezTo>
                  <a:cubicBezTo>
                    <a:pt x="203961" y="332601"/>
                    <a:pt x="199864" y="349657"/>
                    <a:pt x="197708" y="367005"/>
                  </a:cubicBezTo>
                  <a:cubicBezTo>
                    <a:pt x="196173" y="365786"/>
                    <a:pt x="194866" y="364796"/>
                    <a:pt x="194067" y="364085"/>
                  </a:cubicBezTo>
                  <a:cubicBezTo>
                    <a:pt x="191049" y="361291"/>
                    <a:pt x="191049" y="359500"/>
                    <a:pt x="186875" y="359716"/>
                  </a:cubicBezTo>
                  <a:cubicBezTo>
                    <a:pt x="182651" y="359944"/>
                    <a:pt x="181294" y="359678"/>
                    <a:pt x="173075" y="360402"/>
                  </a:cubicBezTo>
                  <a:cubicBezTo>
                    <a:pt x="164856" y="361113"/>
                    <a:pt x="169029" y="359640"/>
                    <a:pt x="161431" y="359589"/>
                  </a:cubicBezTo>
                  <a:cubicBezTo>
                    <a:pt x="153884" y="359589"/>
                    <a:pt x="157930" y="364719"/>
                    <a:pt x="154607" y="370790"/>
                  </a:cubicBezTo>
                  <a:cubicBezTo>
                    <a:pt x="151284" y="376861"/>
                    <a:pt x="152717" y="382309"/>
                    <a:pt x="149571" y="387122"/>
                  </a:cubicBezTo>
                  <a:cubicBezTo>
                    <a:pt x="146426" y="391898"/>
                    <a:pt x="149165" y="385636"/>
                    <a:pt x="144447" y="378842"/>
                  </a:cubicBezTo>
                  <a:cubicBezTo>
                    <a:pt x="139728" y="372047"/>
                    <a:pt x="143774" y="370155"/>
                    <a:pt x="139284" y="364935"/>
                  </a:cubicBezTo>
                  <a:cubicBezTo>
                    <a:pt x="134781" y="359767"/>
                    <a:pt x="137027" y="364757"/>
                    <a:pt x="134071" y="362332"/>
                  </a:cubicBezTo>
                  <a:cubicBezTo>
                    <a:pt x="131103" y="359855"/>
                    <a:pt x="127729" y="362649"/>
                    <a:pt x="120499" y="362738"/>
                  </a:cubicBezTo>
                  <a:cubicBezTo>
                    <a:pt x="113269" y="362827"/>
                    <a:pt x="109311" y="363183"/>
                    <a:pt x="109311" y="363183"/>
                  </a:cubicBezTo>
                  <a:cubicBezTo>
                    <a:pt x="109311" y="363183"/>
                    <a:pt x="101308" y="348692"/>
                    <a:pt x="95778" y="354776"/>
                  </a:cubicBezTo>
                  <a:cubicBezTo>
                    <a:pt x="90247" y="360846"/>
                    <a:pt x="91110" y="363449"/>
                    <a:pt x="88548" y="364351"/>
                  </a:cubicBezTo>
                  <a:cubicBezTo>
                    <a:pt x="85947" y="365215"/>
                    <a:pt x="83423" y="368720"/>
                    <a:pt x="79656" y="370790"/>
                  </a:cubicBezTo>
                  <a:cubicBezTo>
                    <a:pt x="75876" y="372809"/>
                    <a:pt x="77271" y="373978"/>
                    <a:pt x="72464" y="378791"/>
                  </a:cubicBezTo>
                  <a:cubicBezTo>
                    <a:pt x="68595" y="382715"/>
                    <a:pt x="68240" y="384201"/>
                    <a:pt x="68240" y="384646"/>
                  </a:cubicBezTo>
                  <a:lnTo>
                    <a:pt x="68240" y="384786"/>
                  </a:lnTo>
                  <a:cubicBezTo>
                    <a:pt x="62621" y="386881"/>
                    <a:pt x="56596" y="387681"/>
                    <a:pt x="50622" y="387122"/>
                  </a:cubicBezTo>
                  <a:cubicBezTo>
                    <a:pt x="43836" y="385459"/>
                    <a:pt x="45231" y="372949"/>
                    <a:pt x="45231" y="372949"/>
                  </a:cubicBezTo>
                  <a:cubicBezTo>
                    <a:pt x="45231" y="372949"/>
                    <a:pt x="42352" y="350178"/>
                    <a:pt x="41007" y="345542"/>
                  </a:cubicBezTo>
                  <a:cubicBezTo>
                    <a:pt x="39346" y="339662"/>
                    <a:pt x="35959" y="334417"/>
                    <a:pt x="31291" y="330468"/>
                  </a:cubicBezTo>
                  <a:cubicBezTo>
                    <a:pt x="25495" y="325477"/>
                    <a:pt x="27384" y="324715"/>
                    <a:pt x="28957" y="319939"/>
                  </a:cubicBezTo>
                  <a:cubicBezTo>
                    <a:pt x="30530" y="315177"/>
                    <a:pt x="28818" y="316167"/>
                    <a:pt x="24416" y="311253"/>
                  </a:cubicBezTo>
                  <a:cubicBezTo>
                    <a:pt x="20053" y="306350"/>
                    <a:pt x="24239" y="304102"/>
                    <a:pt x="27702" y="300737"/>
                  </a:cubicBezTo>
                  <a:cubicBezTo>
                    <a:pt x="31202" y="297397"/>
                    <a:pt x="26306" y="288990"/>
                    <a:pt x="25583" y="285738"/>
                  </a:cubicBezTo>
                  <a:cubicBezTo>
                    <a:pt x="23655" y="277864"/>
                    <a:pt x="20662" y="270269"/>
                    <a:pt x="16692" y="263196"/>
                  </a:cubicBezTo>
                  <a:cubicBezTo>
                    <a:pt x="13115" y="257214"/>
                    <a:pt x="12151" y="250026"/>
                    <a:pt x="14041" y="243308"/>
                  </a:cubicBezTo>
                  <a:cubicBezTo>
                    <a:pt x="15347" y="234443"/>
                    <a:pt x="14129" y="242139"/>
                    <a:pt x="9538" y="238405"/>
                  </a:cubicBezTo>
                  <a:cubicBezTo>
                    <a:pt x="5010" y="234722"/>
                    <a:pt x="9538" y="238405"/>
                    <a:pt x="7204" y="231840"/>
                  </a:cubicBezTo>
                  <a:cubicBezTo>
                    <a:pt x="6329" y="229376"/>
                    <a:pt x="5136" y="227026"/>
                    <a:pt x="3652" y="224867"/>
                  </a:cubicBezTo>
                  <a:cubicBezTo>
                    <a:pt x="2270" y="222810"/>
                    <a:pt x="1242" y="220549"/>
                    <a:pt x="595" y="218161"/>
                  </a:cubicBezTo>
                  <a:cubicBezTo>
                    <a:pt x="-1294" y="211545"/>
                    <a:pt x="9804" y="204839"/>
                    <a:pt x="15296" y="198946"/>
                  </a:cubicBezTo>
                  <a:cubicBezTo>
                    <a:pt x="20827" y="193054"/>
                    <a:pt x="16996" y="190984"/>
                    <a:pt x="14890" y="188685"/>
                  </a:cubicBezTo>
                  <a:cubicBezTo>
                    <a:pt x="11846" y="185345"/>
                    <a:pt x="9284" y="181611"/>
                    <a:pt x="7255" y="177572"/>
                  </a:cubicBezTo>
                  <a:cubicBezTo>
                    <a:pt x="3716" y="171133"/>
                    <a:pt x="5593" y="163069"/>
                    <a:pt x="11605" y="158853"/>
                  </a:cubicBezTo>
                  <a:cubicBezTo>
                    <a:pt x="15119" y="155207"/>
                    <a:pt x="8104" y="152198"/>
                    <a:pt x="7255" y="143422"/>
                  </a:cubicBezTo>
                  <a:cubicBezTo>
                    <a:pt x="6392" y="134697"/>
                    <a:pt x="10895" y="138698"/>
                    <a:pt x="13673" y="133427"/>
                  </a:cubicBezTo>
                  <a:cubicBezTo>
                    <a:pt x="15702" y="130493"/>
                    <a:pt x="16755" y="126975"/>
                    <a:pt x="16692" y="123394"/>
                  </a:cubicBezTo>
                  <a:cubicBezTo>
                    <a:pt x="16996" y="119508"/>
                    <a:pt x="16679" y="115584"/>
                    <a:pt x="15740" y="111786"/>
                  </a:cubicBezTo>
                  <a:cubicBezTo>
                    <a:pt x="15030" y="108281"/>
                    <a:pt x="17491" y="108319"/>
                    <a:pt x="17985" y="103061"/>
                  </a:cubicBezTo>
                  <a:cubicBezTo>
                    <a:pt x="18442" y="97804"/>
                    <a:pt x="17402" y="93752"/>
                    <a:pt x="17719" y="88888"/>
                  </a:cubicBezTo>
                  <a:cubicBezTo>
                    <a:pt x="18087" y="84075"/>
                    <a:pt x="22577" y="83935"/>
                    <a:pt x="23199" y="79440"/>
                  </a:cubicBezTo>
                  <a:cubicBezTo>
                    <a:pt x="23465" y="74169"/>
                    <a:pt x="21841" y="68987"/>
                    <a:pt x="18620" y="64809"/>
                  </a:cubicBezTo>
                  <a:cubicBezTo>
                    <a:pt x="14840" y="58383"/>
                    <a:pt x="7927" y="47486"/>
                    <a:pt x="5631" y="43943"/>
                  </a:cubicBezTo>
                  <a:cubicBezTo>
                    <a:pt x="3551" y="40311"/>
                    <a:pt x="1661" y="36564"/>
                    <a:pt x="-26" y="32729"/>
                  </a:cubicBezTo>
                  <a:cubicBezTo>
                    <a:pt x="1915" y="32830"/>
                    <a:pt x="3855" y="33072"/>
                    <a:pt x="5771" y="33453"/>
                  </a:cubicBezTo>
                  <a:cubicBezTo>
                    <a:pt x="17186" y="35383"/>
                    <a:pt x="13051" y="34304"/>
                    <a:pt x="18264" y="35345"/>
                  </a:cubicBezTo>
                  <a:cubicBezTo>
                    <a:pt x="23478" y="36374"/>
                    <a:pt x="16374" y="38672"/>
                    <a:pt x="23833" y="39396"/>
                  </a:cubicBezTo>
                  <a:cubicBezTo>
                    <a:pt x="31291" y="40108"/>
                    <a:pt x="34792" y="33770"/>
                    <a:pt x="38927" y="33008"/>
                  </a:cubicBezTo>
                  <a:cubicBezTo>
                    <a:pt x="43062" y="32234"/>
                    <a:pt x="41261" y="25350"/>
                    <a:pt x="47286" y="25617"/>
                  </a:cubicBezTo>
                  <a:cubicBezTo>
                    <a:pt x="53260" y="25896"/>
                    <a:pt x="53222" y="26747"/>
                    <a:pt x="59336" y="21350"/>
                  </a:cubicBezTo>
                  <a:cubicBezTo>
                    <a:pt x="63116" y="17552"/>
                    <a:pt x="67707" y="14657"/>
                    <a:pt x="72768" y="12891"/>
                  </a:cubicBezTo>
                  <a:cubicBezTo>
                    <a:pt x="78793" y="10415"/>
                    <a:pt x="80227" y="4065"/>
                    <a:pt x="91643" y="3303"/>
                  </a:cubicBezTo>
                  <a:cubicBezTo>
                    <a:pt x="103058" y="2541"/>
                    <a:pt x="99329" y="737"/>
                    <a:pt x="107282" y="509"/>
                  </a:cubicBezTo>
                  <a:cubicBezTo>
                    <a:pt x="115197" y="242"/>
                    <a:pt x="113751" y="382"/>
                    <a:pt x="117899" y="13"/>
                  </a:cubicBezTo>
                  <a:cubicBezTo>
                    <a:pt x="122034" y="-291"/>
                    <a:pt x="123378" y="5094"/>
                    <a:pt x="122161" y="12574"/>
                  </a:cubicBezTo>
                  <a:cubicBezTo>
                    <a:pt x="120905" y="19991"/>
                    <a:pt x="117087" y="44476"/>
                    <a:pt x="122161" y="49823"/>
                  </a:cubicBezTo>
                  <a:cubicBezTo>
                    <a:pt x="127234" y="55183"/>
                    <a:pt x="123822" y="57392"/>
                    <a:pt x="129352" y="59996"/>
                  </a:cubicBezTo>
                  <a:cubicBezTo>
                    <a:pt x="134883" y="62612"/>
                    <a:pt x="130925" y="63869"/>
                    <a:pt x="138155" y="68416"/>
                  </a:cubicBezTo>
                  <a:cubicBezTo>
                    <a:pt x="145385" y="73000"/>
                    <a:pt x="142252" y="74614"/>
                    <a:pt x="146565" y="76556"/>
                  </a:cubicBezTo>
                  <a:cubicBezTo>
                    <a:pt x="150929" y="78538"/>
                    <a:pt x="151233" y="77280"/>
                    <a:pt x="155418" y="78258"/>
                  </a:cubicBezTo>
                  <a:cubicBezTo>
                    <a:pt x="159592" y="79249"/>
                    <a:pt x="157080" y="74702"/>
                    <a:pt x="164450" y="77230"/>
                  </a:cubicBezTo>
                  <a:cubicBezTo>
                    <a:pt x="171781" y="79744"/>
                    <a:pt x="169168" y="80697"/>
                    <a:pt x="175954" y="82894"/>
                  </a:cubicBezTo>
                  <a:cubicBezTo>
                    <a:pt x="182740" y="85154"/>
                    <a:pt x="182563" y="80341"/>
                    <a:pt x="185835" y="84418"/>
                  </a:cubicBezTo>
                  <a:cubicBezTo>
                    <a:pt x="189171" y="88558"/>
                    <a:pt x="190554" y="92025"/>
                    <a:pt x="196046" y="93473"/>
                  </a:cubicBezTo>
                  <a:cubicBezTo>
                    <a:pt x="201576" y="94908"/>
                    <a:pt x="206650" y="93917"/>
                    <a:pt x="209529" y="96483"/>
                  </a:cubicBezTo>
                  <a:cubicBezTo>
                    <a:pt x="212396" y="99086"/>
                    <a:pt x="211914" y="100077"/>
                    <a:pt x="215148" y="103049"/>
                  </a:cubicBezTo>
                  <a:cubicBezTo>
                    <a:pt x="217508" y="105259"/>
                    <a:pt x="220171" y="107126"/>
                    <a:pt x="223050" y="108586"/>
                  </a:cubicBezTo>
                  <a:cubicBezTo>
                    <a:pt x="226285" y="110516"/>
                    <a:pt x="230243" y="106605"/>
                    <a:pt x="234023" y="107329"/>
                  </a:cubicBezTo>
                  <a:cubicBezTo>
                    <a:pt x="237790" y="108002"/>
                    <a:pt x="241570" y="105474"/>
                    <a:pt x="245071" y="108230"/>
                  </a:cubicBezTo>
                  <a:cubicBezTo>
                    <a:pt x="252300" y="113323"/>
                    <a:pt x="258059" y="120244"/>
                    <a:pt x="261750" y="128296"/>
                  </a:cubicBezTo>
                  <a:cubicBezTo>
                    <a:pt x="263881" y="133910"/>
                    <a:pt x="264845" y="139917"/>
                    <a:pt x="264579" y="145924"/>
                  </a:cubicBezTo>
                  <a:cubicBezTo>
                    <a:pt x="264122" y="152769"/>
                    <a:pt x="263323" y="159297"/>
                    <a:pt x="263145" y="160732"/>
                  </a:cubicBezTo>
                  <a:cubicBezTo>
                    <a:pt x="260596" y="167488"/>
                    <a:pt x="261154" y="175032"/>
                    <a:pt x="264667" y="181344"/>
                  </a:cubicBezTo>
                  <a:cubicBezTo>
                    <a:pt x="270591" y="190971"/>
                    <a:pt x="298052" y="191060"/>
                    <a:pt x="298052" y="191060"/>
                  </a:cubicBezTo>
                  <a:cubicBezTo>
                    <a:pt x="303900" y="189955"/>
                    <a:pt x="309874" y="189676"/>
                    <a:pt x="315810" y="190209"/>
                  </a:cubicBezTo>
                  <a:cubicBezTo>
                    <a:pt x="317865" y="191695"/>
                    <a:pt x="316787" y="206947"/>
                    <a:pt x="316787" y="206947"/>
                  </a:cubicBezTo>
                  <a:cubicBezTo>
                    <a:pt x="316229" y="212599"/>
                    <a:pt x="318537" y="218161"/>
                    <a:pt x="322951" y="221743"/>
                  </a:cubicBezTo>
                  <a:cubicBezTo>
                    <a:pt x="330232" y="226747"/>
                    <a:pt x="330904" y="224448"/>
                    <a:pt x="333784" y="228537"/>
                  </a:cubicBezTo>
                  <a:cubicBezTo>
                    <a:pt x="336701" y="232589"/>
                    <a:pt x="336295" y="237719"/>
                    <a:pt x="338502" y="240425"/>
                  </a:cubicBezTo>
                  <a:cubicBezTo>
                    <a:pt x="340697" y="243117"/>
                    <a:pt x="343525" y="245733"/>
                    <a:pt x="342802" y="247715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9" name="Vrije vorm 378">
              <a:extLst>
                <a:ext uri="{FF2B5EF4-FFF2-40B4-BE49-F238E27FC236}">
                  <a16:creationId xmlns:a16="http://schemas.microsoft.com/office/drawing/2014/main" id="{69CF8DEF-DE30-AA47-8C90-E66BB9EACD71}"/>
                </a:ext>
              </a:extLst>
            </p:cNvPr>
            <p:cNvSpPr/>
            <p:nvPr/>
          </p:nvSpPr>
          <p:spPr>
            <a:xfrm>
              <a:off x="5529687" y="3059607"/>
              <a:ext cx="12527" cy="11036"/>
            </a:xfrm>
            <a:custGeom>
              <a:avLst/>
              <a:gdLst>
                <a:gd name="connsiteX0" fmla="*/ 12501 w 12527"/>
                <a:gd name="connsiteY0" fmla="*/ 7012 h 11036"/>
                <a:gd name="connsiteX1" fmla="*/ 6794 w 12527"/>
                <a:gd name="connsiteY1" fmla="*/ 10834 h 11036"/>
                <a:gd name="connsiteX2" fmla="*/ 1314 w 12527"/>
                <a:gd name="connsiteY2" fmla="*/ 9628 h 11036"/>
                <a:gd name="connsiteX3" fmla="*/ 1213 w 12527"/>
                <a:gd name="connsiteY3" fmla="*/ 1 h 11036"/>
                <a:gd name="connsiteX4" fmla="*/ 3153 w 12527"/>
                <a:gd name="connsiteY4" fmla="*/ 1081 h 11036"/>
                <a:gd name="connsiteX5" fmla="*/ 9673 w 12527"/>
                <a:gd name="connsiteY5" fmla="*/ 4853 h 11036"/>
                <a:gd name="connsiteX6" fmla="*/ 12501 w 12527"/>
                <a:gd name="connsiteY6" fmla="*/ 7012 h 11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527" h="11036">
                  <a:moveTo>
                    <a:pt x="12501" y="7012"/>
                  </a:moveTo>
                  <a:cubicBezTo>
                    <a:pt x="11005" y="8815"/>
                    <a:pt x="9026" y="10148"/>
                    <a:pt x="6794" y="10834"/>
                  </a:cubicBezTo>
                  <a:cubicBezTo>
                    <a:pt x="4092" y="10974"/>
                    <a:pt x="4270" y="11596"/>
                    <a:pt x="1314" y="9628"/>
                  </a:cubicBezTo>
                  <a:cubicBezTo>
                    <a:pt x="-1426" y="7875"/>
                    <a:pt x="819" y="1208"/>
                    <a:pt x="1213" y="1"/>
                  </a:cubicBezTo>
                  <a:cubicBezTo>
                    <a:pt x="1707" y="268"/>
                    <a:pt x="2341" y="636"/>
                    <a:pt x="3153" y="1081"/>
                  </a:cubicBezTo>
                  <a:cubicBezTo>
                    <a:pt x="5221" y="2503"/>
                    <a:pt x="7403" y="3773"/>
                    <a:pt x="9673" y="4853"/>
                  </a:cubicBezTo>
                  <a:cubicBezTo>
                    <a:pt x="10739" y="5386"/>
                    <a:pt x="11702" y="6110"/>
                    <a:pt x="12501" y="7012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0" name="Vrije vorm 379">
              <a:extLst>
                <a:ext uri="{FF2B5EF4-FFF2-40B4-BE49-F238E27FC236}">
                  <a16:creationId xmlns:a16="http://schemas.microsoft.com/office/drawing/2014/main" id="{128E3E8F-6339-BC43-A63E-6DB4AD5EC7D6}"/>
                </a:ext>
              </a:extLst>
            </p:cNvPr>
            <p:cNvSpPr/>
            <p:nvPr/>
          </p:nvSpPr>
          <p:spPr>
            <a:xfrm>
              <a:off x="5658332" y="2856560"/>
              <a:ext cx="130412" cy="79132"/>
            </a:xfrm>
            <a:custGeom>
              <a:avLst/>
              <a:gdLst>
                <a:gd name="connsiteX0" fmla="*/ 128015 w 130412"/>
                <a:gd name="connsiteY0" fmla="*/ 38177 h 79132"/>
                <a:gd name="connsiteX1" fmla="*/ 126670 w 130412"/>
                <a:gd name="connsiteY1" fmla="*/ 48349 h 79132"/>
                <a:gd name="connsiteX2" fmla="*/ 118311 w 130412"/>
                <a:gd name="connsiteY2" fmla="*/ 49607 h 79132"/>
                <a:gd name="connsiteX3" fmla="*/ 119390 w 130412"/>
                <a:gd name="connsiteY3" fmla="*/ 63335 h 79132"/>
                <a:gd name="connsiteX4" fmla="*/ 114126 w 130412"/>
                <a:gd name="connsiteY4" fmla="*/ 58878 h 79132"/>
                <a:gd name="connsiteX5" fmla="*/ 104422 w 130412"/>
                <a:gd name="connsiteY5" fmla="*/ 59411 h 79132"/>
                <a:gd name="connsiteX6" fmla="*/ 97053 w 130412"/>
                <a:gd name="connsiteY6" fmla="*/ 52617 h 79132"/>
                <a:gd name="connsiteX7" fmla="*/ 94351 w 130412"/>
                <a:gd name="connsiteY7" fmla="*/ 56668 h 79132"/>
                <a:gd name="connsiteX8" fmla="*/ 91434 w 130412"/>
                <a:gd name="connsiteY8" fmla="*/ 66485 h 79132"/>
                <a:gd name="connsiteX9" fmla="*/ 88149 w 130412"/>
                <a:gd name="connsiteY9" fmla="*/ 76429 h 79132"/>
                <a:gd name="connsiteX10" fmla="*/ 80424 w 130412"/>
                <a:gd name="connsiteY10" fmla="*/ 73953 h 79132"/>
                <a:gd name="connsiteX11" fmla="*/ 72331 w 130412"/>
                <a:gd name="connsiteY11" fmla="*/ 57481 h 79132"/>
                <a:gd name="connsiteX12" fmla="*/ 66446 w 130412"/>
                <a:gd name="connsiteY12" fmla="*/ 56490 h 79132"/>
                <a:gd name="connsiteX13" fmla="*/ 53419 w 130412"/>
                <a:gd name="connsiteY13" fmla="*/ 74981 h 79132"/>
                <a:gd name="connsiteX14" fmla="*/ 35712 w 130412"/>
                <a:gd name="connsiteY14" fmla="*/ 75794 h 79132"/>
                <a:gd name="connsiteX15" fmla="*/ 31311 w 130412"/>
                <a:gd name="connsiteY15" fmla="*/ 76150 h 79132"/>
                <a:gd name="connsiteX16" fmla="*/ 28660 w 130412"/>
                <a:gd name="connsiteY16" fmla="*/ 72022 h 79132"/>
                <a:gd name="connsiteX17" fmla="*/ 26047 w 130412"/>
                <a:gd name="connsiteY17" fmla="*/ 65355 h 79132"/>
                <a:gd name="connsiteX18" fmla="*/ 24030 w 130412"/>
                <a:gd name="connsiteY18" fmla="*/ 54966 h 79132"/>
                <a:gd name="connsiteX19" fmla="*/ 13337 w 130412"/>
                <a:gd name="connsiteY19" fmla="*/ 54598 h 79132"/>
                <a:gd name="connsiteX20" fmla="*/ 7223 w 130412"/>
                <a:gd name="connsiteY20" fmla="*/ 59411 h 79132"/>
                <a:gd name="connsiteX21" fmla="*/ 7033 w 130412"/>
                <a:gd name="connsiteY21" fmla="*/ 65037 h 79132"/>
                <a:gd name="connsiteX22" fmla="*/ 792 w 130412"/>
                <a:gd name="connsiteY22" fmla="*/ 65355 h 79132"/>
                <a:gd name="connsiteX23" fmla="*/ 2898 w 130412"/>
                <a:gd name="connsiteY23" fmla="*/ 55677 h 79132"/>
                <a:gd name="connsiteX24" fmla="*/ 16166 w 130412"/>
                <a:gd name="connsiteY24" fmla="*/ 36742 h 79132"/>
                <a:gd name="connsiteX25" fmla="*/ 27708 w 130412"/>
                <a:gd name="connsiteY25" fmla="*/ 22340 h 79132"/>
                <a:gd name="connsiteX26" fmla="*/ 27924 w 130412"/>
                <a:gd name="connsiteY26" fmla="*/ 12802 h 79132"/>
                <a:gd name="connsiteX27" fmla="*/ 33239 w 130412"/>
                <a:gd name="connsiteY27" fmla="*/ 9513 h 79132"/>
                <a:gd name="connsiteX28" fmla="*/ 39746 w 130412"/>
                <a:gd name="connsiteY28" fmla="*/ 13653 h 79132"/>
                <a:gd name="connsiteX29" fmla="*/ 47838 w 130412"/>
                <a:gd name="connsiteY29" fmla="*/ 7938 h 79132"/>
                <a:gd name="connsiteX30" fmla="*/ 54218 w 130412"/>
                <a:gd name="connsiteY30" fmla="*/ 6820 h 79132"/>
                <a:gd name="connsiteX31" fmla="*/ 66446 w 130412"/>
                <a:gd name="connsiteY31" fmla="*/ 7405 h 79132"/>
                <a:gd name="connsiteX32" fmla="*/ 72331 w 130412"/>
                <a:gd name="connsiteY32" fmla="*/ 4966 h 79132"/>
                <a:gd name="connsiteX33" fmla="*/ 76822 w 130412"/>
                <a:gd name="connsiteY33" fmla="*/ 13 h 79132"/>
                <a:gd name="connsiteX34" fmla="*/ 86575 w 130412"/>
                <a:gd name="connsiteY34" fmla="*/ 4877 h 79132"/>
                <a:gd name="connsiteX35" fmla="*/ 100503 w 130412"/>
                <a:gd name="connsiteY35" fmla="*/ 7671 h 79132"/>
                <a:gd name="connsiteX36" fmla="*/ 104422 w 130412"/>
                <a:gd name="connsiteY36" fmla="*/ 11812 h 79132"/>
                <a:gd name="connsiteX37" fmla="*/ 103699 w 130412"/>
                <a:gd name="connsiteY37" fmla="*/ 16714 h 79132"/>
                <a:gd name="connsiteX38" fmla="*/ 102253 w 130412"/>
                <a:gd name="connsiteY38" fmla="*/ 28779 h 79132"/>
                <a:gd name="connsiteX39" fmla="*/ 110612 w 130412"/>
                <a:gd name="connsiteY39" fmla="*/ 31395 h 79132"/>
                <a:gd name="connsiteX40" fmla="*/ 115204 w 130412"/>
                <a:gd name="connsiteY40" fmla="*/ 37110 h 79132"/>
                <a:gd name="connsiteX41" fmla="*/ 126658 w 130412"/>
                <a:gd name="connsiteY41" fmla="*/ 31839 h 79132"/>
                <a:gd name="connsiteX42" fmla="*/ 130387 w 130412"/>
                <a:gd name="connsiteY42" fmla="*/ 37148 h 79132"/>
                <a:gd name="connsiteX43" fmla="*/ 128015 w 130412"/>
                <a:gd name="connsiteY43" fmla="*/ 38177 h 79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130412" h="79132">
                  <a:moveTo>
                    <a:pt x="128015" y="38177"/>
                  </a:moveTo>
                  <a:cubicBezTo>
                    <a:pt x="128002" y="41606"/>
                    <a:pt x="127546" y="45035"/>
                    <a:pt x="126670" y="48349"/>
                  </a:cubicBezTo>
                  <a:cubicBezTo>
                    <a:pt x="124641" y="53887"/>
                    <a:pt x="123651" y="48172"/>
                    <a:pt x="118311" y="49607"/>
                  </a:cubicBezTo>
                  <a:cubicBezTo>
                    <a:pt x="113009" y="51042"/>
                    <a:pt x="121495" y="61037"/>
                    <a:pt x="119390" y="63335"/>
                  </a:cubicBezTo>
                  <a:cubicBezTo>
                    <a:pt x="117271" y="65621"/>
                    <a:pt x="117588" y="60681"/>
                    <a:pt x="114126" y="58878"/>
                  </a:cubicBezTo>
                  <a:cubicBezTo>
                    <a:pt x="110663" y="57036"/>
                    <a:pt x="112236" y="59284"/>
                    <a:pt x="104422" y="59411"/>
                  </a:cubicBezTo>
                  <a:cubicBezTo>
                    <a:pt x="96647" y="59602"/>
                    <a:pt x="101505" y="56401"/>
                    <a:pt x="97053" y="52617"/>
                  </a:cubicBezTo>
                  <a:cubicBezTo>
                    <a:pt x="92550" y="48794"/>
                    <a:pt x="95429" y="53518"/>
                    <a:pt x="94351" y="56668"/>
                  </a:cubicBezTo>
                  <a:cubicBezTo>
                    <a:pt x="93806" y="60059"/>
                    <a:pt x="92829" y="63348"/>
                    <a:pt x="91434" y="66485"/>
                  </a:cubicBezTo>
                  <a:cubicBezTo>
                    <a:pt x="89531" y="69470"/>
                    <a:pt x="88402" y="72886"/>
                    <a:pt x="88149" y="76429"/>
                  </a:cubicBezTo>
                  <a:cubicBezTo>
                    <a:pt x="86944" y="82538"/>
                    <a:pt x="85459" y="76785"/>
                    <a:pt x="80424" y="73953"/>
                  </a:cubicBezTo>
                  <a:cubicBezTo>
                    <a:pt x="75439" y="71070"/>
                    <a:pt x="75071" y="61761"/>
                    <a:pt x="72331" y="57481"/>
                  </a:cubicBezTo>
                  <a:cubicBezTo>
                    <a:pt x="69591" y="53163"/>
                    <a:pt x="68285" y="55322"/>
                    <a:pt x="66446" y="56490"/>
                  </a:cubicBezTo>
                  <a:cubicBezTo>
                    <a:pt x="64607" y="57659"/>
                    <a:pt x="58670" y="72149"/>
                    <a:pt x="53419" y="74981"/>
                  </a:cubicBezTo>
                  <a:cubicBezTo>
                    <a:pt x="48206" y="77826"/>
                    <a:pt x="44033" y="75350"/>
                    <a:pt x="35712" y="75794"/>
                  </a:cubicBezTo>
                  <a:cubicBezTo>
                    <a:pt x="34241" y="75820"/>
                    <a:pt x="32769" y="75947"/>
                    <a:pt x="31311" y="76150"/>
                  </a:cubicBezTo>
                  <a:cubicBezTo>
                    <a:pt x="30550" y="74702"/>
                    <a:pt x="29662" y="73305"/>
                    <a:pt x="28660" y="72022"/>
                  </a:cubicBezTo>
                  <a:cubicBezTo>
                    <a:pt x="25869" y="68365"/>
                    <a:pt x="26808" y="70714"/>
                    <a:pt x="26047" y="65355"/>
                  </a:cubicBezTo>
                  <a:cubicBezTo>
                    <a:pt x="25235" y="60008"/>
                    <a:pt x="27987" y="55766"/>
                    <a:pt x="24030" y="54966"/>
                  </a:cubicBezTo>
                  <a:cubicBezTo>
                    <a:pt x="20073" y="54153"/>
                    <a:pt x="16166" y="51817"/>
                    <a:pt x="13337" y="54598"/>
                  </a:cubicBezTo>
                  <a:cubicBezTo>
                    <a:pt x="10496" y="57392"/>
                    <a:pt x="4661" y="56668"/>
                    <a:pt x="7223" y="59411"/>
                  </a:cubicBezTo>
                  <a:cubicBezTo>
                    <a:pt x="9786" y="62167"/>
                    <a:pt x="10674" y="63285"/>
                    <a:pt x="7033" y="65037"/>
                  </a:cubicBezTo>
                  <a:cubicBezTo>
                    <a:pt x="3393" y="66790"/>
                    <a:pt x="1871" y="69635"/>
                    <a:pt x="792" y="65355"/>
                  </a:cubicBezTo>
                  <a:cubicBezTo>
                    <a:pt x="-844" y="62027"/>
                    <a:pt x="31" y="58027"/>
                    <a:pt x="2898" y="55677"/>
                  </a:cubicBezTo>
                  <a:cubicBezTo>
                    <a:pt x="6450" y="51448"/>
                    <a:pt x="13058" y="40425"/>
                    <a:pt x="16166" y="36742"/>
                  </a:cubicBezTo>
                  <a:cubicBezTo>
                    <a:pt x="19261" y="33046"/>
                    <a:pt x="26047" y="24994"/>
                    <a:pt x="27708" y="22340"/>
                  </a:cubicBezTo>
                  <a:cubicBezTo>
                    <a:pt x="29370" y="19724"/>
                    <a:pt x="24601" y="14783"/>
                    <a:pt x="27924" y="12802"/>
                  </a:cubicBezTo>
                  <a:cubicBezTo>
                    <a:pt x="31260" y="10859"/>
                    <a:pt x="28875" y="8395"/>
                    <a:pt x="33239" y="9513"/>
                  </a:cubicBezTo>
                  <a:cubicBezTo>
                    <a:pt x="37589" y="10643"/>
                    <a:pt x="35255" y="15685"/>
                    <a:pt x="39746" y="13653"/>
                  </a:cubicBezTo>
                  <a:cubicBezTo>
                    <a:pt x="42765" y="12256"/>
                    <a:pt x="44515" y="9513"/>
                    <a:pt x="47838" y="7938"/>
                  </a:cubicBezTo>
                  <a:cubicBezTo>
                    <a:pt x="49842" y="7036"/>
                    <a:pt x="52037" y="6643"/>
                    <a:pt x="54218" y="6820"/>
                  </a:cubicBezTo>
                  <a:cubicBezTo>
                    <a:pt x="62438" y="7176"/>
                    <a:pt x="63528" y="7455"/>
                    <a:pt x="66446" y="7405"/>
                  </a:cubicBezTo>
                  <a:cubicBezTo>
                    <a:pt x="69414" y="7405"/>
                    <a:pt x="69186" y="5919"/>
                    <a:pt x="72331" y="4966"/>
                  </a:cubicBezTo>
                  <a:cubicBezTo>
                    <a:pt x="75426" y="3976"/>
                    <a:pt x="69680" y="-253"/>
                    <a:pt x="76822" y="13"/>
                  </a:cubicBezTo>
                  <a:cubicBezTo>
                    <a:pt x="84013" y="242"/>
                    <a:pt x="78851" y="5550"/>
                    <a:pt x="86575" y="4877"/>
                  </a:cubicBezTo>
                  <a:cubicBezTo>
                    <a:pt x="94351" y="4242"/>
                    <a:pt x="96774" y="4649"/>
                    <a:pt x="100503" y="7671"/>
                  </a:cubicBezTo>
                  <a:cubicBezTo>
                    <a:pt x="102748" y="9475"/>
                    <a:pt x="104105" y="10186"/>
                    <a:pt x="104422" y="11812"/>
                  </a:cubicBezTo>
                  <a:cubicBezTo>
                    <a:pt x="104562" y="13475"/>
                    <a:pt x="104321" y="15164"/>
                    <a:pt x="103699" y="16714"/>
                  </a:cubicBezTo>
                  <a:cubicBezTo>
                    <a:pt x="101898" y="22695"/>
                    <a:pt x="96951" y="27877"/>
                    <a:pt x="102253" y="28779"/>
                  </a:cubicBezTo>
                  <a:cubicBezTo>
                    <a:pt x="107606" y="29630"/>
                    <a:pt x="108101" y="27928"/>
                    <a:pt x="110612" y="31395"/>
                  </a:cubicBezTo>
                  <a:cubicBezTo>
                    <a:pt x="113086" y="34811"/>
                    <a:pt x="108595" y="37465"/>
                    <a:pt x="115204" y="37110"/>
                  </a:cubicBezTo>
                  <a:cubicBezTo>
                    <a:pt x="121762" y="36742"/>
                    <a:pt x="124730" y="29731"/>
                    <a:pt x="126658" y="31839"/>
                  </a:cubicBezTo>
                  <a:cubicBezTo>
                    <a:pt x="128040" y="33503"/>
                    <a:pt x="129296" y="35281"/>
                    <a:pt x="130387" y="37148"/>
                  </a:cubicBezTo>
                  <a:cubicBezTo>
                    <a:pt x="129131" y="37237"/>
                    <a:pt x="128281" y="37593"/>
                    <a:pt x="128015" y="38177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1" name="Vrije vorm 380">
              <a:extLst>
                <a:ext uri="{FF2B5EF4-FFF2-40B4-BE49-F238E27FC236}">
                  <a16:creationId xmlns:a16="http://schemas.microsoft.com/office/drawing/2014/main" id="{D3084040-3E54-EE4B-8984-0A3F96BBD14E}"/>
                </a:ext>
              </a:extLst>
            </p:cNvPr>
            <p:cNvSpPr/>
            <p:nvPr/>
          </p:nvSpPr>
          <p:spPr>
            <a:xfrm>
              <a:off x="5758241" y="2802792"/>
              <a:ext cx="217240" cy="109055"/>
            </a:xfrm>
            <a:custGeom>
              <a:avLst/>
              <a:gdLst>
                <a:gd name="connsiteX0" fmla="*/ 217214 w 217240"/>
                <a:gd name="connsiteY0" fmla="*/ 44472 h 109055"/>
                <a:gd name="connsiteX1" fmla="*/ 215692 w 217240"/>
                <a:gd name="connsiteY1" fmla="*/ 45145 h 109055"/>
                <a:gd name="connsiteX2" fmla="*/ 213079 w 217240"/>
                <a:gd name="connsiteY2" fmla="*/ 54695 h 109055"/>
                <a:gd name="connsiteX3" fmla="*/ 206483 w 217240"/>
                <a:gd name="connsiteY3" fmla="*/ 53705 h 109055"/>
                <a:gd name="connsiteX4" fmla="*/ 201308 w 217240"/>
                <a:gd name="connsiteY4" fmla="*/ 55051 h 109055"/>
                <a:gd name="connsiteX5" fmla="*/ 203553 w 217240"/>
                <a:gd name="connsiteY5" fmla="*/ 61172 h 109055"/>
                <a:gd name="connsiteX6" fmla="*/ 201714 w 217240"/>
                <a:gd name="connsiteY6" fmla="*/ 67421 h 109055"/>
                <a:gd name="connsiteX7" fmla="*/ 197033 w 217240"/>
                <a:gd name="connsiteY7" fmla="*/ 74177 h 109055"/>
                <a:gd name="connsiteX8" fmla="*/ 197033 w 217240"/>
                <a:gd name="connsiteY8" fmla="*/ 83042 h 109055"/>
                <a:gd name="connsiteX9" fmla="*/ 194522 w 217240"/>
                <a:gd name="connsiteY9" fmla="*/ 85201 h 109055"/>
                <a:gd name="connsiteX10" fmla="*/ 190158 w 217240"/>
                <a:gd name="connsiteY10" fmla="*/ 91411 h 109055"/>
                <a:gd name="connsiteX11" fmla="*/ 185935 w 217240"/>
                <a:gd name="connsiteY11" fmla="*/ 96808 h 109055"/>
                <a:gd name="connsiteX12" fmla="*/ 181178 w 217240"/>
                <a:gd name="connsiteY12" fmla="*/ 95589 h 109055"/>
                <a:gd name="connsiteX13" fmla="*/ 165944 w 217240"/>
                <a:gd name="connsiteY13" fmla="*/ 100453 h 109055"/>
                <a:gd name="connsiteX14" fmla="*/ 154478 w 217240"/>
                <a:gd name="connsiteY14" fmla="*/ 101850 h 109055"/>
                <a:gd name="connsiteX15" fmla="*/ 143823 w 217240"/>
                <a:gd name="connsiteY15" fmla="*/ 107337 h 109055"/>
                <a:gd name="connsiteX16" fmla="*/ 137316 w 217240"/>
                <a:gd name="connsiteY16" fmla="*/ 108734 h 109055"/>
                <a:gd name="connsiteX17" fmla="*/ 125621 w 217240"/>
                <a:gd name="connsiteY17" fmla="*/ 105495 h 109055"/>
                <a:gd name="connsiteX18" fmla="*/ 118214 w 217240"/>
                <a:gd name="connsiteY18" fmla="*/ 105178 h 109055"/>
                <a:gd name="connsiteX19" fmla="*/ 112328 w 217240"/>
                <a:gd name="connsiteY19" fmla="*/ 103463 h 109055"/>
                <a:gd name="connsiteX20" fmla="*/ 94165 w 217240"/>
                <a:gd name="connsiteY20" fmla="*/ 101215 h 109055"/>
                <a:gd name="connsiteX21" fmla="*/ 80415 w 217240"/>
                <a:gd name="connsiteY21" fmla="*/ 92706 h 109055"/>
                <a:gd name="connsiteX22" fmla="*/ 77586 w 217240"/>
                <a:gd name="connsiteY22" fmla="*/ 83258 h 109055"/>
                <a:gd name="connsiteX23" fmla="*/ 60145 w 217240"/>
                <a:gd name="connsiteY23" fmla="*/ 87131 h 109055"/>
                <a:gd name="connsiteX24" fmla="*/ 46891 w 217240"/>
                <a:gd name="connsiteY24" fmla="*/ 90141 h 109055"/>
                <a:gd name="connsiteX25" fmla="*/ 38887 w 217240"/>
                <a:gd name="connsiteY25" fmla="*/ 92706 h 109055"/>
                <a:gd name="connsiteX26" fmla="*/ 30490 w 217240"/>
                <a:gd name="connsiteY26" fmla="*/ 90903 h 109055"/>
                <a:gd name="connsiteX27" fmla="*/ 26761 w 217240"/>
                <a:gd name="connsiteY27" fmla="*/ 85594 h 109055"/>
                <a:gd name="connsiteX28" fmla="*/ 15294 w 217240"/>
                <a:gd name="connsiteY28" fmla="*/ 90865 h 109055"/>
                <a:gd name="connsiteX29" fmla="*/ 10716 w 217240"/>
                <a:gd name="connsiteY29" fmla="*/ 85150 h 109055"/>
                <a:gd name="connsiteX30" fmla="*/ 2356 w 217240"/>
                <a:gd name="connsiteY30" fmla="*/ 82534 h 109055"/>
                <a:gd name="connsiteX31" fmla="*/ 3790 w 217240"/>
                <a:gd name="connsiteY31" fmla="*/ 70469 h 109055"/>
                <a:gd name="connsiteX32" fmla="*/ 4513 w 217240"/>
                <a:gd name="connsiteY32" fmla="*/ 65566 h 109055"/>
                <a:gd name="connsiteX33" fmla="*/ 9231 w 217240"/>
                <a:gd name="connsiteY33" fmla="*/ 62963 h 109055"/>
                <a:gd name="connsiteX34" fmla="*/ 15979 w 217240"/>
                <a:gd name="connsiteY34" fmla="*/ 65566 h 109055"/>
                <a:gd name="connsiteX35" fmla="*/ 22080 w 217240"/>
                <a:gd name="connsiteY35" fmla="*/ 71866 h 109055"/>
                <a:gd name="connsiteX36" fmla="*/ 26888 w 217240"/>
                <a:gd name="connsiteY36" fmla="*/ 67598 h 109055"/>
                <a:gd name="connsiteX37" fmla="*/ 32684 w 217240"/>
                <a:gd name="connsiteY37" fmla="*/ 61972 h 109055"/>
                <a:gd name="connsiteX38" fmla="*/ 41677 w 217240"/>
                <a:gd name="connsiteY38" fmla="*/ 64309 h 109055"/>
                <a:gd name="connsiteX39" fmla="*/ 46891 w 217240"/>
                <a:gd name="connsiteY39" fmla="*/ 69211 h 109055"/>
                <a:gd name="connsiteX40" fmla="*/ 58218 w 217240"/>
                <a:gd name="connsiteY40" fmla="*/ 64487 h 109055"/>
                <a:gd name="connsiteX41" fmla="*/ 71067 w 217240"/>
                <a:gd name="connsiteY41" fmla="*/ 59940 h 109055"/>
                <a:gd name="connsiteX42" fmla="*/ 81176 w 217240"/>
                <a:gd name="connsiteY42" fmla="*/ 56613 h 109055"/>
                <a:gd name="connsiteX43" fmla="*/ 92414 w 217240"/>
                <a:gd name="connsiteY43" fmla="*/ 57248 h 109055"/>
                <a:gd name="connsiteX44" fmla="*/ 101001 w 217240"/>
                <a:gd name="connsiteY44" fmla="*/ 66024 h 109055"/>
                <a:gd name="connsiteX45" fmla="*/ 102929 w 217240"/>
                <a:gd name="connsiteY45" fmla="*/ 56842 h 109055"/>
                <a:gd name="connsiteX46" fmla="*/ 94342 w 217240"/>
                <a:gd name="connsiteY46" fmla="*/ 38350 h 109055"/>
                <a:gd name="connsiteX47" fmla="*/ 108904 w 217240"/>
                <a:gd name="connsiteY47" fmla="*/ 27060 h 109055"/>
                <a:gd name="connsiteX48" fmla="*/ 116007 w 217240"/>
                <a:gd name="connsiteY48" fmla="*/ 18640 h 109055"/>
                <a:gd name="connsiteX49" fmla="*/ 123376 w 217240"/>
                <a:gd name="connsiteY49" fmla="*/ 17929 h 109055"/>
                <a:gd name="connsiteX50" fmla="*/ 123655 w 217240"/>
                <a:gd name="connsiteY50" fmla="*/ 11985 h 109055"/>
                <a:gd name="connsiteX51" fmla="*/ 128057 w 217240"/>
                <a:gd name="connsiteY51" fmla="*/ 14639 h 109055"/>
                <a:gd name="connsiteX52" fmla="*/ 136327 w 217240"/>
                <a:gd name="connsiteY52" fmla="*/ 17560 h 109055"/>
                <a:gd name="connsiteX53" fmla="*/ 145853 w 217240"/>
                <a:gd name="connsiteY53" fmla="*/ 17560 h 109055"/>
                <a:gd name="connsiteX54" fmla="*/ 151878 w 217240"/>
                <a:gd name="connsiteY54" fmla="*/ 14639 h 109055"/>
                <a:gd name="connsiteX55" fmla="*/ 154478 w 217240"/>
                <a:gd name="connsiteY55" fmla="*/ 7578 h 109055"/>
                <a:gd name="connsiteX56" fmla="*/ 158080 w 217240"/>
                <a:gd name="connsiteY56" fmla="*/ 377 h 109055"/>
                <a:gd name="connsiteX57" fmla="*/ 165754 w 217240"/>
                <a:gd name="connsiteY57" fmla="*/ 1368 h 109055"/>
                <a:gd name="connsiteX58" fmla="*/ 172857 w 217240"/>
                <a:gd name="connsiteY58" fmla="*/ 4556 h 109055"/>
                <a:gd name="connsiteX59" fmla="*/ 181178 w 217240"/>
                <a:gd name="connsiteY59" fmla="*/ 6308 h 109055"/>
                <a:gd name="connsiteX60" fmla="*/ 191376 w 217240"/>
                <a:gd name="connsiteY60" fmla="*/ 11718 h 109055"/>
                <a:gd name="connsiteX61" fmla="*/ 200001 w 217240"/>
                <a:gd name="connsiteY61" fmla="*/ 9420 h 109055"/>
                <a:gd name="connsiteX62" fmla="*/ 207016 w 217240"/>
                <a:gd name="connsiteY62" fmla="*/ 12303 h 109055"/>
                <a:gd name="connsiteX63" fmla="*/ 214119 w 217240"/>
                <a:gd name="connsiteY63" fmla="*/ 13293 h 109055"/>
                <a:gd name="connsiteX64" fmla="*/ 214208 w 217240"/>
                <a:gd name="connsiteY64" fmla="*/ 13204 h 109055"/>
                <a:gd name="connsiteX65" fmla="*/ 211874 w 217240"/>
                <a:gd name="connsiteY65" fmla="*/ 29664 h 109055"/>
                <a:gd name="connsiteX66" fmla="*/ 217214 w 217240"/>
                <a:gd name="connsiteY66" fmla="*/ 44472 h 109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217240" h="109055">
                  <a:moveTo>
                    <a:pt x="217214" y="44472"/>
                  </a:moveTo>
                  <a:cubicBezTo>
                    <a:pt x="216669" y="44700"/>
                    <a:pt x="216174" y="44967"/>
                    <a:pt x="215692" y="45145"/>
                  </a:cubicBezTo>
                  <a:cubicBezTo>
                    <a:pt x="213662" y="45907"/>
                    <a:pt x="214474" y="50822"/>
                    <a:pt x="213079" y="54695"/>
                  </a:cubicBezTo>
                  <a:cubicBezTo>
                    <a:pt x="211734" y="58556"/>
                    <a:pt x="210428" y="55635"/>
                    <a:pt x="206483" y="53705"/>
                  </a:cubicBezTo>
                  <a:cubicBezTo>
                    <a:pt x="202475" y="51762"/>
                    <a:pt x="202437" y="53921"/>
                    <a:pt x="201308" y="55051"/>
                  </a:cubicBezTo>
                  <a:cubicBezTo>
                    <a:pt x="200230" y="56219"/>
                    <a:pt x="200775" y="58556"/>
                    <a:pt x="203553" y="61172"/>
                  </a:cubicBezTo>
                  <a:cubicBezTo>
                    <a:pt x="206382" y="63776"/>
                    <a:pt x="204948" y="65033"/>
                    <a:pt x="201714" y="67421"/>
                  </a:cubicBezTo>
                  <a:cubicBezTo>
                    <a:pt x="198479" y="69757"/>
                    <a:pt x="199291" y="68284"/>
                    <a:pt x="197033" y="74177"/>
                  </a:cubicBezTo>
                  <a:cubicBezTo>
                    <a:pt x="194788" y="80019"/>
                    <a:pt x="198213" y="77822"/>
                    <a:pt x="197033" y="83042"/>
                  </a:cubicBezTo>
                  <a:cubicBezTo>
                    <a:pt x="195866" y="88261"/>
                    <a:pt x="195549" y="83715"/>
                    <a:pt x="194522" y="85201"/>
                  </a:cubicBezTo>
                  <a:cubicBezTo>
                    <a:pt x="192873" y="87118"/>
                    <a:pt x="191402" y="89201"/>
                    <a:pt x="190158" y="91411"/>
                  </a:cubicBezTo>
                  <a:cubicBezTo>
                    <a:pt x="186303" y="91767"/>
                    <a:pt x="189803" y="95500"/>
                    <a:pt x="185935" y="96808"/>
                  </a:cubicBezTo>
                  <a:cubicBezTo>
                    <a:pt x="182028" y="98104"/>
                    <a:pt x="185935" y="96808"/>
                    <a:pt x="181178" y="95589"/>
                  </a:cubicBezTo>
                  <a:cubicBezTo>
                    <a:pt x="176409" y="94370"/>
                    <a:pt x="172680" y="100174"/>
                    <a:pt x="165944" y="100453"/>
                  </a:cubicBezTo>
                  <a:cubicBezTo>
                    <a:pt x="162063" y="100199"/>
                    <a:pt x="158182" y="100682"/>
                    <a:pt x="154478" y="101850"/>
                  </a:cubicBezTo>
                  <a:cubicBezTo>
                    <a:pt x="147286" y="103514"/>
                    <a:pt x="150077" y="106257"/>
                    <a:pt x="143823" y="107337"/>
                  </a:cubicBezTo>
                  <a:cubicBezTo>
                    <a:pt x="137620" y="108366"/>
                    <a:pt x="142834" y="109674"/>
                    <a:pt x="137316" y="108734"/>
                  </a:cubicBezTo>
                  <a:cubicBezTo>
                    <a:pt x="133308" y="108086"/>
                    <a:pt x="129389" y="106994"/>
                    <a:pt x="125621" y="105495"/>
                  </a:cubicBezTo>
                  <a:cubicBezTo>
                    <a:pt x="123237" y="104657"/>
                    <a:pt x="120662" y="104555"/>
                    <a:pt x="118214" y="105178"/>
                  </a:cubicBezTo>
                  <a:cubicBezTo>
                    <a:pt x="117580" y="104365"/>
                    <a:pt x="115385" y="104365"/>
                    <a:pt x="112328" y="103463"/>
                  </a:cubicBezTo>
                  <a:cubicBezTo>
                    <a:pt x="106316" y="102396"/>
                    <a:pt x="100253" y="101647"/>
                    <a:pt x="94165" y="101215"/>
                  </a:cubicBezTo>
                  <a:cubicBezTo>
                    <a:pt x="83561" y="99780"/>
                    <a:pt x="83383" y="95145"/>
                    <a:pt x="80415" y="92706"/>
                  </a:cubicBezTo>
                  <a:cubicBezTo>
                    <a:pt x="77447" y="90230"/>
                    <a:pt x="79831" y="85150"/>
                    <a:pt x="77586" y="83258"/>
                  </a:cubicBezTo>
                  <a:cubicBezTo>
                    <a:pt x="75341" y="81416"/>
                    <a:pt x="66260" y="87626"/>
                    <a:pt x="60145" y="87131"/>
                  </a:cubicBezTo>
                  <a:cubicBezTo>
                    <a:pt x="55503" y="86039"/>
                    <a:pt x="50620" y="87156"/>
                    <a:pt x="46891" y="90141"/>
                  </a:cubicBezTo>
                  <a:cubicBezTo>
                    <a:pt x="43250" y="93379"/>
                    <a:pt x="44823" y="95132"/>
                    <a:pt x="38887" y="92706"/>
                  </a:cubicBezTo>
                  <a:cubicBezTo>
                    <a:pt x="36274" y="91462"/>
                    <a:pt x="33395" y="90852"/>
                    <a:pt x="30490" y="90903"/>
                  </a:cubicBezTo>
                  <a:cubicBezTo>
                    <a:pt x="29386" y="89049"/>
                    <a:pt x="28143" y="87271"/>
                    <a:pt x="26761" y="85594"/>
                  </a:cubicBezTo>
                  <a:cubicBezTo>
                    <a:pt x="24820" y="83486"/>
                    <a:pt x="21865" y="90509"/>
                    <a:pt x="15294" y="90865"/>
                  </a:cubicBezTo>
                  <a:cubicBezTo>
                    <a:pt x="8686" y="91220"/>
                    <a:pt x="13189" y="88566"/>
                    <a:pt x="10716" y="85150"/>
                  </a:cubicBezTo>
                  <a:cubicBezTo>
                    <a:pt x="8191" y="81683"/>
                    <a:pt x="7697" y="83397"/>
                    <a:pt x="2356" y="82534"/>
                  </a:cubicBezTo>
                  <a:cubicBezTo>
                    <a:pt x="-2946" y="81645"/>
                    <a:pt x="2001" y="76463"/>
                    <a:pt x="3790" y="70469"/>
                  </a:cubicBezTo>
                  <a:cubicBezTo>
                    <a:pt x="4411" y="68919"/>
                    <a:pt x="4665" y="67243"/>
                    <a:pt x="4513" y="65566"/>
                  </a:cubicBezTo>
                  <a:cubicBezTo>
                    <a:pt x="5680" y="64119"/>
                    <a:pt x="7380" y="63179"/>
                    <a:pt x="9231" y="62963"/>
                  </a:cubicBezTo>
                  <a:cubicBezTo>
                    <a:pt x="12149" y="62823"/>
                    <a:pt x="11743" y="63141"/>
                    <a:pt x="15979" y="65566"/>
                  </a:cubicBezTo>
                  <a:cubicBezTo>
                    <a:pt x="20203" y="67954"/>
                    <a:pt x="17045" y="73720"/>
                    <a:pt x="22080" y="71866"/>
                  </a:cubicBezTo>
                  <a:cubicBezTo>
                    <a:pt x="27154" y="70075"/>
                    <a:pt x="22765" y="71828"/>
                    <a:pt x="26888" y="67598"/>
                  </a:cubicBezTo>
                  <a:cubicBezTo>
                    <a:pt x="31023" y="63369"/>
                    <a:pt x="25277" y="60664"/>
                    <a:pt x="32684" y="61972"/>
                  </a:cubicBezTo>
                  <a:cubicBezTo>
                    <a:pt x="40105" y="63268"/>
                    <a:pt x="39153" y="59813"/>
                    <a:pt x="41677" y="64309"/>
                  </a:cubicBezTo>
                  <a:cubicBezTo>
                    <a:pt x="44189" y="68856"/>
                    <a:pt x="39432" y="71599"/>
                    <a:pt x="46891" y="69211"/>
                  </a:cubicBezTo>
                  <a:cubicBezTo>
                    <a:pt x="54349" y="66786"/>
                    <a:pt x="52281" y="65617"/>
                    <a:pt x="58218" y="64487"/>
                  </a:cubicBezTo>
                  <a:cubicBezTo>
                    <a:pt x="64103" y="63319"/>
                    <a:pt x="64560" y="59636"/>
                    <a:pt x="71067" y="59940"/>
                  </a:cubicBezTo>
                  <a:cubicBezTo>
                    <a:pt x="77586" y="60220"/>
                    <a:pt x="74707" y="57375"/>
                    <a:pt x="81176" y="56613"/>
                  </a:cubicBezTo>
                  <a:cubicBezTo>
                    <a:pt x="87696" y="55800"/>
                    <a:pt x="88330" y="51076"/>
                    <a:pt x="92414" y="57248"/>
                  </a:cubicBezTo>
                  <a:cubicBezTo>
                    <a:pt x="96460" y="63369"/>
                    <a:pt x="97856" y="67281"/>
                    <a:pt x="101001" y="66024"/>
                  </a:cubicBezTo>
                  <a:cubicBezTo>
                    <a:pt x="104096" y="64766"/>
                    <a:pt x="106481" y="62341"/>
                    <a:pt x="102929" y="56842"/>
                  </a:cubicBezTo>
                  <a:cubicBezTo>
                    <a:pt x="99378" y="51355"/>
                    <a:pt x="89624" y="44154"/>
                    <a:pt x="94342" y="38350"/>
                  </a:cubicBezTo>
                  <a:cubicBezTo>
                    <a:pt x="98211" y="33461"/>
                    <a:pt x="103208" y="29575"/>
                    <a:pt x="108904" y="27060"/>
                  </a:cubicBezTo>
                  <a:cubicBezTo>
                    <a:pt x="112138" y="26247"/>
                    <a:pt x="113039" y="17662"/>
                    <a:pt x="116007" y="18640"/>
                  </a:cubicBezTo>
                  <a:cubicBezTo>
                    <a:pt x="118924" y="19681"/>
                    <a:pt x="122983" y="22463"/>
                    <a:pt x="123376" y="17929"/>
                  </a:cubicBezTo>
                  <a:cubicBezTo>
                    <a:pt x="123516" y="16125"/>
                    <a:pt x="123605" y="13966"/>
                    <a:pt x="123655" y="11985"/>
                  </a:cubicBezTo>
                  <a:cubicBezTo>
                    <a:pt x="125228" y="12341"/>
                    <a:pt x="127296" y="12569"/>
                    <a:pt x="128057" y="14639"/>
                  </a:cubicBezTo>
                  <a:cubicBezTo>
                    <a:pt x="128907" y="17116"/>
                    <a:pt x="130073" y="17065"/>
                    <a:pt x="136327" y="17560"/>
                  </a:cubicBezTo>
                  <a:cubicBezTo>
                    <a:pt x="139485" y="17954"/>
                    <a:pt x="142682" y="17954"/>
                    <a:pt x="145853" y="17560"/>
                  </a:cubicBezTo>
                  <a:cubicBezTo>
                    <a:pt x="150305" y="17205"/>
                    <a:pt x="147425" y="17827"/>
                    <a:pt x="151878" y="14639"/>
                  </a:cubicBezTo>
                  <a:cubicBezTo>
                    <a:pt x="156279" y="11401"/>
                    <a:pt x="152727" y="10271"/>
                    <a:pt x="154478" y="7578"/>
                  </a:cubicBezTo>
                  <a:cubicBezTo>
                    <a:pt x="156228" y="4873"/>
                    <a:pt x="154846" y="1812"/>
                    <a:pt x="158080" y="377"/>
                  </a:cubicBezTo>
                  <a:cubicBezTo>
                    <a:pt x="161315" y="-1058"/>
                    <a:pt x="162076" y="2130"/>
                    <a:pt x="165754" y="1368"/>
                  </a:cubicBezTo>
                  <a:cubicBezTo>
                    <a:pt x="169445" y="606"/>
                    <a:pt x="169356" y="2765"/>
                    <a:pt x="172857" y="4556"/>
                  </a:cubicBezTo>
                  <a:cubicBezTo>
                    <a:pt x="175255" y="6308"/>
                    <a:pt x="178286" y="6943"/>
                    <a:pt x="181178" y="6308"/>
                  </a:cubicBezTo>
                  <a:cubicBezTo>
                    <a:pt x="184413" y="5546"/>
                    <a:pt x="185757" y="10233"/>
                    <a:pt x="191376" y="11718"/>
                  </a:cubicBezTo>
                  <a:cubicBezTo>
                    <a:pt x="196957" y="13204"/>
                    <a:pt x="195334" y="12303"/>
                    <a:pt x="200001" y="9420"/>
                  </a:cubicBezTo>
                  <a:cubicBezTo>
                    <a:pt x="204631" y="6588"/>
                    <a:pt x="202652" y="9686"/>
                    <a:pt x="207016" y="12303"/>
                  </a:cubicBezTo>
                  <a:cubicBezTo>
                    <a:pt x="211328" y="14906"/>
                    <a:pt x="211861" y="14589"/>
                    <a:pt x="214119" y="13293"/>
                  </a:cubicBezTo>
                  <a:lnTo>
                    <a:pt x="214208" y="13204"/>
                  </a:lnTo>
                  <a:cubicBezTo>
                    <a:pt x="212115" y="18424"/>
                    <a:pt x="211316" y="24076"/>
                    <a:pt x="211874" y="29664"/>
                  </a:cubicBezTo>
                  <a:cubicBezTo>
                    <a:pt x="212724" y="34896"/>
                    <a:pt x="214525" y="39912"/>
                    <a:pt x="217214" y="44472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2" name="Vrije vorm 381">
              <a:extLst>
                <a:ext uri="{FF2B5EF4-FFF2-40B4-BE49-F238E27FC236}">
                  <a16:creationId xmlns:a16="http://schemas.microsoft.com/office/drawing/2014/main" id="{2FDEE40B-C4DD-6E46-ABAF-130231B2CDFE}"/>
                </a:ext>
              </a:extLst>
            </p:cNvPr>
            <p:cNvSpPr/>
            <p:nvPr/>
          </p:nvSpPr>
          <p:spPr>
            <a:xfrm>
              <a:off x="5837203" y="2712199"/>
              <a:ext cx="189237" cy="108451"/>
            </a:xfrm>
            <a:custGeom>
              <a:avLst/>
              <a:gdLst>
                <a:gd name="connsiteX0" fmla="*/ 188850 w 189237"/>
                <a:gd name="connsiteY0" fmla="*/ 68568 h 108451"/>
                <a:gd name="connsiteX1" fmla="*/ 188850 w 189237"/>
                <a:gd name="connsiteY1" fmla="*/ 68606 h 108451"/>
                <a:gd name="connsiteX2" fmla="*/ 187734 w 189237"/>
                <a:gd name="connsiteY2" fmla="*/ 69241 h 108451"/>
                <a:gd name="connsiteX3" fmla="*/ 178385 w 189237"/>
                <a:gd name="connsiteY3" fmla="*/ 71679 h 108451"/>
                <a:gd name="connsiteX4" fmla="*/ 172944 w 189237"/>
                <a:gd name="connsiteY4" fmla="*/ 79553 h 108451"/>
                <a:gd name="connsiteX5" fmla="*/ 164446 w 189237"/>
                <a:gd name="connsiteY5" fmla="*/ 90577 h 108451"/>
                <a:gd name="connsiteX6" fmla="*/ 158966 w 189237"/>
                <a:gd name="connsiteY6" fmla="*/ 94717 h 108451"/>
                <a:gd name="connsiteX7" fmla="*/ 150873 w 189237"/>
                <a:gd name="connsiteY7" fmla="*/ 99442 h 108451"/>
                <a:gd name="connsiteX8" fmla="*/ 143326 w 189237"/>
                <a:gd name="connsiteY8" fmla="*/ 98489 h 108451"/>
                <a:gd name="connsiteX9" fmla="*/ 135234 w 189237"/>
                <a:gd name="connsiteY9" fmla="*/ 103798 h 108451"/>
                <a:gd name="connsiteX10" fmla="*/ 135145 w 189237"/>
                <a:gd name="connsiteY10" fmla="*/ 103887 h 108451"/>
                <a:gd name="connsiteX11" fmla="*/ 128042 w 189237"/>
                <a:gd name="connsiteY11" fmla="*/ 102896 h 108451"/>
                <a:gd name="connsiteX12" fmla="*/ 121028 w 189237"/>
                <a:gd name="connsiteY12" fmla="*/ 100026 h 108451"/>
                <a:gd name="connsiteX13" fmla="*/ 112402 w 189237"/>
                <a:gd name="connsiteY13" fmla="*/ 102312 h 108451"/>
                <a:gd name="connsiteX14" fmla="*/ 102204 w 189237"/>
                <a:gd name="connsiteY14" fmla="*/ 96914 h 108451"/>
                <a:gd name="connsiteX15" fmla="*/ 93896 w 189237"/>
                <a:gd name="connsiteY15" fmla="*/ 95162 h 108451"/>
                <a:gd name="connsiteX16" fmla="*/ 86780 w 189237"/>
                <a:gd name="connsiteY16" fmla="*/ 91961 h 108451"/>
                <a:gd name="connsiteX17" fmla="*/ 79106 w 189237"/>
                <a:gd name="connsiteY17" fmla="*/ 90983 h 108451"/>
                <a:gd name="connsiteX18" fmla="*/ 75504 w 189237"/>
                <a:gd name="connsiteY18" fmla="*/ 98172 h 108451"/>
                <a:gd name="connsiteX19" fmla="*/ 72904 w 189237"/>
                <a:gd name="connsiteY19" fmla="*/ 105246 h 108451"/>
                <a:gd name="connsiteX20" fmla="*/ 66879 w 189237"/>
                <a:gd name="connsiteY20" fmla="*/ 108167 h 108451"/>
                <a:gd name="connsiteX21" fmla="*/ 57353 w 189237"/>
                <a:gd name="connsiteY21" fmla="*/ 108167 h 108451"/>
                <a:gd name="connsiteX22" fmla="*/ 49083 w 189237"/>
                <a:gd name="connsiteY22" fmla="*/ 105246 h 108451"/>
                <a:gd name="connsiteX23" fmla="*/ 44681 w 189237"/>
                <a:gd name="connsiteY23" fmla="*/ 102591 h 108451"/>
                <a:gd name="connsiteX24" fmla="*/ 44770 w 189237"/>
                <a:gd name="connsiteY24" fmla="*/ 97092 h 108451"/>
                <a:gd name="connsiteX25" fmla="*/ 35828 w 189237"/>
                <a:gd name="connsiteY25" fmla="*/ 91657 h 108451"/>
                <a:gd name="connsiteX26" fmla="*/ 26073 w 189237"/>
                <a:gd name="connsiteY26" fmla="*/ 82157 h 108451"/>
                <a:gd name="connsiteX27" fmla="*/ 9850 w 189237"/>
                <a:gd name="connsiteY27" fmla="*/ 68073 h 108451"/>
                <a:gd name="connsiteX28" fmla="*/ 6743 w 189237"/>
                <a:gd name="connsiteY28" fmla="*/ 51652 h 108451"/>
                <a:gd name="connsiteX29" fmla="*/ 553 w 189237"/>
                <a:gd name="connsiteY29" fmla="*/ 38012 h 108451"/>
                <a:gd name="connsiteX30" fmla="*/ 5449 w 189237"/>
                <a:gd name="connsiteY30" fmla="*/ 31662 h 108451"/>
                <a:gd name="connsiteX31" fmla="*/ 19021 w 189237"/>
                <a:gd name="connsiteY31" fmla="*/ 26264 h 108451"/>
                <a:gd name="connsiteX32" fmla="*/ 34965 w 189237"/>
                <a:gd name="connsiteY32" fmla="*/ 19609 h 108451"/>
                <a:gd name="connsiteX33" fmla="*/ 46609 w 189237"/>
                <a:gd name="connsiteY33" fmla="*/ 13894 h 108451"/>
                <a:gd name="connsiteX34" fmla="*/ 54030 w 189237"/>
                <a:gd name="connsiteY34" fmla="*/ 10199 h 108451"/>
                <a:gd name="connsiteX35" fmla="*/ 57581 w 189237"/>
                <a:gd name="connsiteY35" fmla="*/ 3455 h 108451"/>
                <a:gd name="connsiteX36" fmla="*/ 62300 w 189237"/>
                <a:gd name="connsiteY36" fmla="*/ 928 h 108451"/>
                <a:gd name="connsiteX37" fmla="*/ 66562 w 189237"/>
                <a:gd name="connsiteY37" fmla="*/ 7456 h 108451"/>
                <a:gd name="connsiteX38" fmla="*/ 73398 w 189237"/>
                <a:gd name="connsiteY38" fmla="*/ 11380 h 108451"/>
                <a:gd name="connsiteX39" fmla="*/ 75237 w 189237"/>
                <a:gd name="connsiteY39" fmla="*/ 9348 h 108451"/>
                <a:gd name="connsiteX40" fmla="*/ 79106 w 189237"/>
                <a:gd name="connsiteY40" fmla="*/ 2325 h 108451"/>
                <a:gd name="connsiteX41" fmla="*/ 84231 w 189237"/>
                <a:gd name="connsiteY41" fmla="*/ 5970 h 108451"/>
                <a:gd name="connsiteX42" fmla="*/ 89482 w 189237"/>
                <a:gd name="connsiteY42" fmla="*/ 13488 h 108451"/>
                <a:gd name="connsiteX43" fmla="*/ 98653 w 189237"/>
                <a:gd name="connsiteY43" fmla="*/ 13755 h 108451"/>
                <a:gd name="connsiteX44" fmla="*/ 107278 w 189237"/>
                <a:gd name="connsiteY44" fmla="*/ 19114 h 108451"/>
                <a:gd name="connsiteX45" fmla="*/ 114787 w 189237"/>
                <a:gd name="connsiteY45" fmla="*/ 19927 h 108451"/>
                <a:gd name="connsiteX46" fmla="*/ 118376 w 189237"/>
                <a:gd name="connsiteY46" fmla="*/ 24689 h 108451"/>
                <a:gd name="connsiteX47" fmla="*/ 113252 w 189237"/>
                <a:gd name="connsiteY47" fmla="*/ 31306 h 108451"/>
                <a:gd name="connsiteX48" fmla="*/ 121345 w 189237"/>
                <a:gd name="connsiteY48" fmla="*/ 37288 h 108451"/>
                <a:gd name="connsiteX49" fmla="*/ 128575 w 189237"/>
                <a:gd name="connsiteY49" fmla="*/ 42685 h 108451"/>
                <a:gd name="connsiteX50" fmla="*/ 134599 w 189237"/>
                <a:gd name="connsiteY50" fmla="*/ 37555 h 108451"/>
                <a:gd name="connsiteX51" fmla="*/ 132659 w 189237"/>
                <a:gd name="connsiteY51" fmla="*/ 28652 h 108451"/>
                <a:gd name="connsiteX52" fmla="*/ 142007 w 189237"/>
                <a:gd name="connsiteY52" fmla="*/ 32335 h 108451"/>
                <a:gd name="connsiteX53" fmla="*/ 152890 w 189237"/>
                <a:gd name="connsiteY53" fmla="*/ 36386 h 108451"/>
                <a:gd name="connsiteX54" fmla="*/ 153917 w 189237"/>
                <a:gd name="connsiteY54" fmla="*/ 39485 h 108451"/>
                <a:gd name="connsiteX55" fmla="*/ 156797 w 189237"/>
                <a:gd name="connsiteY55" fmla="*/ 45111 h 108451"/>
                <a:gd name="connsiteX56" fmla="*/ 164623 w 189237"/>
                <a:gd name="connsiteY56" fmla="*/ 46737 h 108451"/>
                <a:gd name="connsiteX57" fmla="*/ 171587 w 189237"/>
                <a:gd name="connsiteY57" fmla="*/ 50331 h 108451"/>
                <a:gd name="connsiteX58" fmla="*/ 179222 w 189237"/>
                <a:gd name="connsiteY58" fmla="*/ 53938 h 108451"/>
                <a:gd name="connsiteX59" fmla="*/ 186008 w 189237"/>
                <a:gd name="connsiteY59" fmla="*/ 62027 h 108451"/>
                <a:gd name="connsiteX60" fmla="*/ 188850 w 189237"/>
                <a:gd name="connsiteY60" fmla="*/ 68568 h 108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189237" h="108451">
                  <a:moveTo>
                    <a:pt x="188850" y="68568"/>
                  </a:moveTo>
                  <a:lnTo>
                    <a:pt x="188850" y="68606"/>
                  </a:lnTo>
                  <a:cubicBezTo>
                    <a:pt x="188520" y="68885"/>
                    <a:pt x="188139" y="69101"/>
                    <a:pt x="187734" y="69241"/>
                  </a:cubicBezTo>
                  <a:cubicBezTo>
                    <a:pt x="184042" y="70600"/>
                    <a:pt x="180859" y="68657"/>
                    <a:pt x="178385" y="71679"/>
                  </a:cubicBezTo>
                  <a:cubicBezTo>
                    <a:pt x="175912" y="74689"/>
                    <a:pt x="176990" y="76759"/>
                    <a:pt x="172944" y="79553"/>
                  </a:cubicBezTo>
                  <a:cubicBezTo>
                    <a:pt x="168897" y="82297"/>
                    <a:pt x="167819" y="88456"/>
                    <a:pt x="164446" y="90577"/>
                  </a:cubicBezTo>
                  <a:cubicBezTo>
                    <a:pt x="162492" y="91784"/>
                    <a:pt x="160653" y="93168"/>
                    <a:pt x="158966" y="94717"/>
                  </a:cubicBezTo>
                  <a:cubicBezTo>
                    <a:pt x="156353" y="96787"/>
                    <a:pt x="153207" y="100737"/>
                    <a:pt x="150873" y="99442"/>
                  </a:cubicBezTo>
                  <a:cubicBezTo>
                    <a:pt x="148578" y="98172"/>
                    <a:pt x="148717" y="97092"/>
                    <a:pt x="143326" y="98489"/>
                  </a:cubicBezTo>
                  <a:cubicBezTo>
                    <a:pt x="138062" y="99937"/>
                    <a:pt x="137390" y="102452"/>
                    <a:pt x="135234" y="103798"/>
                  </a:cubicBezTo>
                  <a:lnTo>
                    <a:pt x="135145" y="103887"/>
                  </a:lnTo>
                  <a:cubicBezTo>
                    <a:pt x="132900" y="105195"/>
                    <a:pt x="132354" y="105512"/>
                    <a:pt x="128042" y="102896"/>
                  </a:cubicBezTo>
                  <a:cubicBezTo>
                    <a:pt x="123678" y="100293"/>
                    <a:pt x="125657" y="97181"/>
                    <a:pt x="121028" y="100026"/>
                  </a:cubicBezTo>
                  <a:cubicBezTo>
                    <a:pt x="116360" y="102896"/>
                    <a:pt x="117971" y="103798"/>
                    <a:pt x="112402" y="102312"/>
                  </a:cubicBezTo>
                  <a:cubicBezTo>
                    <a:pt x="106783" y="100839"/>
                    <a:pt x="105439" y="96152"/>
                    <a:pt x="102204" y="96914"/>
                  </a:cubicBezTo>
                  <a:cubicBezTo>
                    <a:pt x="99312" y="97549"/>
                    <a:pt x="96280" y="96902"/>
                    <a:pt x="93896" y="95162"/>
                  </a:cubicBezTo>
                  <a:cubicBezTo>
                    <a:pt x="90382" y="93358"/>
                    <a:pt x="90471" y="91199"/>
                    <a:pt x="86780" y="91961"/>
                  </a:cubicBezTo>
                  <a:cubicBezTo>
                    <a:pt x="83102" y="92736"/>
                    <a:pt x="82341" y="89536"/>
                    <a:pt x="79106" y="90983"/>
                  </a:cubicBezTo>
                  <a:cubicBezTo>
                    <a:pt x="75872" y="92419"/>
                    <a:pt x="77254" y="95479"/>
                    <a:pt x="75504" y="98172"/>
                  </a:cubicBezTo>
                  <a:cubicBezTo>
                    <a:pt x="73753" y="100877"/>
                    <a:pt x="77305" y="102007"/>
                    <a:pt x="72904" y="105246"/>
                  </a:cubicBezTo>
                  <a:cubicBezTo>
                    <a:pt x="68451" y="108433"/>
                    <a:pt x="71331" y="107811"/>
                    <a:pt x="66879" y="108167"/>
                  </a:cubicBezTo>
                  <a:cubicBezTo>
                    <a:pt x="63720" y="108548"/>
                    <a:pt x="60511" y="108548"/>
                    <a:pt x="57353" y="108167"/>
                  </a:cubicBezTo>
                  <a:cubicBezTo>
                    <a:pt x="51100" y="107671"/>
                    <a:pt x="49933" y="107709"/>
                    <a:pt x="49083" y="105246"/>
                  </a:cubicBezTo>
                  <a:cubicBezTo>
                    <a:pt x="48321" y="103176"/>
                    <a:pt x="46254" y="102947"/>
                    <a:pt x="44681" y="102591"/>
                  </a:cubicBezTo>
                  <a:cubicBezTo>
                    <a:pt x="44770" y="99619"/>
                    <a:pt x="44770" y="97092"/>
                    <a:pt x="44770" y="97092"/>
                  </a:cubicBezTo>
                  <a:cubicBezTo>
                    <a:pt x="41979" y="94984"/>
                    <a:pt x="38986" y="93155"/>
                    <a:pt x="35828" y="91657"/>
                  </a:cubicBezTo>
                  <a:cubicBezTo>
                    <a:pt x="32048" y="90120"/>
                    <a:pt x="32314" y="89409"/>
                    <a:pt x="26073" y="82157"/>
                  </a:cubicBezTo>
                  <a:cubicBezTo>
                    <a:pt x="19782" y="74918"/>
                    <a:pt x="12096" y="80760"/>
                    <a:pt x="9850" y="68073"/>
                  </a:cubicBezTo>
                  <a:cubicBezTo>
                    <a:pt x="7605" y="55385"/>
                    <a:pt x="7694" y="60199"/>
                    <a:pt x="6743" y="51652"/>
                  </a:cubicBezTo>
                  <a:cubicBezTo>
                    <a:pt x="5855" y="43054"/>
                    <a:pt x="1263" y="43689"/>
                    <a:pt x="553" y="38012"/>
                  </a:cubicBezTo>
                  <a:cubicBezTo>
                    <a:pt x="-208" y="32348"/>
                    <a:pt x="-1337" y="35675"/>
                    <a:pt x="5449" y="31662"/>
                  </a:cubicBezTo>
                  <a:cubicBezTo>
                    <a:pt x="9318" y="28525"/>
                    <a:pt x="14049" y="26645"/>
                    <a:pt x="19021" y="26264"/>
                  </a:cubicBezTo>
                  <a:cubicBezTo>
                    <a:pt x="25312" y="25680"/>
                    <a:pt x="30120" y="20460"/>
                    <a:pt x="34965" y="19609"/>
                  </a:cubicBezTo>
                  <a:cubicBezTo>
                    <a:pt x="39785" y="18759"/>
                    <a:pt x="42157" y="15647"/>
                    <a:pt x="46609" y="13894"/>
                  </a:cubicBezTo>
                  <a:cubicBezTo>
                    <a:pt x="51061" y="12180"/>
                    <a:pt x="51467" y="13488"/>
                    <a:pt x="54030" y="10199"/>
                  </a:cubicBezTo>
                  <a:cubicBezTo>
                    <a:pt x="56541" y="6960"/>
                    <a:pt x="55463" y="5385"/>
                    <a:pt x="57581" y="3455"/>
                  </a:cubicBezTo>
                  <a:cubicBezTo>
                    <a:pt x="59687" y="1474"/>
                    <a:pt x="58837" y="-1536"/>
                    <a:pt x="62300" y="928"/>
                  </a:cubicBezTo>
                  <a:cubicBezTo>
                    <a:pt x="65801" y="3366"/>
                    <a:pt x="60943" y="3188"/>
                    <a:pt x="66562" y="7456"/>
                  </a:cubicBezTo>
                  <a:cubicBezTo>
                    <a:pt x="70202" y="10288"/>
                    <a:pt x="72092" y="11735"/>
                    <a:pt x="73398" y="11380"/>
                  </a:cubicBezTo>
                  <a:cubicBezTo>
                    <a:pt x="74109" y="11240"/>
                    <a:pt x="74654" y="10567"/>
                    <a:pt x="75237" y="9348"/>
                  </a:cubicBezTo>
                  <a:cubicBezTo>
                    <a:pt x="76899" y="5881"/>
                    <a:pt x="75098" y="1918"/>
                    <a:pt x="79106" y="2325"/>
                  </a:cubicBezTo>
                  <a:cubicBezTo>
                    <a:pt x="83102" y="2731"/>
                    <a:pt x="80184" y="801"/>
                    <a:pt x="84231" y="5970"/>
                  </a:cubicBezTo>
                  <a:cubicBezTo>
                    <a:pt x="88226" y="11151"/>
                    <a:pt x="83241" y="13221"/>
                    <a:pt x="89482" y="13488"/>
                  </a:cubicBezTo>
                  <a:cubicBezTo>
                    <a:pt x="95735" y="13755"/>
                    <a:pt x="94023" y="9665"/>
                    <a:pt x="98653" y="13755"/>
                  </a:cubicBezTo>
                  <a:cubicBezTo>
                    <a:pt x="103231" y="17895"/>
                    <a:pt x="102242" y="18073"/>
                    <a:pt x="107278" y="19114"/>
                  </a:cubicBezTo>
                  <a:cubicBezTo>
                    <a:pt x="112313" y="20105"/>
                    <a:pt x="111007" y="18530"/>
                    <a:pt x="114787" y="19927"/>
                  </a:cubicBezTo>
                  <a:cubicBezTo>
                    <a:pt x="118554" y="21324"/>
                    <a:pt x="122194" y="22442"/>
                    <a:pt x="118376" y="24689"/>
                  </a:cubicBezTo>
                  <a:cubicBezTo>
                    <a:pt x="114508" y="26988"/>
                    <a:pt x="108762" y="30227"/>
                    <a:pt x="113252" y="31306"/>
                  </a:cubicBezTo>
                  <a:cubicBezTo>
                    <a:pt x="116816" y="31738"/>
                    <a:pt x="119886" y="34011"/>
                    <a:pt x="121345" y="37288"/>
                  </a:cubicBezTo>
                  <a:cubicBezTo>
                    <a:pt x="123678" y="41212"/>
                    <a:pt x="125530" y="45835"/>
                    <a:pt x="128575" y="42685"/>
                  </a:cubicBezTo>
                  <a:cubicBezTo>
                    <a:pt x="131669" y="39498"/>
                    <a:pt x="132266" y="41339"/>
                    <a:pt x="134599" y="37555"/>
                  </a:cubicBezTo>
                  <a:cubicBezTo>
                    <a:pt x="136933" y="33783"/>
                    <a:pt x="126279" y="29909"/>
                    <a:pt x="132659" y="28652"/>
                  </a:cubicBezTo>
                  <a:cubicBezTo>
                    <a:pt x="139052" y="27344"/>
                    <a:pt x="137339" y="28969"/>
                    <a:pt x="142007" y="32335"/>
                  </a:cubicBezTo>
                  <a:cubicBezTo>
                    <a:pt x="146687" y="35751"/>
                    <a:pt x="149605" y="37288"/>
                    <a:pt x="152890" y="36386"/>
                  </a:cubicBezTo>
                  <a:cubicBezTo>
                    <a:pt x="156213" y="35484"/>
                    <a:pt x="154869" y="34087"/>
                    <a:pt x="153917" y="39485"/>
                  </a:cubicBezTo>
                  <a:cubicBezTo>
                    <a:pt x="152979" y="44844"/>
                    <a:pt x="154818" y="41873"/>
                    <a:pt x="156797" y="45111"/>
                  </a:cubicBezTo>
                  <a:cubicBezTo>
                    <a:pt x="158775" y="48400"/>
                    <a:pt x="158953" y="43587"/>
                    <a:pt x="164623" y="46737"/>
                  </a:cubicBezTo>
                  <a:cubicBezTo>
                    <a:pt x="170331" y="49835"/>
                    <a:pt x="165384" y="48311"/>
                    <a:pt x="171587" y="50331"/>
                  </a:cubicBezTo>
                  <a:cubicBezTo>
                    <a:pt x="177738" y="52312"/>
                    <a:pt x="177599" y="49975"/>
                    <a:pt x="179222" y="53938"/>
                  </a:cubicBezTo>
                  <a:cubicBezTo>
                    <a:pt x="180833" y="57938"/>
                    <a:pt x="184753" y="58751"/>
                    <a:pt x="186008" y="62027"/>
                  </a:cubicBezTo>
                  <a:cubicBezTo>
                    <a:pt x="187061" y="64834"/>
                    <a:pt x="190283" y="67120"/>
                    <a:pt x="188850" y="68568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3" name="Vrije vorm 382">
              <a:extLst>
                <a:ext uri="{FF2B5EF4-FFF2-40B4-BE49-F238E27FC236}">
                  <a16:creationId xmlns:a16="http://schemas.microsoft.com/office/drawing/2014/main" id="{13816D62-6E35-3C4A-BFBC-FC5A01C85CA6}"/>
                </a:ext>
              </a:extLst>
            </p:cNvPr>
            <p:cNvSpPr/>
            <p:nvPr/>
          </p:nvSpPr>
          <p:spPr>
            <a:xfrm>
              <a:off x="5948426" y="2822724"/>
              <a:ext cx="192373" cy="116177"/>
            </a:xfrm>
            <a:custGeom>
              <a:avLst/>
              <a:gdLst>
                <a:gd name="connsiteX0" fmla="*/ 190693 w 192373"/>
                <a:gd name="connsiteY0" fmla="*/ 27652 h 116177"/>
                <a:gd name="connsiteX1" fmla="*/ 176766 w 192373"/>
                <a:gd name="connsiteY1" fmla="*/ 34941 h 116177"/>
                <a:gd name="connsiteX2" fmla="*/ 171375 w 192373"/>
                <a:gd name="connsiteY2" fmla="*/ 41241 h 116177"/>
                <a:gd name="connsiteX3" fmla="*/ 151195 w 192373"/>
                <a:gd name="connsiteY3" fmla="*/ 78134 h 116177"/>
                <a:gd name="connsiteX4" fmla="*/ 145626 w 192373"/>
                <a:gd name="connsiteY4" fmla="*/ 86732 h 116177"/>
                <a:gd name="connsiteX5" fmla="*/ 143014 w 192373"/>
                <a:gd name="connsiteY5" fmla="*/ 95241 h 116177"/>
                <a:gd name="connsiteX6" fmla="*/ 133221 w 192373"/>
                <a:gd name="connsiteY6" fmla="*/ 97171 h 116177"/>
                <a:gd name="connsiteX7" fmla="*/ 126791 w 192373"/>
                <a:gd name="connsiteY7" fmla="*/ 101362 h 116177"/>
                <a:gd name="connsiteX8" fmla="*/ 118026 w 192373"/>
                <a:gd name="connsiteY8" fmla="*/ 102391 h 116177"/>
                <a:gd name="connsiteX9" fmla="*/ 116453 w 192373"/>
                <a:gd name="connsiteY9" fmla="*/ 102213 h 116177"/>
                <a:gd name="connsiteX10" fmla="*/ 111734 w 192373"/>
                <a:gd name="connsiteY10" fmla="*/ 101451 h 116177"/>
                <a:gd name="connsiteX11" fmla="*/ 103655 w 192373"/>
                <a:gd name="connsiteY11" fmla="*/ 101362 h 116177"/>
                <a:gd name="connsiteX12" fmla="*/ 97947 w 192373"/>
                <a:gd name="connsiteY12" fmla="*/ 99876 h 116177"/>
                <a:gd name="connsiteX13" fmla="*/ 87876 w 192373"/>
                <a:gd name="connsiteY13" fmla="*/ 107573 h 116177"/>
                <a:gd name="connsiteX14" fmla="*/ 81356 w 192373"/>
                <a:gd name="connsiteY14" fmla="*/ 108157 h 116177"/>
                <a:gd name="connsiteX15" fmla="*/ 75610 w 192373"/>
                <a:gd name="connsiteY15" fmla="*/ 109643 h 116177"/>
                <a:gd name="connsiteX16" fmla="*/ 71970 w 192373"/>
                <a:gd name="connsiteY16" fmla="*/ 110278 h 116177"/>
                <a:gd name="connsiteX17" fmla="*/ 69268 w 192373"/>
                <a:gd name="connsiteY17" fmla="*/ 114367 h 116177"/>
                <a:gd name="connsiteX18" fmla="*/ 56736 w 192373"/>
                <a:gd name="connsiteY18" fmla="*/ 115497 h 116177"/>
                <a:gd name="connsiteX19" fmla="*/ 44775 w 192373"/>
                <a:gd name="connsiteY19" fmla="*/ 113834 h 116177"/>
                <a:gd name="connsiteX20" fmla="*/ 38572 w 192373"/>
                <a:gd name="connsiteY20" fmla="*/ 107801 h 116177"/>
                <a:gd name="connsiteX21" fmla="*/ 31837 w 192373"/>
                <a:gd name="connsiteY21" fmla="*/ 104830 h 116177"/>
                <a:gd name="connsiteX22" fmla="*/ 24607 w 192373"/>
                <a:gd name="connsiteY22" fmla="*/ 96371 h 116177"/>
                <a:gd name="connsiteX23" fmla="*/ 17960 w 192373"/>
                <a:gd name="connsiteY23" fmla="*/ 90428 h 116177"/>
                <a:gd name="connsiteX24" fmla="*/ 13013 w 192373"/>
                <a:gd name="connsiteY24" fmla="*/ 86872 h 116177"/>
                <a:gd name="connsiteX25" fmla="*/ 7344 w 192373"/>
                <a:gd name="connsiteY25" fmla="*/ 84535 h 116177"/>
                <a:gd name="connsiteX26" fmla="*/ 4972 w 192373"/>
                <a:gd name="connsiteY26" fmla="*/ 74184 h 116177"/>
                <a:gd name="connsiteX27" fmla="*/ -26 w 192373"/>
                <a:gd name="connsiteY27" fmla="*/ 71492 h 116177"/>
                <a:gd name="connsiteX28" fmla="*/ 4338 w 192373"/>
                <a:gd name="connsiteY28" fmla="*/ 65282 h 116177"/>
                <a:gd name="connsiteX29" fmla="*/ 6849 w 192373"/>
                <a:gd name="connsiteY29" fmla="*/ 63123 h 116177"/>
                <a:gd name="connsiteX30" fmla="*/ 6849 w 192373"/>
                <a:gd name="connsiteY30" fmla="*/ 54258 h 116177"/>
                <a:gd name="connsiteX31" fmla="*/ 11529 w 192373"/>
                <a:gd name="connsiteY31" fmla="*/ 47502 h 116177"/>
                <a:gd name="connsiteX32" fmla="*/ 13368 w 192373"/>
                <a:gd name="connsiteY32" fmla="*/ 41253 h 116177"/>
                <a:gd name="connsiteX33" fmla="*/ 11124 w 192373"/>
                <a:gd name="connsiteY33" fmla="*/ 35132 h 116177"/>
                <a:gd name="connsiteX34" fmla="*/ 16286 w 192373"/>
                <a:gd name="connsiteY34" fmla="*/ 33786 h 116177"/>
                <a:gd name="connsiteX35" fmla="*/ 22894 w 192373"/>
                <a:gd name="connsiteY35" fmla="*/ 34776 h 116177"/>
                <a:gd name="connsiteX36" fmla="*/ 25507 w 192373"/>
                <a:gd name="connsiteY36" fmla="*/ 25239 h 116177"/>
                <a:gd name="connsiteX37" fmla="*/ 27030 w 192373"/>
                <a:gd name="connsiteY37" fmla="*/ 24565 h 116177"/>
                <a:gd name="connsiteX38" fmla="*/ 33498 w 192373"/>
                <a:gd name="connsiteY38" fmla="*/ 24464 h 116177"/>
                <a:gd name="connsiteX39" fmla="*/ 45586 w 192373"/>
                <a:gd name="connsiteY39" fmla="*/ 32338 h 116177"/>
                <a:gd name="connsiteX40" fmla="*/ 59565 w 192373"/>
                <a:gd name="connsiteY40" fmla="*/ 34014 h 116177"/>
                <a:gd name="connsiteX41" fmla="*/ 68507 w 192373"/>
                <a:gd name="connsiteY41" fmla="*/ 32338 h 116177"/>
                <a:gd name="connsiteX42" fmla="*/ 75242 w 192373"/>
                <a:gd name="connsiteY42" fmla="*/ 23791 h 116177"/>
                <a:gd name="connsiteX43" fmla="*/ 87507 w 192373"/>
                <a:gd name="connsiteY43" fmla="*/ 21048 h 116177"/>
                <a:gd name="connsiteX44" fmla="*/ 97528 w 192373"/>
                <a:gd name="connsiteY44" fmla="*/ 15155 h 116177"/>
                <a:gd name="connsiteX45" fmla="*/ 101980 w 192373"/>
                <a:gd name="connsiteY45" fmla="*/ 15028 h 116177"/>
                <a:gd name="connsiteX46" fmla="*/ 111417 w 192373"/>
                <a:gd name="connsiteY46" fmla="*/ 14126 h 116177"/>
                <a:gd name="connsiteX47" fmla="*/ 118609 w 192373"/>
                <a:gd name="connsiteY47" fmla="*/ 8995 h 116177"/>
                <a:gd name="connsiteX48" fmla="*/ 125535 w 192373"/>
                <a:gd name="connsiteY48" fmla="*/ 3687 h 116177"/>
                <a:gd name="connsiteX49" fmla="*/ 133894 w 192373"/>
                <a:gd name="connsiteY49" fmla="*/ 1159 h 116177"/>
                <a:gd name="connsiteX50" fmla="*/ 145348 w 192373"/>
                <a:gd name="connsiteY50" fmla="*/ 2239 h 116177"/>
                <a:gd name="connsiteX51" fmla="*/ 153173 w 192373"/>
                <a:gd name="connsiteY51" fmla="*/ 2556 h 116177"/>
                <a:gd name="connsiteX52" fmla="*/ 160315 w 192373"/>
                <a:gd name="connsiteY52" fmla="*/ 8360 h 116177"/>
                <a:gd name="connsiteX53" fmla="*/ 170069 w 192373"/>
                <a:gd name="connsiteY53" fmla="*/ 6430 h 116177"/>
                <a:gd name="connsiteX54" fmla="*/ 175320 w 192373"/>
                <a:gd name="connsiteY54" fmla="*/ 9618 h 116177"/>
                <a:gd name="connsiteX55" fmla="*/ 181891 w 192373"/>
                <a:gd name="connsiteY55" fmla="*/ 17631 h 116177"/>
                <a:gd name="connsiteX56" fmla="*/ 189260 w 192373"/>
                <a:gd name="connsiteY56" fmla="*/ 19473 h 116177"/>
                <a:gd name="connsiteX57" fmla="*/ 192089 w 192373"/>
                <a:gd name="connsiteY57" fmla="*/ 23664 h 116177"/>
                <a:gd name="connsiteX58" fmla="*/ 190693 w 192373"/>
                <a:gd name="connsiteY58" fmla="*/ 27652 h 116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192373" h="116177">
                  <a:moveTo>
                    <a:pt x="190693" y="27652"/>
                  </a:moveTo>
                  <a:cubicBezTo>
                    <a:pt x="186609" y="31017"/>
                    <a:pt x="181865" y="33494"/>
                    <a:pt x="176766" y="34941"/>
                  </a:cubicBezTo>
                  <a:cubicBezTo>
                    <a:pt x="175422" y="34764"/>
                    <a:pt x="173126" y="36961"/>
                    <a:pt x="171375" y="41241"/>
                  </a:cubicBezTo>
                  <a:cubicBezTo>
                    <a:pt x="165642" y="54055"/>
                    <a:pt x="158894" y="66399"/>
                    <a:pt x="151195" y="78134"/>
                  </a:cubicBezTo>
                  <a:cubicBezTo>
                    <a:pt x="146882" y="82414"/>
                    <a:pt x="145576" y="82147"/>
                    <a:pt x="145626" y="86732"/>
                  </a:cubicBezTo>
                  <a:cubicBezTo>
                    <a:pt x="145715" y="91317"/>
                    <a:pt x="147149" y="93298"/>
                    <a:pt x="143014" y="95241"/>
                  </a:cubicBezTo>
                  <a:cubicBezTo>
                    <a:pt x="138891" y="97184"/>
                    <a:pt x="136507" y="95508"/>
                    <a:pt x="133221" y="97171"/>
                  </a:cubicBezTo>
                  <a:cubicBezTo>
                    <a:pt x="129936" y="98886"/>
                    <a:pt x="130076" y="100689"/>
                    <a:pt x="126791" y="101362"/>
                  </a:cubicBezTo>
                  <a:cubicBezTo>
                    <a:pt x="123899" y="101921"/>
                    <a:pt x="120968" y="102264"/>
                    <a:pt x="118026" y="102391"/>
                  </a:cubicBezTo>
                  <a:cubicBezTo>
                    <a:pt x="117493" y="102455"/>
                    <a:pt x="116960" y="102391"/>
                    <a:pt x="116453" y="102213"/>
                  </a:cubicBezTo>
                  <a:cubicBezTo>
                    <a:pt x="115870" y="101718"/>
                    <a:pt x="115920" y="102975"/>
                    <a:pt x="111734" y="101451"/>
                  </a:cubicBezTo>
                  <a:cubicBezTo>
                    <a:pt x="107561" y="99965"/>
                    <a:pt x="108373" y="101045"/>
                    <a:pt x="103655" y="101362"/>
                  </a:cubicBezTo>
                  <a:cubicBezTo>
                    <a:pt x="98936" y="101680"/>
                    <a:pt x="101308" y="97451"/>
                    <a:pt x="97947" y="99876"/>
                  </a:cubicBezTo>
                  <a:cubicBezTo>
                    <a:pt x="94522" y="102315"/>
                    <a:pt x="90438" y="105553"/>
                    <a:pt x="87876" y="107573"/>
                  </a:cubicBezTo>
                  <a:cubicBezTo>
                    <a:pt x="85364" y="109554"/>
                    <a:pt x="86708" y="105858"/>
                    <a:pt x="81356" y="108157"/>
                  </a:cubicBezTo>
                  <a:cubicBezTo>
                    <a:pt x="79542" y="108995"/>
                    <a:pt x="77601" y="109490"/>
                    <a:pt x="75610" y="109643"/>
                  </a:cubicBezTo>
                  <a:cubicBezTo>
                    <a:pt x="73859" y="109783"/>
                    <a:pt x="72692" y="109643"/>
                    <a:pt x="71970" y="110278"/>
                  </a:cubicBezTo>
                  <a:cubicBezTo>
                    <a:pt x="70663" y="111395"/>
                    <a:pt x="74392" y="111586"/>
                    <a:pt x="69268" y="114367"/>
                  </a:cubicBezTo>
                  <a:cubicBezTo>
                    <a:pt x="65374" y="116298"/>
                    <a:pt x="60909" y="116704"/>
                    <a:pt x="56736" y="115497"/>
                  </a:cubicBezTo>
                  <a:cubicBezTo>
                    <a:pt x="52144" y="115091"/>
                    <a:pt x="47020" y="116983"/>
                    <a:pt x="44775" y="113834"/>
                  </a:cubicBezTo>
                  <a:cubicBezTo>
                    <a:pt x="42529" y="110684"/>
                    <a:pt x="41591" y="107446"/>
                    <a:pt x="38572" y="107801"/>
                  </a:cubicBezTo>
                  <a:cubicBezTo>
                    <a:pt x="35959" y="108081"/>
                    <a:pt x="33397" y="106950"/>
                    <a:pt x="31837" y="104830"/>
                  </a:cubicBezTo>
                  <a:cubicBezTo>
                    <a:pt x="29909" y="102848"/>
                    <a:pt x="26941" y="97095"/>
                    <a:pt x="24607" y="96371"/>
                  </a:cubicBezTo>
                  <a:cubicBezTo>
                    <a:pt x="22222" y="95660"/>
                    <a:pt x="20472" y="92498"/>
                    <a:pt x="17960" y="90428"/>
                  </a:cubicBezTo>
                  <a:cubicBezTo>
                    <a:pt x="15436" y="88408"/>
                    <a:pt x="17098" y="88319"/>
                    <a:pt x="13013" y="86872"/>
                  </a:cubicBezTo>
                  <a:cubicBezTo>
                    <a:pt x="11060" y="86262"/>
                    <a:pt x="9170" y="85475"/>
                    <a:pt x="7344" y="84535"/>
                  </a:cubicBezTo>
                  <a:cubicBezTo>
                    <a:pt x="9322" y="82020"/>
                    <a:pt x="7115" y="79544"/>
                    <a:pt x="4972" y="74184"/>
                  </a:cubicBezTo>
                  <a:cubicBezTo>
                    <a:pt x="2853" y="68838"/>
                    <a:pt x="3843" y="71174"/>
                    <a:pt x="-26" y="71492"/>
                  </a:cubicBezTo>
                  <a:cubicBezTo>
                    <a:pt x="1217" y="69282"/>
                    <a:pt x="2676" y="67199"/>
                    <a:pt x="4338" y="65282"/>
                  </a:cubicBezTo>
                  <a:cubicBezTo>
                    <a:pt x="5365" y="63796"/>
                    <a:pt x="5682" y="68342"/>
                    <a:pt x="6849" y="63123"/>
                  </a:cubicBezTo>
                  <a:cubicBezTo>
                    <a:pt x="8028" y="57903"/>
                    <a:pt x="4604" y="60100"/>
                    <a:pt x="6849" y="54258"/>
                  </a:cubicBezTo>
                  <a:cubicBezTo>
                    <a:pt x="9094" y="48365"/>
                    <a:pt x="8295" y="49851"/>
                    <a:pt x="11529" y="47502"/>
                  </a:cubicBezTo>
                  <a:cubicBezTo>
                    <a:pt x="14764" y="45127"/>
                    <a:pt x="16197" y="43857"/>
                    <a:pt x="13368" y="41253"/>
                  </a:cubicBezTo>
                  <a:cubicBezTo>
                    <a:pt x="10578" y="38650"/>
                    <a:pt x="10045" y="36300"/>
                    <a:pt x="11124" y="35132"/>
                  </a:cubicBezTo>
                  <a:cubicBezTo>
                    <a:pt x="12240" y="34014"/>
                    <a:pt x="12290" y="31843"/>
                    <a:pt x="16286" y="33786"/>
                  </a:cubicBezTo>
                  <a:cubicBezTo>
                    <a:pt x="20243" y="35716"/>
                    <a:pt x="21550" y="38650"/>
                    <a:pt x="22894" y="34776"/>
                  </a:cubicBezTo>
                  <a:cubicBezTo>
                    <a:pt x="24290" y="30903"/>
                    <a:pt x="23478" y="26001"/>
                    <a:pt x="25507" y="25239"/>
                  </a:cubicBezTo>
                  <a:cubicBezTo>
                    <a:pt x="26002" y="25061"/>
                    <a:pt x="26497" y="24781"/>
                    <a:pt x="27030" y="24565"/>
                  </a:cubicBezTo>
                  <a:cubicBezTo>
                    <a:pt x="28970" y="23257"/>
                    <a:pt x="31507" y="23219"/>
                    <a:pt x="33498" y="24464"/>
                  </a:cubicBezTo>
                  <a:cubicBezTo>
                    <a:pt x="36771" y="26585"/>
                    <a:pt x="39384" y="30814"/>
                    <a:pt x="45586" y="32338"/>
                  </a:cubicBezTo>
                  <a:cubicBezTo>
                    <a:pt x="50026" y="34065"/>
                    <a:pt x="54833" y="34637"/>
                    <a:pt x="59565" y="34014"/>
                  </a:cubicBezTo>
                  <a:cubicBezTo>
                    <a:pt x="63915" y="32973"/>
                    <a:pt x="65361" y="31665"/>
                    <a:pt x="68507" y="32338"/>
                  </a:cubicBezTo>
                  <a:cubicBezTo>
                    <a:pt x="71691" y="33062"/>
                    <a:pt x="68228" y="26763"/>
                    <a:pt x="75242" y="23791"/>
                  </a:cubicBezTo>
                  <a:cubicBezTo>
                    <a:pt x="79187" y="22343"/>
                    <a:pt x="83322" y="21416"/>
                    <a:pt x="87507" y="21048"/>
                  </a:cubicBezTo>
                  <a:cubicBezTo>
                    <a:pt x="91427" y="19930"/>
                    <a:pt x="94344" y="15028"/>
                    <a:pt x="97528" y="15155"/>
                  </a:cubicBezTo>
                  <a:cubicBezTo>
                    <a:pt x="100674" y="15294"/>
                    <a:pt x="94433" y="13313"/>
                    <a:pt x="101980" y="15028"/>
                  </a:cubicBezTo>
                  <a:cubicBezTo>
                    <a:pt x="109527" y="16730"/>
                    <a:pt x="104276" y="16780"/>
                    <a:pt x="111417" y="14126"/>
                  </a:cubicBezTo>
                  <a:cubicBezTo>
                    <a:pt x="118571" y="11472"/>
                    <a:pt x="114880" y="13631"/>
                    <a:pt x="118609" y="8995"/>
                  </a:cubicBezTo>
                  <a:cubicBezTo>
                    <a:pt x="122300" y="4360"/>
                    <a:pt x="122833" y="4042"/>
                    <a:pt x="125535" y="3687"/>
                  </a:cubicBezTo>
                  <a:cubicBezTo>
                    <a:pt x="128186" y="3369"/>
                    <a:pt x="129720" y="715"/>
                    <a:pt x="133894" y="1159"/>
                  </a:cubicBezTo>
                  <a:cubicBezTo>
                    <a:pt x="138118" y="1566"/>
                    <a:pt x="138917" y="3598"/>
                    <a:pt x="145348" y="2239"/>
                  </a:cubicBezTo>
                  <a:cubicBezTo>
                    <a:pt x="151816" y="842"/>
                    <a:pt x="149622" y="-2168"/>
                    <a:pt x="153173" y="2556"/>
                  </a:cubicBezTo>
                  <a:cubicBezTo>
                    <a:pt x="156763" y="7281"/>
                    <a:pt x="153795" y="9262"/>
                    <a:pt x="160315" y="8360"/>
                  </a:cubicBezTo>
                  <a:cubicBezTo>
                    <a:pt x="166784" y="7509"/>
                    <a:pt x="166340" y="5935"/>
                    <a:pt x="170069" y="6430"/>
                  </a:cubicBezTo>
                  <a:cubicBezTo>
                    <a:pt x="173747" y="6925"/>
                    <a:pt x="169079" y="3725"/>
                    <a:pt x="175320" y="9618"/>
                  </a:cubicBezTo>
                  <a:cubicBezTo>
                    <a:pt x="181574" y="15472"/>
                    <a:pt x="176360" y="16603"/>
                    <a:pt x="181891" y="17631"/>
                  </a:cubicBezTo>
                  <a:cubicBezTo>
                    <a:pt x="187459" y="18711"/>
                    <a:pt x="188233" y="16641"/>
                    <a:pt x="189260" y="19473"/>
                  </a:cubicBezTo>
                  <a:cubicBezTo>
                    <a:pt x="189844" y="21009"/>
                    <a:pt x="191416" y="22267"/>
                    <a:pt x="192089" y="23664"/>
                  </a:cubicBezTo>
                  <a:cubicBezTo>
                    <a:pt x="192584" y="24769"/>
                    <a:pt x="192495" y="26026"/>
                    <a:pt x="190693" y="27652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4" name="Vrije vorm 383">
              <a:extLst>
                <a:ext uri="{FF2B5EF4-FFF2-40B4-BE49-F238E27FC236}">
                  <a16:creationId xmlns:a16="http://schemas.microsoft.com/office/drawing/2014/main" id="{BD7E8A42-6A1D-CA40-9745-2F935D70B4E3}"/>
                </a:ext>
              </a:extLst>
            </p:cNvPr>
            <p:cNvSpPr/>
            <p:nvPr/>
          </p:nvSpPr>
          <p:spPr>
            <a:xfrm>
              <a:off x="5969957" y="2777697"/>
              <a:ext cx="159129" cy="79265"/>
            </a:xfrm>
            <a:custGeom>
              <a:avLst/>
              <a:gdLst>
                <a:gd name="connsiteX0" fmla="*/ 159103 w 159129"/>
                <a:gd name="connsiteY0" fmla="*/ 21878 h 79265"/>
                <a:gd name="connsiteX1" fmla="*/ 153484 w 159129"/>
                <a:gd name="connsiteY1" fmla="*/ 37626 h 79265"/>
                <a:gd name="connsiteX2" fmla="*/ 148537 w 159129"/>
                <a:gd name="connsiteY2" fmla="*/ 51444 h 79265"/>
                <a:gd name="connsiteX3" fmla="*/ 138783 w 159129"/>
                <a:gd name="connsiteY3" fmla="*/ 53374 h 79265"/>
                <a:gd name="connsiteX4" fmla="*/ 131642 w 159129"/>
                <a:gd name="connsiteY4" fmla="*/ 47570 h 79265"/>
                <a:gd name="connsiteX5" fmla="*/ 123816 w 159129"/>
                <a:gd name="connsiteY5" fmla="*/ 47253 h 79265"/>
                <a:gd name="connsiteX6" fmla="*/ 112362 w 159129"/>
                <a:gd name="connsiteY6" fmla="*/ 46173 h 79265"/>
                <a:gd name="connsiteX7" fmla="*/ 104003 w 159129"/>
                <a:gd name="connsiteY7" fmla="*/ 48688 h 79265"/>
                <a:gd name="connsiteX8" fmla="*/ 97078 w 159129"/>
                <a:gd name="connsiteY8" fmla="*/ 54009 h 79265"/>
                <a:gd name="connsiteX9" fmla="*/ 89886 w 159129"/>
                <a:gd name="connsiteY9" fmla="*/ 59140 h 79265"/>
                <a:gd name="connsiteX10" fmla="*/ 80449 w 159129"/>
                <a:gd name="connsiteY10" fmla="*/ 60029 h 79265"/>
                <a:gd name="connsiteX11" fmla="*/ 75996 w 159129"/>
                <a:gd name="connsiteY11" fmla="*/ 60169 h 79265"/>
                <a:gd name="connsiteX12" fmla="*/ 65976 w 159129"/>
                <a:gd name="connsiteY12" fmla="*/ 66061 h 79265"/>
                <a:gd name="connsiteX13" fmla="*/ 53711 w 159129"/>
                <a:gd name="connsiteY13" fmla="*/ 68805 h 79265"/>
                <a:gd name="connsiteX14" fmla="*/ 46975 w 159129"/>
                <a:gd name="connsiteY14" fmla="*/ 77352 h 79265"/>
                <a:gd name="connsiteX15" fmla="*/ 38033 w 159129"/>
                <a:gd name="connsiteY15" fmla="*/ 79016 h 79265"/>
                <a:gd name="connsiteX16" fmla="*/ 24055 w 159129"/>
                <a:gd name="connsiteY16" fmla="*/ 77352 h 79265"/>
                <a:gd name="connsiteX17" fmla="*/ 11967 w 159129"/>
                <a:gd name="connsiteY17" fmla="*/ 69478 h 79265"/>
                <a:gd name="connsiteX18" fmla="*/ 5498 w 159129"/>
                <a:gd name="connsiteY18" fmla="*/ 69579 h 79265"/>
                <a:gd name="connsiteX19" fmla="*/ 145 w 159129"/>
                <a:gd name="connsiteY19" fmla="*/ 54771 h 79265"/>
                <a:gd name="connsiteX20" fmla="*/ 2479 w 159129"/>
                <a:gd name="connsiteY20" fmla="*/ 38299 h 79265"/>
                <a:gd name="connsiteX21" fmla="*/ 10572 w 159129"/>
                <a:gd name="connsiteY21" fmla="*/ 32991 h 79265"/>
                <a:gd name="connsiteX22" fmla="*/ 18119 w 159129"/>
                <a:gd name="connsiteY22" fmla="*/ 33931 h 79265"/>
                <a:gd name="connsiteX23" fmla="*/ 26211 w 159129"/>
                <a:gd name="connsiteY23" fmla="*/ 29206 h 79265"/>
                <a:gd name="connsiteX24" fmla="*/ 31691 w 159129"/>
                <a:gd name="connsiteY24" fmla="*/ 25079 h 79265"/>
                <a:gd name="connsiteX25" fmla="*/ 40189 w 159129"/>
                <a:gd name="connsiteY25" fmla="*/ 14042 h 79265"/>
                <a:gd name="connsiteX26" fmla="*/ 45631 w 159129"/>
                <a:gd name="connsiteY26" fmla="*/ 6168 h 79265"/>
                <a:gd name="connsiteX27" fmla="*/ 54979 w 159129"/>
                <a:gd name="connsiteY27" fmla="*/ 3743 h 79265"/>
                <a:gd name="connsiteX28" fmla="*/ 56095 w 159129"/>
                <a:gd name="connsiteY28" fmla="*/ 3108 h 79265"/>
                <a:gd name="connsiteX29" fmla="*/ 59152 w 159129"/>
                <a:gd name="connsiteY29" fmla="*/ 7515 h 79265"/>
                <a:gd name="connsiteX30" fmla="*/ 63782 w 159129"/>
                <a:gd name="connsiteY30" fmla="*/ 7299 h 79265"/>
                <a:gd name="connsiteX31" fmla="*/ 70301 w 159129"/>
                <a:gd name="connsiteY31" fmla="*/ 504 h 79265"/>
                <a:gd name="connsiteX32" fmla="*/ 77176 w 159129"/>
                <a:gd name="connsiteY32" fmla="*/ 6168 h 79265"/>
                <a:gd name="connsiteX33" fmla="*/ 84596 w 159129"/>
                <a:gd name="connsiteY33" fmla="*/ 11210 h 79265"/>
                <a:gd name="connsiteX34" fmla="*/ 83290 w 159129"/>
                <a:gd name="connsiteY34" fmla="*/ 17865 h 79265"/>
                <a:gd name="connsiteX35" fmla="*/ 90253 w 159129"/>
                <a:gd name="connsiteY35" fmla="*/ 17103 h 79265"/>
                <a:gd name="connsiteX36" fmla="*/ 98574 w 159129"/>
                <a:gd name="connsiteY36" fmla="*/ 9369 h 79265"/>
                <a:gd name="connsiteX37" fmla="*/ 106071 w 159129"/>
                <a:gd name="connsiteY37" fmla="*/ 8645 h 79265"/>
                <a:gd name="connsiteX38" fmla="*/ 112007 w 159129"/>
                <a:gd name="connsiteY38" fmla="*/ 11566 h 79265"/>
                <a:gd name="connsiteX39" fmla="*/ 116586 w 159129"/>
                <a:gd name="connsiteY39" fmla="*/ 10169 h 79265"/>
                <a:gd name="connsiteX40" fmla="*/ 124945 w 159129"/>
                <a:gd name="connsiteY40" fmla="*/ 6930 h 79265"/>
                <a:gd name="connsiteX41" fmla="*/ 135282 w 159129"/>
                <a:gd name="connsiteY41" fmla="*/ 8454 h 79265"/>
                <a:gd name="connsiteX42" fmla="*/ 142030 w 159129"/>
                <a:gd name="connsiteY42" fmla="*/ 11972 h 79265"/>
                <a:gd name="connsiteX43" fmla="*/ 149489 w 159129"/>
                <a:gd name="connsiteY43" fmla="*/ 18500 h 79265"/>
                <a:gd name="connsiteX44" fmla="*/ 150795 w 159129"/>
                <a:gd name="connsiteY44" fmla="*/ 18995 h 79265"/>
                <a:gd name="connsiteX45" fmla="*/ 150833 w 159129"/>
                <a:gd name="connsiteY45" fmla="*/ 18995 h 79265"/>
                <a:gd name="connsiteX46" fmla="*/ 150973 w 159129"/>
                <a:gd name="connsiteY46" fmla="*/ 19033 h 79265"/>
                <a:gd name="connsiteX47" fmla="*/ 151061 w 159129"/>
                <a:gd name="connsiteY47" fmla="*/ 19084 h 79265"/>
                <a:gd name="connsiteX48" fmla="*/ 151099 w 159129"/>
                <a:gd name="connsiteY48" fmla="*/ 19084 h 79265"/>
                <a:gd name="connsiteX49" fmla="*/ 153801 w 159129"/>
                <a:gd name="connsiteY49" fmla="*/ 20202 h 79265"/>
                <a:gd name="connsiteX50" fmla="*/ 159103 w 159129"/>
                <a:gd name="connsiteY50" fmla="*/ 21878 h 79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159129" h="79265">
                  <a:moveTo>
                    <a:pt x="159103" y="21878"/>
                  </a:moveTo>
                  <a:cubicBezTo>
                    <a:pt x="157733" y="27288"/>
                    <a:pt x="155856" y="32572"/>
                    <a:pt x="153484" y="37626"/>
                  </a:cubicBezTo>
                  <a:cubicBezTo>
                    <a:pt x="151226" y="41995"/>
                    <a:pt x="149565" y="46631"/>
                    <a:pt x="148537" y="51444"/>
                  </a:cubicBezTo>
                  <a:cubicBezTo>
                    <a:pt x="144808" y="50949"/>
                    <a:pt x="145252" y="52523"/>
                    <a:pt x="138783" y="53374"/>
                  </a:cubicBezTo>
                  <a:cubicBezTo>
                    <a:pt x="132264" y="54276"/>
                    <a:pt x="135232" y="52295"/>
                    <a:pt x="131642" y="47570"/>
                  </a:cubicBezTo>
                  <a:cubicBezTo>
                    <a:pt x="128090" y="42846"/>
                    <a:pt x="130285" y="45856"/>
                    <a:pt x="123816" y="47253"/>
                  </a:cubicBezTo>
                  <a:cubicBezTo>
                    <a:pt x="117398" y="48612"/>
                    <a:pt x="116586" y="46580"/>
                    <a:pt x="112362" y="46173"/>
                  </a:cubicBezTo>
                  <a:cubicBezTo>
                    <a:pt x="108176" y="45729"/>
                    <a:pt x="106654" y="48383"/>
                    <a:pt x="104003" y="48688"/>
                  </a:cubicBezTo>
                  <a:cubicBezTo>
                    <a:pt x="101301" y="49056"/>
                    <a:pt x="100769" y="49374"/>
                    <a:pt x="97078" y="54009"/>
                  </a:cubicBezTo>
                  <a:cubicBezTo>
                    <a:pt x="93349" y="58645"/>
                    <a:pt x="97039" y="56486"/>
                    <a:pt x="89886" y="59140"/>
                  </a:cubicBezTo>
                  <a:cubicBezTo>
                    <a:pt x="82745" y="61794"/>
                    <a:pt x="87996" y="61744"/>
                    <a:pt x="80449" y="60029"/>
                  </a:cubicBezTo>
                  <a:cubicBezTo>
                    <a:pt x="72902" y="58327"/>
                    <a:pt x="79142" y="60308"/>
                    <a:pt x="75996" y="60169"/>
                  </a:cubicBezTo>
                  <a:cubicBezTo>
                    <a:pt x="72813" y="60029"/>
                    <a:pt x="69896" y="64944"/>
                    <a:pt x="65976" y="66061"/>
                  </a:cubicBezTo>
                  <a:cubicBezTo>
                    <a:pt x="61790" y="66430"/>
                    <a:pt x="57668" y="67357"/>
                    <a:pt x="53711" y="68805"/>
                  </a:cubicBezTo>
                  <a:cubicBezTo>
                    <a:pt x="46696" y="71777"/>
                    <a:pt x="50159" y="78076"/>
                    <a:pt x="46975" y="77352"/>
                  </a:cubicBezTo>
                  <a:cubicBezTo>
                    <a:pt x="43830" y="76679"/>
                    <a:pt x="42383" y="77987"/>
                    <a:pt x="38033" y="79016"/>
                  </a:cubicBezTo>
                  <a:cubicBezTo>
                    <a:pt x="33302" y="79650"/>
                    <a:pt x="28494" y="79079"/>
                    <a:pt x="24055" y="77352"/>
                  </a:cubicBezTo>
                  <a:cubicBezTo>
                    <a:pt x="17852" y="75828"/>
                    <a:pt x="15239" y="71599"/>
                    <a:pt x="11967" y="69478"/>
                  </a:cubicBezTo>
                  <a:cubicBezTo>
                    <a:pt x="9975" y="68233"/>
                    <a:pt x="7451" y="68271"/>
                    <a:pt x="5498" y="69579"/>
                  </a:cubicBezTo>
                  <a:cubicBezTo>
                    <a:pt x="2809" y="65007"/>
                    <a:pt x="995" y="59991"/>
                    <a:pt x="145" y="54771"/>
                  </a:cubicBezTo>
                  <a:cubicBezTo>
                    <a:pt x="-413" y="49171"/>
                    <a:pt x="399" y="43519"/>
                    <a:pt x="2479" y="38299"/>
                  </a:cubicBezTo>
                  <a:cubicBezTo>
                    <a:pt x="4635" y="36953"/>
                    <a:pt x="5308" y="34426"/>
                    <a:pt x="10572" y="32991"/>
                  </a:cubicBezTo>
                  <a:cubicBezTo>
                    <a:pt x="15962" y="31594"/>
                    <a:pt x="15836" y="32673"/>
                    <a:pt x="18119" y="33931"/>
                  </a:cubicBezTo>
                  <a:cubicBezTo>
                    <a:pt x="20452" y="35239"/>
                    <a:pt x="23611" y="31276"/>
                    <a:pt x="26211" y="29206"/>
                  </a:cubicBezTo>
                  <a:cubicBezTo>
                    <a:pt x="27911" y="27669"/>
                    <a:pt x="29737" y="26272"/>
                    <a:pt x="31691" y="25079"/>
                  </a:cubicBezTo>
                  <a:cubicBezTo>
                    <a:pt x="35065" y="22958"/>
                    <a:pt x="36143" y="16798"/>
                    <a:pt x="40189" y="14042"/>
                  </a:cubicBezTo>
                  <a:cubicBezTo>
                    <a:pt x="44235" y="11248"/>
                    <a:pt x="43157" y="9191"/>
                    <a:pt x="45631" y="6168"/>
                  </a:cubicBezTo>
                  <a:cubicBezTo>
                    <a:pt x="48104" y="3158"/>
                    <a:pt x="51288" y="5089"/>
                    <a:pt x="54979" y="3743"/>
                  </a:cubicBezTo>
                  <a:cubicBezTo>
                    <a:pt x="55385" y="3603"/>
                    <a:pt x="55765" y="3387"/>
                    <a:pt x="56095" y="3108"/>
                  </a:cubicBezTo>
                  <a:cubicBezTo>
                    <a:pt x="57363" y="5038"/>
                    <a:pt x="56957" y="6803"/>
                    <a:pt x="59152" y="7515"/>
                  </a:cubicBezTo>
                  <a:cubicBezTo>
                    <a:pt x="61942" y="8467"/>
                    <a:pt x="59786" y="11388"/>
                    <a:pt x="63782" y="7299"/>
                  </a:cubicBezTo>
                  <a:cubicBezTo>
                    <a:pt x="67739" y="3158"/>
                    <a:pt x="66306" y="-1566"/>
                    <a:pt x="70301" y="504"/>
                  </a:cubicBezTo>
                  <a:cubicBezTo>
                    <a:pt x="74259" y="2574"/>
                    <a:pt x="69489" y="3692"/>
                    <a:pt x="77176" y="6168"/>
                  </a:cubicBezTo>
                  <a:cubicBezTo>
                    <a:pt x="84913" y="8683"/>
                    <a:pt x="85675" y="7603"/>
                    <a:pt x="84596" y="11210"/>
                  </a:cubicBezTo>
                  <a:cubicBezTo>
                    <a:pt x="83468" y="14766"/>
                    <a:pt x="76326" y="18589"/>
                    <a:pt x="83290" y="17865"/>
                  </a:cubicBezTo>
                  <a:cubicBezTo>
                    <a:pt x="90253" y="17103"/>
                    <a:pt x="86347" y="22678"/>
                    <a:pt x="90253" y="17103"/>
                  </a:cubicBezTo>
                  <a:cubicBezTo>
                    <a:pt x="94122" y="11528"/>
                    <a:pt x="93628" y="8873"/>
                    <a:pt x="98574" y="9369"/>
                  </a:cubicBezTo>
                  <a:cubicBezTo>
                    <a:pt x="103471" y="9813"/>
                    <a:pt x="100946" y="5267"/>
                    <a:pt x="106071" y="8645"/>
                  </a:cubicBezTo>
                  <a:cubicBezTo>
                    <a:pt x="111195" y="11972"/>
                    <a:pt x="107872" y="11071"/>
                    <a:pt x="112007" y="11566"/>
                  </a:cubicBezTo>
                  <a:cubicBezTo>
                    <a:pt x="116142" y="12061"/>
                    <a:pt x="112907" y="12556"/>
                    <a:pt x="116586" y="10169"/>
                  </a:cubicBezTo>
                  <a:cubicBezTo>
                    <a:pt x="120315" y="7781"/>
                    <a:pt x="119465" y="5800"/>
                    <a:pt x="124945" y="6930"/>
                  </a:cubicBezTo>
                  <a:cubicBezTo>
                    <a:pt x="130475" y="8010"/>
                    <a:pt x="132720" y="6168"/>
                    <a:pt x="135282" y="8454"/>
                  </a:cubicBezTo>
                  <a:cubicBezTo>
                    <a:pt x="137895" y="10804"/>
                    <a:pt x="138390" y="7654"/>
                    <a:pt x="142030" y="11972"/>
                  </a:cubicBezTo>
                  <a:cubicBezTo>
                    <a:pt x="145671" y="16328"/>
                    <a:pt x="145125" y="16786"/>
                    <a:pt x="149489" y="18500"/>
                  </a:cubicBezTo>
                  <a:cubicBezTo>
                    <a:pt x="150123" y="18767"/>
                    <a:pt x="150516" y="18906"/>
                    <a:pt x="150795" y="18995"/>
                  </a:cubicBezTo>
                  <a:lnTo>
                    <a:pt x="150833" y="18995"/>
                  </a:lnTo>
                  <a:lnTo>
                    <a:pt x="150973" y="19033"/>
                  </a:lnTo>
                  <a:lnTo>
                    <a:pt x="151061" y="19084"/>
                  </a:lnTo>
                  <a:lnTo>
                    <a:pt x="151099" y="19084"/>
                  </a:lnTo>
                  <a:cubicBezTo>
                    <a:pt x="151468" y="19262"/>
                    <a:pt x="152279" y="19580"/>
                    <a:pt x="153801" y="20202"/>
                  </a:cubicBezTo>
                  <a:cubicBezTo>
                    <a:pt x="155514" y="20926"/>
                    <a:pt x="157289" y="21485"/>
                    <a:pt x="159103" y="21878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5" name="Vrije vorm 384">
              <a:extLst>
                <a:ext uri="{FF2B5EF4-FFF2-40B4-BE49-F238E27FC236}">
                  <a16:creationId xmlns:a16="http://schemas.microsoft.com/office/drawing/2014/main" id="{13E73199-DFCC-5F43-BD08-00AEB01C9710}"/>
                </a:ext>
              </a:extLst>
            </p:cNvPr>
            <p:cNvSpPr/>
            <p:nvPr/>
          </p:nvSpPr>
          <p:spPr>
            <a:xfrm>
              <a:off x="6247189" y="2825007"/>
              <a:ext cx="95905" cy="125059"/>
            </a:xfrm>
            <a:custGeom>
              <a:avLst/>
              <a:gdLst>
                <a:gd name="connsiteX0" fmla="*/ 94116 w 95905"/>
                <a:gd name="connsiteY0" fmla="*/ 87230 h 125059"/>
                <a:gd name="connsiteX1" fmla="*/ 87203 w 95905"/>
                <a:gd name="connsiteY1" fmla="*/ 88678 h 125059"/>
                <a:gd name="connsiteX2" fmla="*/ 80277 w 95905"/>
                <a:gd name="connsiteY2" fmla="*/ 86201 h 125059"/>
                <a:gd name="connsiteX3" fmla="*/ 73758 w 95905"/>
                <a:gd name="connsiteY3" fmla="*/ 88094 h 125059"/>
                <a:gd name="connsiteX4" fmla="*/ 68684 w 95905"/>
                <a:gd name="connsiteY4" fmla="*/ 85935 h 125059"/>
                <a:gd name="connsiteX5" fmla="*/ 54351 w 95905"/>
                <a:gd name="connsiteY5" fmla="*/ 118955 h 125059"/>
                <a:gd name="connsiteX6" fmla="*/ 45371 w 95905"/>
                <a:gd name="connsiteY6" fmla="*/ 123768 h 125059"/>
                <a:gd name="connsiteX7" fmla="*/ 40601 w 95905"/>
                <a:gd name="connsiteY7" fmla="*/ 124314 h 125059"/>
                <a:gd name="connsiteX8" fmla="*/ 39701 w 95905"/>
                <a:gd name="connsiteY8" fmla="*/ 123463 h 125059"/>
                <a:gd name="connsiteX9" fmla="*/ 41908 w 95905"/>
                <a:gd name="connsiteY9" fmla="*/ 112973 h 125059"/>
                <a:gd name="connsiteX10" fmla="*/ 40157 w 95905"/>
                <a:gd name="connsiteY10" fmla="*/ 99562 h 125059"/>
                <a:gd name="connsiteX11" fmla="*/ 43747 w 95905"/>
                <a:gd name="connsiteY11" fmla="*/ 88221 h 125059"/>
                <a:gd name="connsiteX12" fmla="*/ 41908 w 95905"/>
                <a:gd name="connsiteY12" fmla="*/ 65996 h 125059"/>
                <a:gd name="connsiteX13" fmla="*/ 31621 w 95905"/>
                <a:gd name="connsiteY13" fmla="*/ 56509 h 125059"/>
                <a:gd name="connsiteX14" fmla="*/ 22894 w 95905"/>
                <a:gd name="connsiteY14" fmla="*/ 43821 h 125059"/>
                <a:gd name="connsiteX15" fmla="*/ 15791 w 95905"/>
                <a:gd name="connsiteY15" fmla="*/ 30766 h 125059"/>
                <a:gd name="connsiteX16" fmla="*/ 4870 w 95905"/>
                <a:gd name="connsiteY16" fmla="*/ 13087 h 125059"/>
                <a:gd name="connsiteX17" fmla="*/ -26 w 95905"/>
                <a:gd name="connsiteY17" fmla="*/ 10166 h 125059"/>
                <a:gd name="connsiteX18" fmla="*/ 1636 w 95905"/>
                <a:gd name="connsiteY18" fmla="*/ 5531 h 125059"/>
                <a:gd name="connsiteX19" fmla="*/ 6227 w 95905"/>
                <a:gd name="connsiteY19" fmla="*/ 5353 h 125059"/>
                <a:gd name="connsiteX20" fmla="*/ 10400 w 95905"/>
                <a:gd name="connsiteY20" fmla="*/ 4363 h 125059"/>
                <a:gd name="connsiteX21" fmla="*/ 19076 w 95905"/>
                <a:gd name="connsiteY21" fmla="*/ 2788 h 125059"/>
                <a:gd name="connsiteX22" fmla="*/ 25900 w 95905"/>
                <a:gd name="connsiteY22" fmla="*/ 667 h 125059"/>
                <a:gd name="connsiteX23" fmla="*/ 32509 w 95905"/>
                <a:gd name="connsiteY23" fmla="*/ 2153 h 125059"/>
                <a:gd name="connsiteX24" fmla="*/ 39701 w 95905"/>
                <a:gd name="connsiteY24" fmla="*/ 8223 h 125059"/>
                <a:gd name="connsiteX25" fmla="*/ 46715 w 95905"/>
                <a:gd name="connsiteY25" fmla="*/ 12859 h 125059"/>
                <a:gd name="connsiteX26" fmla="*/ 54123 w 95905"/>
                <a:gd name="connsiteY26" fmla="*/ 13849 h 125059"/>
                <a:gd name="connsiteX27" fmla="*/ 65538 w 95905"/>
                <a:gd name="connsiteY27" fmla="*/ 21812 h 125059"/>
                <a:gd name="connsiteX28" fmla="*/ 68684 w 95905"/>
                <a:gd name="connsiteY28" fmla="*/ 28607 h 125059"/>
                <a:gd name="connsiteX29" fmla="*/ 68684 w 95905"/>
                <a:gd name="connsiteY29" fmla="*/ 41802 h 125059"/>
                <a:gd name="connsiteX30" fmla="*/ 74354 w 95905"/>
                <a:gd name="connsiteY30" fmla="*/ 48012 h 125059"/>
                <a:gd name="connsiteX31" fmla="*/ 80189 w 95905"/>
                <a:gd name="connsiteY31" fmla="*/ 52737 h 125059"/>
                <a:gd name="connsiteX32" fmla="*/ 82345 w 95905"/>
                <a:gd name="connsiteY32" fmla="*/ 63265 h 125059"/>
                <a:gd name="connsiteX33" fmla="*/ 87203 w 95905"/>
                <a:gd name="connsiteY33" fmla="*/ 70187 h 125059"/>
                <a:gd name="connsiteX34" fmla="*/ 93812 w 95905"/>
                <a:gd name="connsiteY34" fmla="*/ 78734 h 125059"/>
                <a:gd name="connsiteX35" fmla="*/ 94116 w 95905"/>
                <a:gd name="connsiteY35" fmla="*/ 87230 h 125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95905" h="125059">
                  <a:moveTo>
                    <a:pt x="94116" y="87230"/>
                  </a:moveTo>
                  <a:cubicBezTo>
                    <a:pt x="90932" y="87725"/>
                    <a:pt x="89537" y="90481"/>
                    <a:pt x="87203" y="88678"/>
                  </a:cubicBezTo>
                  <a:cubicBezTo>
                    <a:pt x="84818" y="86874"/>
                    <a:pt x="85846" y="86430"/>
                    <a:pt x="80277" y="86201"/>
                  </a:cubicBezTo>
                  <a:cubicBezTo>
                    <a:pt x="74709" y="85935"/>
                    <a:pt x="79060" y="89033"/>
                    <a:pt x="73758" y="88094"/>
                  </a:cubicBezTo>
                  <a:cubicBezTo>
                    <a:pt x="68456" y="87141"/>
                    <a:pt x="72058" y="84398"/>
                    <a:pt x="68684" y="85935"/>
                  </a:cubicBezTo>
                  <a:cubicBezTo>
                    <a:pt x="62710" y="96387"/>
                    <a:pt x="57915" y="107461"/>
                    <a:pt x="54351" y="118955"/>
                  </a:cubicBezTo>
                  <a:cubicBezTo>
                    <a:pt x="50495" y="127997"/>
                    <a:pt x="51345" y="124543"/>
                    <a:pt x="45371" y="123768"/>
                  </a:cubicBezTo>
                  <a:cubicBezTo>
                    <a:pt x="42491" y="123362"/>
                    <a:pt x="41185" y="123768"/>
                    <a:pt x="40601" y="124314"/>
                  </a:cubicBezTo>
                  <a:cubicBezTo>
                    <a:pt x="40322" y="124009"/>
                    <a:pt x="40030" y="123717"/>
                    <a:pt x="39701" y="123463"/>
                  </a:cubicBezTo>
                  <a:cubicBezTo>
                    <a:pt x="34183" y="118599"/>
                    <a:pt x="39434" y="118015"/>
                    <a:pt x="41908" y="112973"/>
                  </a:cubicBezTo>
                  <a:cubicBezTo>
                    <a:pt x="44331" y="107982"/>
                    <a:pt x="41058" y="107982"/>
                    <a:pt x="40157" y="99562"/>
                  </a:cubicBezTo>
                  <a:cubicBezTo>
                    <a:pt x="39295" y="91192"/>
                    <a:pt x="43392" y="96552"/>
                    <a:pt x="43747" y="88221"/>
                  </a:cubicBezTo>
                  <a:cubicBezTo>
                    <a:pt x="43912" y="80778"/>
                    <a:pt x="43290" y="73324"/>
                    <a:pt x="41908" y="65996"/>
                  </a:cubicBezTo>
                  <a:cubicBezTo>
                    <a:pt x="40690" y="57487"/>
                    <a:pt x="39079" y="59341"/>
                    <a:pt x="31621" y="56509"/>
                  </a:cubicBezTo>
                  <a:cubicBezTo>
                    <a:pt x="24112" y="53626"/>
                    <a:pt x="26357" y="46971"/>
                    <a:pt x="22894" y="43821"/>
                  </a:cubicBezTo>
                  <a:cubicBezTo>
                    <a:pt x="19431" y="40672"/>
                    <a:pt x="21232" y="36125"/>
                    <a:pt x="15791" y="30766"/>
                  </a:cubicBezTo>
                  <a:cubicBezTo>
                    <a:pt x="10311" y="25457"/>
                    <a:pt x="11618" y="19476"/>
                    <a:pt x="4870" y="13087"/>
                  </a:cubicBezTo>
                  <a:cubicBezTo>
                    <a:pt x="2079" y="10433"/>
                    <a:pt x="874" y="9887"/>
                    <a:pt x="-26" y="10166"/>
                  </a:cubicBezTo>
                  <a:cubicBezTo>
                    <a:pt x="240" y="8528"/>
                    <a:pt x="811" y="6966"/>
                    <a:pt x="1636" y="5531"/>
                  </a:cubicBezTo>
                  <a:cubicBezTo>
                    <a:pt x="2980" y="3778"/>
                    <a:pt x="4870" y="4591"/>
                    <a:pt x="6227" y="5353"/>
                  </a:cubicBezTo>
                  <a:cubicBezTo>
                    <a:pt x="7572" y="6115"/>
                    <a:pt x="10134" y="6166"/>
                    <a:pt x="10400" y="4363"/>
                  </a:cubicBezTo>
                  <a:cubicBezTo>
                    <a:pt x="10666" y="2559"/>
                    <a:pt x="16248" y="2153"/>
                    <a:pt x="19076" y="2788"/>
                  </a:cubicBezTo>
                  <a:cubicBezTo>
                    <a:pt x="21867" y="3461"/>
                    <a:pt x="21956" y="2966"/>
                    <a:pt x="25900" y="667"/>
                  </a:cubicBezTo>
                  <a:cubicBezTo>
                    <a:pt x="28158" y="-629"/>
                    <a:pt x="31025" y="19"/>
                    <a:pt x="32509" y="2153"/>
                  </a:cubicBezTo>
                  <a:cubicBezTo>
                    <a:pt x="34665" y="4464"/>
                    <a:pt x="37075" y="6496"/>
                    <a:pt x="39701" y="8223"/>
                  </a:cubicBezTo>
                  <a:cubicBezTo>
                    <a:pt x="42935" y="10078"/>
                    <a:pt x="42757" y="10344"/>
                    <a:pt x="46715" y="12859"/>
                  </a:cubicBezTo>
                  <a:cubicBezTo>
                    <a:pt x="50622" y="15335"/>
                    <a:pt x="49366" y="14078"/>
                    <a:pt x="54123" y="13849"/>
                  </a:cubicBezTo>
                  <a:cubicBezTo>
                    <a:pt x="58841" y="13672"/>
                    <a:pt x="59881" y="16999"/>
                    <a:pt x="65538" y="21812"/>
                  </a:cubicBezTo>
                  <a:cubicBezTo>
                    <a:pt x="71157" y="26588"/>
                    <a:pt x="66934" y="23705"/>
                    <a:pt x="68684" y="28607"/>
                  </a:cubicBezTo>
                  <a:cubicBezTo>
                    <a:pt x="70802" y="32747"/>
                    <a:pt x="70802" y="37662"/>
                    <a:pt x="68684" y="41802"/>
                  </a:cubicBezTo>
                  <a:cubicBezTo>
                    <a:pt x="66312" y="48863"/>
                    <a:pt x="72286" y="44406"/>
                    <a:pt x="74354" y="48012"/>
                  </a:cubicBezTo>
                  <a:cubicBezTo>
                    <a:pt x="76459" y="51645"/>
                    <a:pt x="79389" y="49981"/>
                    <a:pt x="80189" y="52737"/>
                  </a:cubicBezTo>
                  <a:cubicBezTo>
                    <a:pt x="82168" y="55861"/>
                    <a:pt x="82929" y="59608"/>
                    <a:pt x="82345" y="63265"/>
                  </a:cubicBezTo>
                  <a:cubicBezTo>
                    <a:pt x="81267" y="69285"/>
                    <a:pt x="82345" y="66008"/>
                    <a:pt x="87203" y="70187"/>
                  </a:cubicBezTo>
                  <a:cubicBezTo>
                    <a:pt x="92061" y="74416"/>
                    <a:pt x="92099" y="70949"/>
                    <a:pt x="93812" y="78734"/>
                  </a:cubicBezTo>
                  <a:cubicBezTo>
                    <a:pt x="95511" y="86557"/>
                    <a:pt x="97312" y="86735"/>
                    <a:pt x="94116" y="87230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6" name="Vrije vorm 385">
              <a:extLst>
                <a:ext uri="{FF2B5EF4-FFF2-40B4-BE49-F238E27FC236}">
                  <a16:creationId xmlns:a16="http://schemas.microsoft.com/office/drawing/2014/main" id="{CA334BAC-A46E-984E-93D5-09955F25EE64}"/>
                </a:ext>
              </a:extLst>
            </p:cNvPr>
            <p:cNvSpPr/>
            <p:nvPr/>
          </p:nvSpPr>
          <p:spPr>
            <a:xfrm>
              <a:off x="6151602" y="2471979"/>
              <a:ext cx="266178" cy="232022"/>
            </a:xfrm>
            <a:custGeom>
              <a:avLst/>
              <a:gdLst>
                <a:gd name="connsiteX0" fmla="*/ 265428 w 266178"/>
                <a:gd name="connsiteY0" fmla="*/ 129880 h 232022"/>
                <a:gd name="connsiteX1" fmla="*/ 257297 w 266178"/>
                <a:gd name="connsiteY1" fmla="*/ 139870 h 232022"/>
                <a:gd name="connsiteX2" fmla="*/ 242292 w 266178"/>
                <a:gd name="connsiteY2" fmla="*/ 146169 h 232022"/>
                <a:gd name="connsiteX3" fmla="*/ 226424 w 266178"/>
                <a:gd name="connsiteY3" fmla="*/ 145534 h 232022"/>
                <a:gd name="connsiteX4" fmla="*/ 232220 w 266178"/>
                <a:gd name="connsiteY4" fmla="*/ 162317 h 232022"/>
                <a:gd name="connsiteX5" fmla="*/ 234694 w 266178"/>
                <a:gd name="connsiteY5" fmla="*/ 182430 h 232022"/>
                <a:gd name="connsiteX6" fmla="*/ 239856 w 266178"/>
                <a:gd name="connsiteY6" fmla="*/ 192557 h 232022"/>
                <a:gd name="connsiteX7" fmla="*/ 224889 w 266178"/>
                <a:gd name="connsiteY7" fmla="*/ 196240 h 232022"/>
                <a:gd name="connsiteX8" fmla="*/ 215630 w 266178"/>
                <a:gd name="connsiteY8" fmla="*/ 197993 h 232022"/>
                <a:gd name="connsiteX9" fmla="*/ 206421 w 266178"/>
                <a:gd name="connsiteY9" fmla="*/ 209512 h 232022"/>
                <a:gd name="connsiteX10" fmla="*/ 207182 w 266178"/>
                <a:gd name="connsiteY10" fmla="*/ 222605 h 232022"/>
                <a:gd name="connsiteX11" fmla="*/ 204036 w 266178"/>
                <a:gd name="connsiteY11" fmla="*/ 231737 h 232022"/>
                <a:gd name="connsiteX12" fmla="*/ 197567 w 266178"/>
                <a:gd name="connsiteY12" fmla="*/ 226784 h 232022"/>
                <a:gd name="connsiteX13" fmla="*/ 187876 w 266178"/>
                <a:gd name="connsiteY13" fmla="*/ 222644 h 232022"/>
                <a:gd name="connsiteX14" fmla="*/ 187547 w 266178"/>
                <a:gd name="connsiteY14" fmla="*/ 222783 h 232022"/>
                <a:gd name="connsiteX15" fmla="*/ 183539 w 266178"/>
                <a:gd name="connsiteY15" fmla="*/ 223863 h 232022"/>
                <a:gd name="connsiteX16" fmla="*/ 176854 w 266178"/>
                <a:gd name="connsiteY16" fmla="*/ 222516 h 232022"/>
                <a:gd name="connsiteX17" fmla="*/ 170740 w 266178"/>
                <a:gd name="connsiteY17" fmla="*/ 226974 h 232022"/>
                <a:gd name="connsiteX18" fmla="*/ 166022 w 266178"/>
                <a:gd name="connsiteY18" fmla="*/ 218872 h 232022"/>
                <a:gd name="connsiteX19" fmla="*/ 160086 w 266178"/>
                <a:gd name="connsiteY19" fmla="*/ 217513 h 232022"/>
                <a:gd name="connsiteX20" fmla="*/ 152095 w 266178"/>
                <a:gd name="connsiteY20" fmla="*/ 225349 h 232022"/>
                <a:gd name="connsiteX21" fmla="*/ 147135 w 266178"/>
                <a:gd name="connsiteY21" fmla="*/ 217564 h 232022"/>
                <a:gd name="connsiteX22" fmla="*/ 139233 w 266178"/>
                <a:gd name="connsiteY22" fmla="*/ 213919 h 232022"/>
                <a:gd name="connsiteX23" fmla="*/ 129161 w 266178"/>
                <a:gd name="connsiteY23" fmla="*/ 215582 h 232022"/>
                <a:gd name="connsiteX24" fmla="*/ 125166 w 266178"/>
                <a:gd name="connsiteY24" fmla="*/ 222516 h 232022"/>
                <a:gd name="connsiteX25" fmla="*/ 112494 w 266178"/>
                <a:gd name="connsiteY25" fmla="*/ 216840 h 232022"/>
                <a:gd name="connsiteX26" fmla="*/ 105975 w 266178"/>
                <a:gd name="connsiteY26" fmla="*/ 213284 h 232022"/>
                <a:gd name="connsiteX27" fmla="*/ 93443 w 266178"/>
                <a:gd name="connsiteY27" fmla="*/ 209512 h 232022"/>
                <a:gd name="connsiteX28" fmla="*/ 79592 w 266178"/>
                <a:gd name="connsiteY28" fmla="*/ 205372 h 232022"/>
                <a:gd name="connsiteX29" fmla="*/ 53399 w 266178"/>
                <a:gd name="connsiteY29" fmla="*/ 200291 h 232022"/>
                <a:gd name="connsiteX30" fmla="*/ 44051 w 266178"/>
                <a:gd name="connsiteY30" fmla="*/ 201003 h 232022"/>
                <a:gd name="connsiteX31" fmla="*/ 32546 w 266178"/>
                <a:gd name="connsiteY31" fmla="*/ 202400 h 232022"/>
                <a:gd name="connsiteX32" fmla="*/ 25265 w 266178"/>
                <a:gd name="connsiteY32" fmla="*/ 209512 h 232022"/>
                <a:gd name="connsiteX33" fmla="*/ 12099 w 266178"/>
                <a:gd name="connsiteY33" fmla="*/ 214236 h 232022"/>
                <a:gd name="connsiteX34" fmla="*/ 7241 w 266178"/>
                <a:gd name="connsiteY34" fmla="*/ 212890 h 232022"/>
                <a:gd name="connsiteX35" fmla="*/ 8002 w 266178"/>
                <a:gd name="connsiteY35" fmla="*/ 203403 h 232022"/>
                <a:gd name="connsiteX36" fmla="*/ 4819 w 266178"/>
                <a:gd name="connsiteY36" fmla="*/ 190081 h 232022"/>
                <a:gd name="connsiteX37" fmla="*/ 2117 w 266178"/>
                <a:gd name="connsiteY37" fmla="*/ 179730 h 232022"/>
                <a:gd name="connsiteX38" fmla="*/ 11503 w 266178"/>
                <a:gd name="connsiteY38" fmla="*/ 166231 h 232022"/>
                <a:gd name="connsiteX39" fmla="*/ 16133 w 266178"/>
                <a:gd name="connsiteY39" fmla="*/ 152007 h 232022"/>
                <a:gd name="connsiteX40" fmla="*/ 10108 w 266178"/>
                <a:gd name="connsiteY40" fmla="*/ 122940 h 232022"/>
                <a:gd name="connsiteX41" fmla="*/ 6835 w 266178"/>
                <a:gd name="connsiteY41" fmla="*/ 108857 h 232022"/>
                <a:gd name="connsiteX42" fmla="*/ 13799 w 266178"/>
                <a:gd name="connsiteY42" fmla="*/ 107281 h 232022"/>
                <a:gd name="connsiteX43" fmla="*/ 24631 w 266178"/>
                <a:gd name="connsiteY43" fmla="*/ 105796 h 232022"/>
                <a:gd name="connsiteX44" fmla="*/ 36529 w 266178"/>
                <a:gd name="connsiteY44" fmla="*/ 106606 h 232022"/>
                <a:gd name="connsiteX45" fmla="*/ 43277 w 266178"/>
                <a:gd name="connsiteY45" fmla="*/ 97922 h 232022"/>
                <a:gd name="connsiteX46" fmla="*/ 51775 w 266178"/>
                <a:gd name="connsiteY46" fmla="*/ 93467 h 232022"/>
                <a:gd name="connsiteX47" fmla="*/ 61212 w 266178"/>
                <a:gd name="connsiteY47" fmla="*/ 89372 h 232022"/>
                <a:gd name="connsiteX48" fmla="*/ 62062 w 266178"/>
                <a:gd name="connsiteY48" fmla="*/ 97157 h 232022"/>
                <a:gd name="connsiteX49" fmla="*/ 68848 w 266178"/>
                <a:gd name="connsiteY49" fmla="*/ 96797 h 232022"/>
                <a:gd name="connsiteX50" fmla="*/ 67554 w 266178"/>
                <a:gd name="connsiteY50" fmla="*/ 84468 h 232022"/>
                <a:gd name="connsiteX51" fmla="*/ 67554 w 266178"/>
                <a:gd name="connsiteY51" fmla="*/ 71959 h 232022"/>
                <a:gd name="connsiteX52" fmla="*/ 73935 w 266178"/>
                <a:gd name="connsiteY52" fmla="*/ 57608 h 232022"/>
                <a:gd name="connsiteX53" fmla="*/ 81799 w 266178"/>
                <a:gd name="connsiteY53" fmla="*/ 54098 h 232022"/>
                <a:gd name="connsiteX54" fmla="*/ 92986 w 266178"/>
                <a:gd name="connsiteY54" fmla="*/ 49145 h 232022"/>
                <a:gd name="connsiteX55" fmla="*/ 92491 w 266178"/>
                <a:gd name="connsiteY55" fmla="*/ 37536 h 232022"/>
                <a:gd name="connsiteX56" fmla="*/ 92491 w 266178"/>
                <a:gd name="connsiteY56" fmla="*/ 28986 h 232022"/>
                <a:gd name="connsiteX57" fmla="*/ 92898 w 266178"/>
                <a:gd name="connsiteY57" fmla="*/ 20033 h 232022"/>
                <a:gd name="connsiteX58" fmla="*/ 96081 w 266178"/>
                <a:gd name="connsiteY58" fmla="*/ 18773 h 232022"/>
                <a:gd name="connsiteX59" fmla="*/ 110237 w 266178"/>
                <a:gd name="connsiteY59" fmla="*/ 13509 h 232022"/>
                <a:gd name="connsiteX60" fmla="*/ 117517 w 266178"/>
                <a:gd name="connsiteY60" fmla="*/ 15804 h 232022"/>
                <a:gd name="connsiteX61" fmla="*/ 126244 w 266178"/>
                <a:gd name="connsiteY61" fmla="*/ 5634 h 232022"/>
                <a:gd name="connsiteX62" fmla="*/ 136988 w 266178"/>
                <a:gd name="connsiteY62" fmla="*/ 2839 h 232022"/>
                <a:gd name="connsiteX63" fmla="*/ 143951 w 266178"/>
                <a:gd name="connsiteY63" fmla="*/ 5 h 232022"/>
                <a:gd name="connsiteX64" fmla="*/ 149608 w 266178"/>
                <a:gd name="connsiteY64" fmla="*/ 2839 h 232022"/>
                <a:gd name="connsiteX65" fmla="*/ 158056 w 266178"/>
                <a:gd name="connsiteY65" fmla="*/ 4144 h 232022"/>
                <a:gd name="connsiteX66" fmla="*/ 169523 w 266178"/>
                <a:gd name="connsiteY66" fmla="*/ 4549 h 232022"/>
                <a:gd name="connsiteX67" fmla="*/ 171134 w 266178"/>
                <a:gd name="connsiteY67" fmla="*/ 13504 h 232022"/>
                <a:gd name="connsiteX68" fmla="*/ 181788 w 266178"/>
                <a:gd name="connsiteY68" fmla="*/ 16425 h 232022"/>
                <a:gd name="connsiteX69" fmla="*/ 195677 w 266178"/>
                <a:gd name="connsiteY69" fmla="*/ 12151 h 232022"/>
                <a:gd name="connsiteX70" fmla="*/ 208120 w 266178"/>
                <a:gd name="connsiteY70" fmla="*/ 22410 h 232022"/>
                <a:gd name="connsiteX71" fmla="*/ 215947 w 266178"/>
                <a:gd name="connsiteY71" fmla="*/ 30780 h 232022"/>
                <a:gd name="connsiteX72" fmla="*/ 211850 w 266178"/>
                <a:gd name="connsiteY72" fmla="*/ 59172 h 232022"/>
                <a:gd name="connsiteX73" fmla="*/ 221109 w 266178"/>
                <a:gd name="connsiteY73" fmla="*/ 73523 h 232022"/>
                <a:gd name="connsiteX74" fmla="*/ 231536 w 266178"/>
                <a:gd name="connsiteY74" fmla="*/ 95571 h 232022"/>
                <a:gd name="connsiteX75" fmla="*/ 243129 w 266178"/>
                <a:gd name="connsiteY75" fmla="*/ 105560 h 232022"/>
                <a:gd name="connsiteX76" fmla="*/ 243129 w 266178"/>
                <a:gd name="connsiteY76" fmla="*/ 114514 h 232022"/>
                <a:gd name="connsiteX77" fmla="*/ 259136 w 266178"/>
                <a:gd name="connsiteY77" fmla="*/ 120814 h 232022"/>
                <a:gd name="connsiteX78" fmla="*/ 265428 w 266178"/>
                <a:gd name="connsiteY78" fmla="*/ 129880 h 232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266178" h="232022">
                  <a:moveTo>
                    <a:pt x="265428" y="129880"/>
                  </a:moveTo>
                  <a:cubicBezTo>
                    <a:pt x="261965" y="137529"/>
                    <a:pt x="267546" y="133030"/>
                    <a:pt x="257297" y="139870"/>
                  </a:cubicBezTo>
                  <a:cubicBezTo>
                    <a:pt x="246998" y="146753"/>
                    <a:pt x="249344" y="150803"/>
                    <a:pt x="242292" y="146169"/>
                  </a:cubicBezTo>
                  <a:cubicBezTo>
                    <a:pt x="235227" y="141535"/>
                    <a:pt x="228225" y="133660"/>
                    <a:pt x="226424" y="145534"/>
                  </a:cubicBezTo>
                  <a:cubicBezTo>
                    <a:pt x="224673" y="157413"/>
                    <a:pt x="228758" y="151428"/>
                    <a:pt x="232220" y="162317"/>
                  </a:cubicBezTo>
                  <a:cubicBezTo>
                    <a:pt x="235683" y="173162"/>
                    <a:pt x="227540" y="171677"/>
                    <a:pt x="234694" y="182430"/>
                  </a:cubicBezTo>
                  <a:cubicBezTo>
                    <a:pt x="236800" y="185598"/>
                    <a:pt x="238525" y="188989"/>
                    <a:pt x="239856" y="192557"/>
                  </a:cubicBezTo>
                  <a:cubicBezTo>
                    <a:pt x="232043" y="192735"/>
                    <a:pt x="233704" y="194538"/>
                    <a:pt x="224889" y="196240"/>
                  </a:cubicBezTo>
                  <a:cubicBezTo>
                    <a:pt x="215630" y="197993"/>
                    <a:pt x="219092" y="193268"/>
                    <a:pt x="215630" y="197993"/>
                  </a:cubicBezTo>
                  <a:cubicBezTo>
                    <a:pt x="212129" y="202666"/>
                    <a:pt x="207233" y="200876"/>
                    <a:pt x="206421" y="209512"/>
                  </a:cubicBezTo>
                  <a:cubicBezTo>
                    <a:pt x="206027" y="213893"/>
                    <a:pt x="206294" y="218300"/>
                    <a:pt x="207182" y="222605"/>
                  </a:cubicBezTo>
                  <a:cubicBezTo>
                    <a:pt x="207410" y="228409"/>
                    <a:pt x="207182" y="233273"/>
                    <a:pt x="204036" y="231737"/>
                  </a:cubicBezTo>
                  <a:cubicBezTo>
                    <a:pt x="200890" y="230213"/>
                    <a:pt x="200890" y="232054"/>
                    <a:pt x="197567" y="226784"/>
                  </a:cubicBezTo>
                  <a:cubicBezTo>
                    <a:pt x="196032" y="222961"/>
                    <a:pt x="191695" y="221107"/>
                    <a:pt x="187876" y="222644"/>
                  </a:cubicBezTo>
                  <a:cubicBezTo>
                    <a:pt x="187763" y="222682"/>
                    <a:pt x="187661" y="222732"/>
                    <a:pt x="187547" y="222783"/>
                  </a:cubicBezTo>
                  <a:cubicBezTo>
                    <a:pt x="183539" y="223863"/>
                    <a:pt x="186697" y="226568"/>
                    <a:pt x="183539" y="223863"/>
                  </a:cubicBezTo>
                  <a:cubicBezTo>
                    <a:pt x="180393" y="221158"/>
                    <a:pt x="180672" y="219405"/>
                    <a:pt x="176854" y="222516"/>
                  </a:cubicBezTo>
                  <a:cubicBezTo>
                    <a:pt x="173074" y="225577"/>
                    <a:pt x="172440" y="229578"/>
                    <a:pt x="170740" y="226974"/>
                  </a:cubicBezTo>
                  <a:cubicBezTo>
                    <a:pt x="169028" y="224358"/>
                    <a:pt x="171996" y="220167"/>
                    <a:pt x="166022" y="218872"/>
                  </a:cubicBezTo>
                  <a:cubicBezTo>
                    <a:pt x="160086" y="217513"/>
                    <a:pt x="167227" y="211633"/>
                    <a:pt x="160086" y="217513"/>
                  </a:cubicBezTo>
                  <a:cubicBezTo>
                    <a:pt x="152894" y="223418"/>
                    <a:pt x="156673" y="226746"/>
                    <a:pt x="152095" y="225349"/>
                  </a:cubicBezTo>
                  <a:cubicBezTo>
                    <a:pt x="147554" y="223952"/>
                    <a:pt x="153122" y="218783"/>
                    <a:pt x="147135" y="217564"/>
                  </a:cubicBezTo>
                  <a:cubicBezTo>
                    <a:pt x="141161" y="216344"/>
                    <a:pt x="149342" y="212255"/>
                    <a:pt x="139233" y="213919"/>
                  </a:cubicBezTo>
                  <a:cubicBezTo>
                    <a:pt x="129161" y="215582"/>
                    <a:pt x="133119" y="208699"/>
                    <a:pt x="129161" y="215582"/>
                  </a:cubicBezTo>
                  <a:cubicBezTo>
                    <a:pt x="125166" y="222516"/>
                    <a:pt x="134425" y="228270"/>
                    <a:pt x="125166" y="222516"/>
                  </a:cubicBezTo>
                  <a:cubicBezTo>
                    <a:pt x="115957" y="216713"/>
                    <a:pt x="118202" y="215544"/>
                    <a:pt x="112494" y="216840"/>
                  </a:cubicBezTo>
                  <a:cubicBezTo>
                    <a:pt x="106825" y="218199"/>
                    <a:pt x="111328" y="217513"/>
                    <a:pt x="105975" y="213284"/>
                  </a:cubicBezTo>
                  <a:cubicBezTo>
                    <a:pt x="100622" y="209055"/>
                    <a:pt x="97971" y="213017"/>
                    <a:pt x="93443" y="209512"/>
                  </a:cubicBezTo>
                  <a:cubicBezTo>
                    <a:pt x="88851" y="206045"/>
                    <a:pt x="83194" y="208293"/>
                    <a:pt x="79592" y="205372"/>
                  </a:cubicBezTo>
                  <a:cubicBezTo>
                    <a:pt x="71119" y="202565"/>
                    <a:pt x="62316" y="200863"/>
                    <a:pt x="53399" y="200291"/>
                  </a:cubicBezTo>
                  <a:cubicBezTo>
                    <a:pt x="50278" y="199593"/>
                    <a:pt x="47019" y="199834"/>
                    <a:pt x="44051" y="201003"/>
                  </a:cubicBezTo>
                  <a:cubicBezTo>
                    <a:pt x="37988" y="202946"/>
                    <a:pt x="36364" y="198310"/>
                    <a:pt x="32546" y="202400"/>
                  </a:cubicBezTo>
                  <a:cubicBezTo>
                    <a:pt x="28677" y="206540"/>
                    <a:pt x="34652" y="203847"/>
                    <a:pt x="25265" y="209512"/>
                  </a:cubicBezTo>
                  <a:cubicBezTo>
                    <a:pt x="15828" y="215227"/>
                    <a:pt x="17046" y="217119"/>
                    <a:pt x="12099" y="214236"/>
                  </a:cubicBezTo>
                  <a:cubicBezTo>
                    <a:pt x="10615" y="213385"/>
                    <a:pt x="8953" y="212915"/>
                    <a:pt x="7241" y="212890"/>
                  </a:cubicBezTo>
                  <a:cubicBezTo>
                    <a:pt x="6594" y="209715"/>
                    <a:pt x="6860" y="206426"/>
                    <a:pt x="8002" y="203403"/>
                  </a:cubicBezTo>
                  <a:cubicBezTo>
                    <a:pt x="10032" y="197777"/>
                    <a:pt x="9714" y="192468"/>
                    <a:pt x="4819" y="190081"/>
                  </a:cubicBezTo>
                  <a:cubicBezTo>
                    <a:pt x="-39" y="187693"/>
                    <a:pt x="-1790" y="186703"/>
                    <a:pt x="2117" y="179730"/>
                  </a:cubicBezTo>
                  <a:cubicBezTo>
                    <a:pt x="4730" y="174894"/>
                    <a:pt x="7888" y="170366"/>
                    <a:pt x="11503" y="166231"/>
                  </a:cubicBezTo>
                  <a:cubicBezTo>
                    <a:pt x="14712" y="162207"/>
                    <a:pt x="16361" y="157153"/>
                    <a:pt x="16133" y="152007"/>
                  </a:cubicBezTo>
                  <a:cubicBezTo>
                    <a:pt x="15740" y="142052"/>
                    <a:pt x="13697" y="132231"/>
                    <a:pt x="10108" y="122940"/>
                  </a:cubicBezTo>
                  <a:cubicBezTo>
                    <a:pt x="8586" y="118357"/>
                    <a:pt x="7482" y="113643"/>
                    <a:pt x="6835" y="108857"/>
                  </a:cubicBezTo>
                  <a:cubicBezTo>
                    <a:pt x="8991" y="107761"/>
                    <a:pt x="11376" y="107220"/>
                    <a:pt x="13799" y="107281"/>
                  </a:cubicBezTo>
                  <a:cubicBezTo>
                    <a:pt x="19278" y="107146"/>
                    <a:pt x="18746" y="102328"/>
                    <a:pt x="24631" y="105796"/>
                  </a:cubicBezTo>
                  <a:cubicBezTo>
                    <a:pt x="30555" y="109260"/>
                    <a:pt x="34195" y="109172"/>
                    <a:pt x="36529" y="106606"/>
                  </a:cubicBezTo>
                  <a:cubicBezTo>
                    <a:pt x="38825" y="104087"/>
                    <a:pt x="41121" y="99272"/>
                    <a:pt x="43277" y="97922"/>
                  </a:cubicBezTo>
                  <a:cubicBezTo>
                    <a:pt x="45839" y="95976"/>
                    <a:pt x="48719" y="94471"/>
                    <a:pt x="51775" y="93467"/>
                  </a:cubicBezTo>
                  <a:cubicBezTo>
                    <a:pt x="56354" y="91943"/>
                    <a:pt x="58790" y="85908"/>
                    <a:pt x="61212" y="89372"/>
                  </a:cubicBezTo>
                  <a:cubicBezTo>
                    <a:pt x="63686" y="92837"/>
                    <a:pt x="58016" y="96707"/>
                    <a:pt x="62062" y="97157"/>
                  </a:cubicBezTo>
                  <a:cubicBezTo>
                    <a:pt x="66109" y="97608"/>
                    <a:pt x="68671" y="103501"/>
                    <a:pt x="68848" y="96797"/>
                  </a:cubicBezTo>
                  <a:cubicBezTo>
                    <a:pt x="68911" y="92649"/>
                    <a:pt x="68480" y="88510"/>
                    <a:pt x="67554" y="84468"/>
                  </a:cubicBezTo>
                  <a:cubicBezTo>
                    <a:pt x="66692" y="77448"/>
                    <a:pt x="64003" y="81588"/>
                    <a:pt x="67554" y="71959"/>
                  </a:cubicBezTo>
                  <a:cubicBezTo>
                    <a:pt x="71144" y="62330"/>
                    <a:pt x="68988" y="57650"/>
                    <a:pt x="73935" y="57608"/>
                  </a:cubicBezTo>
                  <a:cubicBezTo>
                    <a:pt x="78881" y="57518"/>
                    <a:pt x="75139" y="59498"/>
                    <a:pt x="81799" y="54098"/>
                  </a:cubicBezTo>
                  <a:cubicBezTo>
                    <a:pt x="88496" y="48699"/>
                    <a:pt x="88040" y="55763"/>
                    <a:pt x="92986" y="49145"/>
                  </a:cubicBezTo>
                  <a:cubicBezTo>
                    <a:pt x="97933" y="42527"/>
                    <a:pt x="94064" y="42170"/>
                    <a:pt x="92491" y="37536"/>
                  </a:cubicBezTo>
                  <a:cubicBezTo>
                    <a:pt x="91033" y="34874"/>
                    <a:pt x="91033" y="31648"/>
                    <a:pt x="92491" y="28986"/>
                  </a:cubicBezTo>
                  <a:cubicBezTo>
                    <a:pt x="93088" y="26041"/>
                    <a:pt x="93227" y="23020"/>
                    <a:pt x="92898" y="20033"/>
                  </a:cubicBezTo>
                  <a:cubicBezTo>
                    <a:pt x="93608" y="19762"/>
                    <a:pt x="94648" y="19313"/>
                    <a:pt x="96081" y="18773"/>
                  </a:cubicBezTo>
                  <a:cubicBezTo>
                    <a:pt x="103946" y="15804"/>
                    <a:pt x="102918" y="11214"/>
                    <a:pt x="110237" y="13509"/>
                  </a:cubicBezTo>
                  <a:cubicBezTo>
                    <a:pt x="117517" y="15804"/>
                    <a:pt x="112533" y="20843"/>
                    <a:pt x="117517" y="15804"/>
                  </a:cubicBezTo>
                  <a:cubicBezTo>
                    <a:pt x="122553" y="10809"/>
                    <a:pt x="118507" y="8334"/>
                    <a:pt x="126244" y="5634"/>
                  </a:cubicBezTo>
                  <a:cubicBezTo>
                    <a:pt x="129682" y="4240"/>
                    <a:pt x="133297" y="3301"/>
                    <a:pt x="136988" y="2839"/>
                  </a:cubicBezTo>
                  <a:cubicBezTo>
                    <a:pt x="138814" y="968"/>
                    <a:pt x="141338" y="-60"/>
                    <a:pt x="143951" y="5"/>
                  </a:cubicBezTo>
                  <a:cubicBezTo>
                    <a:pt x="148530" y="5"/>
                    <a:pt x="146146" y="-221"/>
                    <a:pt x="149608" y="2839"/>
                  </a:cubicBezTo>
                  <a:cubicBezTo>
                    <a:pt x="153071" y="5900"/>
                    <a:pt x="151448" y="3963"/>
                    <a:pt x="158056" y="4144"/>
                  </a:cubicBezTo>
                  <a:cubicBezTo>
                    <a:pt x="164614" y="4369"/>
                    <a:pt x="165337" y="-896"/>
                    <a:pt x="169523" y="4549"/>
                  </a:cubicBezTo>
                  <a:cubicBezTo>
                    <a:pt x="173696" y="10038"/>
                    <a:pt x="166960" y="5946"/>
                    <a:pt x="171134" y="13504"/>
                  </a:cubicBezTo>
                  <a:cubicBezTo>
                    <a:pt x="175268" y="21063"/>
                    <a:pt x="170601" y="18858"/>
                    <a:pt x="181788" y="16425"/>
                  </a:cubicBezTo>
                  <a:cubicBezTo>
                    <a:pt x="193026" y="13995"/>
                    <a:pt x="186279" y="6121"/>
                    <a:pt x="195677" y="12151"/>
                  </a:cubicBezTo>
                  <a:cubicBezTo>
                    <a:pt x="205114" y="18226"/>
                    <a:pt x="202235" y="20250"/>
                    <a:pt x="208120" y="22410"/>
                  </a:cubicBezTo>
                  <a:cubicBezTo>
                    <a:pt x="214057" y="24615"/>
                    <a:pt x="216391" y="19845"/>
                    <a:pt x="215947" y="30780"/>
                  </a:cubicBezTo>
                  <a:cubicBezTo>
                    <a:pt x="213955" y="40142"/>
                    <a:pt x="212586" y="49628"/>
                    <a:pt x="211850" y="59172"/>
                  </a:cubicBezTo>
                  <a:cubicBezTo>
                    <a:pt x="213372" y="65696"/>
                    <a:pt x="216035" y="59846"/>
                    <a:pt x="221109" y="73523"/>
                  </a:cubicBezTo>
                  <a:cubicBezTo>
                    <a:pt x="226145" y="87202"/>
                    <a:pt x="222466" y="89586"/>
                    <a:pt x="231536" y="95571"/>
                  </a:cubicBezTo>
                  <a:cubicBezTo>
                    <a:pt x="240567" y="101600"/>
                    <a:pt x="245602" y="101150"/>
                    <a:pt x="243129" y="105560"/>
                  </a:cubicBezTo>
                  <a:cubicBezTo>
                    <a:pt x="240668" y="110015"/>
                    <a:pt x="228973" y="111499"/>
                    <a:pt x="243129" y="114514"/>
                  </a:cubicBezTo>
                  <a:cubicBezTo>
                    <a:pt x="257297" y="117529"/>
                    <a:pt x="259174" y="116764"/>
                    <a:pt x="259136" y="120814"/>
                  </a:cubicBezTo>
                  <a:cubicBezTo>
                    <a:pt x="259086" y="124864"/>
                    <a:pt x="268840" y="122277"/>
                    <a:pt x="265428" y="129880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7" name="Vrije vorm 386">
              <a:extLst>
                <a:ext uri="{FF2B5EF4-FFF2-40B4-BE49-F238E27FC236}">
                  <a16:creationId xmlns:a16="http://schemas.microsoft.com/office/drawing/2014/main" id="{E24FDBF3-8037-504C-851D-1BC3947F7FBE}"/>
                </a:ext>
              </a:extLst>
            </p:cNvPr>
            <p:cNvSpPr/>
            <p:nvPr/>
          </p:nvSpPr>
          <p:spPr>
            <a:xfrm>
              <a:off x="6023617" y="2921845"/>
              <a:ext cx="117020" cy="155129"/>
            </a:xfrm>
            <a:custGeom>
              <a:avLst/>
              <a:gdLst>
                <a:gd name="connsiteX0" fmla="*/ 116453 w 117020"/>
                <a:gd name="connsiteY0" fmla="*/ 121697 h 155129"/>
                <a:gd name="connsiteX1" fmla="*/ 106344 w 117020"/>
                <a:gd name="connsiteY1" fmla="*/ 131680 h 155129"/>
                <a:gd name="connsiteX2" fmla="*/ 102742 w 117020"/>
                <a:gd name="connsiteY2" fmla="*/ 141357 h 155129"/>
                <a:gd name="connsiteX3" fmla="*/ 102349 w 117020"/>
                <a:gd name="connsiteY3" fmla="*/ 152965 h 155129"/>
                <a:gd name="connsiteX4" fmla="*/ 92861 w 117020"/>
                <a:gd name="connsiteY4" fmla="*/ 153460 h 155129"/>
                <a:gd name="connsiteX5" fmla="*/ 75560 w 117020"/>
                <a:gd name="connsiteY5" fmla="*/ 154908 h 155129"/>
                <a:gd name="connsiteX6" fmla="*/ 80950 w 117020"/>
                <a:gd name="connsiteY6" fmla="*/ 147161 h 155129"/>
                <a:gd name="connsiteX7" fmla="*/ 80595 w 117020"/>
                <a:gd name="connsiteY7" fmla="*/ 139249 h 155129"/>
                <a:gd name="connsiteX8" fmla="*/ 71107 w 117020"/>
                <a:gd name="connsiteY8" fmla="*/ 131057 h 155129"/>
                <a:gd name="connsiteX9" fmla="*/ 67150 w 117020"/>
                <a:gd name="connsiteY9" fmla="*/ 127730 h 155129"/>
                <a:gd name="connsiteX10" fmla="*/ 67061 w 117020"/>
                <a:gd name="connsiteY10" fmla="*/ 127641 h 155129"/>
                <a:gd name="connsiteX11" fmla="*/ 66883 w 117020"/>
                <a:gd name="connsiteY11" fmla="*/ 127501 h 155129"/>
                <a:gd name="connsiteX12" fmla="*/ 64867 w 117020"/>
                <a:gd name="connsiteY12" fmla="*/ 125787 h 155129"/>
                <a:gd name="connsiteX13" fmla="*/ 56914 w 117020"/>
                <a:gd name="connsiteY13" fmla="*/ 116389 h 155129"/>
                <a:gd name="connsiteX14" fmla="*/ 50343 w 117020"/>
                <a:gd name="connsiteY14" fmla="*/ 126206 h 155129"/>
                <a:gd name="connsiteX15" fmla="*/ 44103 w 117020"/>
                <a:gd name="connsiteY15" fmla="*/ 132861 h 155129"/>
                <a:gd name="connsiteX16" fmla="*/ 41985 w 117020"/>
                <a:gd name="connsiteY16" fmla="*/ 130257 h 155129"/>
                <a:gd name="connsiteX17" fmla="*/ 32015 w 117020"/>
                <a:gd name="connsiteY17" fmla="*/ 122066 h 155129"/>
                <a:gd name="connsiteX18" fmla="*/ 25457 w 117020"/>
                <a:gd name="connsiteY18" fmla="*/ 120542 h 155129"/>
                <a:gd name="connsiteX19" fmla="*/ 13445 w 117020"/>
                <a:gd name="connsiteY19" fmla="*/ 110636 h 155129"/>
                <a:gd name="connsiteX20" fmla="*/ 8143 w 117020"/>
                <a:gd name="connsiteY20" fmla="*/ 106089 h 155129"/>
                <a:gd name="connsiteX21" fmla="*/ 17681 w 117020"/>
                <a:gd name="connsiteY21" fmla="*/ 105594 h 155129"/>
                <a:gd name="connsiteX22" fmla="*/ 20954 w 117020"/>
                <a:gd name="connsiteY22" fmla="*/ 99346 h 155129"/>
                <a:gd name="connsiteX23" fmla="*/ 14168 w 117020"/>
                <a:gd name="connsiteY23" fmla="*/ 90925 h 155129"/>
                <a:gd name="connsiteX24" fmla="*/ 22489 w 117020"/>
                <a:gd name="connsiteY24" fmla="*/ 85579 h 155129"/>
                <a:gd name="connsiteX25" fmla="*/ 24062 w 117020"/>
                <a:gd name="connsiteY25" fmla="*/ 84855 h 155129"/>
                <a:gd name="connsiteX26" fmla="*/ 15475 w 117020"/>
                <a:gd name="connsiteY26" fmla="*/ 81934 h 155129"/>
                <a:gd name="connsiteX27" fmla="*/ 9094 w 117020"/>
                <a:gd name="connsiteY27" fmla="*/ 71545 h 155129"/>
                <a:gd name="connsiteX28" fmla="*/ 14079 w 117020"/>
                <a:gd name="connsiteY28" fmla="*/ 56648 h 155129"/>
                <a:gd name="connsiteX29" fmla="*/ 12824 w 117020"/>
                <a:gd name="connsiteY29" fmla="*/ 51289 h 155129"/>
                <a:gd name="connsiteX30" fmla="*/ 6938 w 117020"/>
                <a:gd name="connsiteY30" fmla="*/ 50984 h 155129"/>
                <a:gd name="connsiteX31" fmla="*/ 6532 w 117020"/>
                <a:gd name="connsiteY31" fmla="*/ 50882 h 155129"/>
                <a:gd name="connsiteX32" fmla="*/ 18481 w 117020"/>
                <a:gd name="connsiteY32" fmla="*/ 41624 h 155129"/>
                <a:gd name="connsiteX33" fmla="*/ 9412 w 117020"/>
                <a:gd name="connsiteY33" fmla="*/ 35325 h 155129"/>
                <a:gd name="connsiteX34" fmla="*/ 4376 w 117020"/>
                <a:gd name="connsiteY34" fmla="*/ 30867 h 155129"/>
                <a:gd name="connsiteX35" fmla="*/ 6532 w 117020"/>
                <a:gd name="connsiteY35" fmla="*/ 25101 h 155129"/>
                <a:gd name="connsiteX36" fmla="*/ 1319 w 117020"/>
                <a:gd name="connsiteY36" fmla="*/ 18535 h 155129"/>
                <a:gd name="connsiteX37" fmla="*/ 418 w 117020"/>
                <a:gd name="connsiteY37" fmla="*/ 10522 h 155129"/>
                <a:gd name="connsiteX38" fmla="*/ 6164 w 117020"/>
                <a:gd name="connsiteY38" fmla="*/ 9036 h 155129"/>
                <a:gd name="connsiteX39" fmla="*/ 12684 w 117020"/>
                <a:gd name="connsiteY39" fmla="*/ 8452 h 155129"/>
                <a:gd name="connsiteX40" fmla="*/ 22755 w 117020"/>
                <a:gd name="connsiteY40" fmla="*/ 755 h 155129"/>
                <a:gd name="connsiteX41" fmla="*/ 28463 w 117020"/>
                <a:gd name="connsiteY41" fmla="*/ 2241 h 155129"/>
                <a:gd name="connsiteX42" fmla="*/ 36556 w 117020"/>
                <a:gd name="connsiteY42" fmla="*/ 2343 h 155129"/>
                <a:gd name="connsiteX43" fmla="*/ 41262 w 117020"/>
                <a:gd name="connsiteY43" fmla="*/ 3092 h 155129"/>
                <a:gd name="connsiteX44" fmla="*/ 42834 w 117020"/>
                <a:gd name="connsiteY44" fmla="*/ 3283 h 155129"/>
                <a:gd name="connsiteX45" fmla="*/ 47109 w 117020"/>
                <a:gd name="connsiteY45" fmla="*/ 9442 h 155129"/>
                <a:gd name="connsiteX46" fmla="*/ 56102 w 117020"/>
                <a:gd name="connsiteY46" fmla="*/ 16999 h 155129"/>
                <a:gd name="connsiteX47" fmla="*/ 56901 w 117020"/>
                <a:gd name="connsiteY47" fmla="*/ 30092 h 155129"/>
                <a:gd name="connsiteX48" fmla="*/ 69040 w 117020"/>
                <a:gd name="connsiteY48" fmla="*/ 38106 h 155129"/>
                <a:gd name="connsiteX49" fmla="*/ 73352 w 117020"/>
                <a:gd name="connsiteY49" fmla="*/ 42970 h 155129"/>
                <a:gd name="connsiteX50" fmla="*/ 70435 w 117020"/>
                <a:gd name="connsiteY50" fmla="*/ 48901 h 155129"/>
                <a:gd name="connsiteX51" fmla="*/ 73949 w 117020"/>
                <a:gd name="connsiteY51" fmla="*/ 53041 h 155129"/>
                <a:gd name="connsiteX52" fmla="*/ 82751 w 117020"/>
                <a:gd name="connsiteY52" fmla="*/ 56648 h 155129"/>
                <a:gd name="connsiteX53" fmla="*/ 84502 w 117020"/>
                <a:gd name="connsiteY53" fmla="*/ 57677 h 155129"/>
                <a:gd name="connsiteX54" fmla="*/ 87026 w 117020"/>
                <a:gd name="connsiteY54" fmla="*/ 59925 h 155129"/>
                <a:gd name="connsiteX55" fmla="*/ 92506 w 117020"/>
                <a:gd name="connsiteY55" fmla="*/ 64967 h 155129"/>
                <a:gd name="connsiteX56" fmla="*/ 103198 w 117020"/>
                <a:gd name="connsiteY56" fmla="*/ 58528 h 155129"/>
                <a:gd name="connsiteX57" fmla="*/ 107016 w 117020"/>
                <a:gd name="connsiteY57" fmla="*/ 60826 h 155129"/>
                <a:gd name="connsiteX58" fmla="*/ 105215 w 117020"/>
                <a:gd name="connsiteY58" fmla="*/ 67888 h 155129"/>
                <a:gd name="connsiteX59" fmla="*/ 110745 w 117020"/>
                <a:gd name="connsiteY59" fmla="*/ 78606 h 155129"/>
                <a:gd name="connsiteX60" fmla="*/ 99824 w 117020"/>
                <a:gd name="connsiteY60" fmla="*/ 89579 h 155129"/>
                <a:gd name="connsiteX61" fmla="*/ 103376 w 117020"/>
                <a:gd name="connsiteY61" fmla="*/ 104565 h 155129"/>
                <a:gd name="connsiteX62" fmla="*/ 110796 w 117020"/>
                <a:gd name="connsiteY62" fmla="*/ 111271 h 155129"/>
                <a:gd name="connsiteX63" fmla="*/ 116453 w 117020"/>
                <a:gd name="connsiteY63" fmla="*/ 121697 h 155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117020" h="155129">
                  <a:moveTo>
                    <a:pt x="116453" y="121697"/>
                  </a:moveTo>
                  <a:cubicBezTo>
                    <a:pt x="114158" y="127908"/>
                    <a:pt x="117887" y="124530"/>
                    <a:pt x="106344" y="131680"/>
                  </a:cubicBezTo>
                  <a:cubicBezTo>
                    <a:pt x="94839" y="138792"/>
                    <a:pt x="100002" y="136366"/>
                    <a:pt x="102742" y="141357"/>
                  </a:cubicBezTo>
                  <a:cubicBezTo>
                    <a:pt x="104048" y="145142"/>
                    <a:pt x="103909" y="149282"/>
                    <a:pt x="102349" y="152965"/>
                  </a:cubicBezTo>
                  <a:cubicBezTo>
                    <a:pt x="98163" y="149460"/>
                    <a:pt x="97719" y="151263"/>
                    <a:pt x="92861" y="153460"/>
                  </a:cubicBezTo>
                  <a:cubicBezTo>
                    <a:pt x="87229" y="154971"/>
                    <a:pt x="81369" y="155467"/>
                    <a:pt x="75560" y="154908"/>
                  </a:cubicBezTo>
                  <a:cubicBezTo>
                    <a:pt x="77640" y="152533"/>
                    <a:pt x="79441" y="149930"/>
                    <a:pt x="80950" y="147161"/>
                  </a:cubicBezTo>
                  <a:cubicBezTo>
                    <a:pt x="83829" y="141764"/>
                    <a:pt x="80950" y="147161"/>
                    <a:pt x="80595" y="139249"/>
                  </a:cubicBezTo>
                  <a:cubicBezTo>
                    <a:pt x="80278" y="131286"/>
                    <a:pt x="80595" y="139249"/>
                    <a:pt x="71107" y="131057"/>
                  </a:cubicBezTo>
                  <a:cubicBezTo>
                    <a:pt x="69852" y="129876"/>
                    <a:pt x="68532" y="128771"/>
                    <a:pt x="67150" y="127730"/>
                  </a:cubicBezTo>
                  <a:lnTo>
                    <a:pt x="67061" y="127641"/>
                  </a:lnTo>
                  <a:cubicBezTo>
                    <a:pt x="67010" y="127578"/>
                    <a:pt x="66947" y="127540"/>
                    <a:pt x="66883" y="127501"/>
                  </a:cubicBezTo>
                  <a:cubicBezTo>
                    <a:pt x="66617" y="127273"/>
                    <a:pt x="65983" y="126739"/>
                    <a:pt x="64867" y="125787"/>
                  </a:cubicBezTo>
                  <a:cubicBezTo>
                    <a:pt x="61683" y="123158"/>
                    <a:pt x="58981" y="119970"/>
                    <a:pt x="56914" y="116389"/>
                  </a:cubicBezTo>
                  <a:cubicBezTo>
                    <a:pt x="55290" y="114725"/>
                    <a:pt x="51561" y="119945"/>
                    <a:pt x="50343" y="126206"/>
                  </a:cubicBezTo>
                  <a:cubicBezTo>
                    <a:pt x="49861" y="129521"/>
                    <a:pt x="47375" y="132175"/>
                    <a:pt x="44103" y="132861"/>
                  </a:cubicBezTo>
                  <a:cubicBezTo>
                    <a:pt x="43342" y="132010"/>
                    <a:pt x="42619" y="131108"/>
                    <a:pt x="41985" y="130257"/>
                  </a:cubicBezTo>
                  <a:cubicBezTo>
                    <a:pt x="39739" y="127197"/>
                    <a:pt x="36505" y="126066"/>
                    <a:pt x="32015" y="122066"/>
                  </a:cubicBezTo>
                  <a:cubicBezTo>
                    <a:pt x="27524" y="118053"/>
                    <a:pt x="32015" y="122066"/>
                    <a:pt x="25457" y="120542"/>
                  </a:cubicBezTo>
                  <a:cubicBezTo>
                    <a:pt x="18849" y="119018"/>
                    <a:pt x="16997" y="113836"/>
                    <a:pt x="13445" y="110636"/>
                  </a:cubicBezTo>
                  <a:cubicBezTo>
                    <a:pt x="11834" y="109239"/>
                    <a:pt x="9855" y="107537"/>
                    <a:pt x="8143" y="106089"/>
                  </a:cubicBezTo>
                  <a:cubicBezTo>
                    <a:pt x="11885" y="101327"/>
                    <a:pt x="10578" y="105696"/>
                    <a:pt x="17681" y="105594"/>
                  </a:cubicBezTo>
                  <a:cubicBezTo>
                    <a:pt x="25140" y="105467"/>
                    <a:pt x="20282" y="102266"/>
                    <a:pt x="20954" y="99346"/>
                  </a:cubicBezTo>
                  <a:cubicBezTo>
                    <a:pt x="21677" y="96463"/>
                    <a:pt x="16692" y="94126"/>
                    <a:pt x="14168" y="90925"/>
                  </a:cubicBezTo>
                  <a:cubicBezTo>
                    <a:pt x="11606" y="87738"/>
                    <a:pt x="16375" y="88639"/>
                    <a:pt x="22489" y="85579"/>
                  </a:cubicBezTo>
                  <a:cubicBezTo>
                    <a:pt x="23199" y="85223"/>
                    <a:pt x="23694" y="84994"/>
                    <a:pt x="24062" y="84855"/>
                  </a:cubicBezTo>
                  <a:cubicBezTo>
                    <a:pt x="20865" y="85858"/>
                    <a:pt x="17402" y="84677"/>
                    <a:pt x="15475" y="81934"/>
                  </a:cubicBezTo>
                  <a:cubicBezTo>
                    <a:pt x="10617" y="75368"/>
                    <a:pt x="10211" y="75228"/>
                    <a:pt x="9094" y="71545"/>
                  </a:cubicBezTo>
                  <a:cubicBezTo>
                    <a:pt x="8016" y="67850"/>
                    <a:pt x="11783" y="64789"/>
                    <a:pt x="14079" y="56648"/>
                  </a:cubicBezTo>
                  <a:cubicBezTo>
                    <a:pt x="14980" y="53359"/>
                    <a:pt x="14219" y="51924"/>
                    <a:pt x="12824" y="51289"/>
                  </a:cubicBezTo>
                  <a:cubicBezTo>
                    <a:pt x="10883" y="50908"/>
                    <a:pt x="8904" y="50806"/>
                    <a:pt x="6938" y="50984"/>
                  </a:cubicBezTo>
                  <a:cubicBezTo>
                    <a:pt x="6798" y="50971"/>
                    <a:pt x="6659" y="50946"/>
                    <a:pt x="6532" y="50882"/>
                  </a:cubicBezTo>
                  <a:cubicBezTo>
                    <a:pt x="5188" y="50082"/>
                    <a:pt x="14840" y="45853"/>
                    <a:pt x="18481" y="41624"/>
                  </a:cubicBezTo>
                  <a:cubicBezTo>
                    <a:pt x="22172" y="37344"/>
                    <a:pt x="9323" y="42208"/>
                    <a:pt x="9412" y="35325"/>
                  </a:cubicBezTo>
                  <a:cubicBezTo>
                    <a:pt x="9500" y="28441"/>
                    <a:pt x="9412" y="35325"/>
                    <a:pt x="4376" y="30867"/>
                  </a:cubicBezTo>
                  <a:cubicBezTo>
                    <a:pt x="-660" y="26409"/>
                    <a:pt x="6304" y="27844"/>
                    <a:pt x="6532" y="25101"/>
                  </a:cubicBezTo>
                  <a:cubicBezTo>
                    <a:pt x="6798" y="22307"/>
                    <a:pt x="3704" y="21050"/>
                    <a:pt x="1319" y="18535"/>
                  </a:cubicBezTo>
                  <a:cubicBezTo>
                    <a:pt x="-837" y="16287"/>
                    <a:pt x="190" y="11563"/>
                    <a:pt x="418" y="10522"/>
                  </a:cubicBezTo>
                  <a:cubicBezTo>
                    <a:pt x="2410" y="10369"/>
                    <a:pt x="4350" y="9874"/>
                    <a:pt x="6164" y="9036"/>
                  </a:cubicBezTo>
                  <a:cubicBezTo>
                    <a:pt x="11517" y="6750"/>
                    <a:pt x="10173" y="10433"/>
                    <a:pt x="12684" y="8452"/>
                  </a:cubicBezTo>
                  <a:cubicBezTo>
                    <a:pt x="15246" y="6432"/>
                    <a:pt x="19343" y="3194"/>
                    <a:pt x="22755" y="755"/>
                  </a:cubicBezTo>
                  <a:cubicBezTo>
                    <a:pt x="26117" y="-1670"/>
                    <a:pt x="23744" y="2559"/>
                    <a:pt x="28463" y="2241"/>
                  </a:cubicBezTo>
                  <a:cubicBezTo>
                    <a:pt x="33182" y="1936"/>
                    <a:pt x="32370" y="844"/>
                    <a:pt x="36556" y="2343"/>
                  </a:cubicBezTo>
                  <a:cubicBezTo>
                    <a:pt x="40729" y="3867"/>
                    <a:pt x="40678" y="2610"/>
                    <a:pt x="41262" y="3092"/>
                  </a:cubicBezTo>
                  <a:cubicBezTo>
                    <a:pt x="41769" y="3270"/>
                    <a:pt x="42314" y="3333"/>
                    <a:pt x="42834" y="3283"/>
                  </a:cubicBezTo>
                  <a:cubicBezTo>
                    <a:pt x="43976" y="5518"/>
                    <a:pt x="45422" y="7588"/>
                    <a:pt x="47109" y="9442"/>
                  </a:cubicBezTo>
                  <a:cubicBezTo>
                    <a:pt x="51789" y="14395"/>
                    <a:pt x="55557" y="8401"/>
                    <a:pt x="56102" y="16999"/>
                  </a:cubicBezTo>
                  <a:cubicBezTo>
                    <a:pt x="56635" y="25597"/>
                    <a:pt x="47160" y="24466"/>
                    <a:pt x="56901" y="30092"/>
                  </a:cubicBezTo>
                  <a:cubicBezTo>
                    <a:pt x="66706" y="35719"/>
                    <a:pt x="64905" y="36265"/>
                    <a:pt x="69040" y="38106"/>
                  </a:cubicBezTo>
                  <a:cubicBezTo>
                    <a:pt x="73175" y="39998"/>
                    <a:pt x="73670" y="38690"/>
                    <a:pt x="73352" y="42970"/>
                  </a:cubicBezTo>
                  <a:cubicBezTo>
                    <a:pt x="73035" y="47237"/>
                    <a:pt x="66922" y="44723"/>
                    <a:pt x="70435" y="48901"/>
                  </a:cubicBezTo>
                  <a:cubicBezTo>
                    <a:pt x="73949" y="53041"/>
                    <a:pt x="69357" y="49447"/>
                    <a:pt x="73949" y="53041"/>
                  </a:cubicBezTo>
                  <a:cubicBezTo>
                    <a:pt x="78566" y="56648"/>
                    <a:pt x="78477" y="53321"/>
                    <a:pt x="82751" y="56648"/>
                  </a:cubicBezTo>
                  <a:cubicBezTo>
                    <a:pt x="84680" y="58121"/>
                    <a:pt x="84642" y="57905"/>
                    <a:pt x="84502" y="57677"/>
                  </a:cubicBezTo>
                  <a:cubicBezTo>
                    <a:pt x="84730" y="57816"/>
                    <a:pt x="85403" y="58439"/>
                    <a:pt x="87026" y="59925"/>
                  </a:cubicBezTo>
                  <a:cubicBezTo>
                    <a:pt x="92506" y="64967"/>
                    <a:pt x="89664" y="62134"/>
                    <a:pt x="92506" y="64967"/>
                  </a:cubicBezTo>
                  <a:cubicBezTo>
                    <a:pt x="95334" y="67799"/>
                    <a:pt x="103198" y="58528"/>
                    <a:pt x="103198" y="58528"/>
                  </a:cubicBezTo>
                  <a:cubicBezTo>
                    <a:pt x="103198" y="58528"/>
                    <a:pt x="108817" y="53714"/>
                    <a:pt x="107016" y="60826"/>
                  </a:cubicBezTo>
                  <a:cubicBezTo>
                    <a:pt x="105215" y="67888"/>
                    <a:pt x="103427" y="62757"/>
                    <a:pt x="105215" y="67888"/>
                  </a:cubicBezTo>
                  <a:cubicBezTo>
                    <a:pt x="106686" y="71647"/>
                    <a:pt x="108538" y="75228"/>
                    <a:pt x="110745" y="78606"/>
                  </a:cubicBezTo>
                  <a:cubicBezTo>
                    <a:pt x="104809" y="86430"/>
                    <a:pt x="98074" y="86074"/>
                    <a:pt x="99824" y="89579"/>
                  </a:cubicBezTo>
                  <a:cubicBezTo>
                    <a:pt x="101537" y="93135"/>
                    <a:pt x="98429" y="99168"/>
                    <a:pt x="103376" y="104565"/>
                  </a:cubicBezTo>
                  <a:cubicBezTo>
                    <a:pt x="108323" y="110013"/>
                    <a:pt x="108145" y="102317"/>
                    <a:pt x="110796" y="111271"/>
                  </a:cubicBezTo>
                  <a:cubicBezTo>
                    <a:pt x="113397" y="120212"/>
                    <a:pt x="118699" y="115436"/>
                    <a:pt x="116453" y="121697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8" name="Vrije vorm 387">
              <a:extLst>
                <a:ext uri="{FF2B5EF4-FFF2-40B4-BE49-F238E27FC236}">
                  <a16:creationId xmlns:a16="http://schemas.microsoft.com/office/drawing/2014/main" id="{7A27D2F4-A0F2-6C41-8D3E-404A6B7F3D2C}"/>
                </a:ext>
              </a:extLst>
            </p:cNvPr>
            <p:cNvSpPr/>
            <p:nvPr/>
          </p:nvSpPr>
          <p:spPr>
            <a:xfrm>
              <a:off x="6070129" y="3072826"/>
              <a:ext cx="70981" cy="58159"/>
            </a:xfrm>
            <a:custGeom>
              <a:avLst/>
              <a:gdLst>
                <a:gd name="connsiteX0" fmla="*/ 70614 w 70981"/>
                <a:gd name="connsiteY0" fmla="*/ 38521 h 58159"/>
                <a:gd name="connsiteX1" fmla="*/ 68001 w 70981"/>
                <a:gd name="connsiteY1" fmla="*/ 38928 h 58159"/>
                <a:gd name="connsiteX2" fmla="*/ 60188 w 70981"/>
                <a:gd name="connsiteY2" fmla="*/ 47297 h 58159"/>
                <a:gd name="connsiteX3" fmla="*/ 47516 w 70981"/>
                <a:gd name="connsiteY3" fmla="*/ 47208 h 58159"/>
                <a:gd name="connsiteX4" fmla="*/ 37128 w 70981"/>
                <a:gd name="connsiteY4" fmla="*/ 54765 h 58159"/>
                <a:gd name="connsiteX5" fmla="*/ 28414 w 70981"/>
                <a:gd name="connsiteY5" fmla="*/ 55171 h 58159"/>
                <a:gd name="connsiteX6" fmla="*/ 16059 w 70981"/>
                <a:gd name="connsiteY6" fmla="*/ 56835 h 58159"/>
                <a:gd name="connsiteX7" fmla="*/ 5405 w 70981"/>
                <a:gd name="connsiteY7" fmla="*/ 48643 h 58159"/>
                <a:gd name="connsiteX8" fmla="*/ 1942 w 70981"/>
                <a:gd name="connsiteY8" fmla="*/ 31460 h 58159"/>
                <a:gd name="connsiteX9" fmla="*/ 2386 w 70981"/>
                <a:gd name="connsiteY9" fmla="*/ 18544 h 58159"/>
                <a:gd name="connsiteX10" fmla="*/ 11113 w 70981"/>
                <a:gd name="connsiteY10" fmla="*/ 12156 h 58159"/>
                <a:gd name="connsiteX11" fmla="*/ 24406 w 70981"/>
                <a:gd name="connsiteY11" fmla="*/ 10581 h 58159"/>
                <a:gd name="connsiteX12" fmla="*/ 28591 w 70981"/>
                <a:gd name="connsiteY12" fmla="*/ 4549 h 58159"/>
                <a:gd name="connsiteX13" fmla="*/ 29035 w 70981"/>
                <a:gd name="connsiteY13" fmla="*/ 3914 h 58159"/>
                <a:gd name="connsiteX14" fmla="*/ 46336 w 70981"/>
                <a:gd name="connsiteY14" fmla="*/ 2479 h 58159"/>
                <a:gd name="connsiteX15" fmla="*/ 55824 w 70981"/>
                <a:gd name="connsiteY15" fmla="*/ 1984 h 58159"/>
                <a:gd name="connsiteX16" fmla="*/ 59008 w 70981"/>
                <a:gd name="connsiteY16" fmla="*/ 4993 h 58159"/>
                <a:gd name="connsiteX17" fmla="*/ 69929 w 70981"/>
                <a:gd name="connsiteY17" fmla="*/ 19890 h 58159"/>
                <a:gd name="connsiteX18" fmla="*/ 70335 w 70981"/>
                <a:gd name="connsiteY18" fmla="*/ 30279 h 58159"/>
                <a:gd name="connsiteX19" fmla="*/ 70614 w 70981"/>
                <a:gd name="connsiteY19" fmla="*/ 38521 h 58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70981" h="58159">
                  <a:moveTo>
                    <a:pt x="70614" y="38521"/>
                  </a:moveTo>
                  <a:cubicBezTo>
                    <a:pt x="69891" y="38610"/>
                    <a:pt x="68990" y="38750"/>
                    <a:pt x="68001" y="38928"/>
                  </a:cubicBezTo>
                  <a:cubicBezTo>
                    <a:pt x="54924" y="41087"/>
                    <a:pt x="71870" y="44325"/>
                    <a:pt x="60188" y="47297"/>
                  </a:cubicBezTo>
                  <a:cubicBezTo>
                    <a:pt x="48455" y="50269"/>
                    <a:pt x="60188" y="47297"/>
                    <a:pt x="47516" y="47208"/>
                  </a:cubicBezTo>
                  <a:cubicBezTo>
                    <a:pt x="34883" y="47068"/>
                    <a:pt x="47516" y="47208"/>
                    <a:pt x="37128" y="54765"/>
                  </a:cubicBezTo>
                  <a:cubicBezTo>
                    <a:pt x="26752" y="62372"/>
                    <a:pt x="37128" y="54765"/>
                    <a:pt x="28414" y="55171"/>
                  </a:cubicBezTo>
                  <a:cubicBezTo>
                    <a:pt x="20195" y="55527"/>
                    <a:pt x="20816" y="56975"/>
                    <a:pt x="16059" y="56835"/>
                  </a:cubicBezTo>
                  <a:cubicBezTo>
                    <a:pt x="16059" y="54003"/>
                    <a:pt x="13319" y="58549"/>
                    <a:pt x="5405" y="48643"/>
                  </a:cubicBezTo>
                  <a:cubicBezTo>
                    <a:pt x="-4616" y="36096"/>
                    <a:pt x="2386" y="43690"/>
                    <a:pt x="1942" y="31460"/>
                  </a:cubicBezTo>
                  <a:cubicBezTo>
                    <a:pt x="1853" y="27142"/>
                    <a:pt x="2005" y="22837"/>
                    <a:pt x="2386" y="18544"/>
                  </a:cubicBezTo>
                  <a:cubicBezTo>
                    <a:pt x="6698" y="17693"/>
                    <a:pt x="6521" y="18227"/>
                    <a:pt x="11113" y="12156"/>
                  </a:cubicBezTo>
                  <a:cubicBezTo>
                    <a:pt x="16098" y="5540"/>
                    <a:pt x="14702" y="8562"/>
                    <a:pt x="24406" y="10581"/>
                  </a:cubicBezTo>
                  <a:cubicBezTo>
                    <a:pt x="34122" y="12563"/>
                    <a:pt x="24406" y="10581"/>
                    <a:pt x="28591" y="4549"/>
                  </a:cubicBezTo>
                  <a:cubicBezTo>
                    <a:pt x="28769" y="4320"/>
                    <a:pt x="28908" y="4104"/>
                    <a:pt x="29035" y="3914"/>
                  </a:cubicBezTo>
                  <a:cubicBezTo>
                    <a:pt x="34845" y="4473"/>
                    <a:pt x="40705" y="3990"/>
                    <a:pt x="46336" y="2479"/>
                  </a:cubicBezTo>
                  <a:cubicBezTo>
                    <a:pt x="51195" y="269"/>
                    <a:pt x="51638" y="-1534"/>
                    <a:pt x="55824" y="1984"/>
                  </a:cubicBezTo>
                  <a:cubicBezTo>
                    <a:pt x="56674" y="2745"/>
                    <a:pt x="57752" y="3736"/>
                    <a:pt x="59008" y="4993"/>
                  </a:cubicBezTo>
                  <a:cubicBezTo>
                    <a:pt x="66428" y="12283"/>
                    <a:pt x="68052" y="14125"/>
                    <a:pt x="69929" y="19890"/>
                  </a:cubicBezTo>
                  <a:cubicBezTo>
                    <a:pt x="71781" y="25694"/>
                    <a:pt x="68940" y="28260"/>
                    <a:pt x="70335" y="30279"/>
                  </a:cubicBezTo>
                  <a:cubicBezTo>
                    <a:pt x="71058" y="32972"/>
                    <a:pt x="71147" y="35791"/>
                    <a:pt x="70614" y="38521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9" name="Vrije vorm 388">
              <a:extLst>
                <a:ext uri="{FF2B5EF4-FFF2-40B4-BE49-F238E27FC236}">
                  <a16:creationId xmlns:a16="http://schemas.microsoft.com/office/drawing/2014/main" id="{155A868A-3533-BE47-80C3-52481FAE387B}"/>
                </a:ext>
              </a:extLst>
            </p:cNvPr>
            <p:cNvSpPr/>
            <p:nvPr/>
          </p:nvSpPr>
          <p:spPr>
            <a:xfrm>
              <a:off x="6626751" y="3026605"/>
              <a:ext cx="189463" cy="94735"/>
            </a:xfrm>
            <a:custGeom>
              <a:avLst/>
              <a:gdLst>
                <a:gd name="connsiteX0" fmla="*/ 182246 w 189463"/>
                <a:gd name="connsiteY0" fmla="*/ 81910 h 94735"/>
                <a:gd name="connsiteX1" fmla="*/ 186609 w 189463"/>
                <a:gd name="connsiteY1" fmla="*/ 91486 h 94735"/>
                <a:gd name="connsiteX2" fmla="*/ 178377 w 189463"/>
                <a:gd name="connsiteY2" fmla="*/ 93836 h 94735"/>
                <a:gd name="connsiteX3" fmla="*/ 163955 w 189463"/>
                <a:gd name="connsiteY3" fmla="*/ 91093 h 94735"/>
                <a:gd name="connsiteX4" fmla="*/ 154873 w 189463"/>
                <a:gd name="connsiteY4" fmla="*/ 86775 h 94735"/>
                <a:gd name="connsiteX5" fmla="*/ 146337 w 189463"/>
                <a:gd name="connsiteY5" fmla="*/ 85022 h 94735"/>
                <a:gd name="connsiteX6" fmla="*/ 141618 w 189463"/>
                <a:gd name="connsiteY6" fmla="*/ 87359 h 94735"/>
                <a:gd name="connsiteX7" fmla="*/ 135238 w 189463"/>
                <a:gd name="connsiteY7" fmla="*/ 90229 h 94735"/>
                <a:gd name="connsiteX8" fmla="*/ 117353 w 189463"/>
                <a:gd name="connsiteY8" fmla="*/ 89340 h 94735"/>
                <a:gd name="connsiteX9" fmla="*/ 104276 w 189463"/>
                <a:gd name="connsiteY9" fmla="*/ 93975 h 94735"/>
                <a:gd name="connsiteX10" fmla="*/ 99557 w 189463"/>
                <a:gd name="connsiteY10" fmla="*/ 94382 h 94735"/>
                <a:gd name="connsiteX11" fmla="*/ 96640 w 189463"/>
                <a:gd name="connsiteY11" fmla="*/ 91093 h 94735"/>
                <a:gd name="connsiteX12" fmla="*/ 87343 w 189463"/>
                <a:gd name="connsiteY12" fmla="*/ 88972 h 94735"/>
                <a:gd name="connsiteX13" fmla="*/ 83880 w 189463"/>
                <a:gd name="connsiteY13" fmla="*/ 83396 h 94735"/>
                <a:gd name="connsiteX14" fmla="*/ 76510 w 189463"/>
                <a:gd name="connsiteY14" fmla="*/ 75662 h 94735"/>
                <a:gd name="connsiteX15" fmla="*/ 68963 w 189463"/>
                <a:gd name="connsiteY15" fmla="*/ 75840 h 94735"/>
                <a:gd name="connsiteX16" fmla="*/ 61276 w 189463"/>
                <a:gd name="connsiteY16" fmla="*/ 79929 h 94735"/>
                <a:gd name="connsiteX17" fmla="*/ 49366 w 189463"/>
                <a:gd name="connsiteY17" fmla="*/ 78761 h 94735"/>
                <a:gd name="connsiteX18" fmla="*/ 47032 w 189463"/>
                <a:gd name="connsiteY18" fmla="*/ 79802 h 94735"/>
                <a:gd name="connsiteX19" fmla="*/ 43481 w 189463"/>
                <a:gd name="connsiteY19" fmla="*/ 78989 h 94735"/>
                <a:gd name="connsiteX20" fmla="*/ -26 w 189463"/>
                <a:gd name="connsiteY20" fmla="*/ 1545 h 94735"/>
                <a:gd name="connsiteX21" fmla="*/ 7381 w 189463"/>
                <a:gd name="connsiteY21" fmla="*/ 287 h 94735"/>
                <a:gd name="connsiteX22" fmla="*/ 16958 w 189463"/>
                <a:gd name="connsiteY22" fmla="*/ 872 h 94735"/>
                <a:gd name="connsiteX23" fmla="*/ 31025 w 189463"/>
                <a:gd name="connsiteY23" fmla="*/ 7082 h 94735"/>
                <a:gd name="connsiteX24" fmla="*/ 44279 w 189463"/>
                <a:gd name="connsiteY24" fmla="*/ 11044 h 94735"/>
                <a:gd name="connsiteX25" fmla="*/ 54757 w 189463"/>
                <a:gd name="connsiteY25" fmla="*/ 12657 h 94735"/>
                <a:gd name="connsiteX26" fmla="*/ 65272 w 189463"/>
                <a:gd name="connsiteY26" fmla="*/ 12657 h 94735"/>
                <a:gd name="connsiteX27" fmla="*/ 76497 w 189463"/>
                <a:gd name="connsiteY27" fmla="*/ 14956 h 94735"/>
                <a:gd name="connsiteX28" fmla="*/ 93355 w 189463"/>
                <a:gd name="connsiteY28" fmla="*/ 26614 h 94735"/>
                <a:gd name="connsiteX29" fmla="*/ 106787 w 189463"/>
                <a:gd name="connsiteY29" fmla="*/ 36876 h 94735"/>
                <a:gd name="connsiteX30" fmla="*/ 110212 w 189463"/>
                <a:gd name="connsiteY30" fmla="*/ 39073 h 94735"/>
                <a:gd name="connsiteX31" fmla="*/ 116453 w 189463"/>
                <a:gd name="connsiteY31" fmla="*/ 32685 h 94735"/>
                <a:gd name="connsiteX32" fmla="*/ 127780 w 189463"/>
                <a:gd name="connsiteY32" fmla="*/ 31377 h 94735"/>
                <a:gd name="connsiteX33" fmla="*/ 133843 w 189463"/>
                <a:gd name="connsiteY33" fmla="*/ 36876 h 94735"/>
                <a:gd name="connsiteX34" fmla="*/ 140413 w 189463"/>
                <a:gd name="connsiteY34" fmla="*/ 31377 h 94735"/>
                <a:gd name="connsiteX35" fmla="*/ 147059 w 189463"/>
                <a:gd name="connsiteY35" fmla="*/ 36241 h 94735"/>
                <a:gd name="connsiteX36" fmla="*/ 157486 w 189463"/>
                <a:gd name="connsiteY36" fmla="*/ 40026 h 94735"/>
                <a:gd name="connsiteX37" fmla="*/ 158742 w 189463"/>
                <a:gd name="connsiteY37" fmla="*/ 48611 h 94735"/>
                <a:gd name="connsiteX38" fmla="*/ 168496 w 189463"/>
                <a:gd name="connsiteY38" fmla="*/ 58923 h 94735"/>
                <a:gd name="connsiteX39" fmla="*/ 180850 w 189463"/>
                <a:gd name="connsiteY39" fmla="*/ 64359 h 94735"/>
                <a:gd name="connsiteX40" fmla="*/ 189437 w 189463"/>
                <a:gd name="connsiteY40" fmla="*/ 65845 h 94735"/>
                <a:gd name="connsiteX41" fmla="*/ 180533 w 189463"/>
                <a:gd name="connsiteY41" fmla="*/ 67064 h 94735"/>
                <a:gd name="connsiteX42" fmla="*/ 175193 w 189463"/>
                <a:gd name="connsiteY42" fmla="*/ 69401 h 94735"/>
                <a:gd name="connsiteX43" fmla="*/ 182246 w 189463"/>
                <a:gd name="connsiteY43" fmla="*/ 81910 h 94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189463" h="94735">
                  <a:moveTo>
                    <a:pt x="182246" y="81910"/>
                  </a:moveTo>
                  <a:cubicBezTo>
                    <a:pt x="188042" y="87841"/>
                    <a:pt x="189120" y="88705"/>
                    <a:pt x="186609" y="91486"/>
                  </a:cubicBezTo>
                  <a:cubicBezTo>
                    <a:pt x="184085" y="94331"/>
                    <a:pt x="187598" y="95804"/>
                    <a:pt x="178377" y="93836"/>
                  </a:cubicBezTo>
                  <a:cubicBezTo>
                    <a:pt x="169168" y="91804"/>
                    <a:pt x="167418" y="94915"/>
                    <a:pt x="163955" y="91093"/>
                  </a:cubicBezTo>
                  <a:cubicBezTo>
                    <a:pt x="160543" y="87270"/>
                    <a:pt x="159110" y="88336"/>
                    <a:pt x="154873" y="86775"/>
                  </a:cubicBezTo>
                  <a:cubicBezTo>
                    <a:pt x="150611" y="85200"/>
                    <a:pt x="154784" y="81872"/>
                    <a:pt x="146337" y="85022"/>
                  </a:cubicBezTo>
                  <a:cubicBezTo>
                    <a:pt x="144662" y="85568"/>
                    <a:pt x="143077" y="86355"/>
                    <a:pt x="141618" y="87359"/>
                  </a:cubicBezTo>
                  <a:cubicBezTo>
                    <a:pt x="139779" y="88794"/>
                    <a:pt x="140540" y="89467"/>
                    <a:pt x="135238" y="90229"/>
                  </a:cubicBezTo>
                  <a:cubicBezTo>
                    <a:pt x="127551" y="91321"/>
                    <a:pt x="125268" y="86635"/>
                    <a:pt x="117353" y="89340"/>
                  </a:cubicBezTo>
                  <a:cubicBezTo>
                    <a:pt x="109451" y="92032"/>
                    <a:pt x="111924" y="93887"/>
                    <a:pt x="104276" y="93975"/>
                  </a:cubicBezTo>
                  <a:cubicBezTo>
                    <a:pt x="102690" y="93950"/>
                    <a:pt x="101118" y="94090"/>
                    <a:pt x="99557" y="94382"/>
                  </a:cubicBezTo>
                  <a:cubicBezTo>
                    <a:pt x="98809" y="93099"/>
                    <a:pt x="97820" y="91994"/>
                    <a:pt x="96640" y="91093"/>
                  </a:cubicBezTo>
                  <a:lnTo>
                    <a:pt x="87343" y="88972"/>
                  </a:lnTo>
                  <a:cubicBezTo>
                    <a:pt x="87051" y="86698"/>
                    <a:pt x="85782" y="84666"/>
                    <a:pt x="83880" y="83396"/>
                  </a:cubicBezTo>
                  <a:cubicBezTo>
                    <a:pt x="78755" y="80196"/>
                    <a:pt x="79123" y="75433"/>
                    <a:pt x="76510" y="75662"/>
                  </a:cubicBezTo>
                  <a:cubicBezTo>
                    <a:pt x="73948" y="75840"/>
                    <a:pt x="75292" y="71788"/>
                    <a:pt x="68963" y="75840"/>
                  </a:cubicBezTo>
                  <a:cubicBezTo>
                    <a:pt x="62672" y="79840"/>
                    <a:pt x="68785" y="80882"/>
                    <a:pt x="61276" y="79929"/>
                  </a:cubicBezTo>
                  <a:cubicBezTo>
                    <a:pt x="53729" y="78939"/>
                    <a:pt x="53729" y="77592"/>
                    <a:pt x="49366" y="78761"/>
                  </a:cubicBezTo>
                  <a:cubicBezTo>
                    <a:pt x="48529" y="78951"/>
                    <a:pt x="47730" y="79307"/>
                    <a:pt x="47032" y="79802"/>
                  </a:cubicBezTo>
                  <a:lnTo>
                    <a:pt x="43481" y="78989"/>
                  </a:lnTo>
                  <a:cubicBezTo>
                    <a:pt x="53767" y="60447"/>
                    <a:pt x="30441" y="28774"/>
                    <a:pt x="-26" y="1545"/>
                  </a:cubicBezTo>
                  <a:cubicBezTo>
                    <a:pt x="2168" y="148"/>
                    <a:pt x="4844" y="-309"/>
                    <a:pt x="7381" y="287"/>
                  </a:cubicBezTo>
                  <a:cubicBezTo>
                    <a:pt x="14801" y="1596"/>
                    <a:pt x="7064" y="-1376"/>
                    <a:pt x="16958" y="872"/>
                  </a:cubicBezTo>
                  <a:cubicBezTo>
                    <a:pt x="26851" y="3120"/>
                    <a:pt x="24061" y="4694"/>
                    <a:pt x="31025" y="7082"/>
                  </a:cubicBezTo>
                  <a:cubicBezTo>
                    <a:pt x="37988" y="9470"/>
                    <a:pt x="36466" y="8250"/>
                    <a:pt x="44279" y="11044"/>
                  </a:cubicBezTo>
                  <a:cubicBezTo>
                    <a:pt x="52106" y="13788"/>
                    <a:pt x="44242" y="12657"/>
                    <a:pt x="54757" y="12657"/>
                  </a:cubicBezTo>
                  <a:cubicBezTo>
                    <a:pt x="65272" y="12657"/>
                    <a:pt x="59741" y="9698"/>
                    <a:pt x="65272" y="12657"/>
                  </a:cubicBezTo>
                  <a:cubicBezTo>
                    <a:pt x="70751" y="15629"/>
                    <a:pt x="73136" y="12886"/>
                    <a:pt x="76497" y="14956"/>
                  </a:cubicBezTo>
                  <a:cubicBezTo>
                    <a:pt x="81888" y="19160"/>
                    <a:pt x="87520" y="23058"/>
                    <a:pt x="93355" y="26614"/>
                  </a:cubicBezTo>
                  <a:cubicBezTo>
                    <a:pt x="98226" y="29485"/>
                    <a:pt x="102728" y="32927"/>
                    <a:pt x="106787" y="36876"/>
                  </a:cubicBezTo>
                  <a:cubicBezTo>
                    <a:pt x="106787" y="36876"/>
                    <a:pt x="106699" y="41067"/>
                    <a:pt x="110212" y="39073"/>
                  </a:cubicBezTo>
                  <a:cubicBezTo>
                    <a:pt x="113763" y="37092"/>
                    <a:pt x="108550" y="33092"/>
                    <a:pt x="116453" y="32685"/>
                  </a:cubicBezTo>
                  <a:cubicBezTo>
                    <a:pt x="124406" y="32279"/>
                    <a:pt x="122617" y="27961"/>
                    <a:pt x="127780" y="31377"/>
                  </a:cubicBezTo>
                  <a:cubicBezTo>
                    <a:pt x="132904" y="34806"/>
                    <a:pt x="129441" y="41867"/>
                    <a:pt x="133843" y="36876"/>
                  </a:cubicBezTo>
                  <a:cubicBezTo>
                    <a:pt x="138295" y="31872"/>
                    <a:pt x="133716" y="26475"/>
                    <a:pt x="140413" y="31377"/>
                  </a:cubicBezTo>
                  <a:cubicBezTo>
                    <a:pt x="147059" y="36241"/>
                    <a:pt x="140223" y="33003"/>
                    <a:pt x="147059" y="36241"/>
                  </a:cubicBezTo>
                  <a:cubicBezTo>
                    <a:pt x="153896" y="39480"/>
                    <a:pt x="154746" y="36063"/>
                    <a:pt x="157486" y="40026"/>
                  </a:cubicBezTo>
                  <a:cubicBezTo>
                    <a:pt x="160225" y="43975"/>
                    <a:pt x="154518" y="40242"/>
                    <a:pt x="158742" y="48611"/>
                  </a:cubicBezTo>
                  <a:cubicBezTo>
                    <a:pt x="162965" y="56942"/>
                    <a:pt x="158830" y="55189"/>
                    <a:pt x="168496" y="58923"/>
                  </a:cubicBezTo>
                  <a:cubicBezTo>
                    <a:pt x="172770" y="60359"/>
                    <a:pt x="176905" y="62175"/>
                    <a:pt x="180850" y="64359"/>
                  </a:cubicBezTo>
                  <a:cubicBezTo>
                    <a:pt x="186926" y="67331"/>
                    <a:pt x="183958" y="59190"/>
                    <a:pt x="189437" y="65845"/>
                  </a:cubicBezTo>
                  <a:cubicBezTo>
                    <a:pt x="186418" y="65210"/>
                    <a:pt x="183273" y="65642"/>
                    <a:pt x="180533" y="67064"/>
                  </a:cubicBezTo>
                  <a:cubicBezTo>
                    <a:pt x="175193" y="69401"/>
                    <a:pt x="175459" y="63191"/>
                    <a:pt x="175193" y="69401"/>
                  </a:cubicBezTo>
                  <a:cubicBezTo>
                    <a:pt x="174876" y="75649"/>
                    <a:pt x="176449" y="75929"/>
                    <a:pt x="182246" y="81910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0" name="Vrije vorm 389">
              <a:extLst>
                <a:ext uri="{FF2B5EF4-FFF2-40B4-BE49-F238E27FC236}">
                  <a16:creationId xmlns:a16="http://schemas.microsoft.com/office/drawing/2014/main" id="{EFBE0546-3571-9242-8A4A-C10FB78F4656}"/>
                </a:ext>
              </a:extLst>
            </p:cNvPr>
            <p:cNvSpPr/>
            <p:nvPr/>
          </p:nvSpPr>
          <p:spPr>
            <a:xfrm>
              <a:off x="6726334" y="3113950"/>
              <a:ext cx="86328" cy="88975"/>
            </a:xfrm>
            <a:custGeom>
              <a:avLst/>
              <a:gdLst>
                <a:gd name="connsiteX0" fmla="*/ 86302 w 86328"/>
                <a:gd name="connsiteY0" fmla="*/ 85142 h 88975"/>
                <a:gd name="connsiteX1" fmla="*/ 76282 w 86328"/>
                <a:gd name="connsiteY1" fmla="*/ 88787 h 88975"/>
                <a:gd name="connsiteX2" fmla="*/ 61632 w 86328"/>
                <a:gd name="connsiteY2" fmla="*/ 63679 h 88975"/>
                <a:gd name="connsiteX3" fmla="*/ 55480 w 86328"/>
                <a:gd name="connsiteY3" fmla="*/ 65609 h 88975"/>
                <a:gd name="connsiteX4" fmla="*/ 48111 w 86328"/>
                <a:gd name="connsiteY4" fmla="*/ 62548 h 88975"/>
                <a:gd name="connsiteX5" fmla="*/ 43519 w 86328"/>
                <a:gd name="connsiteY5" fmla="*/ 59450 h 88975"/>
                <a:gd name="connsiteX6" fmla="*/ 36416 w 86328"/>
                <a:gd name="connsiteY6" fmla="*/ 58193 h 88975"/>
                <a:gd name="connsiteX7" fmla="*/ 29591 w 86328"/>
                <a:gd name="connsiteY7" fmla="*/ 57202 h 88975"/>
                <a:gd name="connsiteX8" fmla="*/ 29097 w 86328"/>
                <a:gd name="connsiteY8" fmla="*/ 56249 h 88975"/>
                <a:gd name="connsiteX9" fmla="*/ 20560 w 86328"/>
                <a:gd name="connsiteY9" fmla="*/ 46216 h 88975"/>
                <a:gd name="connsiteX10" fmla="*/ 5682 w 86328"/>
                <a:gd name="connsiteY10" fmla="*/ 44464 h 88975"/>
                <a:gd name="connsiteX11" fmla="*/ 1192 w 86328"/>
                <a:gd name="connsiteY11" fmla="*/ 31637 h 88975"/>
                <a:gd name="connsiteX12" fmla="*/ 1496 w 86328"/>
                <a:gd name="connsiteY12" fmla="*/ 14174 h 88975"/>
                <a:gd name="connsiteX13" fmla="*/ -26 w 86328"/>
                <a:gd name="connsiteY13" fmla="*/ 7024 h 88975"/>
                <a:gd name="connsiteX14" fmla="*/ 4692 w 86328"/>
                <a:gd name="connsiteY14" fmla="*/ 6618 h 88975"/>
                <a:gd name="connsiteX15" fmla="*/ 17770 w 86328"/>
                <a:gd name="connsiteY15" fmla="*/ 1982 h 88975"/>
                <a:gd name="connsiteX16" fmla="*/ 35655 w 86328"/>
                <a:gd name="connsiteY16" fmla="*/ 2884 h 88975"/>
                <a:gd name="connsiteX17" fmla="*/ 42035 w 86328"/>
                <a:gd name="connsiteY17" fmla="*/ 1 h 88975"/>
                <a:gd name="connsiteX18" fmla="*/ 43253 w 86328"/>
                <a:gd name="connsiteY18" fmla="*/ 3240 h 88975"/>
                <a:gd name="connsiteX19" fmla="*/ 43887 w 86328"/>
                <a:gd name="connsiteY19" fmla="*/ 8777 h 88975"/>
                <a:gd name="connsiteX20" fmla="*/ 52613 w 86328"/>
                <a:gd name="connsiteY20" fmla="*/ 9996 h 88975"/>
                <a:gd name="connsiteX21" fmla="*/ 54313 w 86328"/>
                <a:gd name="connsiteY21" fmla="*/ 17413 h 88975"/>
                <a:gd name="connsiteX22" fmla="*/ 55302 w 86328"/>
                <a:gd name="connsiteY22" fmla="*/ 25515 h 88975"/>
                <a:gd name="connsiteX23" fmla="*/ 57053 w 86328"/>
                <a:gd name="connsiteY23" fmla="*/ 33072 h 88975"/>
                <a:gd name="connsiteX24" fmla="*/ 66490 w 86328"/>
                <a:gd name="connsiteY24" fmla="*/ 42927 h 88975"/>
                <a:gd name="connsiteX25" fmla="*/ 58854 w 86328"/>
                <a:gd name="connsiteY25" fmla="*/ 46890 h 88975"/>
                <a:gd name="connsiteX26" fmla="*/ 63433 w 86328"/>
                <a:gd name="connsiteY26" fmla="*/ 53824 h 88975"/>
                <a:gd name="connsiteX27" fmla="*/ 72921 w 86328"/>
                <a:gd name="connsiteY27" fmla="*/ 60745 h 88975"/>
                <a:gd name="connsiteX28" fmla="*/ 80873 w 86328"/>
                <a:gd name="connsiteY28" fmla="*/ 63488 h 88975"/>
                <a:gd name="connsiteX29" fmla="*/ 82307 w 86328"/>
                <a:gd name="connsiteY29" fmla="*/ 69699 h 88975"/>
                <a:gd name="connsiteX30" fmla="*/ 83664 w 86328"/>
                <a:gd name="connsiteY30" fmla="*/ 77763 h 88975"/>
                <a:gd name="connsiteX31" fmla="*/ 86302 w 86328"/>
                <a:gd name="connsiteY31" fmla="*/ 85142 h 88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86328" h="88975">
                  <a:moveTo>
                    <a:pt x="86302" y="85142"/>
                  </a:moveTo>
                  <a:cubicBezTo>
                    <a:pt x="78032" y="92025"/>
                    <a:pt x="79783" y="87212"/>
                    <a:pt x="76282" y="88787"/>
                  </a:cubicBezTo>
                  <a:lnTo>
                    <a:pt x="61632" y="63679"/>
                  </a:lnTo>
                  <a:cubicBezTo>
                    <a:pt x="59907" y="65101"/>
                    <a:pt x="57700" y="65800"/>
                    <a:pt x="55480" y="65609"/>
                  </a:cubicBezTo>
                  <a:cubicBezTo>
                    <a:pt x="51256" y="65520"/>
                    <a:pt x="50711" y="61291"/>
                    <a:pt x="48111" y="62548"/>
                  </a:cubicBezTo>
                  <a:cubicBezTo>
                    <a:pt x="45459" y="63806"/>
                    <a:pt x="45358" y="62637"/>
                    <a:pt x="43519" y="59450"/>
                  </a:cubicBezTo>
                  <a:cubicBezTo>
                    <a:pt x="41679" y="56300"/>
                    <a:pt x="39878" y="59539"/>
                    <a:pt x="36416" y="58193"/>
                  </a:cubicBezTo>
                  <a:cubicBezTo>
                    <a:pt x="34221" y="57469"/>
                    <a:pt x="31900" y="57126"/>
                    <a:pt x="29591" y="57202"/>
                  </a:cubicBezTo>
                  <a:cubicBezTo>
                    <a:pt x="29439" y="56872"/>
                    <a:pt x="29274" y="56554"/>
                    <a:pt x="29097" y="56249"/>
                  </a:cubicBezTo>
                  <a:cubicBezTo>
                    <a:pt x="25368" y="49239"/>
                    <a:pt x="27752" y="51119"/>
                    <a:pt x="20560" y="46216"/>
                  </a:cubicBezTo>
                  <a:cubicBezTo>
                    <a:pt x="13330" y="41314"/>
                    <a:pt x="13280" y="47524"/>
                    <a:pt x="5682" y="44464"/>
                  </a:cubicBezTo>
                  <a:cubicBezTo>
                    <a:pt x="-1916" y="41403"/>
                    <a:pt x="1369" y="35866"/>
                    <a:pt x="1192" y="31637"/>
                  </a:cubicBezTo>
                  <a:cubicBezTo>
                    <a:pt x="786" y="25820"/>
                    <a:pt x="900" y="19978"/>
                    <a:pt x="1496" y="14174"/>
                  </a:cubicBezTo>
                  <a:cubicBezTo>
                    <a:pt x="1838" y="11685"/>
                    <a:pt x="1293" y="9158"/>
                    <a:pt x="-26" y="7024"/>
                  </a:cubicBezTo>
                  <a:cubicBezTo>
                    <a:pt x="1534" y="6745"/>
                    <a:pt x="3120" y="6605"/>
                    <a:pt x="4692" y="6618"/>
                  </a:cubicBezTo>
                  <a:cubicBezTo>
                    <a:pt x="12341" y="6529"/>
                    <a:pt x="9867" y="4687"/>
                    <a:pt x="17770" y="1982"/>
                  </a:cubicBezTo>
                  <a:cubicBezTo>
                    <a:pt x="25685" y="-710"/>
                    <a:pt x="27981" y="3963"/>
                    <a:pt x="35655" y="2884"/>
                  </a:cubicBezTo>
                  <a:cubicBezTo>
                    <a:pt x="40957" y="2122"/>
                    <a:pt x="40195" y="1449"/>
                    <a:pt x="42035" y="1"/>
                  </a:cubicBezTo>
                  <a:cubicBezTo>
                    <a:pt x="42758" y="941"/>
                    <a:pt x="43176" y="2071"/>
                    <a:pt x="43253" y="3240"/>
                  </a:cubicBezTo>
                  <a:cubicBezTo>
                    <a:pt x="43303" y="7253"/>
                    <a:pt x="43253" y="3240"/>
                    <a:pt x="43887" y="8777"/>
                  </a:cubicBezTo>
                  <a:cubicBezTo>
                    <a:pt x="44470" y="14263"/>
                    <a:pt x="47793" y="10174"/>
                    <a:pt x="52613" y="9996"/>
                  </a:cubicBezTo>
                  <a:cubicBezTo>
                    <a:pt x="57420" y="9767"/>
                    <a:pt x="52613" y="9996"/>
                    <a:pt x="54313" y="17413"/>
                  </a:cubicBezTo>
                  <a:cubicBezTo>
                    <a:pt x="56025" y="24842"/>
                    <a:pt x="55480" y="23318"/>
                    <a:pt x="55302" y="25515"/>
                  </a:cubicBezTo>
                  <a:cubicBezTo>
                    <a:pt x="54719" y="28170"/>
                    <a:pt x="55366" y="30951"/>
                    <a:pt x="57053" y="33072"/>
                  </a:cubicBezTo>
                  <a:cubicBezTo>
                    <a:pt x="59475" y="36133"/>
                    <a:pt x="65729" y="38203"/>
                    <a:pt x="66490" y="42927"/>
                  </a:cubicBezTo>
                  <a:cubicBezTo>
                    <a:pt x="67251" y="47613"/>
                    <a:pt x="63522" y="47652"/>
                    <a:pt x="58854" y="46890"/>
                  </a:cubicBezTo>
                  <a:cubicBezTo>
                    <a:pt x="54174" y="46127"/>
                    <a:pt x="59666" y="49722"/>
                    <a:pt x="63433" y="53824"/>
                  </a:cubicBezTo>
                  <a:cubicBezTo>
                    <a:pt x="67162" y="57964"/>
                    <a:pt x="68380" y="56973"/>
                    <a:pt x="72921" y="60745"/>
                  </a:cubicBezTo>
                  <a:cubicBezTo>
                    <a:pt x="77411" y="64530"/>
                    <a:pt x="77867" y="61787"/>
                    <a:pt x="80873" y="63488"/>
                  </a:cubicBezTo>
                  <a:cubicBezTo>
                    <a:pt x="83931" y="65203"/>
                    <a:pt x="80873" y="63488"/>
                    <a:pt x="82307" y="69699"/>
                  </a:cubicBezTo>
                  <a:cubicBezTo>
                    <a:pt x="83702" y="75909"/>
                    <a:pt x="82408" y="72721"/>
                    <a:pt x="83664" y="77763"/>
                  </a:cubicBezTo>
                  <a:cubicBezTo>
                    <a:pt x="84235" y="80316"/>
                    <a:pt x="85123" y="82792"/>
                    <a:pt x="86302" y="85142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1" name="Vrije vorm 390">
              <a:extLst>
                <a:ext uri="{FF2B5EF4-FFF2-40B4-BE49-F238E27FC236}">
                  <a16:creationId xmlns:a16="http://schemas.microsoft.com/office/drawing/2014/main" id="{A58D95D2-349B-2E4E-8D42-2B4CFA76E696}"/>
                </a:ext>
              </a:extLst>
            </p:cNvPr>
            <p:cNvSpPr/>
            <p:nvPr/>
          </p:nvSpPr>
          <p:spPr>
            <a:xfrm>
              <a:off x="6755952" y="3171140"/>
              <a:ext cx="46690" cy="32080"/>
            </a:xfrm>
            <a:custGeom>
              <a:avLst/>
              <a:gdLst>
                <a:gd name="connsiteX0" fmla="*/ 46664 w 46690"/>
                <a:gd name="connsiteY0" fmla="*/ 31596 h 32080"/>
                <a:gd name="connsiteX1" fmla="*/ 29008 w 46690"/>
                <a:gd name="connsiteY1" fmla="*/ 29298 h 32080"/>
                <a:gd name="connsiteX2" fmla="*/ 16146 w 46690"/>
                <a:gd name="connsiteY2" fmla="*/ 19265 h 32080"/>
                <a:gd name="connsiteX3" fmla="*/ 6988 w 46690"/>
                <a:gd name="connsiteY3" fmla="*/ 9498 h 32080"/>
                <a:gd name="connsiteX4" fmla="*/ -26 w 46690"/>
                <a:gd name="connsiteY4" fmla="*/ 12 h 32080"/>
                <a:gd name="connsiteX5" fmla="*/ 6798 w 46690"/>
                <a:gd name="connsiteY5" fmla="*/ 1002 h 32080"/>
                <a:gd name="connsiteX6" fmla="*/ 13901 w 46690"/>
                <a:gd name="connsiteY6" fmla="*/ 2259 h 32080"/>
                <a:gd name="connsiteX7" fmla="*/ 18493 w 46690"/>
                <a:gd name="connsiteY7" fmla="*/ 5358 h 32080"/>
                <a:gd name="connsiteX8" fmla="*/ 25862 w 46690"/>
                <a:gd name="connsiteY8" fmla="*/ 8419 h 32080"/>
                <a:gd name="connsiteX9" fmla="*/ 32014 w 46690"/>
                <a:gd name="connsiteY9" fmla="*/ 6488 h 32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690" h="32080">
                  <a:moveTo>
                    <a:pt x="46664" y="31596"/>
                  </a:moveTo>
                  <a:cubicBezTo>
                    <a:pt x="43113" y="33120"/>
                    <a:pt x="36961" y="30695"/>
                    <a:pt x="29008" y="29298"/>
                  </a:cubicBezTo>
                  <a:cubicBezTo>
                    <a:pt x="21042" y="27901"/>
                    <a:pt x="21854" y="24256"/>
                    <a:pt x="16146" y="19265"/>
                  </a:cubicBezTo>
                  <a:cubicBezTo>
                    <a:pt x="10489" y="14312"/>
                    <a:pt x="11073" y="11975"/>
                    <a:pt x="6988" y="9498"/>
                  </a:cubicBezTo>
                  <a:cubicBezTo>
                    <a:pt x="3120" y="7162"/>
                    <a:pt x="3208" y="6171"/>
                    <a:pt x="-26" y="12"/>
                  </a:cubicBezTo>
                  <a:cubicBezTo>
                    <a:pt x="2295" y="-65"/>
                    <a:pt x="4604" y="278"/>
                    <a:pt x="6798" y="1002"/>
                  </a:cubicBezTo>
                  <a:cubicBezTo>
                    <a:pt x="10261" y="2348"/>
                    <a:pt x="12062" y="-890"/>
                    <a:pt x="13901" y="2259"/>
                  </a:cubicBezTo>
                  <a:cubicBezTo>
                    <a:pt x="15753" y="5460"/>
                    <a:pt x="15842" y="6628"/>
                    <a:pt x="18493" y="5358"/>
                  </a:cubicBezTo>
                  <a:cubicBezTo>
                    <a:pt x="21093" y="4101"/>
                    <a:pt x="21639" y="8330"/>
                    <a:pt x="25862" y="8419"/>
                  </a:cubicBezTo>
                  <a:cubicBezTo>
                    <a:pt x="28082" y="8609"/>
                    <a:pt x="30289" y="7911"/>
                    <a:pt x="32014" y="6488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2" name="Vrije vorm 391">
              <a:extLst>
                <a:ext uri="{FF2B5EF4-FFF2-40B4-BE49-F238E27FC236}">
                  <a16:creationId xmlns:a16="http://schemas.microsoft.com/office/drawing/2014/main" id="{11B5E5B4-6760-B34F-AE86-0986E1F2C070}"/>
                </a:ext>
              </a:extLst>
            </p:cNvPr>
            <p:cNvSpPr/>
            <p:nvPr/>
          </p:nvSpPr>
          <p:spPr>
            <a:xfrm>
              <a:off x="6768382" y="3089617"/>
              <a:ext cx="148754" cy="131585"/>
            </a:xfrm>
            <a:custGeom>
              <a:avLst/>
              <a:gdLst>
                <a:gd name="connsiteX0" fmla="*/ 148645 w 148754"/>
                <a:gd name="connsiteY0" fmla="*/ 57545 h 131585"/>
                <a:gd name="connsiteX1" fmla="*/ 148468 w 148754"/>
                <a:gd name="connsiteY1" fmla="*/ 57951 h 131585"/>
                <a:gd name="connsiteX2" fmla="*/ 147833 w 148754"/>
                <a:gd name="connsiteY2" fmla="*/ 58624 h 131585"/>
                <a:gd name="connsiteX3" fmla="*/ 147161 w 148754"/>
                <a:gd name="connsiteY3" fmla="*/ 59031 h 131585"/>
                <a:gd name="connsiteX4" fmla="*/ 146349 w 148754"/>
                <a:gd name="connsiteY4" fmla="*/ 59399 h 131585"/>
                <a:gd name="connsiteX5" fmla="*/ 144916 w 148754"/>
                <a:gd name="connsiteY5" fmla="*/ 59894 h 131585"/>
                <a:gd name="connsiteX6" fmla="*/ 143609 w 148754"/>
                <a:gd name="connsiteY6" fmla="*/ 60199 h 131585"/>
                <a:gd name="connsiteX7" fmla="*/ 131839 w 148754"/>
                <a:gd name="connsiteY7" fmla="*/ 63984 h 131585"/>
                <a:gd name="connsiteX8" fmla="*/ 126093 w 148754"/>
                <a:gd name="connsiteY8" fmla="*/ 73204 h 131585"/>
                <a:gd name="connsiteX9" fmla="*/ 121273 w 148754"/>
                <a:gd name="connsiteY9" fmla="*/ 85358 h 131585"/>
                <a:gd name="connsiteX10" fmla="*/ 121640 w 148754"/>
                <a:gd name="connsiteY10" fmla="*/ 90349 h 131585"/>
                <a:gd name="connsiteX11" fmla="*/ 122490 w 148754"/>
                <a:gd name="connsiteY11" fmla="*/ 96026 h 131585"/>
                <a:gd name="connsiteX12" fmla="*/ 120778 w 148754"/>
                <a:gd name="connsiteY12" fmla="*/ 96204 h 131585"/>
                <a:gd name="connsiteX13" fmla="*/ 113954 w 148754"/>
                <a:gd name="connsiteY13" fmla="*/ 108269 h 131585"/>
                <a:gd name="connsiteX14" fmla="*/ 115565 w 148754"/>
                <a:gd name="connsiteY14" fmla="*/ 107684 h 131585"/>
                <a:gd name="connsiteX15" fmla="*/ 115971 w 148754"/>
                <a:gd name="connsiteY15" fmla="*/ 107189 h 131585"/>
                <a:gd name="connsiteX16" fmla="*/ 115565 w 148754"/>
                <a:gd name="connsiteY16" fmla="*/ 105119 h 131585"/>
                <a:gd name="connsiteX17" fmla="*/ 114169 w 148754"/>
                <a:gd name="connsiteY17" fmla="*/ 103493 h 131585"/>
                <a:gd name="connsiteX18" fmla="*/ 113231 w 148754"/>
                <a:gd name="connsiteY18" fmla="*/ 106148 h 131585"/>
                <a:gd name="connsiteX19" fmla="*/ 111569 w 148754"/>
                <a:gd name="connsiteY19" fmla="*/ 131535 h 131585"/>
                <a:gd name="connsiteX20" fmla="*/ 102450 w 148754"/>
                <a:gd name="connsiteY20" fmla="*/ 130849 h 131585"/>
                <a:gd name="connsiteX21" fmla="*/ 93418 w 148754"/>
                <a:gd name="connsiteY21" fmla="*/ 123343 h 131585"/>
                <a:gd name="connsiteX22" fmla="*/ 82408 w 148754"/>
                <a:gd name="connsiteY22" fmla="*/ 113806 h 131585"/>
                <a:gd name="connsiteX23" fmla="*/ 92429 w 148754"/>
                <a:gd name="connsiteY23" fmla="*/ 107684 h 131585"/>
                <a:gd name="connsiteX24" fmla="*/ 85009 w 148754"/>
                <a:gd name="connsiteY24" fmla="*/ 97283 h 131585"/>
                <a:gd name="connsiteX25" fmla="*/ 90044 w 148754"/>
                <a:gd name="connsiteY25" fmla="*/ 93727 h 131585"/>
                <a:gd name="connsiteX26" fmla="*/ 91439 w 148754"/>
                <a:gd name="connsiteY26" fmla="*/ 94045 h 131585"/>
                <a:gd name="connsiteX27" fmla="*/ 90044 w 148754"/>
                <a:gd name="connsiteY27" fmla="*/ 93727 h 131585"/>
                <a:gd name="connsiteX28" fmla="*/ 89372 w 148754"/>
                <a:gd name="connsiteY28" fmla="*/ 89460 h 131585"/>
                <a:gd name="connsiteX29" fmla="*/ 81546 w 148754"/>
                <a:gd name="connsiteY29" fmla="*/ 83783 h 131585"/>
                <a:gd name="connsiteX30" fmla="*/ 71487 w 148754"/>
                <a:gd name="connsiteY30" fmla="*/ 91022 h 131585"/>
                <a:gd name="connsiteX31" fmla="*/ 55658 w 148754"/>
                <a:gd name="connsiteY31" fmla="*/ 101106 h 131585"/>
                <a:gd name="connsiteX32" fmla="*/ 44242 w 148754"/>
                <a:gd name="connsiteY32" fmla="*/ 109475 h 131585"/>
                <a:gd name="connsiteX33" fmla="*/ 41591 w 148754"/>
                <a:gd name="connsiteY33" fmla="*/ 102096 h 131585"/>
                <a:gd name="connsiteX34" fmla="*/ 40246 w 148754"/>
                <a:gd name="connsiteY34" fmla="*/ 94045 h 131585"/>
                <a:gd name="connsiteX35" fmla="*/ 38813 w 148754"/>
                <a:gd name="connsiteY35" fmla="*/ 87834 h 131585"/>
                <a:gd name="connsiteX36" fmla="*/ 30860 w 148754"/>
                <a:gd name="connsiteY36" fmla="*/ 85091 h 131585"/>
                <a:gd name="connsiteX37" fmla="*/ 21372 w 148754"/>
                <a:gd name="connsiteY37" fmla="*/ 78157 h 131585"/>
                <a:gd name="connsiteX38" fmla="*/ 16781 w 148754"/>
                <a:gd name="connsiteY38" fmla="*/ 71223 h 131585"/>
                <a:gd name="connsiteX39" fmla="*/ 24429 w 148754"/>
                <a:gd name="connsiteY39" fmla="*/ 67273 h 131585"/>
                <a:gd name="connsiteX40" fmla="*/ 14992 w 148754"/>
                <a:gd name="connsiteY40" fmla="*/ 57418 h 131585"/>
                <a:gd name="connsiteX41" fmla="*/ 13241 w 148754"/>
                <a:gd name="connsiteY41" fmla="*/ 49848 h 131585"/>
                <a:gd name="connsiteX42" fmla="*/ 12252 w 148754"/>
                <a:gd name="connsiteY42" fmla="*/ 41759 h 131585"/>
                <a:gd name="connsiteX43" fmla="*/ 10540 w 148754"/>
                <a:gd name="connsiteY43" fmla="*/ 34329 h 131585"/>
                <a:gd name="connsiteX44" fmla="*/ 1826 w 148754"/>
                <a:gd name="connsiteY44" fmla="*/ 33123 h 131585"/>
                <a:gd name="connsiteX45" fmla="*/ 1192 w 148754"/>
                <a:gd name="connsiteY45" fmla="*/ 27585 h 131585"/>
                <a:gd name="connsiteX46" fmla="*/ -26 w 148754"/>
                <a:gd name="connsiteY46" fmla="*/ 24347 h 131585"/>
                <a:gd name="connsiteX47" fmla="*/ 4692 w 148754"/>
                <a:gd name="connsiteY47" fmla="*/ 21997 h 131585"/>
                <a:gd name="connsiteX48" fmla="*/ 13229 w 148754"/>
                <a:gd name="connsiteY48" fmla="*/ 23763 h 131585"/>
                <a:gd name="connsiteX49" fmla="*/ 22311 w 148754"/>
                <a:gd name="connsiteY49" fmla="*/ 28081 h 131585"/>
                <a:gd name="connsiteX50" fmla="*/ 36733 w 148754"/>
                <a:gd name="connsiteY50" fmla="*/ 30824 h 131585"/>
                <a:gd name="connsiteX51" fmla="*/ 44965 w 148754"/>
                <a:gd name="connsiteY51" fmla="*/ 28474 h 131585"/>
                <a:gd name="connsiteX52" fmla="*/ 40601 w 148754"/>
                <a:gd name="connsiteY52" fmla="*/ 18899 h 131585"/>
                <a:gd name="connsiteX53" fmla="*/ 33549 w 148754"/>
                <a:gd name="connsiteY53" fmla="*/ 6389 h 131585"/>
                <a:gd name="connsiteX54" fmla="*/ 38889 w 148754"/>
                <a:gd name="connsiteY54" fmla="*/ 4052 h 131585"/>
                <a:gd name="connsiteX55" fmla="*/ 47793 w 148754"/>
                <a:gd name="connsiteY55" fmla="*/ 2833 h 131585"/>
                <a:gd name="connsiteX56" fmla="*/ 56152 w 148754"/>
                <a:gd name="connsiteY56" fmla="*/ 13996 h 131585"/>
                <a:gd name="connsiteX57" fmla="*/ 63661 w 148754"/>
                <a:gd name="connsiteY57" fmla="*/ 23750 h 131585"/>
                <a:gd name="connsiteX58" fmla="*/ 76459 w 148754"/>
                <a:gd name="connsiteY58" fmla="*/ 27712 h 131585"/>
                <a:gd name="connsiteX59" fmla="*/ 87964 w 148754"/>
                <a:gd name="connsiteY59" fmla="*/ 18492 h 131585"/>
                <a:gd name="connsiteX60" fmla="*/ 99837 w 148754"/>
                <a:gd name="connsiteY60" fmla="*/ 1 h 131585"/>
                <a:gd name="connsiteX61" fmla="*/ 123974 w 148754"/>
                <a:gd name="connsiteY61" fmla="*/ 35688 h 131585"/>
                <a:gd name="connsiteX62" fmla="*/ 137229 w 148754"/>
                <a:gd name="connsiteY62" fmla="*/ 48198 h 131585"/>
                <a:gd name="connsiteX63" fmla="*/ 137674 w 148754"/>
                <a:gd name="connsiteY63" fmla="*/ 48553 h 131585"/>
                <a:gd name="connsiteX64" fmla="*/ 138117 w 148754"/>
                <a:gd name="connsiteY64" fmla="*/ 48820 h 131585"/>
                <a:gd name="connsiteX65" fmla="*/ 139069 w 148754"/>
                <a:gd name="connsiteY65" fmla="*/ 49404 h 131585"/>
                <a:gd name="connsiteX66" fmla="*/ 140870 w 148754"/>
                <a:gd name="connsiteY66" fmla="*/ 50534 h 131585"/>
                <a:gd name="connsiteX67" fmla="*/ 144054 w 148754"/>
                <a:gd name="connsiteY67" fmla="*/ 52287 h 131585"/>
                <a:gd name="connsiteX68" fmla="*/ 147199 w 148754"/>
                <a:gd name="connsiteY68" fmla="*/ 53773 h 131585"/>
                <a:gd name="connsiteX69" fmla="*/ 148645 w 148754"/>
                <a:gd name="connsiteY69" fmla="*/ 57545 h 131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148754" h="131585">
                  <a:moveTo>
                    <a:pt x="148645" y="57545"/>
                  </a:moveTo>
                  <a:cubicBezTo>
                    <a:pt x="148607" y="57697"/>
                    <a:pt x="148544" y="57824"/>
                    <a:pt x="148468" y="57951"/>
                  </a:cubicBezTo>
                  <a:cubicBezTo>
                    <a:pt x="148315" y="58231"/>
                    <a:pt x="148099" y="58459"/>
                    <a:pt x="147833" y="58624"/>
                  </a:cubicBezTo>
                  <a:cubicBezTo>
                    <a:pt x="147630" y="58789"/>
                    <a:pt x="147402" y="58916"/>
                    <a:pt x="147161" y="59031"/>
                  </a:cubicBezTo>
                  <a:cubicBezTo>
                    <a:pt x="146907" y="59183"/>
                    <a:pt x="146641" y="59310"/>
                    <a:pt x="146349" y="59399"/>
                  </a:cubicBezTo>
                  <a:cubicBezTo>
                    <a:pt x="145943" y="59577"/>
                    <a:pt x="145449" y="59704"/>
                    <a:pt x="144916" y="59894"/>
                  </a:cubicBezTo>
                  <a:cubicBezTo>
                    <a:pt x="144510" y="59983"/>
                    <a:pt x="144066" y="60072"/>
                    <a:pt x="143609" y="60199"/>
                  </a:cubicBezTo>
                  <a:cubicBezTo>
                    <a:pt x="139538" y="60961"/>
                    <a:pt x="135580" y="62231"/>
                    <a:pt x="131839" y="63984"/>
                  </a:cubicBezTo>
                  <a:cubicBezTo>
                    <a:pt x="129429" y="66727"/>
                    <a:pt x="127488" y="69838"/>
                    <a:pt x="126093" y="73204"/>
                  </a:cubicBezTo>
                  <a:cubicBezTo>
                    <a:pt x="124609" y="77306"/>
                    <a:pt x="122947" y="81345"/>
                    <a:pt x="121273" y="85358"/>
                  </a:cubicBezTo>
                  <a:cubicBezTo>
                    <a:pt x="121324" y="86933"/>
                    <a:pt x="121463" y="88596"/>
                    <a:pt x="121640" y="90349"/>
                  </a:cubicBezTo>
                  <a:cubicBezTo>
                    <a:pt x="121818" y="92102"/>
                    <a:pt x="122085" y="93994"/>
                    <a:pt x="122490" y="96026"/>
                  </a:cubicBezTo>
                  <a:cubicBezTo>
                    <a:pt x="123885" y="99849"/>
                    <a:pt x="123162" y="97194"/>
                    <a:pt x="120778" y="96204"/>
                  </a:cubicBezTo>
                  <a:cubicBezTo>
                    <a:pt x="117683" y="97283"/>
                    <a:pt x="118444" y="115546"/>
                    <a:pt x="113954" y="108269"/>
                  </a:cubicBezTo>
                  <a:cubicBezTo>
                    <a:pt x="114538" y="108230"/>
                    <a:pt x="115095" y="108027"/>
                    <a:pt x="115565" y="107684"/>
                  </a:cubicBezTo>
                  <a:cubicBezTo>
                    <a:pt x="115743" y="107545"/>
                    <a:pt x="115882" y="107380"/>
                    <a:pt x="115971" y="107189"/>
                  </a:cubicBezTo>
                  <a:cubicBezTo>
                    <a:pt x="116186" y="106465"/>
                    <a:pt x="116034" y="105703"/>
                    <a:pt x="115565" y="105119"/>
                  </a:cubicBezTo>
                  <a:cubicBezTo>
                    <a:pt x="115222" y="104484"/>
                    <a:pt x="114740" y="103938"/>
                    <a:pt x="114169" y="103493"/>
                  </a:cubicBezTo>
                  <a:cubicBezTo>
                    <a:pt x="113865" y="104395"/>
                    <a:pt x="113535" y="105246"/>
                    <a:pt x="113231" y="106148"/>
                  </a:cubicBezTo>
                  <a:cubicBezTo>
                    <a:pt x="110948" y="114403"/>
                    <a:pt x="110377" y="123039"/>
                    <a:pt x="111569" y="131535"/>
                  </a:cubicBezTo>
                  <a:cubicBezTo>
                    <a:pt x="108513" y="131700"/>
                    <a:pt x="105443" y="131471"/>
                    <a:pt x="102450" y="130849"/>
                  </a:cubicBezTo>
                  <a:cubicBezTo>
                    <a:pt x="98403" y="129554"/>
                    <a:pt x="97452" y="126353"/>
                    <a:pt x="93418" y="123343"/>
                  </a:cubicBezTo>
                  <a:cubicBezTo>
                    <a:pt x="89372" y="120372"/>
                    <a:pt x="85453" y="115596"/>
                    <a:pt x="82408" y="113806"/>
                  </a:cubicBezTo>
                  <a:cubicBezTo>
                    <a:pt x="79390" y="112002"/>
                    <a:pt x="89778" y="108891"/>
                    <a:pt x="92429" y="107684"/>
                  </a:cubicBezTo>
                  <a:cubicBezTo>
                    <a:pt x="95067" y="106465"/>
                    <a:pt x="89004" y="103405"/>
                    <a:pt x="85009" y="97283"/>
                  </a:cubicBezTo>
                  <a:cubicBezTo>
                    <a:pt x="81952" y="92559"/>
                    <a:pt x="87343" y="93194"/>
                    <a:pt x="90044" y="93727"/>
                  </a:cubicBezTo>
                  <a:cubicBezTo>
                    <a:pt x="90678" y="95213"/>
                    <a:pt x="91439" y="94045"/>
                    <a:pt x="91439" y="94045"/>
                  </a:cubicBezTo>
                  <a:cubicBezTo>
                    <a:pt x="91439" y="94045"/>
                    <a:pt x="90856" y="93905"/>
                    <a:pt x="90044" y="93727"/>
                  </a:cubicBezTo>
                  <a:cubicBezTo>
                    <a:pt x="89613" y="92343"/>
                    <a:pt x="89385" y="90908"/>
                    <a:pt x="89372" y="89460"/>
                  </a:cubicBezTo>
                  <a:cubicBezTo>
                    <a:pt x="88915" y="82386"/>
                    <a:pt x="85148" y="85320"/>
                    <a:pt x="81546" y="83783"/>
                  </a:cubicBezTo>
                  <a:cubicBezTo>
                    <a:pt x="77994" y="82297"/>
                    <a:pt x="76333" y="85764"/>
                    <a:pt x="71487" y="91022"/>
                  </a:cubicBezTo>
                  <a:cubicBezTo>
                    <a:pt x="66629" y="96242"/>
                    <a:pt x="62849" y="94984"/>
                    <a:pt x="55658" y="101106"/>
                  </a:cubicBezTo>
                  <a:cubicBezTo>
                    <a:pt x="48516" y="107176"/>
                    <a:pt x="52512" y="102541"/>
                    <a:pt x="44242" y="109475"/>
                  </a:cubicBezTo>
                  <a:cubicBezTo>
                    <a:pt x="43062" y="107126"/>
                    <a:pt x="42174" y="104649"/>
                    <a:pt x="41591" y="102096"/>
                  </a:cubicBezTo>
                  <a:cubicBezTo>
                    <a:pt x="40335" y="97055"/>
                    <a:pt x="41641" y="100255"/>
                    <a:pt x="40246" y="94045"/>
                  </a:cubicBezTo>
                  <a:cubicBezTo>
                    <a:pt x="38813" y="87834"/>
                    <a:pt x="41857" y="89536"/>
                    <a:pt x="38813" y="87834"/>
                  </a:cubicBezTo>
                  <a:cubicBezTo>
                    <a:pt x="35794" y="86120"/>
                    <a:pt x="35350" y="88863"/>
                    <a:pt x="30860" y="85091"/>
                  </a:cubicBezTo>
                  <a:cubicBezTo>
                    <a:pt x="26319" y="81306"/>
                    <a:pt x="25101" y="82297"/>
                    <a:pt x="21372" y="78157"/>
                  </a:cubicBezTo>
                  <a:cubicBezTo>
                    <a:pt x="17592" y="74068"/>
                    <a:pt x="12113" y="70461"/>
                    <a:pt x="16781" y="71223"/>
                  </a:cubicBezTo>
                  <a:cubicBezTo>
                    <a:pt x="21461" y="71997"/>
                    <a:pt x="25190" y="71947"/>
                    <a:pt x="24429" y="67273"/>
                  </a:cubicBezTo>
                  <a:cubicBezTo>
                    <a:pt x="23668" y="62548"/>
                    <a:pt x="17415" y="60478"/>
                    <a:pt x="14992" y="57418"/>
                  </a:cubicBezTo>
                  <a:cubicBezTo>
                    <a:pt x="13292" y="55284"/>
                    <a:pt x="12645" y="52503"/>
                    <a:pt x="13241" y="49848"/>
                  </a:cubicBezTo>
                  <a:cubicBezTo>
                    <a:pt x="13419" y="47652"/>
                    <a:pt x="13952" y="49175"/>
                    <a:pt x="12252" y="41759"/>
                  </a:cubicBezTo>
                  <a:cubicBezTo>
                    <a:pt x="10540" y="34329"/>
                    <a:pt x="15347" y="34101"/>
                    <a:pt x="10540" y="34329"/>
                  </a:cubicBezTo>
                  <a:cubicBezTo>
                    <a:pt x="5733" y="34507"/>
                    <a:pt x="2409" y="38609"/>
                    <a:pt x="1826" y="33123"/>
                  </a:cubicBezTo>
                  <a:cubicBezTo>
                    <a:pt x="1192" y="27585"/>
                    <a:pt x="1242" y="31586"/>
                    <a:pt x="1192" y="27585"/>
                  </a:cubicBezTo>
                  <a:cubicBezTo>
                    <a:pt x="1115" y="26404"/>
                    <a:pt x="697" y="25274"/>
                    <a:pt x="-26" y="24347"/>
                  </a:cubicBezTo>
                  <a:cubicBezTo>
                    <a:pt x="1432" y="23344"/>
                    <a:pt x="3018" y="22556"/>
                    <a:pt x="4692" y="21997"/>
                  </a:cubicBezTo>
                  <a:cubicBezTo>
                    <a:pt x="13140" y="18848"/>
                    <a:pt x="8967" y="22175"/>
                    <a:pt x="13229" y="23763"/>
                  </a:cubicBezTo>
                  <a:cubicBezTo>
                    <a:pt x="17453" y="25325"/>
                    <a:pt x="18899" y="24258"/>
                    <a:pt x="22311" y="28081"/>
                  </a:cubicBezTo>
                  <a:cubicBezTo>
                    <a:pt x="25773" y="31903"/>
                    <a:pt x="27524" y="28792"/>
                    <a:pt x="36733" y="30824"/>
                  </a:cubicBezTo>
                  <a:cubicBezTo>
                    <a:pt x="45954" y="32793"/>
                    <a:pt x="42440" y="31319"/>
                    <a:pt x="44965" y="28474"/>
                  </a:cubicBezTo>
                  <a:cubicBezTo>
                    <a:pt x="47476" y="25680"/>
                    <a:pt x="46398" y="24830"/>
                    <a:pt x="40601" y="18899"/>
                  </a:cubicBezTo>
                  <a:cubicBezTo>
                    <a:pt x="34805" y="12917"/>
                    <a:pt x="33232" y="12638"/>
                    <a:pt x="33549" y="6389"/>
                  </a:cubicBezTo>
                  <a:cubicBezTo>
                    <a:pt x="33815" y="179"/>
                    <a:pt x="33549" y="6389"/>
                    <a:pt x="38889" y="4052"/>
                  </a:cubicBezTo>
                  <a:cubicBezTo>
                    <a:pt x="41629" y="2617"/>
                    <a:pt x="44775" y="2185"/>
                    <a:pt x="47793" y="2833"/>
                  </a:cubicBezTo>
                  <a:cubicBezTo>
                    <a:pt x="53235" y="9488"/>
                    <a:pt x="50799" y="9488"/>
                    <a:pt x="56152" y="13996"/>
                  </a:cubicBezTo>
                  <a:cubicBezTo>
                    <a:pt x="61492" y="18530"/>
                    <a:pt x="55873" y="20283"/>
                    <a:pt x="63661" y="23750"/>
                  </a:cubicBezTo>
                  <a:cubicBezTo>
                    <a:pt x="71475" y="27268"/>
                    <a:pt x="69762" y="33745"/>
                    <a:pt x="76459" y="27712"/>
                  </a:cubicBezTo>
                  <a:cubicBezTo>
                    <a:pt x="83157" y="21731"/>
                    <a:pt x="81812" y="24334"/>
                    <a:pt x="87964" y="18492"/>
                  </a:cubicBezTo>
                  <a:cubicBezTo>
                    <a:pt x="93862" y="12815"/>
                    <a:pt x="93773" y="5081"/>
                    <a:pt x="99837" y="1"/>
                  </a:cubicBezTo>
                  <a:cubicBezTo>
                    <a:pt x="107840" y="11914"/>
                    <a:pt x="115387" y="24207"/>
                    <a:pt x="123974" y="35688"/>
                  </a:cubicBezTo>
                  <a:cubicBezTo>
                    <a:pt x="127856" y="40387"/>
                    <a:pt x="132308" y="44591"/>
                    <a:pt x="137229" y="48198"/>
                  </a:cubicBezTo>
                  <a:cubicBezTo>
                    <a:pt x="137356" y="48325"/>
                    <a:pt x="137547" y="48413"/>
                    <a:pt x="137674" y="48553"/>
                  </a:cubicBezTo>
                  <a:cubicBezTo>
                    <a:pt x="137813" y="48655"/>
                    <a:pt x="137965" y="48744"/>
                    <a:pt x="138117" y="48820"/>
                  </a:cubicBezTo>
                  <a:cubicBezTo>
                    <a:pt x="138421" y="49049"/>
                    <a:pt x="138739" y="49239"/>
                    <a:pt x="139069" y="49404"/>
                  </a:cubicBezTo>
                  <a:cubicBezTo>
                    <a:pt x="139639" y="49823"/>
                    <a:pt x="140235" y="50204"/>
                    <a:pt x="140870" y="50534"/>
                  </a:cubicBezTo>
                  <a:cubicBezTo>
                    <a:pt x="141948" y="51169"/>
                    <a:pt x="142975" y="51741"/>
                    <a:pt x="144054" y="52287"/>
                  </a:cubicBezTo>
                  <a:cubicBezTo>
                    <a:pt x="145093" y="52833"/>
                    <a:pt x="146172" y="53328"/>
                    <a:pt x="147199" y="53773"/>
                  </a:cubicBezTo>
                  <a:cubicBezTo>
                    <a:pt x="148518" y="55475"/>
                    <a:pt x="148924" y="56643"/>
                    <a:pt x="148645" y="57545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3" name="Vrije vorm 392">
              <a:extLst>
                <a:ext uri="{FF2B5EF4-FFF2-40B4-BE49-F238E27FC236}">
                  <a16:creationId xmlns:a16="http://schemas.microsoft.com/office/drawing/2014/main" id="{6C58872F-5F01-F943-864B-1EEE29A648BC}"/>
                </a:ext>
              </a:extLst>
            </p:cNvPr>
            <p:cNvSpPr/>
            <p:nvPr/>
          </p:nvSpPr>
          <p:spPr>
            <a:xfrm>
              <a:off x="6714107" y="3115575"/>
              <a:ext cx="12227" cy="5893"/>
            </a:xfrm>
            <a:custGeom>
              <a:avLst/>
              <a:gdLst>
                <a:gd name="connsiteX0" fmla="*/ 12201 w 12227"/>
                <a:gd name="connsiteY0" fmla="*/ 5399 h 5893"/>
                <a:gd name="connsiteX1" fmla="*/ 4743 w 12227"/>
                <a:gd name="connsiteY1" fmla="*/ 4865 h 5893"/>
                <a:gd name="connsiteX2" fmla="*/ -26 w 12227"/>
                <a:gd name="connsiteY2" fmla="*/ 1 h 5893"/>
                <a:gd name="connsiteX3" fmla="*/ 9284 w 12227"/>
                <a:gd name="connsiteY3" fmla="*/ 2122 h 5893"/>
                <a:gd name="connsiteX4" fmla="*/ 12201 w 12227"/>
                <a:gd name="connsiteY4" fmla="*/ 5399 h 5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27" h="5893">
                  <a:moveTo>
                    <a:pt x="12201" y="5399"/>
                  </a:moveTo>
                  <a:cubicBezTo>
                    <a:pt x="9741" y="6211"/>
                    <a:pt x="7064" y="6021"/>
                    <a:pt x="4743" y="4865"/>
                  </a:cubicBezTo>
                  <a:cubicBezTo>
                    <a:pt x="2333" y="4319"/>
                    <a:pt x="469" y="2414"/>
                    <a:pt x="-26" y="1"/>
                  </a:cubicBezTo>
                  <a:lnTo>
                    <a:pt x="9284" y="2122"/>
                  </a:lnTo>
                  <a:cubicBezTo>
                    <a:pt x="10451" y="3011"/>
                    <a:pt x="11440" y="4129"/>
                    <a:pt x="12201" y="5399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4" name="Vrije vorm 393">
              <a:extLst>
                <a:ext uri="{FF2B5EF4-FFF2-40B4-BE49-F238E27FC236}">
                  <a16:creationId xmlns:a16="http://schemas.microsoft.com/office/drawing/2014/main" id="{7EBD3A21-918F-B546-B043-164DE67F7CCF}"/>
                </a:ext>
              </a:extLst>
            </p:cNvPr>
            <p:cNvSpPr/>
            <p:nvPr/>
          </p:nvSpPr>
          <p:spPr>
            <a:xfrm>
              <a:off x="6673796" y="3100636"/>
              <a:ext cx="40310" cy="14939"/>
            </a:xfrm>
            <a:custGeom>
              <a:avLst/>
              <a:gdLst>
                <a:gd name="connsiteX0" fmla="*/ 40284 w 40310"/>
                <a:gd name="connsiteY0" fmla="*/ 14941 h 14939"/>
                <a:gd name="connsiteX1" fmla="*/ -26 w 40310"/>
                <a:gd name="connsiteY1" fmla="*/ 5759 h 14939"/>
                <a:gd name="connsiteX2" fmla="*/ 2320 w 40310"/>
                <a:gd name="connsiteY2" fmla="*/ 4730 h 14939"/>
                <a:gd name="connsiteX3" fmla="*/ 14218 w 40310"/>
                <a:gd name="connsiteY3" fmla="*/ 5898 h 14939"/>
                <a:gd name="connsiteX4" fmla="*/ 21905 w 40310"/>
                <a:gd name="connsiteY4" fmla="*/ 1809 h 14939"/>
                <a:gd name="connsiteX5" fmla="*/ 29452 w 40310"/>
                <a:gd name="connsiteY5" fmla="*/ 1618 h 14939"/>
                <a:gd name="connsiteX6" fmla="*/ 36834 w 40310"/>
                <a:gd name="connsiteY6" fmla="*/ 9365 h 14939"/>
                <a:gd name="connsiteX7" fmla="*/ 40284 w 40310"/>
                <a:gd name="connsiteY7" fmla="*/ 14941 h 14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10" h="14939">
                  <a:moveTo>
                    <a:pt x="40284" y="14941"/>
                  </a:moveTo>
                  <a:lnTo>
                    <a:pt x="-26" y="5759"/>
                  </a:lnTo>
                  <a:cubicBezTo>
                    <a:pt x="684" y="5263"/>
                    <a:pt x="1471" y="4920"/>
                    <a:pt x="2320" y="4730"/>
                  </a:cubicBezTo>
                  <a:cubicBezTo>
                    <a:pt x="6671" y="3561"/>
                    <a:pt x="6671" y="4908"/>
                    <a:pt x="14218" y="5898"/>
                  </a:cubicBezTo>
                  <a:cubicBezTo>
                    <a:pt x="21727" y="6838"/>
                    <a:pt x="15613" y="5809"/>
                    <a:pt x="21905" y="1809"/>
                  </a:cubicBezTo>
                  <a:cubicBezTo>
                    <a:pt x="28247" y="-2242"/>
                    <a:pt x="26890" y="1809"/>
                    <a:pt x="29452" y="1618"/>
                  </a:cubicBezTo>
                  <a:cubicBezTo>
                    <a:pt x="32065" y="1402"/>
                    <a:pt x="31710" y="6165"/>
                    <a:pt x="36834" y="9365"/>
                  </a:cubicBezTo>
                  <a:cubicBezTo>
                    <a:pt x="38737" y="10635"/>
                    <a:pt x="39992" y="12667"/>
                    <a:pt x="40284" y="14941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5" name="Vrije vorm 394">
              <a:extLst>
                <a:ext uri="{FF2B5EF4-FFF2-40B4-BE49-F238E27FC236}">
                  <a16:creationId xmlns:a16="http://schemas.microsoft.com/office/drawing/2014/main" id="{6EB4F9D7-CBF3-564F-83B7-1D5624FE8543}"/>
                </a:ext>
              </a:extLst>
            </p:cNvPr>
            <p:cNvSpPr/>
            <p:nvPr/>
          </p:nvSpPr>
          <p:spPr>
            <a:xfrm>
              <a:off x="6505465" y="3260063"/>
              <a:ext cx="185540" cy="171297"/>
            </a:xfrm>
            <a:custGeom>
              <a:avLst/>
              <a:gdLst>
                <a:gd name="connsiteX0" fmla="*/ 184618 w 185540"/>
                <a:gd name="connsiteY0" fmla="*/ 1 h 171297"/>
                <a:gd name="connsiteX1" fmla="*/ 179277 w 185540"/>
                <a:gd name="connsiteY1" fmla="*/ 3824 h 171297"/>
                <a:gd name="connsiteX2" fmla="*/ 161799 w 185540"/>
                <a:gd name="connsiteY2" fmla="*/ 7875 h 171297"/>
                <a:gd name="connsiteX3" fmla="*/ 145208 w 185540"/>
                <a:gd name="connsiteY3" fmla="*/ 7875 h 171297"/>
                <a:gd name="connsiteX4" fmla="*/ 129479 w 185540"/>
                <a:gd name="connsiteY4" fmla="*/ 11469 h 171297"/>
                <a:gd name="connsiteX5" fmla="*/ 107510 w 185540"/>
                <a:gd name="connsiteY5" fmla="*/ 20689 h 171297"/>
                <a:gd name="connsiteX6" fmla="*/ 92315 w 185540"/>
                <a:gd name="connsiteY6" fmla="*/ 20689 h 171297"/>
                <a:gd name="connsiteX7" fmla="*/ 77309 w 185540"/>
                <a:gd name="connsiteY7" fmla="*/ 16194 h 171297"/>
                <a:gd name="connsiteX8" fmla="*/ 60414 w 185540"/>
                <a:gd name="connsiteY8" fmla="*/ 17133 h 171297"/>
                <a:gd name="connsiteX9" fmla="*/ 41540 w 185540"/>
                <a:gd name="connsiteY9" fmla="*/ 22214 h 171297"/>
                <a:gd name="connsiteX10" fmla="*/ 36187 w 185540"/>
                <a:gd name="connsiteY10" fmla="*/ 20689 h 171297"/>
                <a:gd name="connsiteX11" fmla="*/ 26395 w 185540"/>
                <a:gd name="connsiteY11" fmla="*/ 17273 h 171297"/>
                <a:gd name="connsiteX12" fmla="*/ 23478 w 185540"/>
                <a:gd name="connsiteY12" fmla="*/ 24614 h 171297"/>
                <a:gd name="connsiteX13" fmla="*/ 20459 w 185540"/>
                <a:gd name="connsiteY13" fmla="*/ 37352 h 171297"/>
                <a:gd name="connsiteX14" fmla="*/ 16907 w 185540"/>
                <a:gd name="connsiteY14" fmla="*/ 37352 h 171297"/>
                <a:gd name="connsiteX15" fmla="*/ 12823 w 185540"/>
                <a:gd name="connsiteY15" fmla="*/ 46699 h 171297"/>
                <a:gd name="connsiteX16" fmla="*/ 5859 w 185540"/>
                <a:gd name="connsiteY16" fmla="*/ 50661 h 171297"/>
                <a:gd name="connsiteX17" fmla="*/ 5047 w 185540"/>
                <a:gd name="connsiteY17" fmla="*/ 51119 h 171297"/>
                <a:gd name="connsiteX18" fmla="*/ 5682 w 185540"/>
                <a:gd name="connsiteY18" fmla="*/ 71058 h 171297"/>
                <a:gd name="connsiteX19" fmla="*/ 4781 w 185540"/>
                <a:gd name="connsiteY19" fmla="*/ 91975 h 171297"/>
                <a:gd name="connsiteX20" fmla="*/ 4781 w 185540"/>
                <a:gd name="connsiteY20" fmla="*/ 92025 h 171297"/>
                <a:gd name="connsiteX21" fmla="*/ 8066 w 185540"/>
                <a:gd name="connsiteY21" fmla="*/ 92876 h 171297"/>
                <a:gd name="connsiteX22" fmla="*/ 12062 w 185540"/>
                <a:gd name="connsiteY22" fmla="*/ 90400 h 171297"/>
                <a:gd name="connsiteX23" fmla="*/ 18797 w 185540"/>
                <a:gd name="connsiteY23" fmla="*/ 92826 h 171297"/>
                <a:gd name="connsiteX24" fmla="*/ 17947 w 185540"/>
                <a:gd name="connsiteY24" fmla="*/ 99582 h 171297"/>
                <a:gd name="connsiteX25" fmla="*/ 22311 w 185540"/>
                <a:gd name="connsiteY25" fmla="*/ 103811 h 171297"/>
                <a:gd name="connsiteX26" fmla="*/ 19698 w 185540"/>
                <a:gd name="connsiteY26" fmla="*/ 112536 h 171297"/>
                <a:gd name="connsiteX27" fmla="*/ 15068 w 185540"/>
                <a:gd name="connsiteY27" fmla="*/ 118340 h 171297"/>
                <a:gd name="connsiteX28" fmla="*/ 13952 w 185540"/>
                <a:gd name="connsiteY28" fmla="*/ 121807 h 171297"/>
                <a:gd name="connsiteX29" fmla="*/ 12823 w 185540"/>
                <a:gd name="connsiteY29" fmla="*/ 122442 h 171297"/>
                <a:gd name="connsiteX30" fmla="*/ 4603 w 185540"/>
                <a:gd name="connsiteY30" fmla="*/ 124690 h 171297"/>
                <a:gd name="connsiteX31" fmla="*/ 2663 w 185540"/>
                <a:gd name="connsiteY31" fmla="*/ 133694 h 171297"/>
                <a:gd name="connsiteX32" fmla="*/ -26 w 185540"/>
                <a:gd name="connsiteY32" fmla="*/ 137656 h 171297"/>
                <a:gd name="connsiteX33" fmla="*/ -26 w 185540"/>
                <a:gd name="connsiteY33" fmla="*/ 137695 h 171297"/>
                <a:gd name="connsiteX34" fmla="*/ 1280 w 185540"/>
                <a:gd name="connsiteY34" fmla="*/ 142559 h 171297"/>
                <a:gd name="connsiteX35" fmla="*/ 1953 w 185540"/>
                <a:gd name="connsiteY35" fmla="*/ 149976 h 171297"/>
                <a:gd name="connsiteX36" fmla="*/ 963 w 185540"/>
                <a:gd name="connsiteY36" fmla="*/ 154929 h 171297"/>
                <a:gd name="connsiteX37" fmla="*/ 240 w 185540"/>
                <a:gd name="connsiteY37" fmla="*/ 157583 h 171297"/>
                <a:gd name="connsiteX38" fmla="*/ 4553 w 185540"/>
                <a:gd name="connsiteY38" fmla="*/ 162180 h 171297"/>
                <a:gd name="connsiteX39" fmla="*/ 15880 w 185540"/>
                <a:gd name="connsiteY39" fmla="*/ 167616 h 171297"/>
                <a:gd name="connsiteX40" fmla="*/ 29224 w 185540"/>
                <a:gd name="connsiteY40" fmla="*/ 171299 h 171297"/>
                <a:gd name="connsiteX41" fmla="*/ 58397 w 185540"/>
                <a:gd name="connsiteY41" fmla="*/ 152490 h 171297"/>
                <a:gd name="connsiteX42" fmla="*/ 82168 w 185540"/>
                <a:gd name="connsiteY42" fmla="*/ 138190 h 171297"/>
                <a:gd name="connsiteX43" fmla="*/ 121666 w 185540"/>
                <a:gd name="connsiteY43" fmla="*/ 114784 h 171297"/>
                <a:gd name="connsiteX44" fmla="*/ 155190 w 185540"/>
                <a:gd name="connsiteY44" fmla="*/ 78652 h 171297"/>
                <a:gd name="connsiteX45" fmla="*/ 158298 w 185540"/>
                <a:gd name="connsiteY45" fmla="*/ 56110 h 171297"/>
                <a:gd name="connsiteX46" fmla="*/ 155685 w 185540"/>
                <a:gd name="connsiteY46" fmla="*/ 34609 h 171297"/>
                <a:gd name="connsiteX47" fmla="*/ 169168 w 185540"/>
                <a:gd name="connsiteY47" fmla="*/ 23090 h 171297"/>
                <a:gd name="connsiteX48" fmla="*/ 183286 w 185540"/>
                <a:gd name="connsiteY48" fmla="*/ 13908 h 171297"/>
                <a:gd name="connsiteX49" fmla="*/ 185480 w 185540"/>
                <a:gd name="connsiteY49" fmla="*/ 7748 h 171297"/>
                <a:gd name="connsiteX50" fmla="*/ 184618 w 185540"/>
                <a:gd name="connsiteY50" fmla="*/ 1 h 171297"/>
                <a:gd name="connsiteX51" fmla="*/ 13990 w 185540"/>
                <a:gd name="connsiteY51" fmla="*/ 121807 h 171297"/>
                <a:gd name="connsiteX52" fmla="*/ 14129 w 185540"/>
                <a:gd name="connsiteY52" fmla="*/ 121769 h 171297"/>
                <a:gd name="connsiteX53" fmla="*/ 13990 w 185540"/>
                <a:gd name="connsiteY53" fmla="*/ 121807 h 171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185540" h="171297">
                  <a:moveTo>
                    <a:pt x="184618" y="1"/>
                  </a:moveTo>
                  <a:cubicBezTo>
                    <a:pt x="184618" y="1"/>
                    <a:pt x="180444" y="852"/>
                    <a:pt x="179277" y="3824"/>
                  </a:cubicBezTo>
                  <a:cubicBezTo>
                    <a:pt x="178060" y="6796"/>
                    <a:pt x="171147" y="5526"/>
                    <a:pt x="161799" y="7875"/>
                  </a:cubicBezTo>
                  <a:cubicBezTo>
                    <a:pt x="152488" y="10161"/>
                    <a:pt x="153833" y="7875"/>
                    <a:pt x="145208" y="7875"/>
                  </a:cubicBezTo>
                  <a:cubicBezTo>
                    <a:pt x="139715" y="7291"/>
                    <a:pt x="134185" y="8561"/>
                    <a:pt x="129479" y="11469"/>
                  </a:cubicBezTo>
                  <a:cubicBezTo>
                    <a:pt x="120854" y="15076"/>
                    <a:pt x="116669" y="17451"/>
                    <a:pt x="107510" y="20689"/>
                  </a:cubicBezTo>
                  <a:cubicBezTo>
                    <a:pt x="98340" y="23979"/>
                    <a:pt x="101041" y="21909"/>
                    <a:pt x="92315" y="20689"/>
                  </a:cubicBezTo>
                  <a:cubicBezTo>
                    <a:pt x="83639" y="19483"/>
                    <a:pt x="82294" y="19889"/>
                    <a:pt x="77309" y="16194"/>
                  </a:cubicBezTo>
                  <a:cubicBezTo>
                    <a:pt x="72312" y="12549"/>
                    <a:pt x="67415" y="14352"/>
                    <a:pt x="60414" y="17133"/>
                  </a:cubicBezTo>
                  <a:cubicBezTo>
                    <a:pt x="54427" y="19826"/>
                    <a:pt x="48059" y="21540"/>
                    <a:pt x="41540" y="22214"/>
                  </a:cubicBezTo>
                  <a:cubicBezTo>
                    <a:pt x="31380" y="23699"/>
                    <a:pt x="41540" y="22226"/>
                    <a:pt x="36187" y="20689"/>
                  </a:cubicBezTo>
                  <a:cubicBezTo>
                    <a:pt x="30835" y="19216"/>
                    <a:pt x="31824" y="18264"/>
                    <a:pt x="26395" y="17273"/>
                  </a:cubicBezTo>
                  <a:cubicBezTo>
                    <a:pt x="20953" y="16333"/>
                    <a:pt x="25989" y="19623"/>
                    <a:pt x="23478" y="24614"/>
                  </a:cubicBezTo>
                  <a:cubicBezTo>
                    <a:pt x="20966" y="29605"/>
                    <a:pt x="23199" y="30367"/>
                    <a:pt x="20459" y="37352"/>
                  </a:cubicBezTo>
                  <a:cubicBezTo>
                    <a:pt x="17719" y="44324"/>
                    <a:pt x="20459" y="37352"/>
                    <a:pt x="16907" y="37352"/>
                  </a:cubicBezTo>
                  <a:cubicBezTo>
                    <a:pt x="13356" y="37390"/>
                    <a:pt x="16552" y="41073"/>
                    <a:pt x="12823" y="46699"/>
                  </a:cubicBezTo>
                  <a:cubicBezTo>
                    <a:pt x="9094" y="52287"/>
                    <a:pt x="12823" y="46699"/>
                    <a:pt x="5859" y="50661"/>
                  </a:cubicBezTo>
                  <a:cubicBezTo>
                    <a:pt x="5542" y="50839"/>
                    <a:pt x="5276" y="50979"/>
                    <a:pt x="5047" y="51119"/>
                  </a:cubicBezTo>
                  <a:cubicBezTo>
                    <a:pt x="4870" y="57723"/>
                    <a:pt x="5276" y="64390"/>
                    <a:pt x="5682" y="71058"/>
                  </a:cubicBezTo>
                  <a:cubicBezTo>
                    <a:pt x="6252" y="78043"/>
                    <a:pt x="5961" y="85066"/>
                    <a:pt x="4781" y="91975"/>
                  </a:cubicBezTo>
                  <a:lnTo>
                    <a:pt x="4781" y="92025"/>
                  </a:lnTo>
                  <a:cubicBezTo>
                    <a:pt x="5821" y="92292"/>
                    <a:pt x="6899" y="92559"/>
                    <a:pt x="8066" y="92876"/>
                  </a:cubicBezTo>
                  <a:cubicBezTo>
                    <a:pt x="15296" y="94769"/>
                    <a:pt x="10755" y="92914"/>
                    <a:pt x="12062" y="90400"/>
                  </a:cubicBezTo>
                  <a:cubicBezTo>
                    <a:pt x="13318" y="87923"/>
                    <a:pt x="15068" y="90806"/>
                    <a:pt x="18797" y="92826"/>
                  </a:cubicBezTo>
                  <a:cubicBezTo>
                    <a:pt x="22539" y="94807"/>
                    <a:pt x="17453" y="97245"/>
                    <a:pt x="17947" y="99582"/>
                  </a:cubicBezTo>
                  <a:cubicBezTo>
                    <a:pt x="18404" y="101919"/>
                    <a:pt x="21232" y="102236"/>
                    <a:pt x="22311" y="103811"/>
                  </a:cubicBezTo>
                  <a:cubicBezTo>
                    <a:pt x="23389" y="105386"/>
                    <a:pt x="21727" y="109882"/>
                    <a:pt x="19698" y="112536"/>
                  </a:cubicBezTo>
                  <a:cubicBezTo>
                    <a:pt x="17719" y="115190"/>
                    <a:pt x="18036" y="112536"/>
                    <a:pt x="15068" y="118340"/>
                  </a:cubicBezTo>
                  <a:cubicBezTo>
                    <a:pt x="13812" y="120816"/>
                    <a:pt x="13812" y="121578"/>
                    <a:pt x="13952" y="121807"/>
                  </a:cubicBezTo>
                  <a:cubicBezTo>
                    <a:pt x="13558" y="121985"/>
                    <a:pt x="13178" y="122201"/>
                    <a:pt x="12823" y="122442"/>
                  </a:cubicBezTo>
                  <a:cubicBezTo>
                    <a:pt x="9728" y="124474"/>
                    <a:pt x="6709" y="122036"/>
                    <a:pt x="4603" y="124690"/>
                  </a:cubicBezTo>
                  <a:cubicBezTo>
                    <a:pt x="2536" y="127344"/>
                    <a:pt x="5098" y="130176"/>
                    <a:pt x="2663" y="133694"/>
                  </a:cubicBezTo>
                  <a:cubicBezTo>
                    <a:pt x="1407" y="135396"/>
                    <a:pt x="874" y="136666"/>
                    <a:pt x="-26" y="137656"/>
                  </a:cubicBezTo>
                  <a:lnTo>
                    <a:pt x="-26" y="137695"/>
                  </a:lnTo>
                  <a:cubicBezTo>
                    <a:pt x="608" y="139257"/>
                    <a:pt x="1052" y="140882"/>
                    <a:pt x="1280" y="142559"/>
                  </a:cubicBezTo>
                  <a:cubicBezTo>
                    <a:pt x="1826" y="144984"/>
                    <a:pt x="2054" y="147486"/>
                    <a:pt x="1953" y="149976"/>
                  </a:cubicBezTo>
                  <a:cubicBezTo>
                    <a:pt x="2257" y="151690"/>
                    <a:pt x="1902" y="153468"/>
                    <a:pt x="963" y="154929"/>
                  </a:cubicBezTo>
                  <a:cubicBezTo>
                    <a:pt x="583" y="155767"/>
                    <a:pt x="342" y="156668"/>
                    <a:pt x="240" y="157583"/>
                  </a:cubicBezTo>
                  <a:cubicBezTo>
                    <a:pt x="2422" y="158192"/>
                    <a:pt x="4084" y="159958"/>
                    <a:pt x="4553" y="162180"/>
                  </a:cubicBezTo>
                  <a:cubicBezTo>
                    <a:pt x="4832" y="165736"/>
                    <a:pt x="10755" y="164555"/>
                    <a:pt x="15880" y="167616"/>
                  </a:cubicBezTo>
                  <a:cubicBezTo>
                    <a:pt x="19952" y="169940"/>
                    <a:pt x="24543" y="171197"/>
                    <a:pt x="29224" y="171299"/>
                  </a:cubicBezTo>
                  <a:cubicBezTo>
                    <a:pt x="39548" y="166003"/>
                    <a:pt x="49315" y="159704"/>
                    <a:pt x="58397" y="152490"/>
                  </a:cubicBezTo>
                  <a:cubicBezTo>
                    <a:pt x="62038" y="150115"/>
                    <a:pt x="71512" y="144489"/>
                    <a:pt x="82168" y="138190"/>
                  </a:cubicBezTo>
                  <a:cubicBezTo>
                    <a:pt x="97262" y="129274"/>
                    <a:pt x="114791" y="119026"/>
                    <a:pt x="121666" y="114784"/>
                  </a:cubicBezTo>
                  <a:cubicBezTo>
                    <a:pt x="135200" y="105183"/>
                    <a:pt x="146616" y="92876"/>
                    <a:pt x="155190" y="78652"/>
                  </a:cubicBezTo>
                  <a:cubicBezTo>
                    <a:pt x="158640" y="71680"/>
                    <a:pt x="159731" y="63768"/>
                    <a:pt x="158298" y="56110"/>
                  </a:cubicBezTo>
                  <a:cubicBezTo>
                    <a:pt x="157042" y="48998"/>
                    <a:pt x="156167" y="41822"/>
                    <a:pt x="155685" y="34609"/>
                  </a:cubicBezTo>
                  <a:cubicBezTo>
                    <a:pt x="156585" y="27725"/>
                    <a:pt x="161761" y="27636"/>
                    <a:pt x="169168" y="23090"/>
                  </a:cubicBezTo>
                  <a:cubicBezTo>
                    <a:pt x="176538" y="18543"/>
                    <a:pt x="179189" y="16918"/>
                    <a:pt x="183286" y="13908"/>
                  </a:cubicBezTo>
                  <a:cubicBezTo>
                    <a:pt x="184884" y="12282"/>
                    <a:pt x="185696" y="10021"/>
                    <a:pt x="185480" y="7748"/>
                  </a:cubicBezTo>
                  <a:cubicBezTo>
                    <a:pt x="185505" y="5132"/>
                    <a:pt x="185227" y="2541"/>
                    <a:pt x="184618" y="1"/>
                  </a:cubicBezTo>
                  <a:close/>
                  <a:moveTo>
                    <a:pt x="13990" y="121807"/>
                  </a:moveTo>
                  <a:lnTo>
                    <a:pt x="14129" y="121769"/>
                  </a:lnTo>
                  <a:cubicBezTo>
                    <a:pt x="14167" y="121756"/>
                    <a:pt x="14079" y="121896"/>
                    <a:pt x="13990" y="121807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6" name="Vrije vorm 395">
              <a:extLst>
                <a:ext uri="{FF2B5EF4-FFF2-40B4-BE49-F238E27FC236}">
                  <a16:creationId xmlns:a16="http://schemas.microsoft.com/office/drawing/2014/main" id="{10D08C59-948F-334C-B169-C8E7D5E84C1D}"/>
                </a:ext>
              </a:extLst>
            </p:cNvPr>
            <p:cNvSpPr/>
            <p:nvPr/>
          </p:nvSpPr>
          <p:spPr>
            <a:xfrm>
              <a:off x="6459522" y="3454983"/>
              <a:ext cx="9883" cy="13716"/>
            </a:xfrm>
            <a:custGeom>
              <a:avLst/>
              <a:gdLst>
                <a:gd name="connsiteX0" fmla="*/ 7661 w 9883"/>
                <a:gd name="connsiteY0" fmla="*/ 11291 h 13716"/>
                <a:gd name="connsiteX1" fmla="*/ 1230 w 9883"/>
                <a:gd name="connsiteY1" fmla="*/ 13717 h 13716"/>
                <a:gd name="connsiteX2" fmla="*/ -26 w 9883"/>
                <a:gd name="connsiteY2" fmla="*/ 10161 h 13716"/>
                <a:gd name="connsiteX3" fmla="*/ 9106 w 9883"/>
                <a:gd name="connsiteY3" fmla="*/ 1 h 13716"/>
                <a:gd name="connsiteX4" fmla="*/ 9196 w 9883"/>
                <a:gd name="connsiteY4" fmla="*/ 712 h 13716"/>
                <a:gd name="connsiteX5" fmla="*/ 7661 w 9883"/>
                <a:gd name="connsiteY5" fmla="*/ 11291 h 13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883" h="13716">
                  <a:moveTo>
                    <a:pt x="7661" y="11291"/>
                  </a:moveTo>
                  <a:cubicBezTo>
                    <a:pt x="5339" y="11507"/>
                    <a:pt x="3120" y="12346"/>
                    <a:pt x="1230" y="13717"/>
                  </a:cubicBezTo>
                  <a:lnTo>
                    <a:pt x="-26" y="10161"/>
                  </a:lnTo>
                  <a:cubicBezTo>
                    <a:pt x="3424" y="7164"/>
                    <a:pt x="6481" y="3748"/>
                    <a:pt x="9106" y="1"/>
                  </a:cubicBezTo>
                  <a:cubicBezTo>
                    <a:pt x="9170" y="230"/>
                    <a:pt x="9208" y="471"/>
                    <a:pt x="9196" y="712"/>
                  </a:cubicBezTo>
                  <a:cubicBezTo>
                    <a:pt x="9196" y="4052"/>
                    <a:pt x="11441" y="11469"/>
                    <a:pt x="7661" y="11291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7" name="Vrije vorm 396">
              <a:extLst>
                <a:ext uri="{FF2B5EF4-FFF2-40B4-BE49-F238E27FC236}">
                  <a16:creationId xmlns:a16="http://schemas.microsoft.com/office/drawing/2014/main" id="{05F50E8B-B2A0-8641-A799-6B63CA531CB1}"/>
                </a:ext>
              </a:extLst>
            </p:cNvPr>
            <p:cNvSpPr/>
            <p:nvPr/>
          </p:nvSpPr>
          <p:spPr>
            <a:xfrm>
              <a:off x="7401541" y="3127824"/>
              <a:ext cx="212783" cy="148938"/>
            </a:xfrm>
            <a:custGeom>
              <a:avLst/>
              <a:gdLst>
                <a:gd name="connsiteX0" fmla="*/ 212736 w 212783"/>
                <a:gd name="connsiteY0" fmla="*/ 114867 h 148938"/>
                <a:gd name="connsiteX1" fmla="*/ 209502 w 212783"/>
                <a:gd name="connsiteY1" fmla="*/ 131377 h 148938"/>
                <a:gd name="connsiteX2" fmla="*/ 195080 w 212783"/>
                <a:gd name="connsiteY2" fmla="*/ 128050 h 148938"/>
                <a:gd name="connsiteX3" fmla="*/ 179745 w 212783"/>
                <a:gd name="connsiteY3" fmla="*/ 134705 h 148938"/>
                <a:gd name="connsiteX4" fmla="*/ 173403 w 212783"/>
                <a:gd name="connsiteY4" fmla="*/ 125307 h 148938"/>
                <a:gd name="connsiteX5" fmla="*/ 150622 w 212783"/>
                <a:gd name="connsiteY5" fmla="*/ 134171 h 148938"/>
                <a:gd name="connsiteX6" fmla="*/ 126941 w 212783"/>
                <a:gd name="connsiteY6" fmla="*/ 147125 h 148938"/>
                <a:gd name="connsiteX7" fmla="*/ 116286 w 212783"/>
                <a:gd name="connsiteY7" fmla="*/ 137359 h 148938"/>
                <a:gd name="connsiteX8" fmla="*/ 118493 w 212783"/>
                <a:gd name="connsiteY8" fmla="*/ 120214 h 148938"/>
                <a:gd name="connsiteX9" fmla="*/ 104426 w 212783"/>
                <a:gd name="connsiteY9" fmla="*/ 103158 h 148938"/>
                <a:gd name="connsiteX10" fmla="*/ 97958 w 212783"/>
                <a:gd name="connsiteY10" fmla="*/ 96770 h 148938"/>
                <a:gd name="connsiteX11" fmla="*/ 79438 w 212783"/>
                <a:gd name="connsiteY11" fmla="*/ 108695 h 148938"/>
                <a:gd name="connsiteX12" fmla="*/ 75709 w 212783"/>
                <a:gd name="connsiteY12" fmla="*/ 122868 h 148938"/>
                <a:gd name="connsiteX13" fmla="*/ 59385 w 212783"/>
                <a:gd name="connsiteY13" fmla="*/ 129841 h 148938"/>
                <a:gd name="connsiteX14" fmla="*/ 53144 w 212783"/>
                <a:gd name="connsiteY14" fmla="*/ 138705 h 148938"/>
                <a:gd name="connsiteX15" fmla="*/ 26532 w 212783"/>
                <a:gd name="connsiteY15" fmla="*/ 138350 h 148938"/>
                <a:gd name="connsiteX16" fmla="*/ 14673 w 212783"/>
                <a:gd name="connsiteY16" fmla="*/ 141220 h 148938"/>
                <a:gd name="connsiteX17" fmla="*/ 10309 w 212783"/>
                <a:gd name="connsiteY17" fmla="*/ 136318 h 148938"/>
                <a:gd name="connsiteX18" fmla="*/ 14356 w 212783"/>
                <a:gd name="connsiteY18" fmla="*/ 125434 h 148938"/>
                <a:gd name="connsiteX19" fmla="*/ 22981 w 212783"/>
                <a:gd name="connsiteY19" fmla="*/ 104377 h 148938"/>
                <a:gd name="connsiteX20" fmla="*/ 23971 w 212783"/>
                <a:gd name="connsiteY20" fmla="*/ 87766 h 148938"/>
                <a:gd name="connsiteX21" fmla="*/ 16385 w 212783"/>
                <a:gd name="connsiteY21" fmla="*/ 70532 h 148938"/>
                <a:gd name="connsiteX22" fmla="*/ 251 w 212783"/>
                <a:gd name="connsiteY22" fmla="*/ 59965 h 148938"/>
                <a:gd name="connsiteX23" fmla="*/ 9815 w 212783"/>
                <a:gd name="connsiteY23" fmla="*/ 47811 h 148938"/>
                <a:gd name="connsiteX24" fmla="*/ 27345 w 212783"/>
                <a:gd name="connsiteY24" fmla="*/ 45157 h 148938"/>
                <a:gd name="connsiteX25" fmla="*/ 35576 w 212783"/>
                <a:gd name="connsiteY25" fmla="*/ 39493 h 148938"/>
                <a:gd name="connsiteX26" fmla="*/ 46713 w 212783"/>
                <a:gd name="connsiteY26" fmla="*/ 25358 h 148938"/>
                <a:gd name="connsiteX27" fmla="*/ 53994 w 212783"/>
                <a:gd name="connsiteY27" fmla="*/ 9838 h 148938"/>
                <a:gd name="connsiteX28" fmla="*/ 54223 w 212783"/>
                <a:gd name="connsiteY28" fmla="*/ 6867 h 148938"/>
                <a:gd name="connsiteX29" fmla="*/ 62441 w 212783"/>
                <a:gd name="connsiteY29" fmla="*/ 5838 h 148938"/>
                <a:gd name="connsiteX30" fmla="*/ 84284 w 212783"/>
                <a:gd name="connsiteY30" fmla="*/ 123 h 148938"/>
                <a:gd name="connsiteX31" fmla="*/ 88241 w 212783"/>
                <a:gd name="connsiteY31" fmla="*/ 9838 h 148938"/>
                <a:gd name="connsiteX32" fmla="*/ 88774 w 212783"/>
                <a:gd name="connsiteY32" fmla="*/ 20951 h 148938"/>
                <a:gd name="connsiteX33" fmla="*/ 93987 w 212783"/>
                <a:gd name="connsiteY33" fmla="*/ 23516 h 148938"/>
                <a:gd name="connsiteX34" fmla="*/ 93353 w 212783"/>
                <a:gd name="connsiteY34" fmla="*/ 26666 h 148938"/>
                <a:gd name="connsiteX35" fmla="*/ 88685 w 212783"/>
                <a:gd name="connsiteY35" fmla="*/ 38325 h 148938"/>
                <a:gd name="connsiteX36" fmla="*/ 82927 w 212783"/>
                <a:gd name="connsiteY36" fmla="*/ 37601 h 148938"/>
                <a:gd name="connsiteX37" fmla="*/ 62036 w 212783"/>
                <a:gd name="connsiteY37" fmla="*/ 30171 h 148938"/>
                <a:gd name="connsiteX38" fmla="*/ 57672 w 212783"/>
                <a:gd name="connsiteY38" fmla="*/ 37778 h 148938"/>
                <a:gd name="connsiteX39" fmla="*/ 54666 w 212783"/>
                <a:gd name="connsiteY39" fmla="*/ 51774 h 148938"/>
                <a:gd name="connsiteX40" fmla="*/ 69722 w 212783"/>
                <a:gd name="connsiteY40" fmla="*/ 51012 h 148938"/>
                <a:gd name="connsiteX41" fmla="*/ 84284 w 212783"/>
                <a:gd name="connsiteY41" fmla="*/ 49526 h 148938"/>
                <a:gd name="connsiteX42" fmla="*/ 96372 w 212783"/>
                <a:gd name="connsiteY42" fmla="*/ 56676 h 148938"/>
                <a:gd name="connsiteX43" fmla="*/ 109943 w 212783"/>
                <a:gd name="connsiteY43" fmla="*/ 51824 h 148938"/>
                <a:gd name="connsiteX44" fmla="*/ 123427 w 212783"/>
                <a:gd name="connsiteY44" fmla="*/ 53844 h 148938"/>
                <a:gd name="connsiteX45" fmla="*/ 132687 w 212783"/>
                <a:gd name="connsiteY45" fmla="*/ 57133 h 148938"/>
                <a:gd name="connsiteX46" fmla="*/ 142885 w 212783"/>
                <a:gd name="connsiteY46" fmla="*/ 57806 h 148938"/>
                <a:gd name="connsiteX47" fmla="*/ 154922 w 212783"/>
                <a:gd name="connsiteY47" fmla="*/ 57628 h 148938"/>
                <a:gd name="connsiteX48" fmla="*/ 175559 w 212783"/>
                <a:gd name="connsiteY48" fmla="*/ 55101 h 148938"/>
                <a:gd name="connsiteX49" fmla="*/ 177221 w 212783"/>
                <a:gd name="connsiteY49" fmla="*/ 74900 h 148938"/>
                <a:gd name="connsiteX50" fmla="*/ 185579 w 212783"/>
                <a:gd name="connsiteY50" fmla="*/ 86292 h 148938"/>
                <a:gd name="connsiteX51" fmla="*/ 196501 w 212783"/>
                <a:gd name="connsiteY51" fmla="*/ 85886 h 148938"/>
                <a:gd name="connsiteX52" fmla="*/ 209984 w 212783"/>
                <a:gd name="connsiteY52" fmla="*/ 95830 h 148938"/>
                <a:gd name="connsiteX53" fmla="*/ 212736 w 212783"/>
                <a:gd name="connsiteY53" fmla="*/ 114867 h 148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212783" h="148938">
                  <a:moveTo>
                    <a:pt x="212736" y="114867"/>
                  </a:moveTo>
                  <a:cubicBezTo>
                    <a:pt x="212648" y="122335"/>
                    <a:pt x="212508" y="128456"/>
                    <a:pt x="209502" y="131377"/>
                  </a:cubicBezTo>
                  <a:cubicBezTo>
                    <a:pt x="205545" y="128774"/>
                    <a:pt x="199431" y="125662"/>
                    <a:pt x="195080" y="128050"/>
                  </a:cubicBezTo>
                  <a:cubicBezTo>
                    <a:pt x="190514" y="131352"/>
                    <a:pt x="185275" y="133625"/>
                    <a:pt x="179745" y="134705"/>
                  </a:cubicBezTo>
                  <a:cubicBezTo>
                    <a:pt x="177145" y="134121"/>
                    <a:pt x="188015" y="118690"/>
                    <a:pt x="173403" y="125307"/>
                  </a:cubicBezTo>
                  <a:cubicBezTo>
                    <a:pt x="158752" y="131911"/>
                    <a:pt x="164739" y="123059"/>
                    <a:pt x="150622" y="134171"/>
                  </a:cubicBezTo>
                  <a:cubicBezTo>
                    <a:pt x="136517" y="145233"/>
                    <a:pt x="137050" y="146541"/>
                    <a:pt x="126941" y="147125"/>
                  </a:cubicBezTo>
                  <a:cubicBezTo>
                    <a:pt x="116869" y="147710"/>
                    <a:pt x="114040" y="154504"/>
                    <a:pt x="116286" y="137359"/>
                  </a:cubicBezTo>
                  <a:cubicBezTo>
                    <a:pt x="118493" y="120214"/>
                    <a:pt x="125367" y="135695"/>
                    <a:pt x="118493" y="120214"/>
                  </a:cubicBezTo>
                  <a:cubicBezTo>
                    <a:pt x="111618" y="104783"/>
                    <a:pt x="104515" y="114270"/>
                    <a:pt x="104426" y="103158"/>
                  </a:cubicBezTo>
                  <a:cubicBezTo>
                    <a:pt x="104338" y="92045"/>
                    <a:pt x="108510" y="91410"/>
                    <a:pt x="97958" y="96770"/>
                  </a:cubicBezTo>
                  <a:cubicBezTo>
                    <a:pt x="91146" y="99665"/>
                    <a:pt x="84892" y="103691"/>
                    <a:pt x="79438" y="108695"/>
                  </a:cubicBezTo>
                  <a:cubicBezTo>
                    <a:pt x="72246" y="114817"/>
                    <a:pt x="86402" y="123859"/>
                    <a:pt x="75709" y="122868"/>
                  </a:cubicBezTo>
                  <a:cubicBezTo>
                    <a:pt x="65054" y="121916"/>
                    <a:pt x="65638" y="121027"/>
                    <a:pt x="59385" y="129841"/>
                  </a:cubicBezTo>
                  <a:cubicBezTo>
                    <a:pt x="53144" y="138705"/>
                    <a:pt x="72069" y="142033"/>
                    <a:pt x="53144" y="138705"/>
                  </a:cubicBezTo>
                  <a:cubicBezTo>
                    <a:pt x="34219" y="135378"/>
                    <a:pt x="38354" y="135416"/>
                    <a:pt x="26532" y="138350"/>
                  </a:cubicBezTo>
                  <a:cubicBezTo>
                    <a:pt x="14673" y="141220"/>
                    <a:pt x="23983" y="147887"/>
                    <a:pt x="14673" y="141220"/>
                  </a:cubicBezTo>
                  <a:cubicBezTo>
                    <a:pt x="6809" y="135606"/>
                    <a:pt x="16246" y="138477"/>
                    <a:pt x="10309" y="136318"/>
                  </a:cubicBezTo>
                  <a:cubicBezTo>
                    <a:pt x="11299" y="132571"/>
                    <a:pt x="12656" y="128914"/>
                    <a:pt x="14356" y="125434"/>
                  </a:cubicBezTo>
                  <a:cubicBezTo>
                    <a:pt x="20927" y="111705"/>
                    <a:pt x="22220" y="117191"/>
                    <a:pt x="22981" y="104377"/>
                  </a:cubicBezTo>
                  <a:cubicBezTo>
                    <a:pt x="23793" y="91550"/>
                    <a:pt x="27979" y="97392"/>
                    <a:pt x="23971" y="87766"/>
                  </a:cubicBezTo>
                  <a:cubicBezTo>
                    <a:pt x="20025" y="78101"/>
                    <a:pt x="25010" y="75218"/>
                    <a:pt x="16385" y="70532"/>
                  </a:cubicBezTo>
                  <a:cubicBezTo>
                    <a:pt x="7709" y="65858"/>
                    <a:pt x="-1779" y="67065"/>
                    <a:pt x="251" y="59965"/>
                  </a:cubicBezTo>
                  <a:cubicBezTo>
                    <a:pt x="2268" y="52803"/>
                    <a:pt x="3891" y="46643"/>
                    <a:pt x="9815" y="47811"/>
                  </a:cubicBezTo>
                  <a:cubicBezTo>
                    <a:pt x="15713" y="48980"/>
                    <a:pt x="19709" y="45792"/>
                    <a:pt x="27345" y="45157"/>
                  </a:cubicBezTo>
                  <a:cubicBezTo>
                    <a:pt x="34980" y="44535"/>
                    <a:pt x="31251" y="52002"/>
                    <a:pt x="35576" y="39493"/>
                  </a:cubicBezTo>
                  <a:cubicBezTo>
                    <a:pt x="39889" y="26983"/>
                    <a:pt x="40523" y="35073"/>
                    <a:pt x="46713" y="25358"/>
                  </a:cubicBezTo>
                  <a:cubicBezTo>
                    <a:pt x="52916" y="15642"/>
                    <a:pt x="49999" y="15642"/>
                    <a:pt x="53994" y="9838"/>
                  </a:cubicBezTo>
                  <a:cubicBezTo>
                    <a:pt x="55389" y="7857"/>
                    <a:pt x="54843" y="7095"/>
                    <a:pt x="54223" y="6867"/>
                  </a:cubicBezTo>
                  <a:cubicBezTo>
                    <a:pt x="56987" y="6727"/>
                    <a:pt x="59727" y="6371"/>
                    <a:pt x="62441" y="5838"/>
                  </a:cubicBezTo>
                  <a:cubicBezTo>
                    <a:pt x="69849" y="4466"/>
                    <a:pt x="77155" y="2561"/>
                    <a:pt x="84284" y="123"/>
                  </a:cubicBezTo>
                  <a:cubicBezTo>
                    <a:pt x="90436" y="-957"/>
                    <a:pt x="89053" y="5381"/>
                    <a:pt x="88241" y="9838"/>
                  </a:cubicBezTo>
                  <a:cubicBezTo>
                    <a:pt x="87480" y="14334"/>
                    <a:pt x="74402" y="13801"/>
                    <a:pt x="88774" y="20951"/>
                  </a:cubicBezTo>
                  <a:cubicBezTo>
                    <a:pt x="91032" y="22069"/>
                    <a:pt x="92693" y="22881"/>
                    <a:pt x="93987" y="23516"/>
                  </a:cubicBezTo>
                  <a:cubicBezTo>
                    <a:pt x="93657" y="24532"/>
                    <a:pt x="93442" y="25599"/>
                    <a:pt x="93353" y="26666"/>
                  </a:cubicBezTo>
                  <a:cubicBezTo>
                    <a:pt x="93048" y="31479"/>
                    <a:pt x="94431" y="38998"/>
                    <a:pt x="88685" y="38325"/>
                  </a:cubicBezTo>
                  <a:cubicBezTo>
                    <a:pt x="82927" y="37601"/>
                    <a:pt x="97361" y="47227"/>
                    <a:pt x="82927" y="37601"/>
                  </a:cubicBezTo>
                  <a:cubicBezTo>
                    <a:pt x="68505" y="27974"/>
                    <a:pt x="66349" y="22615"/>
                    <a:pt x="62036" y="30171"/>
                  </a:cubicBezTo>
                  <a:cubicBezTo>
                    <a:pt x="57672" y="37778"/>
                    <a:pt x="61807" y="30717"/>
                    <a:pt x="57672" y="37778"/>
                  </a:cubicBezTo>
                  <a:cubicBezTo>
                    <a:pt x="53537" y="44840"/>
                    <a:pt x="39661" y="52536"/>
                    <a:pt x="54666" y="51774"/>
                  </a:cubicBezTo>
                  <a:cubicBezTo>
                    <a:pt x="69722" y="51012"/>
                    <a:pt x="58573" y="50377"/>
                    <a:pt x="69722" y="51012"/>
                  </a:cubicBezTo>
                  <a:cubicBezTo>
                    <a:pt x="80859" y="51647"/>
                    <a:pt x="72145" y="42376"/>
                    <a:pt x="84284" y="49526"/>
                  </a:cubicBezTo>
                  <a:cubicBezTo>
                    <a:pt x="96372" y="56676"/>
                    <a:pt x="90486" y="57133"/>
                    <a:pt x="96372" y="56676"/>
                  </a:cubicBezTo>
                  <a:cubicBezTo>
                    <a:pt x="102257" y="56181"/>
                    <a:pt x="99923" y="49170"/>
                    <a:pt x="109943" y="51824"/>
                  </a:cubicBezTo>
                  <a:cubicBezTo>
                    <a:pt x="120002" y="54479"/>
                    <a:pt x="114205" y="50516"/>
                    <a:pt x="123427" y="53844"/>
                  </a:cubicBezTo>
                  <a:cubicBezTo>
                    <a:pt x="132687" y="57133"/>
                    <a:pt x="127600" y="50555"/>
                    <a:pt x="132687" y="57133"/>
                  </a:cubicBezTo>
                  <a:cubicBezTo>
                    <a:pt x="137761" y="63699"/>
                    <a:pt x="130835" y="57984"/>
                    <a:pt x="142885" y="57806"/>
                  </a:cubicBezTo>
                  <a:cubicBezTo>
                    <a:pt x="154922" y="57628"/>
                    <a:pt x="146436" y="57489"/>
                    <a:pt x="154922" y="57628"/>
                  </a:cubicBezTo>
                  <a:cubicBezTo>
                    <a:pt x="161860" y="57298"/>
                    <a:pt x="168748" y="56460"/>
                    <a:pt x="175559" y="55101"/>
                  </a:cubicBezTo>
                  <a:cubicBezTo>
                    <a:pt x="175965" y="61680"/>
                    <a:pt x="173035" y="69452"/>
                    <a:pt x="177221" y="74900"/>
                  </a:cubicBezTo>
                  <a:cubicBezTo>
                    <a:pt x="181482" y="80527"/>
                    <a:pt x="174608" y="86737"/>
                    <a:pt x="185579" y="86292"/>
                  </a:cubicBezTo>
                  <a:cubicBezTo>
                    <a:pt x="196501" y="85886"/>
                    <a:pt x="187914" y="85886"/>
                    <a:pt x="196501" y="85886"/>
                  </a:cubicBezTo>
                  <a:cubicBezTo>
                    <a:pt x="205075" y="85886"/>
                    <a:pt x="207421" y="82152"/>
                    <a:pt x="209984" y="95830"/>
                  </a:cubicBezTo>
                  <a:cubicBezTo>
                    <a:pt x="211975" y="101964"/>
                    <a:pt x="212914" y="108403"/>
                    <a:pt x="212736" y="114867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8" name="Vrije vorm 397">
              <a:extLst>
                <a:ext uri="{FF2B5EF4-FFF2-40B4-BE49-F238E27FC236}">
                  <a16:creationId xmlns:a16="http://schemas.microsoft.com/office/drawing/2014/main" id="{6998D076-296F-DD40-8F20-1AD213309F9C}"/>
                </a:ext>
              </a:extLst>
            </p:cNvPr>
            <p:cNvSpPr/>
            <p:nvPr/>
          </p:nvSpPr>
          <p:spPr>
            <a:xfrm>
              <a:off x="7200222" y="3221341"/>
              <a:ext cx="411874" cy="305891"/>
            </a:xfrm>
            <a:custGeom>
              <a:avLst/>
              <a:gdLst>
                <a:gd name="connsiteX0" fmla="*/ 411849 w 411874"/>
                <a:gd name="connsiteY0" fmla="*/ 51538 h 305891"/>
                <a:gd name="connsiteX1" fmla="*/ 381609 w 411874"/>
                <a:gd name="connsiteY1" fmla="*/ 56719 h 305891"/>
                <a:gd name="connsiteX2" fmla="*/ 352309 w 411874"/>
                <a:gd name="connsiteY2" fmla="*/ 54649 h 305891"/>
                <a:gd name="connsiteX3" fmla="*/ 317745 w 411874"/>
                <a:gd name="connsiteY3" fmla="*/ 72328 h 305891"/>
                <a:gd name="connsiteX4" fmla="*/ 318506 w 411874"/>
                <a:gd name="connsiteY4" fmla="*/ 91098 h 305891"/>
                <a:gd name="connsiteX5" fmla="*/ 320839 w 411874"/>
                <a:gd name="connsiteY5" fmla="*/ 115749 h 305891"/>
                <a:gd name="connsiteX6" fmla="*/ 305567 w 411874"/>
                <a:gd name="connsiteY6" fmla="*/ 134240 h 305891"/>
                <a:gd name="connsiteX7" fmla="*/ 302510 w 411874"/>
                <a:gd name="connsiteY7" fmla="*/ 153049 h 305891"/>
                <a:gd name="connsiteX8" fmla="*/ 274999 w 411874"/>
                <a:gd name="connsiteY8" fmla="*/ 151525 h 305891"/>
                <a:gd name="connsiteX9" fmla="*/ 283002 w 411874"/>
                <a:gd name="connsiteY9" fmla="*/ 176633 h 305891"/>
                <a:gd name="connsiteX10" fmla="*/ 269392 w 411874"/>
                <a:gd name="connsiteY10" fmla="*/ 183110 h 305891"/>
                <a:gd name="connsiteX11" fmla="*/ 254247 w 411874"/>
                <a:gd name="connsiteY11" fmla="*/ 207138 h 305891"/>
                <a:gd name="connsiteX12" fmla="*/ 242514 w 411874"/>
                <a:gd name="connsiteY12" fmla="*/ 228334 h 305891"/>
                <a:gd name="connsiteX13" fmla="*/ 227014 w 411874"/>
                <a:gd name="connsiteY13" fmla="*/ 228334 h 305891"/>
                <a:gd name="connsiteX14" fmla="*/ 209256 w 411874"/>
                <a:gd name="connsiteY14" fmla="*/ 240577 h 305891"/>
                <a:gd name="connsiteX15" fmla="*/ 185524 w 411874"/>
                <a:gd name="connsiteY15" fmla="*/ 251334 h 305891"/>
                <a:gd name="connsiteX16" fmla="*/ 167373 w 411874"/>
                <a:gd name="connsiteY16" fmla="*/ 285345 h 305891"/>
                <a:gd name="connsiteX17" fmla="*/ 145937 w 411874"/>
                <a:gd name="connsiteY17" fmla="*/ 300153 h 305891"/>
                <a:gd name="connsiteX18" fmla="*/ 114569 w 411874"/>
                <a:gd name="connsiteY18" fmla="*/ 304560 h 305891"/>
                <a:gd name="connsiteX19" fmla="*/ 83239 w 411874"/>
                <a:gd name="connsiteY19" fmla="*/ 303391 h 305891"/>
                <a:gd name="connsiteX20" fmla="*/ 46658 w 411874"/>
                <a:gd name="connsiteY20" fmla="*/ 300153 h 305891"/>
                <a:gd name="connsiteX21" fmla="*/ 16229 w 411874"/>
                <a:gd name="connsiteY21" fmla="*/ 288139 h 305891"/>
                <a:gd name="connsiteX22" fmla="*/ 24777 w 411874"/>
                <a:gd name="connsiteY22" fmla="*/ 274499 h 305891"/>
                <a:gd name="connsiteX23" fmla="*/ 41089 w 411874"/>
                <a:gd name="connsiteY23" fmla="*/ 257443 h 305891"/>
                <a:gd name="connsiteX24" fmla="*/ 31475 w 411874"/>
                <a:gd name="connsiteY24" fmla="*/ 243181 h 305891"/>
                <a:gd name="connsiteX25" fmla="*/ 14072 w 411874"/>
                <a:gd name="connsiteY25" fmla="*/ 215469 h 305891"/>
                <a:gd name="connsiteX26" fmla="*/ 12322 w 411874"/>
                <a:gd name="connsiteY26" fmla="*/ 182259 h 305891"/>
                <a:gd name="connsiteX27" fmla="*/ 3608 w 411874"/>
                <a:gd name="connsiteY27" fmla="*/ 162599 h 305891"/>
                <a:gd name="connsiteX28" fmla="*/ 11206 w 411874"/>
                <a:gd name="connsiteY28" fmla="*/ 137809 h 305891"/>
                <a:gd name="connsiteX29" fmla="*/ 24777 w 411874"/>
                <a:gd name="connsiteY29" fmla="*/ 113374 h 305891"/>
                <a:gd name="connsiteX30" fmla="*/ 27201 w 411874"/>
                <a:gd name="connsiteY30" fmla="*/ 99518 h 305891"/>
                <a:gd name="connsiteX31" fmla="*/ 41584 w 411874"/>
                <a:gd name="connsiteY31" fmla="*/ 104471 h 305891"/>
                <a:gd name="connsiteX32" fmla="*/ 57084 w 411874"/>
                <a:gd name="connsiteY32" fmla="*/ 113920 h 305891"/>
                <a:gd name="connsiteX33" fmla="*/ 73358 w 411874"/>
                <a:gd name="connsiteY33" fmla="*/ 109056 h 305891"/>
                <a:gd name="connsiteX34" fmla="*/ 77975 w 411874"/>
                <a:gd name="connsiteY34" fmla="*/ 94883 h 305891"/>
                <a:gd name="connsiteX35" fmla="*/ 87057 w 411874"/>
                <a:gd name="connsiteY35" fmla="*/ 89079 h 305891"/>
                <a:gd name="connsiteX36" fmla="*/ 106971 w 411874"/>
                <a:gd name="connsiteY36" fmla="*/ 84088 h 305891"/>
                <a:gd name="connsiteX37" fmla="*/ 124361 w 411874"/>
                <a:gd name="connsiteY37" fmla="*/ 64606 h 305891"/>
                <a:gd name="connsiteX38" fmla="*/ 136640 w 411874"/>
                <a:gd name="connsiteY38" fmla="*/ 41784 h 305891"/>
                <a:gd name="connsiteX39" fmla="*/ 157936 w 411874"/>
                <a:gd name="connsiteY39" fmla="*/ 35218 h 305891"/>
                <a:gd name="connsiteX40" fmla="*/ 178345 w 411874"/>
                <a:gd name="connsiteY40" fmla="*/ 36704 h 305891"/>
                <a:gd name="connsiteX41" fmla="*/ 182113 w 411874"/>
                <a:gd name="connsiteY41" fmla="*/ 36704 h 305891"/>
                <a:gd name="connsiteX42" fmla="*/ 206694 w 411874"/>
                <a:gd name="connsiteY42" fmla="*/ 41073 h 305891"/>
                <a:gd name="connsiteX43" fmla="*/ 211641 w 411874"/>
                <a:gd name="connsiteY43" fmla="*/ 42825 h 305891"/>
                <a:gd name="connsiteX44" fmla="*/ 216005 w 411874"/>
                <a:gd name="connsiteY44" fmla="*/ 47728 h 305891"/>
                <a:gd name="connsiteX45" fmla="*/ 227864 w 411874"/>
                <a:gd name="connsiteY45" fmla="*/ 44845 h 305891"/>
                <a:gd name="connsiteX46" fmla="*/ 254475 w 411874"/>
                <a:gd name="connsiteY46" fmla="*/ 45200 h 305891"/>
                <a:gd name="connsiteX47" fmla="*/ 260716 w 411874"/>
                <a:gd name="connsiteY47" fmla="*/ 36336 h 305891"/>
                <a:gd name="connsiteX48" fmla="*/ 277028 w 411874"/>
                <a:gd name="connsiteY48" fmla="*/ 29363 h 305891"/>
                <a:gd name="connsiteX49" fmla="*/ 280757 w 411874"/>
                <a:gd name="connsiteY49" fmla="*/ 15190 h 305891"/>
                <a:gd name="connsiteX50" fmla="*/ 299276 w 411874"/>
                <a:gd name="connsiteY50" fmla="*/ 3265 h 305891"/>
                <a:gd name="connsiteX51" fmla="*/ 305745 w 411874"/>
                <a:gd name="connsiteY51" fmla="*/ 9653 h 305891"/>
                <a:gd name="connsiteX52" fmla="*/ 319812 w 411874"/>
                <a:gd name="connsiteY52" fmla="*/ 26709 h 305891"/>
                <a:gd name="connsiteX53" fmla="*/ 317618 w 411874"/>
                <a:gd name="connsiteY53" fmla="*/ 43854 h 305891"/>
                <a:gd name="connsiteX54" fmla="*/ 328272 w 411874"/>
                <a:gd name="connsiteY54" fmla="*/ 53620 h 305891"/>
                <a:gd name="connsiteX55" fmla="*/ 351953 w 411874"/>
                <a:gd name="connsiteY55" fmla="*/ 40666 h 305891"/>
                <a:gd name="connsiteX56" fmla="*/ 374734 w 411874"/>
                <a:gd name="connsiteY56" fmla="*/ 31802 h 305891"/>
                <a:gd name="connsiteX57" fmla="*/ 381076 w 411874"/>
                <a:gd name="connsiteY57" fmla="*/ 41212 h 305891"/>
                <a:gd name="connsiteX58" fmla="*/ 396399 w 411874"/>
                <a:gd name="connsiteY58" fmla="*/ 34545 h 305891"/>
                <a:gd name="connsiteX59" fmla="*/ 410820 w 411874"/>
                <a:gd name="connsiteY59" fmla="*/ 37872 h 305891"/>
                <a:gd name="connsiteX60" fmla="*/ 407409 w 411874"/>
                <a:gd name="connsiteY60" fmla="*/ 39549 h 305891"/>
                <a:gd name="connsiteX61" fmla="*/ 402195 w 411874"/>
                <a:gd name="connsiteY61" fmla="*/ 47194 h 305891"/>
                <a:gd name="connsiteX62" fmla="*/ 411849 w 411874"/>
                <a:gd name="connsiteY62" fmla="*/ 51538 h 30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411874" h="305891">
                  <a:moveTo>
                    <a:pt x="411849" y="51538"/>
                  </a:moveTo>
                  <a:cubicBezTo>
                    <a:pt x="408880" y="62383"/>
                    <a:pt x="390323" y="55411"/>
                    <a:pt x="381609" y="56719"/>
                  </a:cubicBezTo>
                  <a:cubicBezTo>
                    <a:pt x="372845" y="58066"/>
                    <a:pt x="373606" y="52896"/>
                    <a:pt x="352309" y="54649"/>
                  </a:cubicBezTo>
                  <a:cubicBezTo>
                    <a:pt x="331050" y="56402"/>
                    <a:pt x="328031" y="67425"/>
                    <a:pt x="317745" y="72328"/>
                  </a:cubicBezTo>
                  <a:cubicBezTo>
                    <a:pt x="307457" y="77192"/>
                    <a:pt x="312975" y="80786"/>
                    <a:pt x="318506" y="91098"/>
                  </a:cubicBezTo>
                  <a:cubicBezTo>
                    <a:pt x="324073" y="101449"/>
                    <a:pt x="321156" y="106084"/>
                    <a:pt x="320839" y="115749"/>
                  </a:cubicBezTo>
                  <a:cubicBezTo>
                    <a:pt x="320573" y="125426"/>
                    <a:pt x="308218" y="131319"/>
                    <a:pt x="305567" y="134240"/>
                  </a:cubicBezTo>
                  <a:cubicBezTo>
                    <a:pt x="302917" y="137123"/>
                    <a:pt x="315309" y="148997"/>
                    <a:pt x="302510" y="153049"/>
                  </a:cubicBezTo>
                  <a:cubicBezTo>
                    <a:pt x="289700" y="157100"/>
                    <a:pt x="278918" y="146838"/>
                    <a:pt x="274999" y="151525"/>
                  </a:cubicBezTo>
                  <a:cubicBezTo>
                    <a:pt x="271054" y="156211"/>
                    <a:pt x="278918" y="162371"/>
                    <a:pt x="283002" y="176633"/>
                  </a:cubicBezTo>
                  <a:cubicBezTo>
                    <a:pt x="287099" y="190895"/>
                    <a:pt x="278867" y="180595"/>
                    <a:pt x="269392" y="183110"/>
                  </a:cubicBezTo>
                  <a:cubicBezTo>
                    <a:pt x="259955" y="185637"/>
                    <a:pt x="261122" y="187885"/>
                    <a:pt x="254247" y="207138"/>
                  </a:cubicBezTo>
                  <a:cubicBezTo>
                    <a:pt x="247410" y="226404"/>
                    <a:pt x="253118" y="224512"/>
                    <a:pt x="242514" y="228334"/>
                  </a:cubicBezTo>
                  <a:cubicBezTo>
                    <a:pt x="231860" y="232208"/>
                    <a:pt x="234105" y="226404"/>
                    <a:pt x="227014" y="228334"/>
                  </a:cubicBezTo>
                  <a:cubicBezTo>
                    <a:pt x="219911" y="230366"/>
                    <a:pt x="213683" y="234659"/>
                    <a:pt x="209256" y="240577"/>
                  </a:cubicBezTo>
                  <a:cubicBezTo>
                    <a:pt x="201747" y="248400"/>
                    <a:pt x="194657" y="245657"/>
                    <a:pt x="185524" y="251334"/>
                  </a:cubicBezTo>
                  <a:cubicBezTo>
                    <a:pt x="175276" y="259869"/>
                    <a:pt x="168769" y="272073"/>
                    <a:pt x="167373" y="285345"/>
                  </a:cubicBezTo>
                  <a:cubicBezTo>
                    <a:pt x="163377" y="302312"/>
                    <a:pt x="160232" y="294882"/>
                    <a:pt x="145937" y="300153"/>
                  </a:cubicBezTo>
                  <a:cubicBezTo>
                    <a:pt x="131642" y="305373"/>
                    <a:pt x="132543" y="301055"/>
                    <a:pt x="114569" y="304560"/>
                  </a:cubicBezTo>
                  <a:cubicBezTo>
                    <a:pt x="96596" y="308065"/>
                    <a:pt x="97623" y="303569"/>
                    <a:pt x="83239" y="303391"/>
                  </a:cubicBezTo>
                  <a:cubicBezTo>
                    <a:pt x="70948" y="304915"/>
                    <a:pt x="58480" y="303810"/>
                    <a:pt x="46658" y="300153"/>
                  </a:cubicBezTo>
                  <a:cubicBezTo>
                    <a:pt x="33314" y="295428"/>
                    <a:pt x="20046" y="289802"/>
                    <a:pt x="16229" y="288139"/>
                  </a:cubicBezTo>
                  <a:cubicBezTo>
                    <a:pt x="19412" y="283808"/>
                    <a:pt x="22266" y="279249"/>
                    <a:pt x="24777" y="274499"/>
                  </a:cubicBezTo>
                  <a:cubicBezTo>
                    <a:pt x="33352" y="257938"/>
                    <a:pt x="38210" y="264021"/>
                    <a:pt x="41089" y="257443"/>
                  </a:cubicBezTo>
                  <a:cubicBezTo>
                    <a:pt x="43918" y="250877"/>
                    <a:pt x="40455" y="245213"/>
                    <a:pt x="31475" y="243181"/>
                  </a:cubicBezTo>
                  <a:cubicBezTo>
                    <a:pt x="22482" y="241200"/>
                    <a:pt x="21581" y="234227"/>
                    <a:pt x="14072" y="215469"/>
                  </a:cubicBezTo>
                  <a:cubicBezTo>
                    <a:pt x="6614" y="196699"/>
                    <a:pt x="10837" y="195086"/>
                    <a:pt x="12322" y="182259"/>
                  </a:cubicBezTo>
                  <a:cubicBezTo>
                    <a:pt x="13844" y="169432"/>
                    <a:pt x="13451" y="176048"/>
                    <a:pt x="3608" y="162599"/>
                  </a:cubicBezTo>
                  <a:cubicBezTo>
                    <a:pt x="-6235" y="149099"/>
                    <a:pt x="6525" y="154763"/>
                    <a:pt x="11206" y="137809"/>
                  </a:cubicBezTo>
                  <a:cubicBezTo>
                    <a:pt x="15924" y="120842"/>
                    <a:pt x="20820" y="126506"/>
                    <a:pt x="24777" y="113374"/>
                  </a:cubicBezTo>
                  <a:cubicBezTo>
                    <a:pt x="26198" y="108878"/>
                    <a:pt x="27010" y="104217"/>
                    <a:pt x="27201" y="99518"/>
                  </a:cubicBezTo>
                  <a:cubicBezTo>
                    <a:pt x="32274" y="101271"/>
                    <a:pt x="38337" y="103430"/>
                    <a:pt x="41584" y="104471"/>
                  </a:cubicBezTo>
                  <a:cubicBezTo>
                    <a:pt x="47787" y="106490"/>
                    <a:pt x="54256" y="107976"/>
                    <a:pt x="57084" y="113920"/>
                  </a:cubicBezTo>
                  <a:cubicBezTo>
                    <a:pt x="59913" y="119902"/>
                    <a:pt x="57084" y="113920"/>
                    <a:pt x="73358" y="109056"/>
                  </a:cubicBezTo>
                  <a:cubicBezTo>
                    <a:pt x="89670" y="104154"/>
                    <a:pt x="76770" y="104332"/>
                    <a:pt x="77975" y="94883"/>
                  </a:cubicBezTo>
                  <a:cubicBezTo>
                    <a:pt x="79193" y="85434"/>
                    <a:pt x="80854" y="88939"/>
                    <a:pt x="87057" y="89079"/>
                  </a:cubicBezTo>
                  <a:cubicBezTo>
                    <a:pt x="93209" y="89218"/>
                    <a:pt x="100680" y="83719"/>
                    <a:pt x="106971" y="84088"/>
                  </a:cubicBezTo>
                  <a:cubicBezTo>
                    <a:pt x="113262" y="84482"/>
                    <a:pt x="113224" y="78728"/>
                    <a:pt x="124361" y="64606"/>
                  </a:cubicBezTo>
                  <a:cubicBezTo>
                    <a:pt x="135511" y="50509"/>
                    <a:pt x="126340" y="54382"/>
                    <a:pt x="136640" y="41784"/>
                  </a:cubicBezTo>
                  <a:cubicBezTo>
                    <a:pt x="146926" y="29186"/>
                    <a:pt x="144770" y="36120"/>
                    <a:pt x="157936" y="35218"/>
                  </a:cubicBezTo>
                  <a:cubicBezTo>
                    <a:pt x="164773" y="35091"/>
                    <a:pt x="171597" y="35586"/>
                    <a:pt x="178345" y="36704"/>
                  </a:cubicBezTo>
                  <a:cubicBezTo>
                    <a:pt x="179601" y="36768"/>
                    <a:pt x="180857" y="36768"/>
                    <a:pt x="182113" y="36704"/>
                  </a:cubicBezTo>
                  <a:cubicBezTo>
                    <a:pt x="190560" y="35663"/>
                    <a:pt x="199121" y="37187"/>
                    <a:pt x="206694" y="41073"/>
                  </a:cubicBezTo>
                  <a:cubicBezTo>
                    <a:pt x="208990" y="41873"/>
                    <a:pt x="210601" y="42470"/>
                    <a:pt x="211641" y="42825"/>
                  </a:cubicBezTo>
                  <a:cubicBezTo>
                    <a:pt x="217577" y="44985"/>
                    <a:pt x="208141" y="42102"/>
                    <a:pt x="216005" y="47728"/>
                  </a:cubicBezTo>
                  <a:cubicBezTo>
                    <a:pt x="225302" y="54382"/>
                    <a:pt x="216005" y="47728"/>
                    <a:pt x="227864" y="44845"/>
                  </a:cubicBezTo>
                  <a:cubicBezTo>
                    <a:pt x="239686" y="41924"/>
                    <a:pt x="235550" y="41873"/>
                    <a:pt x="254475" y="45200"/>
                  </a:cubicBezTo>
                  <a:cubicBezTo>
                    <a:pt x="273388" y="48541"/>
                    <a:pt x="254475" y="45200"/>
                    <a:pt x="260716" y="36336"/>
                  </a:cubicBezTo>
                  <a:cubicBezTo>
                    <a:pt x="266957" y="27522"/>
                    <a:pt x="266386" y="28424"/>
                    <a:pt x="277028" y="29363"/>
                  </a:cubicBezTo>
                  <a:cubicBezTo>
                    <a:pt x="287721" y="30354"/>
                    <a:pt x="273565" y="21312"/>
                    <a:pt x="280757" y="15190"/>
                  </a:cubicBezTo>
                  <a:cubicBezTo>
                    <a:pt x="286211" y="10199"/>
                    <a:pt x="292478" y="6161"/>
                    <a:pt x="299276" y="3265"/>
                  </a:cubicBezTo>
                  <a:cubicBezTo>
                    <a:pt x="309842" y="-2082"/>
                    <a:pt x="305656" y="-1460"/>
                    <a:pt x="305745" y="9653"/>
                  </a:cubicBezTo>
                  <a:cubicBezTo>
                    <a:pt x="305834" y="20778"/>
                    <a:pt x="312937" y="11279"/>
                    <a:pt x="319812" y="26709"/>
                  </a:cubicBezTo>
                  <a:cubicBezTo>
                    <a:pt x="326686" y="42191"/>
                    <a:pt x="319812" y="26709"/>
                    <a:pt x="317618" y="43854"/>
                  </a:cubicBezTo>
                  <a:cubicBezTo>
                    <a:pt x="315359" y="60999"/>
                    <a:pt x="318201" y="54205"/>
                    <a:pt x="328272" y="53620"/>
                  </a:cubicBezTo>
                  <a:cubicBezTo>
                    <a:pt x="338381" y="53036"/>
                    <a:pt x="337836" y="51728"/>
                    <a:pt x="351953" y="40666"/>
                  </a:cubicBezTo>
                  <a:cubicBezTo>
                    <a:pt x="366058" y="29554"/>
                    <a:pt x="360084" y="38418"/>
                    <a:pt x="374734" y="31802"/>
                  </a:cubicBezTo>
                  <a:cubicBezTo>
                    <a:pt x="389334" y="25185"/>
                    <a:pt x="378464" y="40628"/>
                    <a:pt x="381076" y="41212"/>
                  </a:cubicBezTo>
                  <a:cubicBezTo>
                    <a:pt x="386606" y="40133"/>
                    <a:pt x="391833" y="37860"/>
                    <a:pt x="396399" y="34545"/>
                  </a:cubicBezTo>
                  <a:cubicBezTo>
                    <a:pt x="400762" y="32170"/>
                    <a:pt x="406876" y="35269"/>
                    <a:pt x="410820" y="37872"/>
                  </a:cubicBezTo>
                  <a:cubicBezTo>
                    <a:pt x="409895" y="38787"/>
                    <a:pt x="408702" y="39371"/>
                    <a:pt x="407409" y="39549"/>
                  </a:cubicBezTo>
                  <a:cubicBezTo>
                    <a:pt x="401067" y="40666"/>
                    <a:pt x="399012" y="41975"/>
                    <a:pt x="402195" y="47194"/>
                  </a:cubicBezTo>
                  <a:cubicBezTo>
                    <a:pt x="405342" y="52439"/>
                    <a:pt x="406546" y="50598"/>
                    <a:pt x="411849" y="51538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9" name="Vrije vorm 398">
              <a:extLst>
                <a:ext uri="{FF2B5EF4-FFF2-40B4-BE49-F238E27FC236}">
                  <a16:creationId xmlns:a16="http://schemas.microsoft.com/office/drawing/2014/main" id="{83AFE42B-2668-2C4F-9F62-4742A9FC9270}"/>
                </a:ext>
              </a:extLst>
            </p:cNvPr>
            <p:cNvSpPr/>
            <p:nvPr/>
          </p:nvSpPr>
          <p:spPr>
            <a:xfrm>
              <a:off x="7449440" y="3040381"/>
              <a:ext cx="321937" cy="147734"/>
            </a:xfrm>
            <a:custGeom>
              <a:avLst/>
              <a:gdLst>
                <a:gd name="connsiteX0" fmla="*/ 314713 w 321937"/>
                <a:gd name="connsiteY0" fmla="*/ 45681 h 147734"/>
                <a:gd name="connsiteX1" fmla="*/ 288876 w 321937"/>
                <a:gd name="connsiteY1" fmla="*/ 57377 h 147734"/>
                <a:gd name="connsiteX2" fmla="*/ 272830 w 321937"/>
                <a:gd name="connsiteY2" fmla="*/ 64985 h 147734"/>
                <a:gd name="connsiteX3" fmla="*/ 255934 w 321937"/>
                <a:gd name="connsiteY3" fmla="*/ 79971 h 147734"/>
                <a:gd name="connsiteX4" fmla="*/ 236883 w 321937"/>
                <a:gd name="connsiteY4" fmla="*/ 83298 h 147734"/>
                <a:gd name="connsiteX5" fmla="*/ 221459 w 321937"/>
                <a:gd name="connsiteY5" fmla="*/ 83298 h 147734"/>
                <a:gd name="connsiteX6" fmla="*/ 213189 w 321937"/>
                <a:gd name="connsiteY6" fmla="*/ 93293 h 147734"/>
                <a:gd name="connsiteX7" fmla="*/ 207671 w 321937"/>
                <a:gd name="connsiteY7" fmla="*/ 107771 h 147734"/>
                <a:gd name="connsiteX8" fmla="*/ 188163 w 321937"/>
                <a:gd name="connsiteY8" fmla="*/ 111238 h 147734"/>
                <a:gd name="connsiteX9" fmla="*/ 178637 w 321937"/>
                <a:gd name="connsiteY9" fmla="*/ 102564 h 147734"/>
                <a:gd name="connsiteX10" fmla="*/ 160473 w 321937"/>
                <a:gd name="connsiteY10" fmla="*/ 105752 h 147734"/>
                <a:gd name="connsiteX11" fmla="*/ 147624 w 321937"/>
                <a:gd name="connsiteY11" fmla="*/ 118439 h 147734"/>
                <a:gd name="connsiteX12" fmla="*/ 134407 w 321937"/>
                <a:gd name="connsiteY12" fmla="*/ 125056 h 147734"/>
                <a:gd name="connsiteX13" fmla="*/ 127634 w 321937"/>
                <a:gd name="connsiteY13" fmla="*/ 141934 h 147734"/>
                <a:gd name="connsiteX14" fmla="*/ 127672 w 321937"/>
                <a:gd name="connsiteY14" fmla="*/ 142569 h 147734"/>
                <a:gd name="connsiteX15" fmla="*/ 107048 w 321937"/>
                <a:gd name="connsiteY15" fmla="*/ 145084 h 147734"/>
                <a:gd name="connsiteX16" fmla="*/ 94998 w 321937"/>
                <a:gd name="connsiteY16" fmla="*/ 145261 h 147734"/>
                <a:gd name="connsiteX17" fmla="*/ 84799 w 321937"/>
                <a:gd name="connsiteY17" fmla="*/ 144588 h 147734"/>
                <a:gd name="connsiteX18" fmla="*/ 75540 w 321937"/>
                <a:gd name="connsiteY18" fmla="*/ 141299 h 147734"/>
                <a:gd name="connsiteX19" fmla="*/ 62057 w 321937"/>
                <a:gd name="connsiteY19" fmla="*/ 139280 h 147734"/>
                <a:gd name="connsiteX20" fmla="*/ 48485 w 321937"/>
                <a:gd name="connsiteY20" fmla="*/ 144144 h 147734"/>
                <a:gd name="connsiteX21" fmla="*/ 36397 w 321937"/>
                <a:gd name="connsiteY21" fmla="*/ 136981 h 147734"/>
                <a:gd name="connsiteX22" fmla="*/ 21835 w 321937"/>
                <a:gd name="connsiteY22" fmla="*/ 138467 h 147734"/>
                <a:gd name="connsiteX23" fmla="*/ 6779 w 321937"/>
                <a:gd name="connsiteY23" fmla="*/ 139229 h 147734"/>
                <a:gd name="connsiteX24" fmla="*/ 9798 w 321937"/>
                <a:gd name="connsiteY24" fmla="*/ 125233 h 147734"/>
                <a:gd name="connsiteX25" fmla="*/ 14148 w 321937"/>
                <a:gd name="connsiteY25" fmla="*/ 117639 h 147734"/>
                <a:gd name="connsiteX26" fmla="*/ 35052 w 321937"/>
                <a:gd name="connsiteY26" fmla="*/ 125056 h 147734"/>
                <a:gd name="connsiteX27" fmla="*/ 40798 w 321937"/>
                <a:gd name="connsiteY27" fmla="*/ 125779 h 147734"/>
                <a:gd name="connsiteX28" fmla="*/ 45479 w 321937"/>
                <a:gd name="connsiteY28" fmla="*/ 114121 h 147734"/>
                <a:gd name="connsiteX29" fmla="*/ 46113 w 321937"/>
                <a:gd name="connsiteY29" fmla="*/ 110971 h 147734"/>
                <a:gd name="connsiteX30" fmla="*/ 59812 w 321937"/>
                <a:gd name="connsiteY30" fmla="*/ 111733 h 147734"/>
                <a:gd name="connsiteX31" fmla="*/ 79777 w 321937"/>
                <a:gd name="connsiteY31" fmla="*/ 112140 h 147734"/>
                <a:gd name="connsiteX32" fmla="*/ 94199 w 321937"/>
                <a:gd name="connsiteY32" fmla="*/ 98690 h 147734"/>
                <a:gd name="connsiteX33" fmla="*/ 102202 w 321937"/>
                <a:gd name="connsiteY33" fmla="*/ 99986 h 147734"/>
                <a:gd name="connsiteX34" fmla="*/ 108037 w 321937"/>
                <a:gd name="connsiteY34" fmla="*/ 90994 h 147734"/>
                <a:gd name="connsiteX35" fmla="*/ 92804 w 321937"/>
                <a:gd name="connsiteY35" fmla="*/ 81456 h 147734"/>
                <a:gd name="connsiteX36" fmla="*/ 83049 w 321937"/>
                <a:gd name="connsiteY36" fmla="*/ 71246 h 147734"/>
                <a:gd name="connsiteX37" fmla="*/ 75908 w 321937"/>
                <a:gd name="connsiteY37" fmla="*/ 67055 h 147734"/>
                <a:gd name="connsiteX38" fmla="*/ 60852 w 321937"/>
                <a:gd name="connsiteY38" fmla="*/ 77138 h 147734"/>
                <a:gd name="connsiteX39" fmla="*/ 45796 w 321937"/>
                <a:gd name="connsiteY39" fmla="*/ 74167 h 147734"/>
                <a:gd name="connsiteX40" fmla="*/ 34748 w 321937"/>
                <a:gd name="connsiteY40" fmla="*/ 64985 h 147734"/>
                <a:gd name="connsiteX41" fmla="*/ 37209 w 321937"/>
                <a:gd name="connsiteY41" fmla="*/ 53110 h 147734"/>
                <a:gd name="connsiteX42" fmla="*/ 58239 w 321937"/>
                <a:gd name="connsiteY42" fmla="*/ 40194 h 147734"/>
                <a:gd name="connsiteX43" fmla="*/ 56311 w 321937"/>
                <a:gd name="connsiteY43" fmla="*/ 35330 h 147734"/>
                <a:gd name="connsiteX44" fmla="*/ 57161 w 321937"/>
                <a:gd name="connsiteY44" fmla="*/ 27367 h 147734"/>
                <a:gd name="connsiteX45" fmla="*/ 64352 w 321937"/>
                <a:gd name="connsiteY45" fmla="*/ 18185 h 147734"/>
                <a:gd name="connsiteX46" fmla="*/ 88034 w 321937"/>
                <a:gd name="connsiteY46" fmla="*/ 17106 h 147734"/>
                <a:gd name="connsiteX47" fmla="*/ 113745 w 321937"/>
                <a:gd name="connsiteY47" fmla="*/ 25348 h 147734"/>
                <a:gd name="connsiteX48" fmla="*/ 124400 w 321937"/>
                <a:gd name="connsiteY48" fmla="*/ 23049 h 147734"/>
                <a:gd name="connsiteX49" fmla="*/ 126201 w 321937"/>
                <a:gd name="connsiteY49" fmla="*/ 13461 h 147734"/>
                <a:gd name="connsiteX50" fmla="*/ 141257 w 321937"/>
                <a:gd name="connsiteY50" fmla="*/ 1002 h 147734"/>
                <a:gd name="connsiteX51" fmla="*/ 167006 w 321937"/>
                <a:gd name="connsiteY51" fmla="*/ 4152 h 147734"/>
                <a:gd name="connsiteX52" fmla="*/ 183673 w 321937"/>
                <a:gd name="connsiteY52" fmla="*/ 14731 h 147734"/>
                <a:gd name="connsiteX53" fmla="*/ 199401 w 321937"/>
                <a:gd name="connsiteY53" fmla="*/ 10591 h 147734"/>
                <a:gd name="connsiteX54" fmla="*/ 218415 w 321937"/>
                <a:gd name="connsiteY54" fmla="*/ 10273 h 147734"/>
                <a:gd name="connsiteX55" fmla="*/ 243580 w 321937"/>
                <a:gd name="connsiteY55" fmla="*/ 11530 h 147734"/>
                <a:gd name="connsiteX56" fmla="*/ 265739 w 321937"/>
                <a:gd name="connsiteY56" fmla="*/ 12661 h 147734"/>
                <a:gd name="connsiteX57" fmla="*/ 283713 w 321937"/>
                <a:gd name="connsiteY57" fmla="*/ 12381 h 147734"/>
                <a:gd name="connsiteX58" fmla="*/ 291438 w 321937"/>
                <a:gd name="connsiteY58" fmla="*/ 20890 h 147734"/>
                <a:gd name="connsiteX59" fmla="*/ 317009 w 321937"/>
                <a:gd name="connsiteY59" fmla="*/ 37006 h 147734"/>
                <a:gd name="connsiteX60" fmla="*/ 316476 w 321937"/>
                <a:gd name="connsiteY60" fmla="*/ 39254 h 147734"/>
                <a:gd name="connsiteX61" fmla="*/ 314713 w 321937"/>
                <a:gd name="connsiteY61" fmla="*/ 45681 h 147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321937" h="147734">
                  <a:moveTo>
                    <a:pt x="314713" y="45681"/>
                  </a:moveTo>
                  <a:cubicBezTo>
                    <a:pt x="306418" y="50240"/>
                    <a:pt x="297780" y="54151"/>
                    <a:pt x="288876" y="57377"/>
                  </a:cubicBezTo>
                  <a:cubicBezTo>
                    <a:pt x="282699" y="57568"/>
                    <a:pt x="276889" y="60324"/>
                    <a:pt x="272830" y="64985"/>
                  </a:cubicBezTo>
                  <a:cubicBezTo>
                    <a:pt x="265410" y="72503"/>
                    <a:pt x="263621" y="77812"/>
                    <a:pt x="255934" y="79971"/>
                  </a:cubicBezTo>
                  <a:cubicBezTo>
                    <a:pt x="249821" y="82155"/>
                    <a:pt x="243377" y="83285"/>
                    <a:pt x="236883" y="83298"/>
                  </a:cubicBezTo>
                  <a:cubicBezTo>
                    <a:pt x="228968" y="83209"/>
                    <a:pt x="226761" y="77989"/>
                    <a:pt x="221459" y="83298"/>
                  </a:cubicBezTo>
                  <a:cubicBezTo>
                    <a:pt x="216119" y="88569"/>
                    <a:pt x="216703" y="84060"/>
                    <a:pt x="213189" y="93293"/>
                  </a:cubicBezTo>
                  <a:cubicBezTo>
                    <a:pt x="209688" y="102513"/>
                    <a:pt x="216385" y="106564"/>
                    <a:pt x="207671" y="107771"/>
                  </a:cubicBezTo>
                  <a:cubicBezTo>
                    <a:pt x="198995" y="108939"/>
                    <a:pt x="193427" y="115696"/>
                    <a:pt x="188163" y="111238"/>
                  </a:cubicBezTo>
                  <a:cubicBezTo>
                    <a:pt x="182899" y="106831"/>
                    <a:pt x="189380" y="99363"/>
                    <a:pt x="178637" y="102564"/>
                  </a:cubicBezTo>
                  <a:cubicBezTo>
                    <a:pt x="167894" y="105752"/>
                    <a:pt x="166993" y="100392"/>
                    <a:pt x="160473" y="105752"/>
                  </a:cubicBezTo>
                  <a:cubicBezTo>
                    <a:pt x="153966" y="111098"/>
                    <a:pt x="156249" y="115061"/>
                    <a:pt x="147624" y="118439"/>
                  </a:cubicBezTo>
                  <a:cubicBezTo>
                    <a:pt x="138999" y="121817"/>
                    <a:pt x="138365" y="116458"/>
                    <a:pt x="134407" y="125056"/>
                  </a:cubicBezTo>
                  <a:cubicBezTo>
                    <a:pt x="130412" y="133653"/>
                    <a:pt x="126949" y="135228"/>
                    <a:pt x="127634" y="141934"/>
                  </a:cubicBezTo>
                  <a:cubicBezTo>
                    <a:pt x="127634" y="142150"/>
                    <a:pt x="127672" y="142328"/>
                    <a:pt x="127672" y="142569"/>
                  </a:cubicBezTo>
                  <a:cubicBezTo>
                    <a:pt x="120873" y="143915"/>
                    <a:pt x="113974" y="144766"/>
                    <a:pt x="107048" y="145084"/>
                  </a:cubicBezTo>
                  <a:cubicBezTo>
                    <a:pt x="98550" y="144944"/>
                    <a:pt x="107048" y="145084"/>
                    <a:pt x="94998" y="145261"/>
                  </a:cubicBezTo>
                  <a:cubicBezTo>
                    <a:pt x="82961" y="145439"/>
                    <a:pt x="89873" y="151154"/>
                    <a:pt x="84799" y="144588"/>
                  </a:cubicBezTo>
                  <a:cubicBezTo>
                    <a:pt x="79726" y="138022"/>
                    <a:pt x="84799" y="144588"/>
                    <a:pt x="75540" y="141299"/>
                  </a:cubicBezTo>
                  <a:cubicBezTo>
                    <a:pt x="66331" y="137972"/>
                    <a:pt x="72128" y="141934"/>
                    <a:pt x="62057" y="139280"/>
                  </a:cubicBezTo>
                  <a:cubicBezTo>
                    <a:pt x="52036" y="136625"/>
                    <a:pt x="54370" y="143648"/>
                    <a:pt x="48485" y="144144"/>
                  </a:cubicBezTo>
                  <a:cubicBezTo>
                    <a:pt x="42600" y="144588"/>
                    <a:pt x="48485" y="144144"/>
                    <a:pt x="36397" y="136981"/>
                  </a:cubicBezTo>
                  <a:cubicBezTo>
                    <a:pt x="24271" y="129831"/>
                    <a:pt x="32985" y="139102"/>
                    <a:pt x="21835" y="138467"/>
                  </a:cubicBezTo>
                  <a:cubicBezTo>
                    <a:pt x="10699" y="137844"/>
                    <a:pt x="21835" y="138467"/>
                    <a:pt x="6779" y="139229"/>
                  </a:cubicBezTo>
                  <a:cubicBezTo>
                    <a:pt x="-8226" y="139991"/>
                    <a:pt x="5663" y="132307"/>
                    <a:pt x="9798" y="125233"/>
                  </a:cubicBezTo>
                  <a:cubicBezTo>
                    <a:pt x="13933" y="118172"/>
                    <a:pt x="9798" y="125233"/>
                    <a:pt x="14148" y="117639"/>
                  </a:cubicBezTo>
                  <a:cubicBezTo>
                    <a:pt x="18461" y="110070"/>
                    <a:pt x="20617" y="115429"/>
                    <a:pt x="35052" y="125056"/>
                  </a:cubicBezTo>
                  <a:cubicBezTo>
                    <a:pt x="49474" y="134682"/>
                    <a:pt x="35052" y="125056"/>
                    <a:pt x="40798" y="125779"/>
                  </a:cubicBezTo>
                  <a:cubicBezTo>
                    <a:pt x="46557" y="126453"/>
                    <a:pt x="45161" y="118934"/>
                    <a:pt x="45479" y="114121"/>
                  </a:cubicBezTo>
                  <a:cubicBezTo>
                    <a:pt x="45568" y="113054"/>
                    <a:pt x="45771" y="112000"/>
                    <a:pt x="46113" y="110971"/>
                  </a:cubicBezTo>
                  <a:cubicBezTo>
                    <a:pt x="53166" y="114438"/>
                    <a:pt x="48802" y="111644"/>
                    <a:pt x="59812" y="111733"/>
                  </a:cubicBezTo>
                  <a:cubicBezTo>
                    <a:pt x="72851" y="111822"/>
                    <a:pt x="68538" y="118579"/>
                    <a:pt x="79777" y="112140"/>
                  </a:cubicBezTo>
                  <a:cubicBezTo>
                    <a:pt x="91002" y="105701"/>
                    <a:pt x="86195" y="97433"/>
                    <a:pt x="94199" y="98690"/>
                  </a:cubicBezTo>
                  <a:cubicBezTo>
                    <a:pt x="102202" y="99986"/>
                    <a:pt x="93565" y="105523"/>
                    <a:pt x="102202" y="99986"/>
                  </a:cubicBezTo>
                  <a:cubicBezTo>
                    <a:pt x="110865" y="94410"/>
                    <a:pt x="116891" y="95084"/>
                    <a:pt x="108037" y="90994"/>
                  </a:cubicBezTo>
                  <a:cubicBezTo>
                    <a:pt x="102405" y="88797"/>
                    <a:pt x="97243" y="85559"/>
                    <a:pt x="92804" y="81456"/>
                  </a:cubicBezTo>
                  <a:cubicBezTo>
                    <a:pt x="87146" y="76732"/>
                    <a:pt x="90152" y="75386"/>
                    <a:pt x="83049" y="71246"/>
                  </a:cubicBezTo>
                  <a:cubicBezTo>
                    <a:pt x="75908" y="67055"/>
                    <a:pt x="84940" y="63003"/>
                    <a:pt x="75908" y="67055"/>
                  </a:cubicBezTo>
                  <a:cubicBezTo>
                    <a:pt x="66877" y="71144"/>
                    <a:pt x="71596" y="79386"/>
                    <a:pt x="60852" y="77138"/>
                  </a:cubicBezTo>
                  <a:cubicBezTo>
                    <a:pt x="50159" y="74840"/>
                    <a:pt x="51415" y="79336"/>
                    <a:pt x="45796" y="74167"/>
                  </a:cubicBezTo>
                  <a:cubicBezTo>
                    <a:pt x="40176" y="68985"/>
                    <a:pt x="34025" y="70928"/>
                    <a:pt x="34748" y="64985"/>
                  </a:cubicBezTo>
                  <a:cubicBezTo>
                    <a:pt x="35459" y="59092"/>
                    <a:pt x="25527" y="57466"/>
                    <a:pt x="37209" y="53110"/>
                  </a:cubicBezTo>
                  <a:cubicBezTo>
                    <a:pt x="48891" y="48792"/>
                    <a:pt x="60218" y="45058"/>
                    <a:pt x="58239" y="40194"/>
                  </a:cubicBezTo>
                  <a:cubicBezTo>
                    <a:pt x="56311" y="35330"/>
                    <a:pt x="55144" y="47573"/>
                    <a:pt x="56311" y="35330"/>
                  </a:cubicBezTo>
                  <a:cubicBezTo>
                    <a:pt x="56628" y="32142"/>
                    <a:pt x="56856" y="29526"/>
                    <a:pt x="57161" y="27367"/>
                  </a:cubicBezTo>
                  <a:lnTo>
                    <a:pt x="64352" y="18185"/>
                  </a:lnTo>
                  <a:cubicBezTo>
                    <a:pt x="71101" y="17423"/>
                    <a:pt x="73523" y="18591"/>
                    <a:pt x="88034" y="17106"/>
                  </a:cubicBezTo>
                  <a:cubicBezTo>
                    <a:pt x="102558" y="15620"/>
                    <a:pt x="103090" y="27596"/>
                    <a:pt x="113745" y="25348"/>
                  </a:cubicBezTo>
                  <a:cubicBezTo>
                    <a:pt x="124400" y="23049"/>
                    <a:pt x="124260" y="27596"/>
                    <a:pt x="124400" y="23049"/>
                  </a:cubicBezTo>
                  <a:cubicBezTo>
                    <a:pt x="124539" y="18553"/>
                    <a:pt x="116130" y="23367"/>
                    <a:pt x="126201" y="13461"/>
                  </a:cubicBezTo>
                  <a:cubicBezTo>
                    <a:pt x="136259" y="3567"/>
                    <a:pt x="126467" y="-2503"/>
                    <a:pt x="141257" y="1002"/>
                  </a:cubicBezTo>
                  <a:cubicBezTo>
                    <a:pt x="155996" y="4507"/>
                    <a:pt x="157480" y="151"/>
                    <a:pt x="167006" y="4152"/>
                  </a:cubicBezTo>
                  <a:cubicBezTo>
                    <a:pt x="176481" y="8114"/>
                    <a:pt x="174502" y="19087"/>
                    <a:pt x="183673" y="14731"/>
                  </a:cubicBezTo>
                  <a:cubicBezTo>
                    <a:pt x="192843" y="10362"/>
                    <a:pt x="188353" y="9905"/>
                    <a:pt x="199401" y="10591"/>
                  </a:cubicBezTo>
                  <a:cubicBezTo>
                    <a:pt x="210462" y="11264"/>
                    <a:pt x="202319" y="8559"/>
                    <a:pt x="218415" y="10273"/>
                  </a:cubicBezTo>
                  <a:cubicBezTo>
                    <a:pt x="234498" y="12026"/>
                    <a:pt x="229640" y="9727"/>
                    <a:pt x="243580" y="11530"/>
                  </a:cubicBezTo>
                  <a:cubicBezTo>
                    <a:pt x="257470" y="13372"/>
                    <a:pt x="256886" y="9778"/>
                    <a:pt x="265739" y="12661"/>
                  </a:cubicBezTo>
                  <a:cubicBezTo>
                    <a:pt x="274581" y="15531"/>
                    <a:pt x="281277" y="8647"/>
                    <a:pt x="283713" y="12381"/>
                  </a:cubicBezTo>
                  <a:cubicBezTo>
                    <a:pt x="286136" y="16115"/>
                    <a:pt x="284740" y="12521"/>
                    <a:pt x="291438" y="20890"/>
                  </a:cubicBezTo>
                  <a:cubicBezTo>
                    <a:pt x="298960" y="27723"/>
                    <a:pt x="307610" y="33171"/>
                    <a:pt x="317009" y="37006"/>
                  </a:cubicBezTo>
                  <a:cubicBezTo>
                    <a:pt x="316870" y="37680"/>
                    <a:pt x="316692" y="38403"/>
                    <a:pt x="316476" y="39254"/>
                  </a:cubicBezTo>
                  <a:cubicBezTo>
                    <a:pt x="314713" y="45681"/>
                    <a:pt x="330758" y="38162"/>
                    <a:pt x="314713" y="45681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0" name="Vrije vorm 399">
              <a:extLst>
                <a:ext uri="{FF2B5EF4-FFF2-40B4-BE49-F238E27FC236}">
                  <a16:creationId xmlns:a16="http://schemas.microsoft.com/office/drawing/2014/main" id="{3688F4D5-07EF-FC4D-A55A-C76D13467417}"/>
                </a:ext>
              </a:extLst>
            </p:cNvPr>
            <p:cNvSpPr/>
            <p:nvPr/>
          </p:nvSpPr>
          <p:spPr>
            <a:xfrm>
              <a:off x="7077373" y="2945897"/>
              <a:ext cx="484483" cy="318255"/>
            </a:xfrm>
            <a:custGeom>
              <a:avLst/>
              <a:gdLst>
                <a:gd name="connsiteX0" fmla="*/ 474257 w 484483"/>
                <a:gd name="connsiteY0" fmla="*/ 194470 h 318255"/>
                <a:gd name="connsiteX1" fmla="*/ 466253 w 484483"/>
                <a:gd name="connsiteY1" fmla="*/ 193174 h 318255"/>
                <a:gd name="connsiteX2" fmla="*/ 451831 w 484483"/>
                <a:gd name="connsiteY2" fmla="*/ 206623 h 318255"/>
                <a:gd name="connsiteX3" fmla="*/ 431879 w 484483"/>
                <a:gd name="connsiteY3" fmla="*/ 206217 h 318255"/>
                <a:gd name="connsiteX4" fmla="*/ 418167 w 484483"/>
                <a:gd name="connsiteY4" fmla="*/ 205455 h 318255"/>
                <a:gd name="connsiteX5" fmla="*/ 412954 w 484483"/>
                <a:gd name="connsiteY5" fmla="*/ 202890 h 318255"/>
                <a:gd name="connsiteX6" fmla="*/ 412421 w 484483"/>
                <a:gd name="connsiteY6" fmla="*/ 191777 h 318255"/>
                <a:gd name="connsiteX7" fmla="*/ 408464 w 484483"/>
                <a:gd name="connsiteY7" fmla="*/ 182062 h 318255"/>
                <a:gd name="connsiteX8" fmla="*/ 386622 w 484483"/>
                <a:gd name="connsiteY8" fmla="*/ 187777 h 318255"/>
                <a:gd name="connsiteX9" fmla="*/ 378402 w 484483"/>
                <a:gd name="connsiteY9" fmla="*/ 188805 h 318255"/>
                <a:gd name="connsiteX10" fmla="*/ 377552 w 484483"/>
                <a:gd name="connsiteY10" fmla="*/ 188717 h 318255"/>
                <a:gd name="connsiteX11" fmla="*/ 378402 w 484483"/>
                <a:gd name="connsiteY11" fmla="*/ 188805 h 318255"/>
                <a:gd name="connsiteX12" fmla="*/ 378174 w 484483"/>
                <a:gd name="connsiteY12" fmla="*/ 191777 h 318255"/>
                <a:gd name="connsiteX13" fmla="*/ 370894 w 484483"/>
                <a:gd name="connsiteY13" fmla="*/ 207297 h 318255"/>
                <a:gd name="connsiteX14" fmla="*/ 359744 w 484483"/>
                <a:gd name="connsiteY14" fmla="*/ 221432 h 318255"/>
                <a:gd name="connsiteX15" fmla="*/ 351524 w 484483"/>
                <a:gd name="connsiteY15" fmla="*/ 227096 h 318255"/>
                <a:gd name="connsiteX16" fmla="*/ 333995 w 484483"/>
                <a:gd name="connsiteY16" fmla="*/ 229750 h 318255"/>
                <a:gd name="connsiteX17" fmla="*/ 324431 w 484483"/>
                <a:gd name="connsiteY17" fmla="*/ 241904 h 318255"/>
                <a:gd name="connsiteX18" fmla="*/ 340565 w 484483"/>
                <a:gd name="connsiteY18" fmla="*/ 252470 h 318255"/>
                <a:gd name="connsiteX19" fmla="*/ 348150 w 484483"/>
                <a:gd name="connsiteY19" fmla="*/ 269704 h 318255"/>
                <a:gd name="connsiteX20" fmla="*/ 347161 w 484483"/>
                <a:gd name="connsiteY20" fmla="*/ 286316 h 318255"/>
                <a:gd name="connsiteX21" fmla="*/ 338536 w 484483"/>
                <a:gd name="connsiteY21" fmla="*/ 307373 h 318255"/>
                <a:gd name="connsiteX22" fmla="*/ 334502 w 484483"/>
                <a:gd name="connsiteY22" fmla="*/ 318256 h 318255"/>
                <a:gd name="connsiteX23" fmla="*/ 329555 w 484483"/>
                <a:gd name="connsiteY23" fmla="*/ 316504 h 318255"/>
                <a:gd name="connsiteX24" fmla="*/ 304974 w 484483"/>
                <a:gd name="connsiteY24" fmla="*/ 312135 h 318255"/>
                <a:gd name="connsiteX25" fmla="*/ 301194 w 484483"/>
                <a:gd name="connsiteY25" fmla="*/ 312135 h 318255"/>
                <a:gd name="connsiteX26" fmla="*/ 301282 w 484483"/>
                <a:gd name="connsiteY26" fmla="*/ 300984 h 318255"/>
                <a:gd name="connsiteX27" fmla="*/ 292746 w 484483"/>
                <a:gd name="connsiteY27" fmla="*/ 286316 h 318255"/>
                <a:gd name="connsiteX28" fmla="*/ 261644 w 484483"/>
                <a:gd name="connsiteY28" fmla="*/ 271648 h 318255"/>
                <a:gd name="connsiteX29" fmla="*/ 240931 w 484483"/>
                <a:gd name="connsiteY29" fmla="*/ 256395 h 318255"/>
                <a:gd name="connsiteX30" fmla="*/ 221068 w 484483"/>
                <a:gd name="connsiteY30" fmla="*/ 247797 h 318255"/>
                <a:gd name="connsiteX31" fmla="*/ 197653 w 484483"/>
                <a:gd name="connsiteY31" fmla="*/ 222740 h 318255"/>
                <a:gd name="connsiteX32" fmla="*/ 166691 w 484483"/>
                <a:gd name="connsiteY32" fmla="*/ 179903 h 318255"/>
                <a:gd name="connsiteX33" fmla="*/ 148844 w 484483"/>
                <a:gd name="connsiteY33" fmla="*/ 171305 h 318255"/>
                <a:gd name="connsiteX34" fmla="*/ 130693 w 484483"/>
                <a:gd name="connsiteY34" fmla="*/ 170403 h 318255"/>
                <a:gd name="connsiteX35" fmla="*/ 114647 w 484483"/>
                <a:gd name="connsiteY35" fmla="*/ 162707 h 318255"/>
                <a:gd name="connsiteX36" fmla="*/ 117705 w 484483"/>
                <a:gd name="connsiteY36" fmla="*/ 147594 h 318255"/>
                <a:gd name="connsiteX37" fmla="*/ 112491 w 484483"/>
                <a:gd name="connsiteY37" fmla="*/ 137332 h 318255"/>
                <a:gd name="connsiteX38" fmla="*/ 107316 w 484483"/>
                <a:gd name="connsiteY38" fmla="*/ 130627 h 318255"/>
                <a:gd name="connsiteX39" fmla="*/ 88581 w 484483"/>
                <a:gd name="connsiteY39" fmla="*/ 122981 h 318255"/>
                <a:gd name="connsiteX40" fmla="*/ 77254 w 484483"/>
                <a:gd name="connsiteY40" fmla="*/ 113304 h 318255"/>
                <a:gd name="connsiteX41" fmla="*/ 68896 w 484483"/>
                <a:gd name="connsiteY41" fmla="*/ 119336 h 318255"/>
                <a:gd name="connsiteX42" fmla="*/ 64266 w 484483"/>
                <a:gd name="connsiteY42" fmla="*/ 125140 h 318255"/>
                <a:gd name="connsiteX43" fmla="*/ 57264 w 484483"/>
                <a:gd name="connsiteY43" fmla="*/ 129319 h 318255"/>
                <a:gd name="connsiteX44" fmla="*/ 41257 w 484483"/>
                <a:gd name="connsiteY44" fmla="*/ 135262 h 318255"/>
                <a:gd name="connsiteX45" fmla="*/ 28319 w 484483"/>
                <a:gd name="connsiteY45" fmla="*/ 147594 h 318255"/>
                <a:gd name="connsiteX46" fmla="*/ 24324 w 484483"/>
                <a:gd name="connsiteY46" fmla="*/ 170174 h 318255"/>
                <a:gd name="connsiteX47" fmla="*/ 1048 w 484483"/>
                <a:gd name="connsiteY47" fmla="*/ 167889 h 318255"/>
                <a:gd name="connsiteX48" fmla="*/ 58 w 484483"/>
                <a:gd name="connsiteY48" fmla="*/ 140126 h 318255"/>
                <a:gd name="connsiteX49" fmla="*/ 58 w 484483"/>
                <a:gd name="connsiteY49" fmla="*/ 63545 h 318255"/>
                <a:gd name="connsiteX50" fmla="*/ 59458 w 484483"/>
                <a:gd name="connsiteY50" fmla="*/ 2661 h 318255"/>
                <a:gd name="connsiteX51" fmla="*/ 81085 w 484483"/>
                <a:gd name="connsiteY51" fmla="*/ 5900 h 318255"/>
                <a:gd name="connsiteX52" fmla="*/ 161756 w 484483"/>
                <a:gd name="connsiteY52" fmla="*/ 74391 h 318255"/>
                <a:gd name="connsiteX53" fmla="*/ 177751 w 484483"/>
                <a:gd name="connsiteY53" fmla="*/ 82900 h 318255"/>
                <a:gd name="connsiteX54" fmla="*/ 209931 w 484483"/>
                <a:gd name="connsiteY54" fmla="*/ 77858 h 318255"/>
                <a:gd name="connsiteX55" fmla="*/ 240665 w 484483"/>
                <a:gd name="connsiteY55" fmla="*/ 76499 h 318255"/>
                <a:gd name="connsiteX56" fmla="*/ 257928 w 484483"/>
                <a:gd name="connsiteY56" fmla="*/ 78391 h 318255"/>
                <a:gd name="connsiteX57" fmla="*/ 276713 w 484483"/>
                <a:gd name="connsiteY57" fmla="*/ 98064 h 318255"/>
                <a:gd name="connsiteX58" fmla="*/ 288167 w 484483"/>
                <a:gd name="connsiteY58" fmla="*/ 102915 h 318255"/>
                <a:gd name="connsiteX59" fmla="*/ 285973 w 484483"/>
                <a:gd name="connsiteY59" fmla="*/ 114345 h 318255"/>
                <a:gd name="connsiteX60" fmla="*/ 285973 w 484483"/>
                <a:gd name="connsiteY60" fmla="*/ 137345 h 318255"/>
                <a:gd name="connsiteX61" fmla="*/ 298822 w 484483"/>
                <a:gd name="connsiteY61" fmla="*/ 141079 h 318255"/>
                <a:gd name="connsiteX62" fmla="*/ 301562 w 484483"/>
                <a:gd name="connsiteY62" fmla="*/ 151239 h 318255"/>
                <a:gd name="connsiteX63" fmla="*/ 304441 w 484483"/>
                <a:gd name="connsiteY63" fmla="*/ 169146 h 318255"/>
                <a:gd name="connsiteX64" fmla="*/ 318862 w 484483"/>
                <a:gd name="connsiteY64" fmla="*/ 175623 h 318255"/>
                <a:gd name="connsiteX65" fmla="*/ 337331 w 484483"/>
                <a:gd name="connsiteY65" fmla="*/ 172791 h 318255"/>
                <a:gd name="connsiteX66" fmla="*/ 341606 w 484483"/>
                <a:gd name="connsiteY66" fmla="*/ 190114 h 318255"/>
                <a:gd name="connsiteX67" fmla="*/ 358818 w 484483"/>
                <a:gd name="connsiteY67" fmla="*/ 193670 h 318255"/>
                <a:gd name="connsiteX68" fmla="*/ 358184 w 484483"/>
                <a:gd name="connsiteY68" fmla="*/ 181935 h 318255"/>
                <a:gd name="connsiteX69" fmla="*/ 370894 w 484483"/>
                <a:gd name="connsiteY69" fmla="*/ 170187 h 318255"/>
                <a:gd name="connsiteX70" fmla="*/ 387611 w 484483"/>
                <a:gd name="connsiteY70" fmla="*/ 157233 h 318255"/>
                <a:gd name="connsiteX71" fmla="*/ 406396 w 484483"/>
                <a:gd name="connsiteY71" fmla="*/ 139098 h 318255"/>
                <a:gd name="connsiteX72" fmla="*/ 420197 w 484483"/>
                <a:gd name="connsiteY72" fmla="*/ 133382 h 318255"/>
                <a:gd name="connsiteX73" fmla="*/ 429228 w 484483"/>
                <a:gd name="connsiteY73" fmla="*/ 121864 h 318255"/>
                <a:gd name="connsiteX74" fmla="*/ 428378 w 484483"/>
                <a:gd name="connsiteY74" fmla="*/ 129826 h 318255"/>
                <a:gd name="connsiteX75" fmla="*/ 430306 w 484483"/>
                <a:gd name="connsiteY75" fmla="*/ 134691 h 318255"/>
                <a:gd name="connsiteX76" fmla="*/ 409276 w 484483"/>
                <a:gd name="connsiteY76" fmla="*/ 147607 h 318255"/>
                <a:gd name="connsiteX77" fmla="*/ 406802 w 484483"/>
                <a:gd name="connsiteY77" fmla="*/ 159481 h 318255"/>
                <a:gd name="connsiteX78" fmla="*/ 417863 w 484483"/>
                <a:gd name="connsiteY78" fmla="*/ 168663 h 318255"/>
                <a:gd name="connsiteX79" fmla="*/ 432919 w 484483"/>
                <a:gd name="connsiteY79" fmla="*/ 171635 h 318255"/>
                <a:gd name="connsiteX80" fmla="*/ 447975 w 484483"/>
                <a:gd name="connsiteY80" fmla="*/ 161551 h 318255"/>
                <a:gd name="connsiteX81" fmla="*/ 455116 w 484483"/>
                <a:gd name="connsiteY81" fmla="*/ 165730 h 318255"/>
                <a:gd name="connsiteX82" fmla="*/ 464871 w 484483"/>
                <a:gd name="connsiteY82" fmla="*/ 175953 h 318255"/>
                <a:gd name="connsiteX83" fmla="*/ 480104 w 484483"/>
                <a:gd name="connsiteY83" fmla="*/ 185491 h 318255"/>
                <a:gd name="connsiteX84" fmla="*/ 474257 w 484483"/>
                <a:gd name="connsiteY84" fmla="*/ 194470 h 318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</a:cxnLst>
              <a:rect l="l" t="t" r="r" b="b"/>
              <a:pathLst>
                <a:path w="484483" h="318255">
                  <a:moveTo>
                    <a:pt x="474257" y="194470"/>
                  </a:moveTo>
                  <a:cubicBezTo>
                    <a:pt x="465632" y="200007"/>
                    <a:pt x="474257" y="194470"/>
                    <a:pt x="466253" y="193174"/>
                  </a:cubicBezTo>
                  <a:cubicBezTo>
                    <a:pt x="458262" y="191904"/>
                    <a:pt x="463069" y="200185"/>
                    <a:pt x="451831" y="206623"/>
                  </a:cubicBezTo>
                  <a:cubicBezTo>
                    <a:pt x="440593" y="213050"/>
                    <a:pt x="444905" y="206306"/>
                    <a:pt x="431879" y="206217"/>
                  </a:cubicBezTo>
                  <a:cubicBezTo>
                    <a:pt x="420869" y="206128"/>
                    <a:pt x="425233" y="208922"/>
                    <a:pt x="418167" y="205455"/>
                  </a:cubicBezTo>
                  <a:cubicBezTo>
                    <a:pt x="416874" y="204820"/>
                    <a:pt x="415199" y="204020"/>
                    <a:pt x="412954" y="202890"/>
                  </a:cubicBezTo>
                  <a:cubicBezTo>
                    <a:pt x="398583" y="195740"/>
                    <a:pt x="411660" y="196273"/>
                    <a:pt x="412421" y="191777"/>
                  </a:cubicBezTo>
                  <a:cubicBezTo>
                    <a:pt x="413233" y="187320"/>
                    <a:pt x="414615" y="180982"/>
                    <a:pt x="408464" y="182062"/>
                  </a:cubicBezTo>
                  <a:cubicBezTo>
                    <a:pt x="401335" y="184500"/>
                    <a:pt x="394029" y="186405"/>
                    <a:pt x="386622" y="187777"/>
                  </a:cubicBezTo>
                  <a:cubicBezTo>
                    <a:pt x="383908" y="188323"/>
                    <a:pt x="381168" y="188666"/>
                    <a:pt x="378402" y="188805"/>
                  </a:cubicBezTo>
                  <a:cubicBezTo>
                    <a:pt x="378136" y="188678"/>
                    <a:pt x="377832" y="188640"/>
                    <a:pt x="377552" y="188717"/>
                  </a:cubicBezTo>
                  <a:cubicBezTo>
                    <a:pt x="377552" y="188754"/>
                    <a:pt x="377768" y="188805"/>
                    <a:pt x="378402" y="188805"/>
                  </a:cubicBezTo>
                  <a:cubicBezTo>
                    <a:pt x="379036" y="189034"/>
                    <a:pt x="379569" y="189796"/>
                    <a:pt x="378174" y="191777"/>
                  </a:cubicBezTo>
                  <a:cubicBezTo>
                    <a:pt x="374178" y="197581"/>
                    <a:pt x="377096" y="197581"/>
                    <a:pt x="370894" y="207297"/>
                  </a:cubicBezTo>
                  <a:cubicBezTo>
                    <a:pt x="364691" y="217025"/>
                    <a:pt x="364069" y="208922"/>
                    <a:pt x="359744" y="221432"/>
                  </a:cubicBezTo>
                  <a:cubicBezTo>
                    <a:pt x="355431" y="233941"/>
                    <a:pt x="359160" y="226474"/>
                    <a:pt x="351524" y="227096"/>
                  </a:cubicBezTo>
                  <a:cubicBezTo>
                    <a:pt x="343889" y="227731"/>
                    <a:pt x="339893" y="230919"/>
                    <a:pt x="333995" y="229750"/>
                  </a:cubicBezTo>
                  <a:cubicBezTo>
                    <a:pt x="328071" y="228582"/>
                    <a:pt x="326448" y="234754"/>
                    <a:pt x="324431" y="241904"/>
                  </a:cubicBezTo>
                  <a:cubicBezTo>
                    <a:pt x="322402" y="249016"/>
                    <a:pt x="331890" y="247797"/>
                    <a:pt x="340565" y="252470"/>
                  </a:cubicBezTo>
                  <a:cubicBezTo>
                    <a:pt x="349191" y="257157"/>
                    <a:pt x="344206" y="260040"/>
                    <a:pt x="348150" y="269704"/>
                  </a:cubicBezTo>
                  <a:cubicBezTo>
                    <a:pt x="352158" y="279344"/>
                    <a:pt x="347973" y="273489"/>
                    <a:pt x="347161" y="286316"/>
                  </a:cubicBezTo>
                  <a:cubicBezTo>
                    <a:pt x="346400" y="299143"/>
                    <a:pt x="345106" y="293644"/>
                    <a:pt x="338536" y="307373"/>
                  </a:cubicBezTo>
                  <a:cubicBezTo>
                    <a:pt x="336837" y="310852"/>
                    <a:pt x="335479" y="314510"/>
                    <a:pt x="334502" y="318256"/>
                  </a:cubicBezTo>
                  <a:cubicBezTo>
                    <a:pt x="333462" y="317901"/>
                    <a:pt x="331838" y="317317"/>
                    <a:pt x="329555" y="316504"/>
                  </a:cubicBezTo>
                  <a:cubicBezTo>
                    <a:pt x="321970" y="312618"/>
                    <a:pt x="313408" y="311106"/>
                    <a:pt x="304974" y="312135"/>
                  </a:cubicBezTo>
                  <a:cubicBezTo>
                    <a:pt x="303706" y="312211"/>
                    <a:pt x="302450" y="312211"/>
                    <a:pt x="301194" y="312135"/>
                  </a:cubicBezTo>
                  <a:cubicBezTo>
                    <a:pt x="301676" y="308439"/>
                    <a:pt x="301701" y="304693"/>
                    <a:pt x="301282" y="300984"/>
                  </a:cubicBezTo>
                  <a:cubicBezTo>
                    <a:pt x="300432" y="293415"/>
                    <a:pt x="299976" y="294634"/>
                    <a:pt x="292746" y="286316"/>
                  </a:cubicBezTo>
                  <a:cubicBezTo>
                    <a:pt x="284679" y="277553"/>
                    <a:pt x="273529" y="272295"/>
                    <a:pt x="261644" y="271648"/>
                  </a:cubicBezTo>
                  <a:cubicBezTo>
                    <a:pt x="245827" y="268993"/>
                    <a:pt x="251763" y="266745"/>
                    <a:pt x="240931" y="256395"/>
                  </a:cubicBezTo>
                  <a:cubicBezTo>
                    <a:pt x="230099" y="246044"/>
                    <a:pt x="235667" y="253867"/>
                    <a:pt x="221068" y="247797"/>
                  </a:cubicBezTo>
                  <a:cubicBezTo>
                    <a:pt x="206417" y="241726"/>
                    <a:pt x="213204" y="232405"/>
                    <a:pt x="197653" y="222740"/>
                  </a:cubicBezTo>
                  <a:cubicBezTo>
                    <a:pt x="182140" y="213100"/>
                    <a:pt x="175671" y="189478"/>
                    <a:pt x="166691" y="179903"/>
                  </a:cubicBezTo>
                  <a:cubicBezTo>
                    <a:pt x="157748" y="170263"/>
                    <a:pt x="158547" y="169108"/>
                    <a:pt x="148844" y="171305"/>
                  </a:cubicBezTo>
                  <a:cubicBezTo>
                    <a:pt x="139141" y="173502"/>
                    <a:pt x="140346" y="172333"/>
                    <a:pt x="130693" y="170403"/>
                  </a:cubicBezTo>
                  <a:cubicBezTo>
                    <a:pt x="124554" y="169984"/>
                    <a:pt x="118808" y="167241"/>
                    <a:pt x="114647" y="162707"/>
                  </a:cubicBezTo>
                  <a:cubicBezTo>
                    <a:pt x="108216" y="157398"/>
                    <a:pt x="114596" y="154122"/>
                    <a:pt x="117705" y="147594"/>
                  </a:cubicBezTo>
                  <a:cubicBezTo>
                    <a:pt x="120799" y="141117"/>
                    <a:pt x="114596" y="143365"/>
                    <a:pt x="112491" y="137332"/>
                  </a:cubicBezTo>
                  <a:cubicBezTo>
                    <a:pt x="110334" y="131300"/>
                    <a:pt x="112491" y="133738"/>
                    <a:pt x="107316" y="130627"/>
                  </a:cubicBezTo>
                  <a:cubicBezTo>
                    <a:pt x="101278" y="127604"/>
                    <a:pt x="95013" y="125039"/>
                    <a:pt x="88581" y="122981"/>
                  </a:cubicBezTo>
                  <a:cubicBezTo>
                    <a:pt x="75415" y="117584"/>
                    <a:pt x="84624" y="118701"/>
                    <a:pt x="77254" y="113304"/>
                  </a:cubicBezTo>
                  <a:cubicBezTo>
                    <a:pt x="69885" y="107944"/>
                    <a:pt x="72853" y="113342"/>
                    <a:pt x="68896" y="119336"/>
                  </a:cubicBezTo>
                  <a:cubicBezTo>
                    <a:pt x="64989" y="125318"/>
                    <a:pt x="71775" y="122981"/>
                    <a:pt x="64266" y="125140"/>
                  </a:cubicBezTo>
                  <a:cubicBezTo>
                    <a:pt x="56770" y="127299"/>
                    <a:pt x="64266" y="125140"/>
                    <a:pt x="57264" y="129319"/>
                  </a:cubicBezTo>
                  <a:cubicBezTo>
                    <a:pt x="50199" y="133510"/>
                    <a:pt x="54600" y="132646"/>
                    <a:pt x="41257" y="135262"/>
                  </a:cubicBezTo>
                  <a:cubicBezTo>
                    <a:pt x="27862" y="137866"/>
                    <a:pt x="34242" y="135846"/>
                    <a:pt x="28319" y="147594"/>
                  </a:cubicBezTo>
                  <a:cubicBezTo>
                    <a:pt x="22433" y="159329"/>
                    <a:pt x="33177" y="160548"/>
                    <a:pt x="24324" y="170174"/>
                  </a:cubicBezTo>
                  <a:cubicBezTo>
                    <a:pt x="15470" y="179814"/>
                    <a:pt x="16053" y="169095"/>
                    <a:pt x="1048" y="167889"/>
                  </a:cubicBezTo>
                  <a:lnTo>
                    <a:pt x="58" y="140126"/>
                  </a:lnTo>
                  <a:cubicBezTo>
                    <a:pt x="58" y="140126"/>
                    <a:pt x="-132" y="110154"/>
                    <a:pt x="58" y="63545"/>
                  </a:cubicBezTo>
                  <a:cubicBezTo>
                    <a:pt x="274" y="16924"/>
                    <a:pt x="36957" y="8427"/>
                    <a:pt x="59458" y="2661"/>
                  </a:cubicBezTo>
                  <a:cubicBezTo>
                    <a:pt x="81985" y="-3142"/>
                    <a:pt x="67463" y="1760"/>
                    <a:pt x="81085" y="5900"/>
                  </a:cubicBezTo>
                  <a:cubicBezTo>
                    <a:pt x="94695" y="10040"/>
                    <a:pt x="157216" y="65565"/>
                    <a:pt x="161756" y="74391"/>
                  </a:cubicBezTo>
                  <a:cubicBezTo>
                    <a:pt x="164154" y="80881"/>
                    <a:pt x="171029" y="84538"/>
                    <a:pt x="177751" y="82900"/>
                  </a:cubicBezTo>
                  <a:cubicBezTo>
                    <a:pt x="182914" y="81948"/>
                    <a:pt x="196359" y="79700"/>
                    <a:pt x="209931" y="77858"/>
                  </a:cubicBezTo>
                  <a:cubicBezTo>
                    <a:pt x="223503" y="75966"/>
                    <a:pt x="225888" y="79928"/>
                    <a:pt x="240665" y="76499"/>
                  </a:cubicBezTo>
                  <a:cubicBezTo>
                    <a:pt x="255455" y="73083"/>
                    <a:pt x="250051" y="76283"/>
                    <a:pt x="257928" y="78391"/>
                  </a:cubicBezTo>
                  <a:cubicBezTo>
                    <a:pt x="265830" y="80551"/>
                    <a:pt x="269788" y="90990"/>
                    <a:pt x="276713" y="98064"/>
                  </a:cubicBezTo>
                  <a:cubicBezTo>
                    <a:pt x="283626" y="105125"/>
                    <a:pt x="278109" y="103461"/>
                    <a:pt x="288167" y="102915"/>
                  </a:cubicBezTo>
                  <a:cubicBezTo>
                    <a:pt x="298187" y="102382"/>
                    <a:pt x="288167" y="102915"/>
                    <a:pt x="285973" y="114345"/>
                  </a:cubicBezTo>
                  <a:cubicBezTo>
                    <a:pt x="284730" y="121965"/>
                    <a:pt x="284730" y="129725"/>
                    <a:pt x="285973" y="137345"/>
                  </a:cubicBezTo>
                  <a:cubicBezTo>
                    <a:pt x="286277" y="149308"/>
                    <a:pt x="289385" y="140901"/>
                    <a:pt x="298822" y="141079"/>
                  </a:cubicBezTo>
                  <a:cubicBezTo>
                    <a:pt x="308208" y="141206"/>
                    <a:pt x="298822" y="141079"/>
                    <a:pt x="301562" y="151239"/>
                  </a:cubicBezTo>
                  <a:cubicBezTo>
                    <a:pt x="304352" y="161411"/>
                    <a:pt x="301473" y="156319"/>
                    <a:pt x="304441" y="169146"/>
                  </a:cubicBezTo>
                  <a:cubicBezTo>
                    <a:pt x="307396" y="181973"/>
                    <a:pt x="308385" y="173375"/>
                    <a:pt x="318862" y="175623"/>
                  </a:cubicBezTo>
                  <a:cubicBezTo>
                    <a:pt x="329289" y="177883"/>
                    <a:pt x="327716" y="172206"/>
                    <a:pt x="337331" y="172791"/>
                  </a:cubicBezTo>
                  <a:cubicBezTo>
                    <a:pt x="346946" y="173375"/>
                    <a:pt x="337471" y="183052"/>
                    <a:pt x="341606" y="190114"/>
                  </a:cubicBezTo>
                  <a:cubicBezTo>
                    <a:pt x="345690" y="197137"/>
                    <a:pt x="350269" y="191955"/>
                    <a:pt x="358818" y="193670"/>
                  </a:cubicBezTo>
                  <a:cubicBezTo>
                    <a:pt x="367354" y="195384"/>
                    <a:pt x="358818" y="193670"/>
                    <a:pt x="358184" y="181935"/>
                  </a:cubicBezTo>
                  <a:cubicBezTo>
                    <a:pt x="357550" y="170187"/>
                    <a:pt x="364196" y="176575"/>
                    <a:pt x="370894" y="170187"/>
                  </a:cubicBezTo>
                  <a:cubicBezTo>
                    <a:pt x="377641" y="163799"/>
                    <a:pt x="376157" y="161640"/>
                    <a:pt x="387611" y="157233"/>
                  </a:cubicBezTo>
                  <a:cubicBezTo>
                    <a:pt x="399078" y="152864"/>
                    <a:pt x="398494" y="148280"/>
                    <a:pt x="406396" y="139098"/>
                  </a:cubicBezTo>
                  <a:cubicBezTo>
                    <a:pt x="414311" y="129915"/>
                    <a:pt x="420197" y="133382"/>
                    <a:pt x="420197" y="133382"/>
                  </a:cubicBezTo>
                  <a:lnTo>
                    <a:pt x="429228" y="121864"/>
                  </a:lnTo>
                  <a:cubicBezTo>
                    <a:pt x="428911" y="124023"/>
                    <a:pt x="428695" y="126639"/>
                    <a:pt x="428378" y="129826"/>
                  </a:cubicBezTo>
                  <a:cubicBezTo>
                    <a:pt x="427211" y="142069"/>
                    <a:pt x="428378" y="129826"/>
                    <a:pt x="430306" y="134691"/>
                  </a:cubicBezTo>
                  <a:cubicBezTo>
                    <a:pt x="432285" y="139542"/>
                    <a:pt x="420958" y="143288"/>
                    <a:pt x="409276" y="147607"/>
                  </a:cubicBezTo>
                  <a:cubicBezTo>
                    <a:pt x="397594" y="151963"/>
                    <a:pt x="407526" y="153588"/>
                    <a:pt x="406802" y="159481"/>
                  </a:cubicBezTo>
                  <a:cubicBezTo>
                    <a:pt x="406092" y="165425"/>
                    <a:pt x="412243" y="163482"/>
                    <a:pt x="417863" y="168663"/>
                  </a:cubicBezTo>
                  <a:cubicBezTo>
                    <a:pt x="423482" y="173832"/>
                    <a:pt x="422213" y="169336"/>
                    <a:pt x="432919" y="171635"/>
                  </a:cubicBezTo>
                  <a:cubicBezTo>
                    <a:pt x="443650" y="173883"/>
                    <a:pt x="438931" y="165641"/>
                    <a:pt x="447975" y="161551"/>
                  </a:cubicBezTo>
                  <a:cubicBezTo>
                    <a:pt x="457007" y="157500"/>
                    <a:pt x="447975" y="161551"/>
                    <a:pt x="455116" y="165730"/>
                  </a:cubicBezTo>
                  <a:cubicBezTo>
                    <a:pt x="462219" y="169870"/>
                    <a:pt x="459201" y="171229"/>
                    <a:pt x="464871" y="175953"/>
                  </a:cubicBezTo>
                  <a:cubicBezTo>
                    <a:pt x="469297" y="180055"/>
                    <a:pt x="474472" y="183294"/>
                    <a:pt x="480104" y="185491"/>
                  </a:cubicBezTo>
                  <a:cubicBezTo>
                    <a:pt x="488958" y="189567"/>
                    <a:pt x="482932" y="188894"/>
                    <a:pt x="474257" y="194470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1" name="Vrije vorm 400">
              <a:extLst>
                <a:ext uri="{FF2B5EF4-FFF2-40B4-BE49-F238E27FC236}">
                  <a16:creationId xmlns:a16="http://schemas.microsoft.com/office/drawing/2014/main" id="{EDBADF04-C3FB-7840-9659-9F16F65A9975}"/>
                </a:ext>
              </a:extLst>
            </p:cNvPr>
            <p:cNvSpPr/>
            <p:nvPr/>
          </p:nvSpPr>
          <p:spPr>
            <a:xfrm>
              <a:off x="7659192" y="3310279"/>
              <a:ext cx="40361" cy="23850"/>
            </a:xfrm>
            <a:custGeom>
              <a:avLst/>
              <a:gdLst>
                <a:gd name="connsiteX0" fmla="*/ 40335 w 40361"/>
                <a:gd name="connsiteY0" fmla="*/ 14885 h 23850"/>
                <a:gd name="connsiteX1" fmla="*/ 40247 w 40361"/>
                <a:gd name="connsiteY1" fmla="*/ 14974 h 23850"/>
                <a:gd name="connsiteX2" fmla="*/ 20472 w 40361"/>
                <a:gd name="connsiteY2" fmla="*/ 21058 h 23850"/>
                <a:gd name="connsiteX3" fmla="*/ 13419 w 40361"/>
                <a:gd name="connsiteY3" fmla="*/ 23852 h 23850"/>
                <a:gd name="connsiteX4" fmla="*/ 8523 w 40361"/>
                <a:gd name="connsiteY4" fmla="*/ 17146 h 23850"/>
                <a:gd name="connsiteX5" fmla="*/ -26 w 40361"/>
                <a:gd name="connsiteY5" fmla="*/ 1 h 23850"/>
                <a:gd name="connsiteX6" fmla="*/ 10452 w 40361"/>
                <a:gd name="connsiteY6" fmla="*/ 7380 h 23850"/>
                <a:gd name="connsiteX7" fmla="*/ 27118 w 40361"/>
                <a:gd name="connsiteY7" fmla="*/ 13590 h 23850"/>
                <a:gd name="connsiteX8" fmla="*/ 40335 w 40361"/>
                <a:gd name="connsiteY8" fmla="*/ 14885 h 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361" h="23850">
                  <a:moveTo>
                    <a:pt x="40335" y="14885"/>
                  </a:moveTo>
                  <a:cubicBezTo>
                    <a:pt x="40285" y="14885"/>
                    <a:pt x="40247" y="14885"/>
                    <a:pt x="40247" y="14974"/>
                  </a:cubicBezTo>
                  <a:cubicBezTo>
                    <a:pt x="33524" y="16549"/>
                    <a:pt x="26915" y="18581"/>
                    <a:pt x="20472" y="21058"/>
                  </a:cubicBezTo>
                  <a:cubicBezTo>
                    <a:pt x="16920" y="22366"/>
                    <a:pt x="14764" y="23217"/>
                    <a:pt x="13419" y="23852"/>
                  </a:cubicBezTo>
                  <a:cubicBezTo>
                    <a:pt x="11847" y="21375"/>
                    <a:pt x="9817" y="18861"/>
                    <a:pt x="8523" y="17146"/>
                  </a:cubicBezTo>
                  <a:cubicBezTo>
                    <a:pt x="5276" y="12866"/>
                    <a:pt x="8523" y="17146"/>
                    <a:pt x="-26" y="1"/>
                  </a:cubicBezTo>
                  <a:cubicBezTo>
                    <a:pt x="2854" y="3240"/>
                    <a:pt x="6443" y="5754"/>
                    <a:pt x="10452" y="7380"/>
                  </a:cubicBezTo>
                  <a:cubicBezTo>
                    <a:pt x="16514" y="9590"/>
                    <a:pt x="16920" y="14619"/>
                    <a:pt x="27118" y="13590"/>
                  </a:cubicBezTo>
                  <a:cubicBezTo>
                    <a:pt x="37227" y="12549"/>
                    <a:pt x="36289" y="12638"/>
                    <a:pt x="40335" y="14885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2" name="Vrije vorm 401">
              <a:extLst>
                <a:ext uri="{FF2B5EF4-FFF2-40B4-BE49-F238E27FC236}">
                  <a16:creationId xmlns:a16="http://schemas.microsoft.com/office/drawing/2014/main" id="{A81858CD-2853-BE42-BFBD-B61E347225EC}"/>
                </a:ext>
              </a:extLst>
            </p:cNvPr>
            <p:cNvSpPr/>
            <p:nvPr/>
          </p:nvSpPr>
          <p:spPr>
            <a:xfrm>
              <a:off x="8004526" y="3561498"/>
              <a:ext cx="102247" cy="52997"/>
            </a:xfrm>
            <a:custGeom>
              <a:avLst/>
              <a:gdLst>
                <a:gd name="connsiteX0" fmla="*/ 94833 w 102247"/>
                <a:gd name="connsiteY0" fmla="*/ 47600 h 52997"/>
                <a:gd name="connsiteX1" fmla="*/ 85713 w 102247"/>
                <a:gd name="connsiteY1" fmla="*/ 49124 h 52997"/>
                <a:gd name="connsiteX2" fmla="*/ 69756 w 102247"/>
                <a:gd name="connsiteY2" fmla="*/ 48896 h 52997"/>
                <a:gd name="connsiteX3" fmla="*/ 52277 w 102247"/>
                <a:gd name="connsiteY3" fmla="*/ 49124 h 52997"/>
                <a:gd name="connsiteX4" fmla="*/ 29268 w 102247"/>
                <a:gd name="connsiteY4" fmla="*/ 51410 h 52997"/>
                <a:gd name="connsiteX5" fmla="*/ 10343 w 102247"/>
                <a:gd name="connsiteY5" fmla="*/ 45162 h 52997"/>
                <a:gd name="connsiteX6" fmla="*/ 56 w 102247"/>
                <a:gd name="connsiteY6" fmla="*/ 31929 h 52997"/>
                <a:gd name="connsiteX7" fmla="*/ 13451 w 102247"/>
                <a:gd name="connsiteY7" fmla="*/ 22886 h 52997"/>
                <a:gd name="connsiteX8" fmla="*/ 21492 w 102247"/>
                <a:gd name="connsiteY8" fmla="*/ 11545 h 52997"/>
                <a:gd name="connsiteX9" fmla="*/ 37437 w 102247"/>
                <a:gd name="connsiteY9" fmla="*/ 979 h 52997"/>
                <a:gd name="connsiteX10" fmla="*/ 43145 w 102247"/>
                <a:gd name="connsiteY10" fmla="*/ 521 h 52997"/>
                <a:gd name="connsiteX11" fmla="*/ 63198 w 102247"/>
                <a:gd name="connsiteY11" fmla="*/ 10466 h 52997"/>
                <a:gd name="connsiteX12" fmla="*/ 75362 w 102247"/>
                <a:gd name="connsiteY12" fmla="*/ 7951 h 52997"/>
                <a:gd name="connsiteX13" fmla="*/ 81933 w 102247"/>
                <a:gd name="connsiteY13" fmla="*/ 14783 h 52997"/>
                <a:gd name="connsiteX14" fmla="*/ 82022 w 102247"/>
                <a:gd name="connsiteY14" fmla="*/ 15050 h 52997"/>
                <a:gd name="connsiteX15" fmla="*/ 83594 w 102247"/>
                <a:gd name="connsiteY15" fmla="*/ 18022 h 52997"/>
                <a:gd name="connsiteX16" fmla="*/ 84901 w 102247"/>
                <a:gd name="connsiteY16" fmla="*/ 26086 h 52997"/>
                <a:gd name="connsiteX17" fmla="*/ 96938 w 102247"/>
                <a:gd name="connsiteY17" fmla="*/ 35535 h 52997"/>
                <a:gd name="connsiteX18" fmla="*/ 94833 w 102247"/>
                <a:gd name="connsiteY18" fmla="*/ 47600 h 52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02247" h="52997">
                  <a:moveTo>
                    <a:pt x="94833" y="47600"/>
                  </a:moveTo>
                  <a:cubicBezTo>
                    <a:pt x="92676" y="59614"/>
                    <a:pt x="94833" y="47600"/>
                    <a:pt x="85713" y="49124"/>
                  </a:cubicBezTo>
                  <a:cubicBezTo>
                    <a:pt x="76580" y="50648"/>
                    <a:pt x="81933" y="49124"/>
                    <a:pt x="69756" y="48896"/>
                  </a:cubicBezTo>
                  <a:cubicBezTo>
                    <a:pt x="57617" y="48667"/>
                    <a:pt x="64809" y="49747"/>
                    <a:pt x="52277" y="49124"/>
                  </a:cubicBezTo>
                  <a:cubicBezTo>
                    <a:pt x="44540" y="47740"/>
                    <a:pt x="36574" y="48540"/>
                    <a:pt x="29268" y="51410"/>
                  </a:cubicBezTo>
                  <a:cubicBezTo>
                    <a:pt x="12144" y="55373"/>
                    <a:pt x="29268" y="51410"/>
                    <a:pt x="10343" y="45162"/>
                  </a:cubicBezTo>
                  <a:cubicBezTo>
                    <a:pt x="1540" y="42241"/>
                    <a:pt x="-489" y="37517"/>
                    <a:pt x="56" y="31929"/>
                  </a:cubicBezTo>
                  <a:cubicBezTo>
                    <a:pt x="4864" y="29477"/>
                    <a:pt x="9366" y="26429"/>
                    <a:pt x="13451" y="22886"/>
                  </a:cubicBezTo>
                  <a:cubicBezTo>
                    <a:pt x="17002" y="18924"/>
                    <a:pt x="16812" y="16993"/>
                    <a:pt x="21492" y="11545"/>
                  </a:cubicBezTo>
                  <a:cubicBezTo>
                    <a:pt x="26034" y="6973"/>
                    <a:pt x="31462" y="3379"/>
                    <a:pt x="37437" y="979"/>
                  </a:cubicBezTo>
                  <a:cubicBezTo>
                    <a:pt x="41889" y="-1180"/>
                    <a:pt x="37437" y="979"/>
                    <a:pt x="43145" y="521"/>
                  </a:cubicBezTo>
                  <a:cubicBezTo>
                    <a:pt x="48815" y="77"/>
                    <a:pt x="52277" y="8535"/>
                    <a:pt x="63198" y="10466"/>
                  </a:cubicBezTo>
                  <a:cubicBezTo>
                    <a:pt x="74068" y="12396"/>
                    <a:pt x="68627" y="12040"/>
                    <a:pt x="75362" y="7951"/>
                  </a:cubicBezTo>
                  <a:cubicBezTo>
                    <a:pt x="82149" y="3811"/>
                    <a:pt x="80575" y="11367"/>
                    <a:pt x="81933" y="14783"/>
                  </a:cubicBezTo>
                  <a:cubicBezTo>
                    <a:pt x="81946" y="14885"/>
                    <a:pt x="81971" y="14974"/>
                    <a:pt x="82022" y="15050"/>
                  </a:cubicBezTo>
                  <a:cubicBezTo>
                    <a:pt x="82300" y="16155"/>
                    <a:pt x="82846" y="17171"/>
                    <a:pt x="83594" y="18022"/>
                  </a:cubicBezTo>
                  <a:cubicBezTo>
                    <a:pt x="84761" y="20537"/>
                    <a:pt x="85205" y="23331"/>
                    <a:pt x="84901" y="26086"/>
                  </a:cubicBezTo>
                  <a:cubicBezTo>
                    <a:pt x="84710" y="33592"/>
                    <a:pt x="84901" y="26086"/>
                    <a:pt x="96938" y="35535"/>
                  </a:cubicBezTo>
                  <a:cubicBezTo>
                    <a:pt x="108988" y="45035"/>
                    <a:pt x="96951" y="35535"/>
                    <a:pt x="94833" y="47600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3" name="Vrije vorm 402">
              <a:extLst>
                <a:ext uri="{FF2B5EF4-FFF2-40B4-BE49-F238E27FC236}">
                  <a16:creationId xmlns:a16="http://schemas.microsoft.com/office/drawing/2014/main" id="{2686B89C-7160-8D4A-B89C-210EDBD485C7}"/>
                </a:ext>
              </a:extLst>
            </p:cNvPr>
            <p:cNvSpPr/>
            <p:nvPr/>
          </p:nvSpPr>
          <p:spPr>
            <a:xfrm>
              <a:off x="7758325" y="3494810"/>
              <a:ext cx="230519" cy="129675"/>
            </a:xfrm>
            <a:custGeom>
              <a:avLst/>
              <a:gdLst>
                <a:gd name="connsiteX0" fmla="*/ 227561 w 230519"/>
                <a:gd name="connsiteY0" fmla="*/ 129453 h 129675"/>
                <a:gd name="connsiteX1" fmla="*/ 212683 w 230519"/>
                <a:gd name="connsiteY1" fmla="*/ 127472 h 129675"/>
                <a:gd name="connsiteX2" fmla="*/ 194126 w 230519"/>
                <a:gd name="connsiteY2" fmla="*/ 127383 h 129675"/>
                <a:gd name="connsiteX3" fmla="*/ 177090 w 230519"/>
                <a:gd name="connsiteY3" fmla="*/ 122607 h 129675"/>
                <a:gd name="connsiteX4" fmla="*/ 166665 w 230519"/>
                <a:gd name="connsiteY4" fmla="*/ 123153 h 129675"/>
                <a:gd name="connsiteX5" fmla="*/ 155160 w 230519"/>
                <a:gd name="connsiteY5" fmla="*/ 116308 h 129675"/>
                <a:gd name="connsiteX6" fmla="*/ 138620 w 230519"/>
                <a:gd name="connsiteY6" fmla="*/ 114733 h 129675"/>
                <a:gd name="connsiteX7" fmla="*/ 127965 w 230519"/>
                <a:gd name="connsiteY7" fmla="*/ 101995 h 129675"/>
                <a:gd name="connsiteX8" fmla="*/ 120367 w 230519"/>
                <a:gd name="connsiteY8" fmla="*/ 95569 h 129675"/>
                <a:gd name="connsiteX9" fmla="*/ 97460 w 230519"/>
                <a:gd name="connsiteY9" fmla="*/ 94439 h 129675"/>
                <a:gd name="connsiteX10" fmla="*/ 73588 w 230519"/>
                <a:gd name="connsiteY10" fmla="*/ 92775 h 129675"/>
                <a:gd name="connsiteX11" fmla="*/ 60878 w 230519"/>
                <a:gd name="connsiteY11" fmla="*/ 85752 h 129675"/>
                <a:gd name="connsiteX12" fmla="*/ 45682 w 230519"/>
                <a:gd name="connsiteY12" fmla="*/ 80443 h 129675"/>
                <a:gd name="connsiteX13" fmla="*/ 34584 w 230519"/>
                <a:gd name="connsiteY13" fmla="*/ 69737 h 129675"/>
                <a:gd name="connsiteX14" fmla="*/ 16065 w 230519"/>
                <a:gd name="connsiteY14" fmla="*/ 55742 h 129675"/>
                <a:gd name="connsiteX15" fmla="*/ 1453 w 230519"/>
                <a:gd name="connsiteY15" fmla="*/ 44540 h 129675"/>
                <a:gd name="connsiteX16" fmla="*/ 9102 w 230519"/>
                <a:gd name="connsiteY16" fmla="*/ 35180 h 129675"/>
                <a:gd name="connsiteX17" fmla="*/ 11663 w 230519"/>
                <a:gd name="connsiteY17" fmla="*/ 23662 h 129675"/>
                <a:gd name="connsiteX18" fmla="*/ 25819 w 230519"/>
                <a:gd name="connsiteY18" fmla="*/ 9666 h 129675"/>
                <a:gd name="connsiteX19" fmla="*/ 32517 w 230519"/>
                <a:gd name="connsiteY19" fmla="*/ 12409 h 129675"/>
                <a:gd name="connsiteX20" fmla="*/ 41281 w 230519"/>
                <a:gd name="connsiteY20" fmla="*/ 586 h 129675"/>
                <a:gd name="connsiteX21" fmla="*/ 60866 w 230519"/>
                <a:gd name="connsiteY21" fmla="*/ 6517 h 129675"/>
                <a:gd name="connsiteX22" fmla="*/ 77000 w 230519"/>
                <a:gd name="connsiteY22" fmla="*/ 18302 h 129675"/>
                <a:gd name="connsiteX23" fmla="*/ 95747 w 230519"/>
                <a:gd name="connsiteY23" fmla="*/ 29694 h 129675"/>
                <a:gd name="connsiteX24" fmla="*/ 114126 w 230519"/>
                <a:gd name="connsiteY24" fmla="*/ 36895 h 129675"/>
                <a:gd name="connsiteX25" fmla="*/ 123564 w 230519"/>
                <a:gd name="connsiteY25" fmla="*/ 53138 h 129675"/>
                <a:gd name="connsiteX26" fmla="*/ 145304 w 230519"/>
                <a:gd name="connsiteY26" fmla="*/ 62092 h 129675"/>
                <a:gd name="connsiteX27" fmla="*/ 157938 w 230519"/>
                <a:gd name="connsiteY27" fmla="*/ 74017 h 129675"/>
                <a:gd name="connsiteX28" fmla="*/ 181125 w 230519"/>
                <a:gd name="connsiteY28" fmla="*/ 79542 h 129675"/>
                <a:gd name="connsiteX29" fmla="*/ 198210 w 230519"/>
                <a:gd name="connsiteY29" fmla="*/ 79364 h 129675"/>
                <a:gd name="connsiteX30" fmla="*/ 214966 w 230519"/>
                <a:gd name="connsiteY30" fmla="*/ 82780 h 129675"/>
                <a:gd name="connsiteX31" fmla="*/ 224365 w 230519"/>
                <a:gd name="connsiteY31" fmla="*/ 85041 h 129675"/>
                <a:gd name="connsiteX32" fmla="*/ 229756 w 230519"/>
                <a:gd name="connsiteY32" fmla="*/ 111635 h 129675"/>
                <a:gd name="connsiteX33" fmla="*/ 227561 w 230519"/>
                <a:gd name="connsiteY33" fmla="*/ 129453 h 129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30519" h="129675">
                  <a:moveTo>
                    <a:pt x="227561" y="129453"/>
                  </a:moveTo>
                  <a:cubicBezTo>
                    <a:pt x="225265" y="127014"/>
                    <a:pt x="221587" y="126392"/>
                    <a:pt x="212683" y="127472"/>
                  </a:cubicBezTo>
                  <a:cubicBezTo>
                    <a:pt x="206594" y="128995"/>
                    <a:pt x="200201" y="128970"/>
                    <a:pt x="194126" y="127383"/>
                  </a:cubicBezTo>
                  <a:cubicBezTo>
                    <a:pt x="186794" y="125401"/>
                    <a:pt x="187517" y="122074"/>
                    <a:pt x="177090" y="122607"/>
                  </a:cubicBezTo>
                  <a:cubicBezTo>
                    <a:pt x="166665" y="123153"/>
                    <a:pt x="173222" y="132234"/>
                    <a:pt x="166665" y="123153"/>
                  </a:cubicBezTo>
                  <a:cubicBezTo>
                    <a:pt x="160144" y="114009"/>
                    <a:pt x="165852" y="118239"/>
                    <a:pt x="155160" y="116308"/>
                  </a:cubicBezTo>
                  <a:cubicBezTo>
                    <a:pt x="144416" y="114378"/>
                    <a:pt x="144150" y="124589"/>
                    <a:pt x="138620" y="114733"/>
                  </a:cubicBezTo>
                  <a:cubicBezTo>
                    <a:pt x="133051" y="104929"/>
                    <a:pt x="139787" y="102135"/>
                    <a:pt x="127965" y="101995"/>
                  </a:cubicBezTo>
                  <a:cubicBezTo>
                    <a:pt x="116143" y="101868"/>
                    <a:pt x="136375" y="95645"/>
                    <a:pt x="120367" y="95569"/>
                  </a:cubicBezTo>
                  <a:cubicBezTo>
                    <a:pt x="104372" y="95480"/>
                    <a:pt x="113632" y="94985"/>
                    <a:pt x="97460" y="94439"/>
                  </a:cubicBezTo>
                  <a:cubicBezTo>
                    <a:pt x="81237" y="93944"/>
                    <a:pt x="76606" y="97360"/>
                    <a:pt x="73588" y="92775"/>
                  </a:cubicBezTo>
                  <a:cubicBezTo>
                    <a:pt x="70582" y="88228"/>
                    <a:pt x="66941" y="89181"/>
                    <a:pt x="60878" y="85752"/>
                  </a:cubicBezTo>
                  <a:cubicBezTo>
                    <a:pt x="54802" y="82387"/>
                    <a:pt x="51035" y="88673"/>
                    <a:pt x="45682" y="80443"/>
                  </a:cubicBezTo>
                  <a:cubicBezTo>
                    <a:pt x="40330" y="72163"/>
                    <a:pt x="43387" y="77205"/>
                    <a:pt x="34584" y="69737"/>
                  </a:cubicBezTo>
                  <a:cubicBezTo>
                    <a:pt x="25819" y="62308"/>
                    <a:pt x="19883" y="62181"/>
                    <a:pt x="16065" y="55742"/>
                  </a:cubicBezTo>
                  <a:cubicBezTo>
                    <a:pt x="12235" y="49303"/>
                    <a:pt x="-5143" y="50573"/>
                    <a:pt x="1453" y="44540"/>
                  </a:cubicBezTo>
                  <a:cubicBezTo>
                    <a:pt x="8061" y="38508"/>
                    <a:pt x="6527" y="46750"/>
                    <a:pt x="9102" y="35180"/>
                  </a:cubicBezTo>
                  <a:cubicBezTo>
                    <a:pt x="11663" y="23662"/>
                    <a:pt x="4687" y="32209"/>
                    <a:pt x="11663" y="23662"/>
                  </a:cubicBezTo>
                  <a:cubicBezTo>
                    <a:pt x="15976" y="18607"/>
                    <a:pt x="20707" y="13921"/>
                    <a:pt x="25819" y="9666"/>
                  </a:cubicBezTo>
                  <a:cubicBezTo>
                    <a:pt x="30131" y="15610"/>
                    <a:pt x="25096" y="22354"/>
                    <a:pt x="32517" y="12409"/>
                  </a:cubicBezTo>
                  <a:cubicBezTo>
                    <a:pt x="41281" y="586"/>
                    <a:pt x="25096" y="-1180"/>
                    <a:pt x="41281" y="586"/>
                  </a:cubicBezTo>
                  <a:cubicBezTo>
                    <a:pt x="57504" y="2288"/>
                    <a:pt x="53331" y="90"/>
                    <a:pt x="60866" y="6517"/>
                  </a:cubicBezTo>
                  <a:cubicBezTo>
                    <a:pt x="68426" y="12905"/>
                    <a:pt x="63301" y="11508"/>
                    <a:pt x="77000" y="18302"/>
                  </a:cubicBezTo>
                  <a:cubicBezTo>
                    <a:pt x="83748" y="21198"/>
                    <a:pt x="90065" y="25033"/>
                    <a:pt x="95747" y="29694"/>
                  </a:cubicBezTo>
                  <a:cubicBezTo>
                    <a:pt x="101074" y="33783"/>
                    <a:pt x="107442" y="36273"/>
                    <a:pt x="114126" y="36895"/>
                  </a:cubicBezTo>
                  <a:cubicBezTo>
                    <a:pt x="118845" y="38686"/>
                    <a:pt x="108952" y="46065"/>
                    <a:pt x="123564" y="53138"/>
                  </a:cubicBezTo>
                  <a:cubicBezTo>
                    <a:pt x="138163" y="60250"/>
                    <a:pt x="135246" y="56148"/>
                    <a:pt x="145304" y="62092"/>
                  </a:cubicBezTo>
                  <a:cubicBezTo>
                    <a:pt x="155427" y="68023"/>
                    <a:pt x="148006" y="73242"/>
                    <a:pt x="157938" y="74017"/>
                  </a:cubicBezTo>
                  <a:cubicBezTo>
                    <a:pt x="165878" y="74817"/>
                    <a:pt x="173679" y="76672"/>
                    <a:pt x="181125" y="79542"/>
                  </a:cubicBezTo>
                  <a:cubicBezTo>
                    <a:pt x="191145" y="82564"/>
                    <a:pt x="186198" y="76583"/>
                    <a:pt x="198210" y="79364"/>
                  </a:cubicBezTo>
                  <a:cubicBezTo>
                    <a:pt x="210209" y="82196"/>
                    <a:pt x="199732" y="78957"/>
                    <a:pt x="214966" y="82780"/>
                  </a:cubicBezTo>
                  <a:cubicBezTo>
                    <a:pt x="219684" y="83961"/>
                    <a:pt x="222513" y="84672"/>
                    <a:pt x="224365" y="85041"/>
                  </a:cubicBezTo>
                  <a:cubicBezTo>
                    <a:pt x="225557" y="94007"/>
                    <a:pt x="227358" y="102897"/>
                    <a:pt x="229756" y="111635"/>
                  </a:cubicBezTo>
                  <a:cubicBezTo>
                    <a:pt x="231518" y="114644"/>
                    <a:pt x="229857" y="131827"/>
                    <a:pt x="227561" y="129453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4" name="Vrije vorm 403">
              <a:extLst>
                <a:ext uri="{FF2B5EF4-FFF2-40B4-BE49-F238E27FC236}">
                  <a16:creationId xmlns:a16="http://schemas.microsoft.com/office/drawing/2014/main" id="{271A1AB1-FCA8-2046-949D-53C57780B7BA}"/>
                </a:ext>
              </a:extLst>
            </p:cNvPr>
            <p:cNvSpPr/>
            <p:nvPr/>
          </p:nvSpPr>
          <p:spPr>
            <a:xfrm>
              <a:off x="8326437" y="3742498"/>
              <a:ext cx="211287" cy="261624"/>
            </a:xfrm>
            <a:custGeom>
              <a:avLst/>
              <a:gdLst>
                <a:gd name="connsiteX0" fmla="*/ 211261 w 211287"/>
                <a:gd name="connsiteY0" fmla="*/ 219762 h 261624"/>
                <a:gd name="connsiteX1" fmla="*/ 211261 w 211287"/>
                <a:gd name="connsiteY1" fmla="*/ 227331 h 261624"/>
                <a:gd name="connsiteX2" fmla="*/ 208027 w 211287"/>
                <a:gd name="connsiteY2" fmla="*/ 238215 h 261624"/>
                <a:gd name="connsiteX3" fmla="*/ 204792 w 211287"/>
                <a:gd name="connsiteY3" fmla="*/ 239295 h 261624"/>
                <a:gd name="connsiteX4" fmla="*/ 189825 w 211287"/>
                <a:gd name="connsiteY4" fmla="*/ 240374 h 261624"/>
                <a:gd name="connsiteX5" fmla="*/ 186540 w 211287"/>
                <a:gd name="connsiteY5" fmla="*/ 239295 h 261624"/>
                <a:gd name="connsiteX6" fmla="*/ 170545 w 211287"/>
                <a:gd name="connsiteY6" fmla="*/ 244654 h 261624"/>
                <a:gd name="connsiteX7" fmla="*/ 171623 w 211287"/>
                <a:gd name="connsiteY7" fmla="*/ 256440 h 261624"/>
                <a:gd name="connsiteX8" fmla="*/ 162009 w 211287"/>
                <a:gd name="connsiteY8" fmla="*/ 254331 h 261624"/>
                <a:gd name="connsiteX9" fmla="*/ 145824 w 211287"/>
                <a:gd name="connsiteY9" fmla="*/ 246762 h 261624"/>
                <a:gd name="connsiteX10" fmla="*/ 152750 w 211287"/>
                <a:gd name="connsiteY10" fmla="*/ 244286 h 261624"/>
                <a:gd name="connsiteX11" fmla="*/ 157328 w 211287"/>
                <a:gd name="connsiteY11" fmla="*/ 236196 h 261624"/>
                <a:gd name="connsiteX12" fmla="*/ 157328 w 211287"/>
                <a:gd name="connsiteY12" fmla="*/ 225579 h 261624"/>
                <a:gd name="connsiteX13" fmla="*/ 158369 w 211287"/>
                <a:gd name="connsiteY13" fmla="*/ 219000 h 261624"/>
                <a:gd name="connsiteX14" fmla="*/ 159802 w 211287"/>
                <a:gd name="connsiteY14" fmla="*/ 209729 h 261624"/>
                <a:gd name="connsiteX15" fmla="*/ 158685 w 211287"/>
                <a:gd name="connsiteY15" fmla="*/ 203658 h 261624"/>
                <a:gd name="connsiteX16" fmla="*/ 147942 w 211287"/>
                <a:gd name="connsiteY16" fmla="*/ 195200 h 261624"/>
                <a:gd name="connsiteX17" fmla="*/ 139088 w 211287"/>
                <a:gd name="connsiteY17" fmla="*/ 180481 h 261624"/>
                <a:gd name="connsiteX18" fmla="*/ 131224 w 211287"/>
                <a:gd name="connsiteY18" fmla="*/ 151144 h 261624"/>
                <a:gd name="connsiteX19" fmla="*/ 113022 w 211287"/>
                <a:gd name="connsiteY19" fmla="*/ 127751 h 261624"/>
                <a:gd name="connsiteX20" fmla="*/ 103940 w 211287"/>
                <a:gd name="connsiteY20" fmla="*/ 125820 h 261624"/>
                <a:gd name="connsiteX21" fmla="*/ 94288 w 211287"/>
                <a:gd name="connsiteY21" fmla="*/ 127979 h 261624"/>
                <a:gd name="connsiteX22" fmla="*/ 88314 w 211287"/>
                <a:gd name="connsiteY22" fmla="*/ 133504 h 261624"/>
                <a:gd name="connsiteX23" fmla="*/ 81616 w 211287"/>
                <a:gd name="connsiteY23" fmla="*/ 137606 h 261624"/>
                <a:gd name="connsiteX24" fmla="*/ 75008 w 211287"/>
                <a:gd name="connsiteY24" fmla="*/ 141073 h 261624"/>
                <a:gd name="connsiteX25" fmla="*/ 65926 w 211287"/>
                <a:gd name="connsiteY25" fmla="*/ 135574 h 261624"/>
                <a:gd name="connsiteX26" fmla="*/ 55272 w 211287"/>
                <a:gd name="connsiteY26" fmla="*/ 133415 h 261624"/>
                <a:gd name="connsiteX27" fmla="*/ 49208 w 211287"/>
                <a:gd name="connsiteY27" fmla="*/ 139219 h 261624"/>
                <a:gd name="connsiteX28" fmla="*/ 40482 w 211287"/>
                <a:gd name="connsiteY28" fmla="*/ 145429 h 261624"/>
                <a:gd name="connsiteX29" fmla="*/ 31184 w 211287"/>
                <a:gd name="connsiteY29" fmla="*/ 151868 h 261624"/>
                <a:gd name="connsiteX30" fmla="*/ 28165 w 211287"/>
                <a:gd name="connsiteY30" fmla="*/ 139765 h 261624"/>
                <a:gd name="connsiteX31" fmla="*/ 35268 w 211287"/>
                <a:gd name="connsiteY31" fmla="*/ 107900 h 261624"/>
                <a:gd name="connsiteX32" fmla="*/ 34330 w 211287"/>
                <a:gd name="connsiteY32" fmla="*/ 91848 h 261624"/>
                <a:gd name="connsiteX33" fmla="*/ 28127 w 211287"/>
                <a:gd name="connsiteY33" fmla="*/ 89054 h 261624"/>
                <a:gd name="connsiteX34" fmla="*/ 20174 w 211287"/>
                <a:gd name="connsiteY34" fmla="*/ 92064 h 261624"/>
                <a:gd name="connsiteX35" fmla="*/ 11955 w 211287"/>
                <a:gd name="connsiteY35" fmla="*/ 89765 h 261624"/>
                <a:gd name="connsiteX36" fmla="*/ 13210 w 211287"/>
                <a:gd name="connsiteY36" fmla="*/ 77979 h 261624"/>
                <a:gd name="connsiteX37" fmla="*/ 16001 w 211287"/>
                <a:gd name="connsiteY37" fmla="*/ 70778 h 261624"/>
                <a:gd name="connsiteX38" fmla="*/ 10877 w 211287"/>
                <a:gd name="connsiteY38" fmla="*/ 66905 h 261624"/>
                <a:gd name="connsiteX39" fmla="*/ 3329 w 211287"/>
                <a:gd name="connsiteY39" fmla="*/ 69064 h 261624"/>
                <a:gd name="connsiteX40" fmla="*/ 222 w 211287"/>
                <a:gd name="connsiteY40" fmla="*/ 66143 h 261624"/>
                <a:gd name="connsiteX41" fmla="*/ 2023 w 211287"/>
                <a:gd name="connsiteY41" fmla="*/ 64035 h 261624"/>
                <a:gd name="connsiteX42" fmla="*/ 11955 w 211287"/>
                <a:gd name="connsiteY42" fmla="*/ 52605 h 261624"/>
                <a:gd name="connsiteX43" fmla="*/ 17257 w 211287"/>
                <a:gd name="connsiteY43" fmla="*/ 40997 h 261624"/>
                <a:gd name="connsiteX44" fmla="*/ 32312 w 211287"/>
                <a:gd name="connsiteY44" fmla="*/ 33301 h 261624"/>
                <a:gd name="connsiteX45" fmla="*/ 40672 w 211287"/>
                <a:gd name="connsiteY45" fmla="*/ 43245 h 261624"/>
                <a:gd name="connsiteX46" fmla="*/ 48358 w 211287"/>
                <a:gd name="connsiteY46" fmla="*/ 41810 h 261624"/>
                <a:gd name="connsiteX47" fmla="*/ 46329 w 211287"/>
                <a:gd name="connsiteY47" fmla="*/ 23941 h 261624"/>
                <a:gd name="connsiteX48" fmla="*/ 50287 w 211287"/>
                <a:gd name="connsiteY48" fmla="*/ 1 h 261624"/>
                <a:gd name="connsiteX49" fmla="*/ 58696 w 211287"/>
                <a:gd name="connsiteY49" fmla="*/ 1170 h 261624"/>
                <a:gd name="connsiteX50" fmla="*/ 70505 w 211287"/>
                <a:gd name="connsiteY50" fmla="*/ 18277 h 261624"/>
                <a:gd name="connsiteX51" fmla="*/ 81616 w 211287"/>
                <a:gd name="connsiteY51" fmla="*/ 34431 h 261624"/>
                <a:gd name="connsiteX52" fmla="*/ 87185 w 211287"/>
                <a:gd name="connsiteY52" fmla="*/ 50446 h 261624"/>
                <a:gd name="connsiteX53" fmla="*/ 101873 w 211287"/>
                <a:gd name="connsiteY53" fmla="*/ 54764 h 261624"/>
                <a:gd name="connsiteX54" fmla="*/ 117918 w 211287"/>
                <a:gd name="connsiteY54" fmla="*/ 51843 h 261624"/>
                <a:gd name="connsiteX55" fmla="*/ 125567 w 211287"/>
                <a:gd name="connsiteY55" fmla="*/ 56338 h 261624"/>
                <a:gd name="connsiteX56" fmla="*/ 137161 w 211287"/>
                <a:gd name="connsiteY56" fmla="*/ 70194 h 261624"/>
                <a:gd name="connsiteX57" fmla="*/ 139634 w 211287"/>
                <a:gd name="connsiteY57" fmla="*/ 77979 h 261624"/>
                <a:gd name="connsiteX58" fmla="*/ 123449 w 211287"/>
                <a:gd name="connsiteY58" fmla="*/ 91174 h 261624"/>
                <a:gd name="connsiteX59" fmla="*/ 111767 w 211287"/>
                <a:gd name="connsiteY59" fmla="*/ 87339 h 261624"/>
                <a:gd name="connsiteX60" fmla="*/ 111767 w 211287"/>
                <a:gd name="connsiteY60" fmla="*/ 87339 h 261624"/>
                <a:gd name="connsiteX61" fmla="*/ 111449 w 211287"/>
                <a:gd name="connsiteY61" fmla="*/ 89054 h 261624"/>
                <a:gd name="connsiteX62" fmla="*/ 114862 w 211287"/>
                <a:gd name="connsiteY62" fmla="*/ 103455 h 261624"/>
                <a:gd name="connsiteX63" fmla="*/ 132391 w 211287"/>
                <a:gd name="connsiteY63" fmla="*/ 112269 h 261624"/>
                <a:gd name="connsiteX64" fmla="*/ 142868 w 211287"/>
                <a:gd name="connsiteY64" fmla="*/ 117857 h 261624"/>
                <a:gd name="connsiteX65" fmla="*/ 144745 w 211287"/>
                <a:gd name="connsiteY65" fmla="*/ 128741 h 261624"/>
                <a:gd name="connsiteX66" fmla="*/ 159802 w 211287"/>
                <a:gd name="connsiteY66" fmla="*/ 138228 h 261624"/>
                <a:gd name="connsiteX67" fmla="*/ 164025 w 211287"/>
                <a:gd name="connsiteY67" fmla="*/ 153214 h 261624"/>
                <a:gd name="connsiteX68" fmla="*/ 177699 w 211287"/>
                <a:gd name="connsiteY68" fmla="*/ 159513 h 261624"/>
                <a:gd name="connsiteX69" fmla="*/ 184523 w 211287"/>
                <a:gd name="connsiteY69" fmla="*/ 180760 h 261624"/>
                <a:gd name="connsiteX70" fmla="*/ 197512 w 211287"/>
                <a:gd name="connsiteY70" fmla="*/ 185662 h 261624"/>
                <a:gd name="connsiteX71" fmla="*/ 207177 w 211287"/>
                <a:gd name="connsiteY71" fmla="*/ 199607 h 261624"/>
                <a:gd name="connsiteX72" fmla="*/ 211261 w 211287"/>
                <a:gd name="connsiteY72" fmla="*/ 219762 h 261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</a:cxnLst>
              <a:rect l="l" t="t" r="r" b="b"/>
              <a:pathLst>
                <a:path w="211287" h="261624">
                  <a:moveTo>
                    <a:pt x="211261" y="219762"/>
                  </a:moveTo>
                  <a:lnTo>
                    <a:pt x="211261" y="227331"/>
                  </a:lnTo>
                  <a:cubicBezTo>
                    <a:pt x="211071" y="231167"/>
                    <a:pt x="209955" y="234900"/>
                    <a:pt x="208027" y="238215"/>
                  </a:cubicBezTo>
                  <a:cubicBezTo>
                    <a:pt x="207177" y="238482"/>
                    <a:pt x="206137" y="238850"/>
                    <a:pt x="204792" y="239295"/>
                  </a:cubicBezTo>
                  <a:cubicBezTo>
                    <a:pt x="198361" y="241415"/>
                    <a:pt x="201609" y="241454"/>
                    <a:pt x="189825" y="240374"/>
                  </a:cubicBezTo>
                  <a:cubicBezTo>
                    <a:pt x="178054" y="239295"/>
                    <a:pt x="189825" y="240374"/>
                    <a:pt x="186540" y="239295"/>
                  </a:cubicBezTo>
                  <a:cubicBezTo>
                    <a:pt x="183306" y="238215"/>
                    <a:pt x="181238" y="239295"/>
                    <a:pt x="170545" y="244654"/>
                  </a:cubicBezTo>
                  <a:cubicBezTo>
                    <a:pt x="159802" y="250001"/>
                    <a:pt x="170545" y="244654"/>
                    <a:pt x="171623" y="256440"/>
                  </a:cubicBezTo>
                  <a:cubicBezTo>
                    <a:pt x="172663" y="268276"/>
                    <a:pt x="171623" y="256440"/>
                    <a:pt x="162009" y="254331"/>
                  </a:cubicBezTo>
                  <a:cubicBezTo>
                    <a:pt x="152394" y="252211"/>
                    <a:pt x="156618" y="251093"/>
                    <a:pt x="145824" y="246762"/>
                  </a:cubicBezTo>
                  <a:cubicBezTo>
                    <a:pt x="145824" y="246762"/>
                    <a:pt x="150555" y="245010"/>
                    <a:pt x="152750" y="244286"/>
                  </a:cubicBezTo>
                  <a:cubicBezTo>
                    <a:pt x="154956" y="243574"/>
                    <a:pt x="156973" y="236780"/>
                    <a:pt x="157328" y="236196"/>
                  </a:cubicBezTo>
                  <a:cubicBezTo>
                    <a:pt x="157531" y="232652"/>
                    <a:pt x="157531" y="229109"/>
                    <a:pt x="157328" y="225579"/>
                  </a:cubicBezTo>
                  <a:cubicBezTo>
                    <a:pt x="157328" y="220448"/>
                    <a:pt x="156618" y="223915"/>
                    <a:pt x="158369" y="219000"/>
                  </a:cubicBezTo>
                  <a:cubicBezTo>
                    <a:pt x="159891" y="216168"/>
                    <a:pt x="160398" y="212891"/>
                    <a:pt x="159802" y="209729"/>
                  </a:cubicBezTo>
                  <a:cubicBezTo>
                    <a:pt x="159446" y="204509"/>
                    <a:pt x="160169" y="207126"/>
                    <a:pt x="158685" y="203658"/>
                  </a:cubicBezTo>
                  <a:cubicBezTo>
                    <a:pt x="157201" y="200191"/>
                    <a:pt x="152660" y="198883"/>
                    <a:pt x="147942" y="195200"/>
                  </a:cubicBezTo>
                  <a:cubicBezTo>
                    <a:pt x="143173" y="191555"/>
                    <a:pt x="141600" y="183504"/>
                    <a:pt x="139088" y="180481"/>
                  </a:cubicBezTo>
                  <a:cubicBezTo>
                    <a:pt x="136615" y="177471"/>
                    <a:pt x="133736" y="157037"/>
                    <a:pt x="131224" y="151144"/>
                  </a:cubicBezTo>
                  <a:cubicBezTo>
                    <a:pt x="127216" y="141936"/>
                    <a:pt x="120950" y="133897"/>
                    <a:pt x="113022" y="127751"/>
                  </a:cubicBezTo>
                  <a:cubicBezTo>
                    <a:pt x="104486" y="122036"/>
                    <a:pt x="109470" y="127395"/>
                    <a:pt x="103940" y="125820"/>
                  </a:cubicBezTo>
                  <a:cubicBezTo>
                    <a:pt x="98423" y="124245"/>
                    <a:pt x="98372" y="126671"/>
                    <a:pt x="94288" y="127979"/>
                  </a:cubicBezTo>
                  <a:cubicBezTo>
                    <a:pt x="90191" y="129325"/>
                    <a:pt x="91941" y="130227"/>
                    <a:pt x="88314" y="133504"/>
                  </a:cubicBezTo>
                  <a:cubicBezTo>
                    <a:pt x="84673" y="136793"/>
                    <a:pt x="86957" y="135574"/>
                    <a:pt x="81616" y="137606"/>
                  </a:cubicBezTo>
                  <a:cubicBezTo>
                    <a:pt x="76213" y="139625"/>
                    <a:pt x="79815" y="139892"/>
                    <a:pt x="75008" y="141073"/>
                  </a:cubicBezTo>
                  <a:cubicBezTo>
                    <a:pt x="70150" y="142241"/>
                    <a:pt x="70555" y="137733"/>
                    <a:pt x="65926" y="135574"/>
                  </a:cubicBezTo>
                  <a:cubicBezTo>
                    <a:pt x="62856" y="133339"/>
                    <a:pt x="58962" y="132551"/>
                    <a:pt x="55272" y="133415"/>
                  </a:cubicBezTo>
                  <a:cubicBezTo>
                    <a:pt x="48574" y="134088"/>
                    <a:pt x="53026" y="136298"/>
                    <a:pt x="49208" y="139219"/>
                  </a:cubicBezTo>
                  <a:cubicBezTo>
                    <a:pt x="46506" y="141581"/>
                    <a:pt x="43589" y="143664"/>
                    <a:pt x="40482" y="145429"/>
                  </a:cubicBezTo>
                  <a:cubicBezTo>
                    <a:pt x="35763" y="148134"/>
                    <a:pt x="36981" y="150966"/>
                    <a:pt x="31184" y="151868"/>
                  </a:cubicBezTo>
                  <a:cubicBezTo>
                    <a:pt x="25425" y="152808"/>
                    <a:pt x="29471" y="145975"/>
                    <a:pt x="28165" y="139765"/>
                  </a:cubicBezTo>
                  <a:cubicBezTo>
                    <a:pt x="29611" y="128957"/>
                    <a:pt x="31983" y="118302"/>
                    <a:pt x="35268" y="107900"/>
                  </a:cubicBezTo>
                  <a:cubicBezTo>
                    <a:pt x="35928" y="102541"/>
                    <a:pt x="35598" y="97093"/>
                    <a:pt x="34330" y="91848"/>
                  </a:cubicBezTo>
                  <a:cubicBezTo>
                    <a:pt x="33480" y="88558"/>
                    <a:pt x="32668" y="90184"/>
                    <a:pt x="28127" y="89054"/>
                  </a:cubicBezTo>
                  <a:cubicBezTo>
                    <a:pt x="23586" y="87974"/>
                    <a:pt x="25159" y="90171"/>
                    <a:pt x="20174" y="92064"/>
                  </a:cubicBezTo>
                  <a:cubicBezTo>
                    <a:pt x="15139" y="93956"/>
                    <a:pt x="17295" y="92330"/>
                    <a:pt x="11955" y="89765"/>
                  </a:cubicBezTo>
                  <a:cubicBezTo>
                    <a:pt x="6552" y="87199"/>
                    <a:pt x="11955" y="81218"/>
                    <a:pt x="13210" y="77979"/>
                  </a:cubicBezTo>
                  <a:cubicBezTo>
                    <a:pt x="14466" y="74690"/>
                    <a:pt x="15900" y="74423"/>
                    <a:pt x="16001" y="70778"/>
                  </a:cubicBezTo>
                  <a:cubicBezTo>
                    <a:pt x="16090" y="67133"/>
                    <a:pt x="13033" y="70143"/>
                    <a:pt x="10877" y="66905"/>
                  </a:cubicBezTo>
                  <a:cubicBezTo>
                    <a:pt x="8758" y="63717"/>
                    <a:pt x="10877" y="66905"/>
                    <a:pt x="3329" y="69064"/>
                  </a:cubicBezTo>
                  <a:cubicBezTo>
                    <a:pt x="-133" y="70016"/>
                    <a:pt x="-362" y="68480"/>
                    <a:pt x="222" y="66143"/>
                  </a:cubicBezTo>
                  <a:cubicBezTo>
                    <a:pt x="1110" y="65749"/>
                    <a:pt x="1769" y="64974"/>
                    <a:pt x="2023" y="64035"/>
                  </a:cubicBezTo>
                  <a:cubicBezTo>
                    <a:pt x="3862" y="59348"/>
                    <a:pt x="5523" y="60123"/>
                    <a:pt x="11955" y="52605"/>
                  </a:cubicBezTo>
                  <a:cubicBezTo>
                    <a:pt x="18386" y="45086"/>
                    <a:pt x="15189" y="48325"/>
                    <a:pt x="17257" y="40997"/>
                  </a:cubicBezTo>
                  <a:cubicBezTo>
                    <a:pt x="19375" y="33618"/>
                    <a:pt x="32312" y="33301"/>
                    <a:pt x="32312" y="33301"/>
                  </a:cubicBezTo>
                  <a:cubicBezTo>
                    <a:pt x="32947" y="37949"/>
                    <a:pt x="36194" y="41822"/>
                    <a:pt x="40672" y="43245"/>
                  </a:cubicBezTo>
                  <a:cubicBezTo>
                    <a:pt x="45162" y="44058"/>
                    <a:pt x="48270" y="51347"/>
                    <a:pt x="48358" y="41810"/>
                  </a:cubicBezTo>
                  <a:cubicBezTo>
                    <a:pt x="48206" y="35802"/>
                    <a:pt x="47521" y="29821"/>
                    <a:pt x="46329" y="23941"/>
                  </a:cubicBezTo>
                  <a:cubicBezTo>
                    <a:pt x="45999" y="15775"/>
                    <a:pt x="47356" y="7634"/>
                    <a:pt x="50287" y="1"/>
                  </a:cubicBezTo>
                  <a:cubicBezTo>
                    <a:pt x="50287" y="1"/>
                    <a:pt x="51821" y="179"/>
                    <a:pt x="58696" y="1170"/>
                  </a:cubicBezTo>
                  <a:cubicBezTo>
                    <a:pt x="67676" y="13997"/>
                    <a:pt x="64708" y="12866"/>
                    <a:pt x="70505" y="18277"/>
                  </a:cubicBezTo>
                  <a:cubicBezTo>
                    <a:pt x="74944" y="23102"/>
                    <a:pt x="78686" y="28551"/>
                    <a:pt x="81616" y="34431"/>
                  </a:cubicBezTo>
                  <a:cubicBezTo>
                    <a:pt x="81616" y="45137"/>
                    <a:pt x="75629" y="46128"/>
                    <a:pt x="87185" y="50446"/>
                  </a:cubicBezTo>
                  <a:cubicBezTo>
                    <a:pt x="98727" y="54764"/>
                    <a:pt x="92170" y="57964"/>
                    <a:pt x="101873" y="54764"/>
                  </a:cubicBezTo>
                  <a:cubicBezTo>
                    <a:pt x="111589" y="51563"/>
                    <a:pt x="111411" y="51068"/>
                    <a:pt x="117918" y="51843"/>
                  </a:cubicBezTo>
                  <a:cubicBezTo>
                    <a:pt x="124489" y="52655"/>
                    <a:pt x="124489" y="48249"/>
                    <a:pt x="125567" y="56338"/>
                  </a:cubicBezTo>
                  <a:cubicBezTo>
                    <a:pt x="126595" y="64441"/>
                    <a:pt x="137161" y="70194"/>
                    <a:pt x="137161" y="70194"/>
                  </a:cubicBezTo>
                  <a:cubicBezTo>
                    <a:pt x="137161" y="70194"/>
                    <a:pt x="149426" y="67908"/>
                    <a:pt x="139634" y="77979"/>
                  </a:cubicBezTo>
                  <a:cubicBezTo>
                    <a:pt x="129829" y="88012"/>
                    <a:pt x="140610" y="88965"/>
                    <a:pt x="123449" y="91174"/>
                  </a:cubicBezTo>
                  <a:cubicBezTo>
                    <a:pt x="114862" y="92292"/>
                    <a:pt x="112350" y="89371"/>
                    <a:pt x="111767" y="87339"/>
                  </a:cubicBezTo>
                  <a:cubicBezTo>
                    <a:pt x="112122" y="84545"/>
                    <a:pt x="111221" y="85586"/>
                    <a:pt x="111767" y="87339"/>
                  </a:cubicBezTo>
                  <a:cubicBezTo>
                    <a:pt x="111678" y="87796"/>
                    <a:pt x="111589" y="88380"/>
                    <a:pt x="111449" y="89054"/>
                  </a:cubicBezTo>
                  <a:cubicBezTo>
                    <a:pt x="109470" y="98769"/>
                    <a:pt x="107454" y="101741"/>
                    <a:pt x="114862" y="103455"/>
                  </a:cubicBezTo>
                  <a:cubicBezTo>
                    <a:pt x="121000" y="105754"/>
                    <a:pt x="126886" y="108713"/>
                    <a:pt x="132391" y="112269"/>
                  </a:cubicBezTo>
                  <a:cubicBezTo>
                    <a:pt x="136259" y="113793"/>
                    <a:pt x="140890" y="113311"/>
                    <a:pt x="142868" y="117857"/>
                  </a:cubicBezTo>
                  <a:cubicBezTo>
                    <a:pt x="144834" y="122353"/>
                    <a:pt x="135004" y="123293"/>
                    <a:pt x="144745" y="128741"/>
                  </a:cubicBezTo>
                  <a:cubicBezTo>
                    <a:pt x="154461" y="134189"/>
                    <a:pt x="157645" y="128335"/>
                    <a:pt x="159802" y="138228"/>
                  </a:cubicBezTo>
                  <a:cubicBezTo>
                    <a:pt x="161958" y="148083"/>
                    <a:pt x="154322" y="148718"/>
                    <a:pt x="164025" y="153214"/>
                  </a:cubicBezTo>
                  <a:cubicBezTo>
                    <a:pt x="173741" y="157761"/>
                    <a:pt x="176253" y="153760"/>
                    <a:pt x="177699" y="159513"/>
                  </a:cubicBezTo>
                  <a:cubicBezTo>
                    <a:pt x="179094" y="165279"/>
                    <a:pt x="178092" y="175858"/>
                    <a:pt x="184523" y="180760"/>
                  </a:cubicBezTo>
                  <a:cubicBezTo>
                    <a:pt x="190903" y="185662"/>
                    <a:pt x="190180" y="174906"/>
                    <a:pt x="197512" y="185662"/>
                  </a:cubicBezTo>
                  <a:cubicBezTo>
                    <a:pt x="204830" y="196369"/>
                    <a:pt x="207393" y="185662"/>
                    <a:pt x="207177" y="199607"/>
                  </a:cubicBezTo>
                  <a:cubicBezTo>
                    <a:pt x="207215" y="206529"/>
                    <a:pt x="208597" y="213374"/>
                    <a:pt x="211261" y="219762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5" name="Vrije vorm 404">
              <a:extLst>
                <a:ext uri="{FF2B5EF4-FFF2-40B4-BE49-F238E27FC236}">
                  <a16:creationId xmlns:a16="http://schemas.microsoft.com/office/drawing/2014/main" id="{825FC5CE-0A75-7846-B3FF-AB34E8BFD132}"/>
                </a:ext>
              </a:extLst>
            </p:cNvPr>
            <p:cNvSpPr/>
            <p:nvPr/>
          </p:nvSpPr>
          <p:spPr>
            <a:xfrm>
              <a:off x="7978658" y="2663887"/>
              <a:ext cx="910923" cy="439304"/>
            </a:xfrm>
            <a:custGeom>
              <a:avLst/>
              <a:gdLst>
                <a:gd name="connsiteX0" fmla="*/ 910836 w 910923"/>
                <a:gd name="connsiteY0" fmla="*/ 238774 h 439304"/>
                <a:gd name="connsiteX1" fmla="*/ 896135 w 910923"/>
                <a:gd name="connsiteY1" fmla="*/ 240387 h 439304"/>
                <a:gd name="connsiteX2" fmla="*/ 886216 w 910923"/>
                <a:gd name="connsiteY2" fmla="*/ 235079 h 439304"/>
                <a:gd name="connsiteX3" fmla="*/ 869765 w 910923"/>
                <a:gd name="connsiteY3" fmla="*/ 235891 h 439304"/>
                <a:gd name="connsiteX4" fmla="*/ 858754 w 910923"/>
                <a:gd name="connsiteY4" fmla="*/ 241518 h 439304"/>
                <a:gd name="connsiteX5" fmla="*/ 846527 w 910923"/>
                <a:gd name="connsiteY5" fmla="*/ 240756 h 439304"/>
                <a:gd name="connsiteX6" fmla="*/ 838980 w 910923"/>
                <a:gd name="connsiteY6" fmla="*/ 246331 h 439304"/>
                <a:gd name="connsiteX7" fmla="*/ 821488 w 910923"/>
                <a:gd name="connsiteY7" fmla="*/ 249658 h 439304"/>
                <a:gd name="connsiteX8" fmla="*/ 811607 w 910923"/>
                <a:gd name="connsiteY8" fmla="*/ 261761 h 439304"/>
                <a:gd name="connsiteX9" fmla="*/ 795841 w 910923"/>
                <a:gd name="connsiteY9" fmla="*/ 284672 h 439304"/>
                <a:gd name="connsiteX10" fmla="*/ 771969 w 910923"/>
                <a:gd name="connsiteY10" fmla="*/ 288673 h 439304"/>
                <a:gd name="connsiteX11" fmla="*/ 762799 w 910923"/>
                <a:gd name="connsiteY11" fmla="*/ 290832 h 439304"/>
                <a:gd name="connsiteX12" fmla="*/ 738902 w 910923"/>
                <a:gd name="connsiteY12" fmla="*/ 312206 h 439304"/>
                <a:gd name="connsiteX13" fmla="*/ 719432 w 910923"/>
                <a:gd name="connsiteY13" fmla="*/ 313603 h 439304"/>
                <a:gd name="connsiteX14" fmla="*/ 699391 w 910923"/>
                <a:gd name="connsiteY14" fmla="*/ 303024 h 439304"/>
                <a:gd name="connsiteX15" fmla="*/ 679667 w 910923"/>
                <a:gd name="connsiteY15" fmla="*/ 309640 h 439304"/>
                <a:gd name="connsiteX16" fmla="*/ 681062 w 910923"/>
                <a:gd name="connsiteY16" fmla="*/ 343702 h 439304"/>
                <a:gd name="connsiteX17" fmla="*/ 682191 w 910923"/>
                <a:gd name="connsiteY17" fmla="*/ 358510 h 439304"/>
                <a:gd name="connsiteX18" fmla="*/ 660970 w 910923"/>
                <a:gd name="connsiteY18" fmla="*/ 374398 h 439304"/>
                <a:gd name="connsiteX19" fmla="*/ 618009 w 910923"/>
                <a:gd name="connsiteY19" fmla="*/ 405170 h 439304"/>
                <a:gd name="connsiteX20" fmla="*/ 598018 w 910923"/>
                <a:gd name="connsiteY20" fmla="*/ 405170 h 439304"/>
                <a:gd name="connsiteX21" fmla="*/ 566562 w 910923"/>
                <a:gd name="connsiteY21" fmla="*/ 405576 h 439304"/>
                <a:gd name="connsiteX22" fmla="*/ 527419 w 910923"/>
                <a:gd name="connsiteY22" fmla="*/ 417451 h 439304"/>
                <a:gd name="connsiteX23" fmla="*/ 489353 w 910923"/>
                <a:gd name="connsiteY23" fmla="*/ 438647 h 439304"/>
                <a:gd name="connsiteX24" fmla="*/ 476631 w 910923"/>
                <a:gd name="connsiteY24" fmla="*/ 435142 h 439304"/>
                <a:gd name="connsiteX25" fmla="*/ 475198 w 910923"/>
                <a:gd name="connsiteY25" fmla="*/ 427674 h 439304"/>
                <a:gd name="connsiteX26" fmla="*/ 459241 w 910923"/>
                <a:gd name="connsiteY26" fmla="*/ 430011 h 439304"/>
                <a:gd name="connsiteX27" fmla="*/ 439555 w 910923"/>
                <a:gd name="connsiteY27" fmla="*/ 424829 h 439304"/>
                <a:gd name="connsiteX28" fmla="*/ 420275 w 910923"/>
                <a:gd name="connsiteY28" fmla="*/ 416778 h 439304"/>
                <a:gd name="connsiteX29" fmla="*/ 388273 w 910923"/>
                <a:gd name="connsiteY29" fmla="*/ 402109 h 439304"/>
                <a:gd name="connsiteX30" fmla="*/ 368320 w 910923"/>
                <a:gd name="connsiteY30" fmla="*/ 399188 h 439304"/>
                <a:gd name="connsiteX31" fmla="*/ 345857 w 910923"/>
                <a:gd name="connsiteY31" fmla="*/ 397575 h 439304"/>
                <a:gd name="connsiteX32" fmla="*/ 333185 w 910923"/>
                <a:gd name="connsiteY32" fmla="*/ 399861 h 439304"/>
                <a:gd name="connsiteX33" fmla="*/ 317089 w 910923"/>
                <a:gd name="connsiteY33" fmla="*/ 399188 h 439304"/>
                <a:gd name="connsiteX34" fmla="*/ 285683 w 910923"/>
                <a:gd name="connsiteY34" fmla="*/ 395327 h 439304"/>
                <a:gd name="connsiteX35" fmla="*/ 260112 w 910923"/>
                <a:gd name="connsiteY35" fmla="*/ 392749 h 439304"/>
                <a:gd name="connsiteX36" fmla="*/ 244421 w 910923"/>
                <a:gd name="connsiteY36" fmla="*/ 392749 h 439304"/>
                <a:gd name="connsiteX37" fmla="*/ 238079 w 910923"/>
                <a:gd name="connsiteY37" fmla="*/ 381103 h 439304"/>
                <a:gd name="connsiteX38" fmla="*/ 224292 w 910923"/>
                <a:gd name="connsiteY38" fmla="*/ 358599 h 439304"/>
                <a:gd name="connsiteX39" fmla="*/ 216516 w 910923"/>
                <a:gd name="connsiteY39" fmla="*/ 340108 h 439304"/>
                <a:gd name="connsiteX40" fmla="*/ 212381 w 910923"/>
                <a:gd name="connsiteY40" fmla="*/ 334215 h 439304"/>
                <a:gd name="connsiteX41" fmla="*/ 193140 w 910923"/>
                <a:gd name="connsiteY41" fmla="*/ 330481 h 439304"/>
                <a:gd name="connsiteX42" fmla="*/ 182357 w 910923"/>
                <a:gd name="connsiteY42" fmla="*/ 322378 h 439304"/>
                <a:gd name="connsiteX43" fmla="*/ 173910 w 910923"/>
                <a:gd name="connsiteY43" fmla="*/ 316257 h 439304"/>
                <a:gd name="connsiteX44" fmla="*/ 164752 w 910923"/>
                <a:gd name="connsiteY44" fmla="*/ 307799 h 439304"/>
                <a:gd name="connsiteX45" fmla="*/ 145739 w 910923"/>
                <a:gd name="connsiteY45" fmla="*/ 306681 h 439304"/>
                <a:gd name="connsiteX46" fmla="*/ 131621 w 910923"/>
                <a:gd name="connsiteY46" fmla="*/ 306681 h 439304"/>
                <a:gd name="connsiteX47" fmla="*/ 119089 w 910923"/>
                <a:gd name="connsiteY47" fmla="*/ 303214 h 439304"/>
                <a:gd name="connsiteX48" fmla="*/ 98096 w 910923"/>
                <a:gd name="connsiteY48" fmla="*/ 300649 h 439304"/>
                <a:gd name="connsiteX49" fmla="*/ 86097 w 910923"/>
                <a:gd name="connsiteY49" fmla="*/ 290844 h 439304"/>
                <a:gd name="connsiteX50" fmla="*/ 85070 w 910923"/>
                <a:gd name="connsiteY50" fmla="*/ 270372 h 439304"/>
                <a:gd name="connsiteX51" fmla="*/ 93340 w 910923"/>
                <a:gd name="connsiteY51" fmla="*/ 249671 h 439304"/>
                <a:gd name="connsiteX52" fmla="*/ 90372 w 910923"/>
                <a:gd name="connsiteY52" fmla="*/ 228792 h 439304"/>
                <a:gd name="connsiteX53" fmla="*/ 75227 w 910923"/>
                <a:gd name="connsiteY53" fmla="*/ 210021 h 439304"/>
                <a:gd name="connsiteX54" fmla="*/ 63634 w 910923"/>
                <a:gd name="connsiteY54" fmla="*/ 187162 h 439304"/>
                <a:gd name="connsiteX55" fmla="*/ 56620 w 910923"/>
                <a:gd name="connsiteY55" fmla="*/ 188241 h 439304"/>
                <a:gd name="connsiteX56" fmla="*/ 48349 w 910923"/>
                <a:gd name="connsiteY56" fmla="*/ 181535 h 439304"/>
                <a:gd name="connsiteX57" fmla="*/ 42515 w 910923"/>
                <a:gd name="connsiteY57" fmla="*/ 183428 h 439304"/>
                <a:gd name="connsiteX58" fmla="*/ 34384 w 910923"/>
                <a:gd name="connsiteY58" fmla="*/ 182399 h 439304"/>
                <a:gd name="connsiteX59" fmla="*/ 27230 w 910923"/>
                <a:gd name="connsiteY59" fmla="*/ 175109 h 439304"/>
                <a:gd name="connsiteX60" fmla="*/ 19366 w 910923"/>
                <a:gd name="connsiteY60" fmla="*/ 167908 h 439304"/>
                <a:gd name="connsiteX61" fmla="*/ 9434 w 910923"/>
                <a:gd name="connsiteY61" fmla="*/ 159361 h 439304"/>
                <a:gd name="connsiteX62" fmla="*/ 8762 w 910923"/>
                <a:gd name="connsiteY62" fmla="*/ 154053 h 439304"/>
                <a:gd name="connsiteX63" fmla="*/ 1443 w 910923"/>
                <a:gd name="connsiteY63" fmla="*/ 145417 h 439304"/>
                <a:gd name="connsiteX64" fmla="*/ 8051 w 910923"/>
                <a:gd name="connsiteY64" fmla="*/ 128856 h 439304"/>
                <a:gd name="connsiteX65" fmla="*/ 14115 w 910923"/>
                <a:gd name="connsiteY65" fmla="*/ 122557 h 439304"/>
                <a:gd name="connsiteX66" fmla="*/ 21802 w 910923"/>
                <a:gd name="connsiteY66" fmla="*/ 119585 h 439304"/>
                <a:gd name="connsiteX67" fmla="*/ 32139 w 910923"/>
                <a:gd name="connsiteY67" fmla="*/ 120715 h 439304"/>
                <a:gd name="connsiteX68" fmla="*/ 37618 w 910923"/>
                <a:gd name="connsiteY68" fmla="*/ 113730 h 439304"/>
                <a:gd name="connsiteX69" fmla="*/ 51685 w 910923"/>
                <a:gd name="connsiteY69" fmla="*/ 109463 h 439304"/>
                <a:gd name="connsiteX70" fmla="*/ 63634 w 910923"/>
                <a:gd name="connsiteY70" fmla="*/ 95468 h 439304"/>
                <a:gd name="connsiteX71" fmla="*/ 73882 w 910923"/>
                <a:gd name="connsiteY71" fmla="*/ 88762 h 439304"/>
                <a:gd name="connsiteX72" fmla="*/ 88761 w 910923"/>
                <a:gd name="connsiteY72" fmla="*/ 81472 h 439304"/>
                <a:gd name="connsiteX73" fmla="*/ 97437 w 910923"/>
                <a:gd name="connsiteY73" fmla="*/ 76202 h 439304"/>
                <a:gd name="connsiteX74" fmla="*/ 111225 w 910923"/>
                <a:gd name="connsiteY74" fmla="*/ 69547 h 439304"/>
                <a:gd name="connsiteX75" fmla="*/ 120852 w 910923"/>
                <a:gd name="connsiteY75" fmla="*/ 68912 h 439304"/>
                <a:gd name="connsiteX76" fmla="*/ 129477 w 910923"/>
                <a:gd name="connsiteY76" fmla="*/ 57482 h 439304"/>
                <a:gd name="connsiteX77" fmla="*/ 136847 w 910923"/>
                <a:gd name="connsiteY77" fmla="*/ 63463 h 439304"/>
                <a:gd name="connsiteX78" fmla="*/ 144749 w 910923"/>
                <a:gd name="connsiteY78" fmla="*/ 59781 h 439304"/>
                <a:gd name="connsiteX79" fmla="*/ 149607 w 910923"/>
                <a:gd name="connsiteY79" fmla="*/ 67197 h 439304"/>
                <a:gd name="connsiteX80" fmla="*/ 169293 w 910923"/>
                <a:gd name="connsiteY80" fmla="*/ 69547 h 439304"/>
                <a:gd name="connsiteX81" fmla="*/ 182371 w 910923"/>
                <a:gd name="connsiteY81" fmla="*/ 75033 h 439304"/>
                <a:gd name="connsiteX82" fmla="*/ 194281 w 910923"/>
                <a:gd name="connsiteY82" fmla="*/ 92940 h 439304"/>
                <a:gd name="connsiteX83" fmla="*/ 204251 w 910923"/>
                <a:gd name="connsiteY83" fmla="*/ 97119 h 439304"/>
                <a:gd name="connsiteX84" fmla="*/ 216516 w 910923"/>
                <a:gd name="connsiteY84" fmla="*/ 99100 h 439304"/>
                <a:gd name="connsiteX85" fmla="*/ 225332 w 910923"/>
                <a:gd name="connsiteY85" fmla="*/ 99100 h 439304"/>
                <a:gd name="connsiteX86" fmla="*/ 236430 w 910923"/>
                <a:gd name="connsiteY86" fmla="*/ 98160 h 439304"/>
                <a:gd name="connsiteX87" fmla="*/ 245601 w 910923"/>
                <a:gd name="connsiteY87" fmla="*/ 102389 h 439304"/>
                <a:gd name="connsiteX88" fmla="*/ 254759 w 910923"/>
                <a:gd name="connsiteY88" fmla="*/ 101487 h 439304"/>
                <a:gd name="connsiteX89" fmla="*/ 270894 w 910923"/>
                <a:gd name="connsiteY89" fmla="*/ 108015 h 439304"/>
                <a:gd name="connsiteX90" fmla="*/ 285683 w 910923"/>
                <a:gd name="connsiteY90" fmla="*/ 99773 h 439304"/>
                <a:gd name="connsiteX91" fmla="*/ 294625 w 910923"/>
                <a:gd name="connsiteY91" fmla="*/ 92940 h 439304"/>
                <a:gd name="connsiteX92" fmla="*/ 296655 w 910923"/>
                <a:gd name="connsiteY92" fmla="*/ 78945 h 439304"/>
                <a:gd name="connsiteX93" fmla="*/ 289057 w 910923"/>
                <a:gd name="connsiteY93" fmla="*/ 52084 h 439304"/>
                <a:gd name="connsiteX94" fmla="*/ 292558 w 910923"/>
                <a:gd name="connsiteY94" fmla="*/ 30621 h 439304"/>
                <a:gd name="connsiteX95" fmla="*/ 313284 w 910923"/>
                <a:gd name="connsiteY95" fmla="*/ 9247 h 439304"/>
                <a:gd name="connsiteX96" fmla="*/ 321732 w 910923"/>
                <a:gd name="connsiteY96" fmla="*/ 116 h 439304"/>
                <a:gd name="connsiteX97" fmla="*/ 348470 w 910923"/>
                <a:gd name="connsiteY97" fmla="*/ 18061 h 439304"/>
                <a:gd name="connsiteX98" fmla="*/ 375791 w 910923"/>
                <a:gd name="connsiteY98" fmla="*/ 24906 h 439304"/>
                <a:gd name="connsiteX99" fmla="*/ 393220 w 910923"/>
                <a:gd name="connsiteY99" fmla="*/ 29580 h 439304"/>
                <a:gd name="connsiteX100" fmla="*/ 406893 w 910923"/>
                <a:gd name="connsiteY100" fmla="*/ 41962 h 439304"/>
                <a:gd name="connsiteX101" fmla="*/ 416013 w 910923"/>
                <a:gd name="connsiteY101" fmla="*/ 67604 h 439304"/>
                <a:gd name="connsiteX102" fmla="*/ 423560 w 910923"/>
                <a:gd name="connsiteY102" fmla="*/ 79618 h 439304"/>
                <a:gd name="connsiteX103" fmla="*/ 434837 w 910923"/>
                <a:gd name="connsiteY103" fmla="*/ 81459 h 439304"/>
                <a:gd name="connsiteX104" fmla="*/ 443512 w 910923"/>
                <a:gd name="connsiteY104" fmla="*/ 87898 h 439304"/>
                <a:gd name="connsiteX105" fmla="*/ 455651 w 910923"/>
                <a:gd name="connsiteY105" fmla="*/ 89880 h 439304"/>
                <a:gd name="connsiteX106" fmla="*/ 464860 w 910923"/>
                <a:gd name="connsiteY106" fmla="*/ 84838 h 439304"/>
                <a:gd name="connsiteX107" fmla="*/ 475337 w 910923"/>
                <a:gd name="connsiteY107" fmla="*/ 80964 h 439304"/>
                <a:gd name="connsiteX108" fmla="*/ 494617 w 910923"/>
                <a:gd name="connsiteY108" fmla="*/ 77815 h 439304"/>
                <a:gd name="connsiteX109" fmla="*/ 510206 w 910923"/>
                <a:gd name="connsiteY109" fmla="*/ 75021 h 439304"/>
                <a:gd name="connsiteX110" fmla="*/ 525389 w 910923"/>
                <a:gd name="connsiteY110" fmla="*/ 80202 h 439304"/>
                <a:gd name="connsiteX111" fmla="*/ 539189 w 910923"/>
                <a:gd name="connsiteY111" fmla="*/ 82272 h 439304"/>
                <a:gd name="connsiteX112" fmla="*/ 546292 w 910923"/>
                <a:gd name="connsiteY112" fmla="*/ 89105 h 439304"/>
                <a:gd name="connsiteX113" fmla="*/ 558342 w 910923"/>
                <a:gd name="connsiteY113" fmla="*/ 97119 h 439304"/>
                <a:gd name="connsiteX114" fmla="*/ 574705 w 910923"/>
                <a:gd name="connsiteY114" fmla="*/ 100763 h 439304"/>
                <a:gd name="connsiteX115" fmla="*/ 574705 w 910923"/>
                <a:gd name="connsiteY115" fmla="*/ 110707 h 439304"/>
                <a:gd name="connsiteX116" fmla="*/ 583876 w 910923"/>
                <a:gd name="connsiteY116" fmla="*/ 120296 h 439304"/>
                <a:gd name="connsiteX117" fmla="*/ 599566 w 910923"/>
                <a:gd name="connsiteY117" fmla="*/ 123852 h 439304"/>
                <a:gd name="connsiteX118" fmla="*/ 610754 w 910923"/>
                <a:gd name="connsiteY118" fmla="*/ 126456 h 439304"/>
                <a:gd name="connsiteX119" fmla="*/ 624820 w 910923"/>
                <a:gd name="connsiteY119" fmla="*/ 132717 h 439304"/>
                <a:gd name="connsiteX120" fmla="*/ 643961 w 910923"/>
                <a:gd name="connsiteY120" fmla="*/ 130418 h 439304"/>
                <a:gd name="connsiteX121" fmla="*/ 660996 w 910923"/>
                <a:gd name="connsiteY121" fmla="*/ 129249 h 439304"/>
                <a:gd name="connsiteX122" fmla="*/ 674974 w 910923"/>
                <a:gd name="connsiteY122" fmla="*/ 124296 h 439304"/>
                <a:gd name="connsiteX123" fmla="*/ 699416 w 910923"/>
                <a:gd name="connsiteY123" fmla="*/ 115876 h 439304"/>
                <a:gd name="connsiteX124" fmla="*/ 716806 w 910923"/>
                <a:gd name="connsiteY124" fmla="*/ 110974 h 439304"/>
                <a:gd name="connsiteX125" fmla="*/ 729478 w 910923"/>
                <a:gd name="connsiteY125" fmla="*/ 98058 h 439304"/>
                <a:gd name="connsiteX126" fmla="*/ 740132 w 910923"/>
                <a:gd name="connsiteY126" fmla="*/ 89105 h 439304"/>
                <a:gd name="connsiteX127" fmla="*/ 753489 w 910923"/>
                <a:gd name="connsiteY127" fmla="*/ 85371 h 439304"/>
                <a:gd name="connsiteX128" fmla="*/ 765297 w 910923"/>
                <a:gd name="connsiteY128" fmla="*/ 87403 h 439304"/>
                <a:gd name="connsiteX129" fmla="*/ 778198 w 910923"/>
                <a:gd name="connsiteY129" fmla="*/ 95455 h 439304"/>
                <a:gd name="connsiteX130" fmla="*/ 790159 w 910923"/>
                <a:gd name="connsiteY130" fmla="*/ 103862 h 439304"/>
                <a:gd name="connsiteX131" fmla="*/ 803147 w 910923"/>
                <a:gd name="connsiteY131" fmla="*/ 97119 h 439304"/>
                <a:gd name="connsiteX132" fmla="*/ 814246 w 910923"/>
                <a:gd name="connsiteY132" fmla="*/ 98643 h 439304"/>
                <a:gd name="connsiteX133" fmla="*/ 821120 w 910923"/>
                <a:gd name="connsiteY133" fmla="*/ 105437 h 439304"/>
                <a:gd name="connsiteX134" fmla="*/ 817252 w 910923"/>
                <a:gd name="connsiteY134" fmla="*/ 116461 h 439304"/>
                <a:gd name="connsiteX135" fmla="*/ 808627 w 910923"/>
                <a:gd name="connsiteY135" fmla="*/ 133872 h 439304"/>
                <a:gd name="connsiteX136" fmla="*/ 793127 w 910923"/>
                <a:gd name="connsiteY136" fmla="*/ 167807 h 439304"/>
                <a:gd name="connsiteX137" fmla="*/ 795867 w 910923"/>
                <a:gd name="connsiteY137" fmla="*/ 195747 h 439304"/>
                <a:gd name="connsiteX138" fmla="*/ 806559 w 910923"/>
                <a:gd name="connsiteY138" fmla="*/ 189397 h 439304"/>
                <a:gd name="connsiteX139" fmla="*/ 815058 w 910923"/>
                <a:gd name="connsiteY139" fmla="*/ 189397 h 439304"/>
                <a:gd name="connsiteX140" fmla="*/ 829213 w 910923"/>
                <a:gd name="connsiteY140" fmla="*/ 188813 h 439304"/>
                <a:gd name="connsiteX141" fmla="*/ 840717 w 910923"/>
                <a:gd name="connsiteY141" fmla="*/ 195734 h 439304"/>
                <a:gd name="connsiteX142" fmla="*/ 853566 w 910923"/>
                <a:gd name="connsiteY142" fmla="*/ 182234 h 439304"/>
                <a:gd name="connsiteX143" fmla="*/ 863993 w 910923"/>
                <a:gd name="connsiteY143" fmla="*/ 181243 h 439304"/>
                <a:gd name="connsiteX144" fmla="*/ 871768 w 910923"/>
                <a:gd name="connsiteY144" fmla="*/ 185295 h 439304"/>
                <a:gd name="connsiteX145" fmla="*/ 900942 w 910923"/>
                <a:gd name="connsiteY145" fmla="*/ 204370 h 439304"/>
                <a:gd name="connsiteX146" fmla="*/ 910836 w 910923"/>
                <a:gd name="connsiteY146" fmla="*/ 238774 h 439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</a:cxnLst>
              <a:rect l="l" t="t" r="r" b="b"/>
              <a:pathLst>
                <a:path w="910923" h="439304">
                  <a:moveTo>
                    <a:pt x="910836" y="238774"/>
                  </a:moveTo>
                  <a:cubicBezTo>
                    <a:pt x="910519" y="243588"/>
                    <a:pt x="904227" y="240070"/>
                    <a:pt x="896135" y="240387"/>
                  </a:cubicBezTo>
                  <a:cubicBezTo>
                    <a:pt x="888055" y="240756"/>
                    <a:pt x="893979" y="239854"/>
                    <a:pt x="886216" y="235079"/>
                  </a:cubicBezTo>
                  <a:cubicBezTo>
                    <a:pt x="878479" y="230354"/>
                    <a:pt x="880635" y="236298"/>
                    <a:pt x="869765" y="235891"/>
                  </a:cubicBezTo>
                  <a:cubicBezTo>
                    <a:pt x="858881" y="235485"/>
                    <a:pt x="865579" y="236209"/>
                    <a:pt x="858754" y="241518"/>
                  </a:cubicBezTo>
                  <a:cubicBezTo>
                    <a:pt x="851931" y="246826"/>
                    <a:pt x="853630" y="243003"/>
                    <a:pt x="846527" y="240756"/>
                  </a:cubicBezTo>
                  <a:cubicBezTo>
                    <a:pt x="839424" y="238457"/>
                    <a:pt x="841174" y="246013"/>
                    <a:pt x="838980" y="246331"/>
                  </a:cubicBezTo>
                  <a:cubicBezTo>
                    <a:pt x="836824" y="246699"/>
                    <a:pt x="832232" y="247321"/>
                    <a:pt x="821488" y="249658"/>
                  </a:cubicBezTo>
                  <a:cubicBezTo>
                    <a:pt x="810707" y="252008"/>
                    <a:pt x="813624" y="260288"/>
                    <a:pt x="811607" y="261761"/>
                  </a:cubicBezTo>
                  <a:cubicBezTo>
                    <a:pt x="809591" y="263285"/>
                    <a:pt x="804593" y="278005"/>
                    <a:pt x="795841" y="284672"/>
                  </a:cubicBezTo>
                  <a:cubicBezTo>
                    <a:pt x="789042" y="289905"/>
                    <a:pt x="780100" y="291416"/>
                    <a:pt x="771969" y="288673"/>
                  </a:cubicBezTo>
                  <a:cubicBezTo>
                    <a:pt x="764562" y="287060"/>
                    <a:pt x="768101" y="289524"/>
                    <a:pt x="762799" y="290832"/>
                  </a:cubicBezTo>
                  <a:cubicBezTo>
                    <a:pt x="757497" y="292178"/>
                    <a:pt x="741451" y="311622"/>
                    <a:pt x="738902" y="312206"/>
                  </a:cubicBezTo>
                  <a:cubicBezTo>
                    <a:pt x="732585" y="314047"/>
                    <a:pt x="725951" y="314530"/>
                    <a:pt x="719432" y="313603"/>
                  </a:cubicBezTo>
                  <a:cubicBezTo>
                    <a:pt x="711846" y="312168"/>
                    <a:pt x="704870" y="308485"/>
                    <a:pt x="699391" y="303024"/>
                  </a:cubicBezTo>
                  <a:cubicBezTo>
                    <a:pt x="692973" y="297499"/>
                    <a:pt x="688964" y="302351"/>
                    <a:pt x="679667" y="309640"/>
                  </a:cubicBezTo>
                  <a:cubicBezTo>
                    <a:pt x="670369" y="316930"/>
                    <a:pt x="679033" y="330430"/>
                    <a:pt x="681062" y="343702"/>
                  </a:cubicBezTo>
                  <a:cubicBezTo>
                    <a:pt x="683091" y="356973"/>
                    <a:pt x="684880" y="355132"/>
                    <a:pt x="682191" y="358510"/>
                  </a:cubicBezTo>
                  <a:cubicBezTo>
                    <a:pt x="679451" y="361888"/>
                    <a:pt x="668073" y="368137"/>
                    <a:pt x="660970" y="374398"/>
                  </a:cubicBezTo>
                  <a:cubicBezTo>
                    <a:pt x="647702" y="386044"/>
                    <a:pt x="633306" y="396343"/>
                    <a:pt x="618009" y="405170"/>
                  </a:cubicBezTo>
                  <a:cubicBezTo>
                    <a:pt x="604488" y="411736"/>
                    <a:pt x="610728" y="406656"/>
                    <a:pt x="598018" y="405170"/>
                  </a:cubicBezTo>
                  <a:cubicBezTo>
                    <a:pt x="587567" y="403722"/>
                    <a:pt x="576963" y="403849"/>
                    <a:pt x="566562" y="405576"/>
                  </a:cubicBezTo>
                  <a:cubicBezTo>
                    <a:pt x="552875" y="406986"/>
                    <a:pt x="539583" y="411024"/>
                    <a:pt x="527419" y="417451"/>
                  </a:cubicBezTo>
                  <a:cubicBezTo>
                    <a:pt x="514240" y="423610"/>
                    <a:pt x="501518" y="430684"/>
                    <a:pt x="489353" y="438647"/>
                  </a:cubicBezTo>
                  <a:cubicBezTo>
                    <a:pt x="486474" y="440895"/>
                    <a:pt x="486334" y="436805"/>
                    <a:pt x="476631" y="435142"/>
                  </a:cubicBezTo>
                  <a:cubicBezTo>
                    <a:pt x="466927" y="433516"/>
                    <a:pt x="475959" y="427852"/>
                    <a:pt x="475198" y="427674"/>
                  </a:cubicBezTo>
                  <a:cubicBezTo>
                    <a:pt x="469921" y="428754"/>
                    <a:pt x="464594" y="429528"/>
                    <a:pt x="459241" y="430011"/>
                  </a:cubicBezTo>
                  <a:cubicBezTo>
                    <a:pt x="452379" y="429731"/>
                    <a:pt x="445669" y="427966"/>
                    <a:pt x="439555" y="424829"/>
                  </a:cubicBezTo>
                  <a:cubicBezTo>
                    <a:pt x="434342" y="421959"/>
                    <a:pt x="420275" y="416778"/>
                    <a:pt x="420275" y="416778"/>
                  </a:cubicBezTo>
                  <a:cubicBezTo>
                    <a:pt x="420275" y="416778"/>
                    <a:pt x="392141" y="404268"/>
                    <a:pt x="388273" y="402109"/>
                  </a:cubicBezTo>
                  <a:cubicBezTo>
                    <a:pt x="384455" y="399899"/>
                    <a:pt x="376641" y="401665"/>
                    <a:pt x="368320" y="399188"/>
                  </a:cubicBezTo>
                  <a:cubicBezTo>
                    <a:pt x="360939" y="397664"/>
                    <a:pt x="353391" y="397118"/>
                    <a:pt x="345857" y="397575"/>
                  </a:cubicBezTo>
                  <a:cubicBezTo>
                    <a:pt x="336153" y="396940"/>
                    <a:pt x="336280" y="400496"/>
                    <a:pt x="333185" y="399861"/>
                  </a:cubicBezTo>
                  <a:cubicBezTo>
                    <a:pt x="330040" y="399188"/>
                    <a:pt x="323799" y="400090"/>
                    <a:pt x="317089" y="399188"/>
                  </a:cubicBezTo>
                  <a:cubicBezTo>
                    <a:pt x="310354" y="398286"/>
                    <a:pt x="293459" y="396038"/>
                    <a:pt x="285683" y="395327"/>
                  </a:cubicBezTo>
                  <a:cubicBezTo>
                    <a:pt x="277946" y="394603"/>
                    <a:pt x="271388" y="393117"/>
                    <a:pt x="260112" y="392749"/>
                  </a:cubicBezTo>
                  <a:cubicBezTo>
                    <a:pt x="248874" y="392394"/>
                    <a:pt x="248430" y="394921"/>
                    <a:pt x="244421" y="392749"/>
                  </a:cubicBezTo>
                  <a:cubicBezTo>
                    <a:pt x="240477" y="390590"/>
                    <a:pt x="239082" y="382767"/>
                    <a:pt x="238079" y="381103"/>
                  </a:cubicBezTo>
                  <a:cubicBezTo>
                    <a:pt x="237090" y="379478"/>
                    <a:pt x="226448" y="362472"/>
                    <a:pt x="224292" y="358599"/>
                  </a:cubicBezTo>
                  <a:cubicBezTo>
                    <a:pt x="221374" y="352579"/>
                    <a:pt x="218787" y="346407"/>
                    <a:pt x="216516" y="340108"/>
                  </a:cubicBezTo>
                  <a:cubicBezTo>
                    <a:pt x="213548" y="332462"/>
                    <a:pt x="217227" y="334215"/>
                    <a:pt x="212381" y="334215"/>
                  </a:cubicBezTo>
                  <a:cubicBezTo>
                    <a:pt x="205760" y="334469"/>
                    <a:pt x="199177" y="333199"/>
                    <a:pt x="193140" y="330481"/>
                  </a:cubicBezTo>
                  <a:cubicBezTo>
                    <a:pt x="181952" y="326392"/>
                    <a:pt x="188522" y="325617"/>
                    <a:pt x="182357" y="322378"/>
                  </a:cubicBezTo>
                  <a:cubicBezTo>
                    <a:pt x="176168" y="319140"/>
                    <a:pt x="179758" y="319775"/>
                    <a:pt x="173910" y="316257"/>
                  </a:cubicBezTo>
                  <a:cubicBezTo>
                    <a:pt x="168024" y="312752"/>
                    <a:pt x="168836" y="310821"/>
                    <a:pt x="164752" y="307799"/>
                  </a:cubicBezTo>
                  <a:cubicBezTo>
                    <a:pt x="160617" y="304827"/>
                    <a:pt x="156076" y="306313"/>
                    <a:pt x="145739" y="306681"/>
                  </a:cubicBezTo>
                  <a:cubicBezTo>
                    <a:pt x="135350" y="306999"/>
                    <a:pt x="139891" y="305056"/>
                    <a:pt x="131621" y="306681"/>
                  </a:cubicBezTo>
                  <a:cubicBezTo>
                    <a:pt x="123351" y="308294"/>
                    <a:pt x="128881" y="308980"/>
                    <a:pt x="119089" y="303214"/>
                  </a:cubicBezTo>
                  <a:cubicBezTo>
                    <a:pt x="109335" y="297461"/>
                    <a:pt x="109018" y="302770"/>
                    <a:pt x="98096" y="300649"/>
                  </a:cubicBezTo>
                  <a:cubicBezTo>
                    <a:pt x="87176" y="298541"/>
                    <a:pt x="92173" y="297410"/>
                    <a:pt x="86097" y="290844"/>
                  </a:cubicBezTo>
                  <a:cubicBezTo>
                    <a:pt x="80085" y="284317"/>
                    <a:pt x="85793" y="276938"/>
                    <a:pt x="85070" y="270372"/>
                  </a:cubicBezTo>
                  <a:cubicBezTo>
                    <a:pt x="84398" y="263793"/>
                    <a:pt x="91945" y="254840"/>
                    <a:pt x="93340" y="249671"/>
                  </a:cubicBezTo>
                  <a:cubicBezTo>
                    <a:pt x="94380" y="242572"/>
                    <a:pt x="93340" y="235320"/>
                    <a:pt x="90372" y="228792"/>
                  </a:cubicBezTo>
                  <a:cubicBezTo>
                    <a:pt x="87150" y="221248"/>
                    <a:pt x="81911" y="214759"/>
                    <a:pt x="75227" y="210021"/>
                  </a:cubicBezTo>
                  <a:cubicBezTo>
                    <a:pt x="72171" y="209526"/>
                    <a:pt x="67769" y="190540"/>
                    <a:pt x="63634" y="187162"/>
                  </a:cubicBezTo>
                  <a:cubicBezTo>
                    <a:pt x="59499" y="183745"/>
                    <a:pt x="58509" y="190083"/>
                    <a:pt x="56620" y="188241"/>
                  </a:cubicBezTo>
                  <a:cubicBezTo>
                    <a:pt x="54285" y="185523"/>
                    <a:pt x="51495" y="183250"/>
                    <a:pt x="48349" y="181535"/>
                  </a:cubicBezTo>
                  <a:cubicBezTo>
                    <a:pt x="42642" y="178119"/>
                    <a:pt x="44532" y="182170"/>
                    <a:pt x="42515" y="183428"/>
                  </a:cubicBezTo>
                  <a:cubicBezTo>
                    <a:pt x="40485" y="184647"/>
                    <a:pt x="39952" y="183161"/>
                    <a:pt x="34384" y="182399"/>
                  </a:cubicBezTo>
                  <a:cubicBezTo>
                    <a:pt x="28816" y="181624"/>
                    <a:pt x="31555" y="177979"/>
                    <a:pt x="27230" y="175109"/>
                  </a:cubicBezTo>
                  <a:cubicBezTo>
                    <a:pt x="24212" y="173192"/>
                    <a:pt x="21548" y="170753"/>
                    <a:pt x="19366" y="167908"/>
                  </a:cubicBezTo>
                  <a:cubicBezTo>
                    <a:pt x="14305" y="162638"/>
                    <a:pt x="16410" y="162460"/>
                    <a:pt x="9434" y="159361"/>
                  </a:cubicBezTo>
                  <a:cubicBezTo>
                    <a:pt x="2470" y="156212"/>
                    <a:pt x="6885" y="158180"/>
                    <a:pt x="8762" y="154053"/>
                  </a:cubicBezTo>
                  <a:cubicBezTo>
                    <a:pt x="10652" y="149951"/>
                    <a:pt x="6606" y="150001"/>
                    <a:pt x="1443" y="145417"/>
                  </a:cubicBezTo>
                  <a:cubicBezTo>
                    <a:pt x="-3732" y="140781"/>
                    <a:pt x="6289" y="131015"/>
                    <a:pt x="8051" y="128856"/>
                  </a:cubicBezTo>
                  <a:cubicBezTo>
                    <a:pt x="11464" y="125706"/>
                    <a:pt x="11552" y="125033"/>
                    <a:pt x="14115" y="122557"/>
                  </a:cubicBezTo>
                  <a:cubicBezTo>
                    <a:pt x="16728" y="120080"/>
                    <a:pt x="18516" y="121795"/>
                    <a:pt x="21802" y="119585"/>
                  </a:cubicBezTo>
                  <a:cubicBezTo>
                    <a:pt x="25036" y="117375"/>
                    <a:pt x="24947" y="120169"/>
                    <a:pt x="32139" y="120715"/>
                  </a:cubicBezTo>
                  <a:cubicBezTo>
                    <a:pt x="39369" y="121198"/>
                    <a:pt x="32989" y="116435"/>
                    <a:pt x="37618" y="113730"/>
                  </a:cubicBezTo>
                  <a:cubicBezTo>
                    <a:pt x="42248" y="110987"/>
                    <a:pt x="46383" y="113197"/>
                    <a:pt x="51685" y="109463"/>
                  </a:cubicBezTo>
                  <a:cubicBezTo>
                    <a:pt x="56302" y="105386"/>
                    <a:pt x="60336" y="100674"/>
                    <a:pt x="63634" y="95468"/>
                  </a:cubicBezTo>
                  <a:cubicBezTo>
                    <a:pt x="68048" y="90070"/>
                    <a:pt x="68352" y="89079"/>
                    <a:pt x="73882" y="88762"/>
                  </a:cubicBezTo>
                  <a:cubicBezTo>
                    <a:pt x="79514" y="88076"/>
                    <a:pt x="84766" y="85511"/>
                    <a:pt x="88761" y="81472"/>
                  </a:cubicBezTo>
                  <a:cubicBezTo>
                    <a:pt x="95281" y="76519"/>
                    <a:pt x="90828" y="76202"/>
                    <a:pt x="97437" y="76202"/>
                  </a:cubicBezTo>
                  <a:cubicBezTo>
                    <a:pt x="104033" y="76252"/>
                    <a:pt x="105834" y="71934"/>
                    <a:pt x="111225" y="69547"/>
                  </a:cubicBezTo>
                  <a:cubicBezTo>
                    <a:pt x="116628" y="67210"/>
                    <a:pt x="113343" y="67616"/>
                    <a:pt x="120852" y="68912"/>
                  </a:cubicBezTo>
                  <a:cubicBezTo>
                    <a:pt x="128399" y="70169"/>
                    <a:pt x="123503" y="60098"/>
                    <a:pt x="129477" y="57482"/>
                  </a:cubicBezTo>
                  <a:cubicBezTo>
                    <a:pt x="135439" y="54866"/>
                    <a:pt x="130999" y="59057"/>
                    <a:pt x="136847" y="63463"/>
                  </a:cubicBezTo>
                  <a:cubicBezTo>
                    <a:pt x="142733" y="67921"/>
                    <a:pt x="140120" y="63337"/>
                    <a:pt x="144749" y="59781"/>
                  </a:cubicBezTo>
                  <a:cubicBezTo>
                    <a:pt x="149379" y="56224"/>
                    <a:pt x="148174" y="63870"/>
                    <a:pt x="149607" y="67197"/>
                  </a:cubicBezTo>
                  <a:cubicBezTo>
                    <a:pt x="151040" y="70537"/>
                    <a:pt x="162634" y="69229"/>
                    <a:pt x="169293" y="69547"/>
                  </a:cubicBezTo>
                  <a:cubicBezTo>
                    <a:pt x="175902" y="69902"/>
                    <a:pt x="178679" y="73496"/>
                    <a:pt x="182371" y="75033"/>
                  </a:cubicBezTo>
                  <a:cubicBezTo>
                    <a:pt x="186011" y="76519"/>
                    <a:pt x="191528" y="87987"/>
                    <a:pt x="194281" y="92940"/>
                  </a:cubicBezTo>
                  <a:cubicBezTo>
                    <a:pt x="196970" y="97893"/>
                    <a:pt x="195854" y="96039"/>
                    <a:pt x="204251" y="97119"/>
                  </a:cubicBezTo>
                  <a:cubicBezTo>
                    <a:pt x="208423" y="97106"/>
                    <a:pt x="212571" y="97779"/>
                    <a:pt x="216516" y="99100"/>
                  </a:cubicBezTo>
                  <a:cubicBezTo>
                    <a:pt x="225458" y="101627"/>
                    <a:pt x="219396" y="100852"/>
                    <a:pt x="225332" y="99100"/>
                  </a:cubicBezTo>
                  <a:cubicBezTo>
                    <a:pt x="228909" y="97931"/>
                    <a:pt x="232701" y="97601"/>
                    <a:pt x="236430" y="98160"/>
                  </a:cubicBezTo>
                  <a:cubicBezTo>
                    <a:pt x="242722" y="98109"/>
                    <a:pt x="242456" y="98744"/>
                    <a:pt x="245601" y="102389"/>
                  </a:cubicBezTo>
                  <a:cubicBezTo>
                    <a:pt x="248747" y="106034"/>
                    <a:pt x="248341" y="102478"/>
                    <a:pt x="254759" y="101487"/>
                  </a:cubicBezTo>
                  <a:cubicBezTo>
                    <a:pt x="261190" y="100497"/>
                    <a:pt x="263892" y="104637"/>
                    <a:pt x="270894" y="108015"/>
                  </a:cubicBezTo>
                  <a:cubicBezTo>
                    <a:pt x="277908" y="111393"/>
                    <a:pt x="274572" y="103557"/>
                    <a:pt x="285683" y="99773"/>
                  </a:cubicBezTo>
                  <a:cubicBezTo>
                    <a:pt x="296833" y="96001"/>
                    <a:pt x="292241" y="94960"/>
                    <a:pt x="294625" y="92940"/>
                  </a:cubicBezTo>
                  <a:cubicBezTo>
                    <a:pt x="297010" y="90921"/>
                    <a:pt x="296566" y="84253"/>
                    <a:pt x="296655" y="78945"/>
                  </a:cubicBezTo>
                  <a:cubicBezTo>
                    <a:pt x="294841" y="69801"/>
                    <a:pt x="292304" y="60822"/>
                    <a:pt x="289057" y="52084"/>
                  </a:cubicBezTo>
                  <a:cubicBezTo>
                    <a:pt x="288144" y="44744"/>
                    <a:pt x="289362" y="37289"/>
                    <a:pt x="292558" y="30621"/>
                  </a:cubicBezTo>
                  <a:cubicBezTo>
                    <a:pt x="298520" y="22633"/>
                    <a:pt x="305483" y="15445"/>
                    <a:pt x="313284" y="9247"/>
                  </a:cubicBezTo>
                  <a:cubicBezTo>
                    <a:pt x="318180" y="5602"/>
                    <a:pt x="316924" y="1640"/>
                    <a:pt x="321732" y="116"/>
                  </a:cubicBezTo>
                  <a:cubicBezTo>
                    <a:pt x="326526" y="-1421"/>
                    <a:pt x="339388" y="12892"/>
                    <a:pt x="348470" y="18061"/>
                  </a:cubicBezTo>
                  <a:cubicBezTo>
                    <a:pt x="357247" y="21490"/>
                    <a:pt x="366431" y="23789"/>
                    <a:pt x="375791" y="24906"/>
                  </a:cubicBezTo>
                  <a:cubicBezTo>
                    <a:pt x="381398" y="27129"/>
                    <a:pt x="387258" y="28704"/>
                    <a:pt x="393220" y="29580"/>
                  </a:cubicBezTo>
                  <a:cubicBezTo>
                    <a:pt x="403697" y="31244"/>
                    <a:pt x="401541" y="31701"/>
                    <a:pt x="406893" y="41962"/>
                  </a:cubicBezTo>
                  <a:cubicBezTo>
                    <a:pt x="411384" y="49913"/>
                    <a:pt x="414479" y="58599"/>
                    <a:pt x="416013" y="67604"/>
                  </a:cubicBezTo>
                  <a:cubicBezTo>
                    <a:pt x="418169" y="78361"/>
                    <a:pt x="419197" y="75122"/>
                    <a:pt x="423560" y="79618"/>
                  </a:cubicBezTo>
                  <a:cubicBezTo>
                    <a:pt x="427924" y="84076"/>
                    <a:pt x="426706" y="81561"/>
                    <a:pt x="434837" y="81459"/>
                  </a:cubicBezTo>
                  <a:cubicBezTo>
                    <a:pt x="442967" y="81332"/>
                    <a:pt x="439060" y="84799"/>
                    <a:pt x="443512" y="87898"/>
                  </a:cubicBezTo>
                  <a:cubicBezTo>
                    <a:pt x="447964" y="91010"/>
                    <a:pt x="450298" y="88533"/>
                    <a:pt x="455651" y="89880"/>
                  </a:cubicBezTo>
                  <a:cubicBezTo>
                    <a:pt x="460991" y="91226"/>
                    <a:pt x="460459" y="87454"/>
                    <a:pt x="464860" y="84838"/>
                  </a:cubicBezTo>
                  <a:cubicBezTo>
                    <a:pt x="469312" y="82183"/>
                    <a:pt x="471202" y="83174"/>
                    <a:pt x="475337" y="80964"/>
                  </a:cubicBezTo>
                  <a:cubicBezTo>
                    <a:pt x="481565" y="78983"/>
                    <a:pt x="488059" y="77916"/>
                    <a:pt x="494617" y="77815"/>
                  </a:cubicBezTo>
                  <a:cubicBezTo>
                    <a:pt x="499906" y="77599"/>
                    <a:pt x="505158" y="76659"/>
                    <a:pt x="510206" y="75021"/>
                  </a:cubicBezTo>
                  <a:cubicBezTo>
                    <a:pt x="517626" y="72735"/>
                    <a:pt x="516180" y="77268"/>
                    <a:pt x="525389" y="80202"/>
                  </a:cubicBezTo>
                  <a:cubicBezTo>
                    <a:pt x="534610" y="83123"/>
                    <a:pt x="530107" y="79389"/>
                    <a:pt x="539189" y="82272"/>
                  </a:cubicBezTo>
                  <a:cubicBezTo>
                    <a:pt x="548220" y="85104"/>
                    <a:pt x="545658" y="84787"/>
                    <a:pt x="546292" y="89105"/>
                  </a:cubicBezTo>
                  <a:cubicBezTo>
                    <a:pt x="546926" y="93423"/>
                    <a:pt x="551556" y="93334"/>
                    <a:pt x="558342" y="97119"/>
                  </a:cubicBezTo>
                  <a:cubicBezTo>
                    <a:pt x="565090" y="100852"/>
                    <a:pt x="570836" y="94960"/>
                    <a:pt x="574705" y="100763"/>
                  </a:cubicBezTo>
                  <a:cubicBezTo>
                    <a:pt x="578573" y="106605"/>
                    <a:pt x="574578" y="105170"/>
                    <a:pt x="574705" y="110707"/>
                  </a:cubicBezTo>
                  <a:cubicBezTo>
                    <a:pt x="574844" y="116245"/>
                    <a:pt x="579423" y="116956"/>
                    <a:pt x="583876" y="120296"/>
                  </a:cubicBezTo>
                  <a:cubicBezTo>
                    <a:pt x="588581" y="123141"/>
                    <a:pt x="594086" y="124385"/>
                    <a:pt x="599566" y="123852"/>
                  </a:cubicBezTo>
                  <a:cubicBezTo>
                    <a:pt x="606834" y="124296"/>
                    <a:pt x="604589" y="125020"/>
                    <a:pt x="610754" y="126456"/>
                  </a:cubicBezTo>
                  <a:cubicBezTo>
                    <a:pt x="615688" y="127929"/>
                    <a:pt x="620419" y="130024"/>
                    <a:pt x="624820" y="132717"/>
                  </a:cubicBezTo>
                  <a:cubicBezTo>
                    <a:pt x="627331" y="133974"/>
                    <a:pt x="635640" y="129288"/>
                    <a:pt x="643961" y="130418"/>
                  </a:cubicBezTo>
                  <a:cubicBezTo>
                    <a:pt x="649656" y="131180"/>
                    <a:pt x="655453" y="130774"/>
                    <a:pt x="660996" y="129249"/>
                  </a:cubicBezTo>
                  <a:cubicBezTo>
                    <a:pt x="669214" y="128119"/>
                    <a:pt x="667819" y="123395"/>
                    <a:pt x="674974" y="124296"/>
                  </a:cubicBezTo>
                  <a:cubicBezTo>
                    <a:pt x="682153" y="125236"/>
                    <a:pt x="695141" y="116423"/>
                    <a:pt x="699416" y="115876"/>
                  </a:cubicBezTo>
                  <a:cubicBezTo>
                    <a:pt x="705365" y="114822"/>
                    <a:pt x="711187" y="113184"/>
                    <a:pt x="716806" y="110974"/>
                  </a:cubicBezTo>
                  <a:cubicBezTo>
                    <a:pt x="721715" y="107406"/>
                    <a:pt x="726002" y="103037"/>
                    <a:pt x="729478" y="98058"/>
                  </a:cubicBezTo>
                  <a:cubicBezTo>
                    <a:pt x="732776" y="94782"/>
                    <a:pt x="736340" y="91785"/>
                    <a:pt x="740132" y="89105"/>
                  </a:cubicBezTo>
                  <a:cubicBezTo>
                    <a:pt x="744115" y="86578"/>
                    <a:pt x="748770" y="85269"/>
                    <a:pt x="753489" y="85371"/>
                  </a:cubicBezTo>
                  <a:cubicBezTo>
                    <a:pt x="757509" y="85320"/>
                    <a:pt x="761518" y="86006"/>
                    <a:pt x="765297" y="87403"/>
                  </a:cubicBezTo>
                  <a:cubicBezTo>
                    <a:pt x="769610" y="88381"/>
                    <a:pt x="773885" y="94413"/>
                    <a:pt x="778198" y="95455"/>
                  </a:cubicBezTo>
                  <a:cubicBezTo>
                    <a:pt x="782472" y="96484"/>
                    <a:pt x="785123" y="101386"/>
                    <a:pt x="790159" y="103862"/>
                  </a:cubicBezTo>
                  <a:cubicBezTo>
                    <a:pt x="795144" y="106339"/>
                    <a:pt x="797972" y="99278"/>
                    <a:pt x="803147" y="97119"/>
                  </a:cubicBezTo>
                  <a:cubicBezTo>
                    <a:pt x="808360" y="94960"/>
                    <a:pt x="809248" y="97119"/>
                    <a:pt x="814246" y="98643"/>
                  </a:cubicBezTo>
                  <a:cubicBezTo>
                    <a:pt x="819269" y="100167"/>
                    <a:pt x="819408" y="104091"/>
                    <a:pt x="821120" y="105437"/>
                  </a:cubicBezTo>
                  <a:cubicBezTo>
                    <a:pt x="821120" y="105437"/>
                    <a:pt x="819091" y="111825"/>
                    <a:pt x="817252" y="116461"/>
                  </a:cubicBezTo>
                  <a:cubicBezTo>
                    <a:pt x="815362" y="121045"/>
                    <a:pt x="812990" y="125503"/>
                    <a:pt x="808627" y="133872"/>
                  </a:cubicBezTo>
                  <a:cubicBezTo>
                    <a:pt x="802779" y="144858"/>
                    <a:pt x="797604" y="156186"/>
                    <a:pt x="793127" y="167807"/>
                  </a:cubicBezTo>
                  <a:cubicBezTo>
                    <a:pt x="786252" y="185130"/>
                    <a:pt x="795372" y="190933"/>
                    <a:pt x="795867" y="195747"/>
                  </a:cubicBezTo>
                  <a:cubicBezTo>
                    <a:pt x="796310" y="200598"/>
                    <a:pt x="802690" y="192940"/>
                    <a:pt x="806559" y="189397"/>
                  </a:cubicBezTo>
                  <a:cubicBezTo>
                    <a:pt x="810427" y="185841"/>
                    <a:pt x="809032" y="188216"/>
                    <a:pt x="815058" y="189397"/>
                  </a:cubicBezTo>
                  <a:cubicBezTo>
                    <a:pt x="821083" y="190565"/>
                    <a:pt x="823366" y="187822"/>
                    <a:pt x="829213" y="188813"/>
                  </a:cubicBezTo>
                  <a:cubicBezTo>
                    <a:pt x="835010" y="189790"/>
                    <a:pt x="834071" y="192267"/>
                    <a:pt x="840717" y="195734"/>
                  </a:cubicBezTo>
                  <a:cubicBezTo>
                    <a:pt x="847326" y="199252"/>
                    <a:pt x="847275" y="183453"/>
                    <a:pt x="853566" y="182234"/>
                  </a:cubicBezTo>
                  <a:cubicBezTo>
                    <a:pt x="857017" y="181599"/>
                    <a:pt x="860505" y="181269"/>
                    <a:pt x="863993" y="181243"/>
                  </a:cubicBezTo>
                  <a:cubicBezTo>
                    <a:pt x="866961" y="180888"/>
                    <a:pt x="869878" y="184266"/>
                    <a:pt x="871768" y="185295"/>
                  </a:cubicBezTo>
                  <a:cubicBezTo>
                    <a:pt x="873659" y="186374"/>
                    <a:pt x="891315" y="199519"/>
                    <a:pt x="900942" y="204370"/>
                  </a:cubicBezTo>
                  <a:cubicBezTo>
                    <a:pt x="910569" y="209260"/>
                    <a:pt x="911153" y="233961"/>
                    <a:pt x="910836" y="238774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406" name="Graphic 5">
              <a:extLst>
                <a:ext uri="{FF2B5EF4-FFF2-40B4-BE49-F238E27FC236}">
                  <a16:creationId xmlns:a16="http://schemas.microsoft.com/office/drawing/2014/main" id="{2A0E52EF-282F-DE43-90B6-6B87B0974402}"/>
                </a:ext>
              </a:extLst>
            </p:cNvPr>
            <p:cNvGrpSpPr/>
            <p:nvPr/>
          </p:nvGrpSpPr>
          <p:grpSpPr>
            <a:xfrm>
              <a:off x="722184" y="1466632"/>
              <a:ext cx="2868547" cy="2388744"/>
              <a:chOff x="722184" y="1466632"/>
              <a:chExt cx="2868547" cy="2388744"/>
            </a:xfrm>
            <a:solidFill>
              <a:schemeClr val="bg2"/>
            </a:solidFill>
          </p:grpSpPr>
          <p:grpSp>
            <p:nvGrpSpPr>
              <p:cNvPr id="409" name="Graphic 5">
                <a:extLst>
                  <a:ext uri="{FF2B5EF4-FFF2-40B4-BE49-F238E27FC236}">
                    <a16:creationId xmlns:a16="http://schemas.microsoft.com/office/drawing/2014/main" id="{9813E19D-C8D2-F94D-9873-16AE240B2B84}"/>
                  </a:ext>
                </a:extLst>
              </p:cNvPr>
              <p:cNvGrpSpPr/>
              <p:nvPr/>
            </p:nvGrpSpPr>
            <p:grpSpPr>
              <a:xfrm>
                <a:off x="722184" y="1466632"/>
                <a:ext cx="1081148" cy="1197052"/>
                <a:chOff x="722184" y="1466632"/>
                <a:chExt cx="1081148" cy="1197052"/>
              </a:xfrm>
              <a:grpFill/>
            </p:grpSpPr>
            <p:sp>
              <p:nvSpPr>
                <p:cNvPr id="415" name="Vrije vorm 414">
                  <a:extLst>
                    <a:ext uri="{FF2B5EF4-FFF2-40B4-BE49-F238E27FC236}">
                      <a16:creationId xmlns:a16="http://schemas.microsoft.com/office/drawing/2014/main" id="{26F6970A-F64B-E545-BD80-2EC6236B333A}"/>
                    </a:ext>
                  </a:extLst>
                </p:cNvPr>
                <p:cNvSpPr/>
                <p:nvPr/>
              </p:nvSpPr>
              <p:spPr>
                <a:xfrm>
                  <a:off x="1103061" y="2372319"/>
                  <a:ext cx="72192" cy="66318"/>
                </a:xfrm>
                <a:custGeom>
                  <a:avLst/>
                  <a:gdLst>
                    <a:gd name="connsiteX0" fmla="*/ 63309 w 72192"/>
                    <a:gd name="connsiteY0" fmla="*/ 15159 h 66318"/>
                    <a:gd name="connsiteX1" fmla="*/ 60875 w 72192"/>
                    <a:gd name="connsiteY1" fmla="*/ 5726 h 66318"/>
                    <a:gd name="connsiteX2" fmla="*/ 52430 w 72192"/>
                    <a:gd name="connsiteY2" fmla="*/ 7273 h 66318"/>
                    <a:gd name="connsiteX3" fmla="*/ 40304 w 72192"/>
                    <a:gd name="connsiteY3" fmla="*/ 1 h 66318"/>
                    <a:gd name="connsiteX4" fmla="*/ 43297 w 72192"/>
                    <a:gd name="connsiteY4" fmla="*/ 16023 h 66318"/>
                    <a:gd name="connsiteX5" fmla="*/ 38067 w 72192"/>
                    <a:gd name="connsiteY5" fmla="*/ 16023 h 66318"/>
                    <a:gd name="connsiteX6" fmla="*/ 33401 w 72192"/>
                    <a:gd name="connsiteY6" fmla="*/ 15298 h 66318"/>
                    <a:gd name="connsiteX7" fmla="*/ 30074 w 72192"/>
                    <a:gd name="connsiteY7" fmla="*/ 6764 h 66318"/>
                    <a:gd name="connsiteX8" fmla="*/ 30851 w 72192"/>
                    <a:gd name="connsiteY8" fmla="*/ 21557 h 66318"/>
                    <a:gd name="connsiteX9" fmla="*/ 23280 w 72192"/>
                    <a:gd name="connsiteY9" fmla="*/ 19281 h 66318"/>
                    <a:gd name="connsiteX10" fmla="*/ 26467 w 72192"/>
                    <a:gd name="connsiteY10" fmla="*/ 34661 h 66318"/>
                    <a:gd name="connsiteX11" fmla="*/ 18070 w 72192"/>
                    <a:gd name="connsiteY11" fmla="*/ 25161 h 66318"/>
                    <a:gd name="connsiteX12" fmla="*/ 5214 w 72192"/>
                    <a:gd name="connsiteY12" fmla="*/ 26166 h 66318"/>
                    <a:gd name="connsiteX13" fmla="*/ 16566 w 72192"/>
                    <a:gd name="connsiteY13" fmla="*/ 46855 h 66318"/>
                    <a:gd name="connsiteX14" fmla="*/ 13173 w 72192"/>
                    <a:gd name="connsiteY14" fmla="*/ 45242 h 66318"/>
                    <a:gd name="connsiteX15" fmla="*/ 25097 w 72192"/>
                    <a:gd name="connsiteY15" fmla="*/ 46355 h 66318"/>
                    <a:gd name="connsiteX16" fmla="*/ 20766 w 72192"/>
                    <a:gd name="connsiteY16" fmla="*/ 55235 h 66318"/>
                    <a:gd name="connsiteX17" fmla="*/ 24777 w 72192"/>
                    <a:gd name="connsiteY17" fmla="*/ 53234 h 66318"/>
                    <a:gd name="connsiteX18" fmla="*/ 24615 w 72192"/>
                    <a:gd name="connsiteY18" fmla="*/ 61400 h 66318"/>
                    <a:gd name="connsiteX19" fmla="*/ 29323 w 72192"/>
                    <a:gd name="connsiteY19" fmla="*/ 52777 h 66318"/>
                    <a:gd name="connsiteX20" fmla="*/ 34243 w 72192"/>
                    <a:gd name="connsiteY20" fmla="*/ 49441 h 66318"/>
                    <a:gd name="connsiteX21" fmla="*/ 35461 w 72192"/>
                    <a:gd name="connsiteY21" fmla="*/ 47220 h 66318"/>
                    <a:gd name="connsiteX22" fmla="*/ 43166 w 72192"/>
                    <a:gd name="connsiteY22" fmla="*/ 37042 h 66318"/>
                    <a:gd name="connsiteX23" fmla="*/ 50799 w 72192"/>
                    <a:gd name="connsiteY23" fmla="*/ 35550 h 66318"/>
                    <a:gd name="connsiteX24" fmla="*/ 47559 w 72192"/>
                    <a:gd name="connsiteY24" fmla="*/ 30829 h 66318"/>
                    <a:gd name="connsiteX25" fmla="*/ 72166 w 72192"/>
                    <a:gd name="connsiteY25" fmla="*/ 20396 h 66318"/>
                    <a:gd name="connsiteX26" fmla="*/ 63309 w 72192"/>
                    <a:gd name="connsiteY26" fmla="*/ 15159 h 663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72192" h="66318">
                      <a:moveTo>
                        <a:pt x="63309" y="15159"/>
                      </a:moveTo>
                      <a:cubicBezTo>
                        <a:pt x="58220" y="17908"/>
                        <a:pt x="72636" y="8155"/>
                        <a:pt x="60875" y="5726"/>
                      </a:cubicBezTo>
                      <a:cubicBezTo>
                        <a:pt x="58445" y="1434"/>
                        <a:pt x="45967" y="23610"/>
                        <a:pt x="52430" y="7273"/>
                      </a:cubicBezTo>
                      <a:cubicBezTo>
                        <a:pt x="54921" y="1369"/>
                        <a:pt x="45790" y="5728"/>
                        <a:pt x="40304" y="1"/>
                      </a:cubicBezTo>
                      <a:cubicBezTo>
                        <a:pt x="51910" y="18581"/>
                        <a:pt x="38988" y="-4378"/>
                        <a:pt x="43297" y="16023"/>
                      </a:cubicBezTo>
                      <a:cubicBezTo>
                        <a:pt x="38350" y="7746"/>
                        <a:pt x="33473" y="6102"/>
                        <a:pt x="38067" y="16023"/>
                      </a:cubicBezTo>
                      <a:cubicBezTo>
                        <a:pt x="31524" y="5783"/>
                        <a:pt x="38641" y="21152"/>
                        <a:pt x="33401" y="15298"/>
                      </a:cubicBezTo>
                      <a:cubicBezTo>
                        <a:pt x="34502" y="26713"/>
                        <a:pt x="32749" y="9463"/>
                        <a:pt x="30074" y="6764"/>
                      </a:cubicBezTo>
                      <a:cubicBezTo>
                        <a:pt x="10779" y="8504"/>
                        <a:pt x="30531" y="17432"/>
                        <a:pt x="30851" y="21557"/>
                      </a:cubicBezTo>
                      <a:cubicBezTo>
                        <a:pt x="30292" y="20160"/>
                        <a:pt x="25842" y="17485"/>
                        <a:pt x="23280" y="19281"/>
                      </a:cubicBezTo>
                      <a:cubicBezTo>
                        <a:pt x="29622" y="26639"/>
                        <a:pt x="22042" y="23205"/>
                        <a:pt x="26467" y="34661"/>
                      </a:cubicBezTo>
                      <a:cubicBezTo>
                        <a:pt x="23803" y="30202"/>
                        <a:pt x="19490" y="23828"/>
                        <a:pt x="18070" y="25161"/>
                      </a:cubicBezTo>
                      <a:cubicBezTo>
                        <a:pt x="28128" y="16599"/>
                        <a:pt x="3062" y="17306"/>
                        <a:pt x="5214" y="26166"/>
                      </a:cubicBezTo>
                      <a:cubicBezTo>
                        <a:pt x="-11302" y="26117"/>
                        <a:pt x="16494" y="81126"/>
                        <a:pt x="16566" y="46855"/>
                      </a:cubicBezTo>
                      <a:cubicBezTo>
                        <a:pt x="8584" y="50980"/>
                        <a:pt x="643" y="48337"/>
                        <a:pt x="13173" y="45242"/>
                      </a:cubicBezTo>
                      <a:cubicBezTo>
                        <a:pt x="27929" y="44262"/>
                        <a:pt x="6904" y="63184"/>
                        <a:pt x="25097" y="46355"/>
                      </a:cubicBezTo>
                      <a:cubicBezTo>
                        <a:pt x="30624" y="43788"/>
                        <a:pt x="19801" y="51267"/>
                        <a:pt x="20766" y="55235"/>
                      </a:cubicBezTo>
                      <a:cubicBezTo>
                        <a:pt x="24089" y="56796"/>
                        <a:pt x="23779" y="50282"/>
                        <a:pt x="24777" y="53234"/>
                      </a:cubicBezTo>
                      <a:cubicBezTo>
                        <a:pt x="25764" y="52284"/>
                        <a:pt x="8243" y="76378"/>
                        <a:pt x="24615" y="61400"/>
                      </a:cubicBezTo>
                      <a:cubicBezTo>
                        <a:pt x="24695" y="62302"/>
                        <a:pt x="36587" y="52638"/>
                        <a:pt x="29323" y="52777"/>
                      </a:cubicBezTo>
                      <a:cubicBezTo>
                        <a:pt x="37769" y="49856"/>
                        <a:pt x="18323" y="50374"/>
                        <a:pt x="34243" y="49441"/>
                      </a:cubicBezTo>
                      <a:cubicBezTo>
                        <a:pt x="33066" y="44816"/>
                        <a:pt x="33411" y="41059"/>
                        <a:pt x="35461" y="47220"/>
                      </a:cubicBezTo>
                      <a:cubicBezTo>
                        <a:pt x="35744" y="40057"/>
                        <a:pt x="60025" y="41505"/>
                        <a:pt x="43166" y="37042"/>
                      </a:cubicBezTo>
                      <a:cubicBezTo>
                        <a:pt x="43137" y="34756"/>
                        <a:pt x="46916" y="37065"/>
                        <a:pt x="50799" y="35550"/>
                      </a:cubicBezTo>
                      <a:cubicBezTo>
                        <a:pt x="59256" y="49051"/>
                        <a:pt x="63267" y="20513"/>
                        <a:pt x="47559" y="30829"/>
                      </a:cubicBezTo>
                      <a:cubicBezTo>
                        <a:pt x="50676" y="17875"/>
                        <a:pt x="66585" y="41341"/>
                        <a:pt x="72166" y="20396"/>
                      </a:cubicBezTo>
                      <a:cubicBezTo>
                        <a:pt x="63478" y="20366"/>
                        <a:pt x="63572" y="20946"/>
                        <a:pt x="63309" y="15159"/>
                      </a:cubicBezTo>
                      <a:close/>
                    </a:path>
                  </a:pathLst>
                </a:custGeom>
                <a:grpFill/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16" name="Vrije vorm 415">
                  <a:extLst>
                    <a:ext uri="{FF2B5EF4-FFF2-40B4-BE49-F238E27FC236}">
                      <a16:creationId xmlns:a16="http://schemas.microsoft.com/office/drawing/2014/main" id="{44DF552B-10C3-E14A-99FB-547746B667F0}"/>
                    </a:ext>
                  </a:extLst>
                </p:cNvPr>
                <p:cNvSpPr/>
                <p:nvPr/>
              </p:nvSpPr>
              <p:spPr>
                <a:xfrm>
                  <a:off x="743586" y="2237826"/>
                  <a:ext cx="51017" cy="36938"/>
                </a:xfrm>
                <a:custGeom>
                  <a:avLst/>
                  <a:gdLst>
                    <a:gd name="connsiteX0" fmla="*/ 34673 w 51017"/>
                    <a:gd name="connsiteY0" fmla="*/ 1 h 36938"/>
                    <a:gd name="connsiteX1" fmla="*/ 10960 w 51017"/>
                    <a:gd name="connsiteY1" fmla="*/ 24661 h 36938"/>
                    <a:gd name="connsiteX2" fmla="*/ 31559 w 51017"/>
                    <a:gd name="connsiteY2" fmla="*/ 34346 h 36938"/>
                    <a:gd name="connsiteX3" fmla="*/ 50991 w 51017"/>
                    <a:gd name="connsiteY3" fmla="*/ 27716 h 36938"/>
                    <a:gd name="connsiteX4" fmla="*/ 46911 w 51017"/>
                    <a:gd name="connsiteY4" fmla="*/ 7471 h 36938"/>
                    <a:gd name="connsiteX5" fmla="*/ 34673 w 51017"/>
                    <a:gd name="connsiteY5" fmla="*/ 1 h 369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1017" h="36938">
                      <a:moveTo>
                        <a:pt x="34673" y="1"/>
                      </a:moveTo>
                      <a:cubicBezTo>
                        <a:pt x="34376" y="7917"/>
                        <a:pt x="-23594" y="11982"/>
                        <a:pt x="10960" y="24661"/>
                      </a:cubicBezTo>
                      <a:cubicBezTo>
                        <a:pt x="11233" y="30548"/>
                        <a:pt x="48730" y="42104"/>
                        <a:pt x="31559" y="34346"/>
                      </a:cubicBezTo>
                      <a:cubicBezTo>
                        <a:pt x="35329" y="30461"/>
                        <a:pt x="51061" y="33130"/>
                        <a:pt x="50991" y="27716"/>
                      </a:cubicBezTo>
                      <a:cubicBezTo>
                        <a:pt x="47714" y="23861"/>
                        <a:pt x="48328" y="14107"/>
                        <a:pt x="46911" y="7471"/>
                      </a:cubicBezTo>
                      <a:cubicBezTo>
                        <a:pt x="43334" y="2489"/>
                        <a:pt x="37163" y="10382"/>
                        <a:pt x="34673" y="1"/>
                      </a:cubicBezTo>
                      <a:close/>
                    </a:path>
                  </a:pathLst>
                </a:custGeom>
                <a:grpFill/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17" name="Vrije vorm 416">
                  <a:extLst>
                    <a:ext uri="{FF2B5EF4-FFF2-40B4-BE49-F238E27FC236}">
                      <a16:creationId xmlns:a16="http://schemas.microsoft.com/office/drawing/2014/main" id="{04E3749E-768F-5A48-8662-33CED2F7B9CE}"/>
                    </a:ext>
                  </a:extLst>
                </p:cNvPr>
                <p:cNvSpPr/>
                <p:nvPr/>
              </p:nvSpPr>
              <p:spPr>
                <a:xfrm>
                  <a:off x="1663954" y="2355372"/>
                  <a:ext cx="32126" cy="67506"/>
                </a:xfrm>
                <a:custGeom>
                  <a:avLst/>
                  <a:gdLst>
                    <a:gd name="connsiteX0" fmla="*/ 26999 w 32126"/>
                    <a:gd name="connsiteY0" fmla="*/ 46741 h 67506"/>
                    <a:gd name="connsiteX1" fmla="*/ 24272 w 32126"/>
                    <a:gd name="connsiteY1" fmla="*/ 43480 h 67506"/>
                    <a:gd name="connsiteX2" fmla="*/ 31946 w 32126"/>
                    <a:gd name="connsiteY2" fmla="*/ 39877 h 67506"/>
                    <a:gd name="connsiteX3" fmla="*/ 4117 w 32126"/>
                    <a:gd name="connsiteY3" fmla="*/ 11581 h 67506"/>
                    <a:gd name="connsiteX4" fmla="*/ 10269 w 32126"/>
                    <a:gd name="connsiteY4" fmla="*/ 43479 h 67506"/>
                    <a:gd name="connsiteX5" fmla="*/ 13186 w 32126"/>
                    <a:gd name="connsiteY5" fmla="*/ 49627 h 67506"/>
                    <a:gd name="connsiteX6" fmla="*/ 10561 w 32126"/>
                    <a:gd name="connsiteY6" fmla="*/ 49453 h 67506"/>
                    <a:gd name="connsiteX7" fmla="*/ 21368 w 32126"/>
                    <a:gd name="connsiteY7" fmla="*/ 49984 h 67506"/>
                    <a:gd name="connsiteX8" fmla="*/ 26999 w 32126"/>
                    <a:gd name="connsiteY8" fmla="*/ 46741 h 675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2126" h="67506">
                      <a:moveTo>
                        <a:pt x="26999" y="46741"/>
                      </a:moveTo>
                      <a:cubicBezTo>
                        <a:pt x="23016" y="45561"/>
                        <a:pt x="24653" y="46082"/>
                        <a:pt x="24272" y="43480"/>
                      </a:cubicBezTo>
                      <a:cubicBezTo>
                        <a:pt x="38973" y="54884"/>
                        <a:pt x="-1223" y="-20508"/>
                        <a:pt x="31946" y="39877"/>
                      </a:cubicBezTo>
                      <a:cubicBezTo>
                        <a:pt x="35206" y="21856"/>
                        <a:pt x="-14373" y="-20305"/>
                        <a:pt x="4117" y="11581"/>
                      </a:cubicBezTo>
                      <a:cubicBezTo>
                        <a:pt x="5208" y="2026"/>
                        <a:pt x="4307" y="36655"/>
                        <a:pt x="10269" y="43479"/>
                      </a:cubicBezTo>
                      <a:cubicBezTo>
                        <a:pt x="23143" y="39139"/>
                        <a:pt x="5373" y="43912"/>
                        <a:pt x="13186" y="49627"/>
                      </a:cubicBezTo>
                      <a:cubicBezTo>
                        <a:pt x="22230" y="51041"/>
                        <a:pt x="13694" y="52738"/>
                        <a:pt x="10561" y="49453"/>
                      </a:cubicBezTo>
                      <a:cubicBezTo>
                        <a:pt x="2734" y="79161"/>
                        <a:pt x="24970" y="67014"/>
                        <a:pt x="21368" y="49984"/>
                      </a:cubicBezTo>
                      <a:cubicBezTo>
                        <a:pt x="27875" y="57691"/>
                        <a:pt x="32847" y="50555"/>
                        <a:pt x="26999" y="46741"/>
                      </a:cubicBezTo>
                      <a:close/>
                    </a:path>
                  </a:pathLst>
                </a:custGeom>
                <a:grpFill/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18" name="Vrije vorm 417">
                  <a:extLst>
                    <a:ext uri="{FF2B5EF4-FFF2-40B4-BE49-F238E27FC236}">
                      <a16:creationId xmlns:a16="http://schemas.microsoft.com/office/drawing/2014/main" id="{654BA19B-E212-3B41-B9F9-767E548F9A5A}"/>
                    </a:ext>
                  </a:extLst>
                </p:cNvPr>
                <p:cNvSpPr/>
                <p:nvPr/>
              </p:nvSpPr>
              <p:spPr>
                <a:xfrm>
                  <a:off x="1623235" y="2358448"/>
                  <a:ext cx="49384" cy="104778"/>
                </a:xfrm>
                <a:custGeom>
                  <a:avLst/>
                  <a:gdLst>
                    <a:gd name="connsiteX0" fmla="*/ 27083 w 49384"/>
                    <a:gd name="connsiteY0" fmla="*/ 43679 h 104778"/>
                    <a:gd name="connsiteX1" fmla="*/ 22505 w 49384"/>
                    <a:gd name="connsiteY1" fmla="*/ 43933 h 104778"/>
                    <a:gd name="connsiteX2" fmla="*/ 20440 w 49384"/>
                    <a:gd name="connsiteY2" fmla="*/ 37259 h 104778"/>
                    <a:gd name="connsiteX3" fmla="*/ 18734 w 49384"/>
                    <a:gd name="connsiteY3" fmla="*/ 31700 h 104778"/>
                    <a:gd name="connsiteX4" fmla="*/ 43821 w 49384"/>
                    <a:gd name="connsiteY4" fmla="*/ 41717 h 104778"/>
                    <a:gd name="connsiteX5" fmla="*/ 13475 w 49384"/>
                    <a:gd name="connsiteY5" fmla="*/ 14948 h 104778"/>
                    <a:gd name="connsiteX6" fmla="*/ 38658 w 49384"/>
                    <a:gd name="connsiteY6" fmla="*/ 22963 h 104778"/>
                    <a:gd name="connsiteX7" fmla="*/ 41386 w 49384"/>
                    <a:gd name="connsiteY7" fmla="*/ 16040 h 104778"/>
                    <a:gd name="connsiteX8" fmla="*/ 20094 w 49384"/>
                    <a:gd name="connsiteY8" fmla="*/ 17132 h 104778"/>
                    <a:gd name="connsiteX9" fmla="*/ 17176 w 49384"/>
                    <a:gd name="connsiteY9" fmla="*/ 1 h 104778"/>
                    <a:gd name="connsiteX10" fmla="*/ 5726 w 49384"/>
                    <a:gd name="connsiteY10" fmla="*/ 8510 h 104778"/>
                    <a:gd name="connsiteX11" fmla="*/ 9405 w 49384"/>
                    <a:gd name="connsiteY11" fmla="*/ 22596 h 104778"/>
                    <a:gd name="connsiteX12" fmla="*/ 16590 w 49384"/>
                    <a:gd name="connsiteY12" fmla="*/ 44388 h 104778"/>
                    <a:gd name="connsiteX13" fmla="*/ 22151 w 49384"/>
                    <a:gd name="connsiteY13" fmla="*/ 46116 h 104778"/>
                    <a:gd name="connsiteX14" fmla="*/ 25126 w 49384"/>
                    <a:gd name="connsiteY14" fmla="*/ 47909 h 104778"/>
                    <a:gd name="connsiteX15" fmla="*/ 28013 w 49384"/>
                    <a:gd name="connsiteY15" fmla="*/ 59348 h 104778"/>
                    <a:gd name="connsiteX16" fmla="*/ 33431 w 49384"/>
                    <a:gd name="connsiteY16" fmla="*/ 64800 h 104778"/>
                    <a:gd name="connsiteX17" fmla="*/ 35248 w 49384"/>
                    <a:gd name="connsiteY17" fmla="*/ 75895 h 104778"/>
                    <a:gd name="connsiteX18" fmla="*/ 37809 w 49384"/>
                    <a:gd name="connsiteY18" fmla="*/ 78843 h 104778"/>
                    <a:gd name="connsiteX19" fmla="*/ 39762 w 49384"/>
                    <a:gd name="connsiteY19" fmla="*/ 81637 h 104778"/>
                    <a:gd name="connsiteX20" fmla="*/ 38151 w 49384"/>
                    <a:gd name="connsiteY20" fmla="*/ 90349 h 104778"/>
                    <a:gd name="connsiteX21" fmla="*/ 27083 w 49384"/>
                    <a:gd name="connsiteY21" fmla="*/ 43679 h 1047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49384" h="104778">
                      <a:moveTo>
                        <a:pt x="27083" y="43679"/>
                      </a:moveTo>
                      <a:cubicBezTo>
                        <a:pt x="34659" y="34568"/>
                        <a:pt x="24839" y="39596"/>
                        <a:pt x="22505" y="43933"/>
                      </a:cubicBezTo>
                      <a:cubicBezTo>
                        <a:pt x="22174" y="41613"/>
                        <a:pt x="21478" y="39360"/>
                        <a:pt x="20440" y="37259"/>
                      </a:cubicBezTo>
                      <a:cubicBezTo>
                        <a:pt x="27933" y="35489"/>
                        <a:pt x="9931" y="32466"/>
                        <a:pt x="18734" y="31700"/>
                      </a:cubicBezTo>
                      <a:cubicBezTo>
                        <a:pt x="11268" y="17371"/>
                        <a:pt x="39496" y="51095"/>
                        <a:pt x="43821" y="41717"/>
                      </a:cubicBezTo>
                      <a:cubicBezTo>
                        <a:pt x="42502" y="20853"/>
                        <a:pt x="26005" y="30515"/>
                        <a:pt x="13475" y="14948"/>
                      </a:cubicBezTo>
                      <a:cubicBezTo>
                        <a:pt x="18574" y="15818"/>
                        <a:pt x="41233" y="33502"/>
                        <a:pt x="38658" y="22963"/>
                      </a:cubicBezTo>
                      <a:cubicBezTo>
                        <a:pt x="26329" y="11200"/>
                        <a:pt x="43123" y="28264"/>
                        <a:pt x="41386" y="16040"/>
                      </a:cubicBezTo>
                      <a:cubicBezTo>
                        <a:pt x="35257" y="4000"/>
                        <a:pt x="24868" y="6996"/>
                        <a:pt x="20094" y="17132"/>
                      </a:cubicBezTo>
                      <a:cubicBezTo>
                        <a:pt x="10990" y="11606"/>
                        <a:pt x="34744" y="11310"/>
                        <a:pt x="17176" y="1"/>
                      </a:cubicBezTo>
                      <a:cubicBezTo>
                        <a:pt x="11228" y="3671"/>
                        <a:pt x="2916" y="2563"/>
                        <a:pt x="5726" y="8510"/>
                      </a:cubicBezTo>
                      <a:cubicBezTo>
                        <a:pt x="-1214" y="-1471"/>
                        <a:pt x="-2899" y="11605"/>
                        <a:pt x="9405" y="22596"/>
                      </a:cubicBezTo>
                      <a:cubicBezTo>
                        <a:pt x="-14304" y="4825"/>
                        <a:pt x="13828" y="41991"/>
                        <a:pt x="16590" y="44388"/>
                      </a:cubicBezTo>
                      <a:cubicBezTo>
                        <a:pt x="3361" y="35921"/>
                        <a:pt x="19413" y="50437"/>
                        <a:pt x="22151" y="46116"/>
                      </a:cubicBezTo>
                      <a:cubicBezTo>
                        <a:pt x="22429" y="46945"/>
                        <a:pt x="23274" y="47616"/>
                        <a:pt x="25126" y="47909"/>
                      </a:cubicBezTo>
                      <a:cubicBezTo>
                        <a:pt x="10681" y="50104"/>
                        <a:pt x="32085" y="52577"/>
                        <a:pt x="28013" y="59348"/>
                      </a:cubicBezTo>
                      <a:cubicBezTo>
                        <a:pt x="33800" y="53720"/>
                        <a:pt x="22755" y="67296"/>
                        <a:pt x="33431" y="64800"/>
                      </a:cubicBezTo>
                      <a:cubicBezTo>
                        <a:pt x="32736" y="65631"/>
                        <a:pt x="21569" y="82049"/>
                        <a:pt x="35248" y="75895"/>
                      </a:cubicBezTo>
                      <a:cubicBezTo>
                        <a:pt x="32359" y="81627"/>
                        <a:pt x="33207" y="87107"/>
                        <a:pt x="37809" y="78843"/>
                      </a:cubicBezTo>
                      <a:cubicBezTo>
                        <a:pt x="36439" y="82792"/>
                        <a:pt x="33616" y="93935"/>
                        <a:pt x="39762" y="81637"/>
                      </a:cubicBezTo>
                      <a:cubicBezTo>
                        <a:pt x="37986" y="91755"/>
                        <a:pt x="46561" y="77573"/>
                        <a:pt x="38151" y="90349"/>
                      </a:cubicBezTo>
                      <a:cubicBezTo>
                        <a:pt x="55744" y="143905"/>
                        <a:pt x="53042" y="30155"/>
                        <a:pt x="27083" y="43679"/>
                      </a:cubicBezTo>
                      <a:close/>
                    </a:path>
                  </a:pathLst>
                </a:custGeom>
                <a:grpFill/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19" name="Vrije vorm 418">
                  <a:extLst>
                    <a:ext uri="{FF2B5EF4-FFF2-40B4-BE49-F238E27FC236}">
                      <a16:creationId xmlns:a16="http://schemas.microsoft.com/office/drawing/2014/main" id="{92C81DD0-DD75-844E-8872-55A9A8DECB74}"/>
                    </a:ext>
                  </a:extLst>
                </p:cNvPr>
                <p:cNvSpPr/>
                <p:nvPr/>
              </p:nvSpPr>
              <p:spPr>
                <a:xfrm>
                  <a:off x="1689930" y="2420942"/>
                  <a:ext cx="30612" cy="33602"/>
                </a:xfrm>
                <a:custGeom>
                  <a:avLst/>
                  <a:gdLst>
                    <a:gd name="connsiteX0" fmla="*/ 24921 w 30612"/>
                    <a:gd name="connsiteY0" fmla="*/ 28975 h 33602"/>
                    <a:gd name="connsiteX1" fmla="*/ 18908 w 30612"/>
                    <a:gd name="connsiteY1" fmla="*/ 13124 h 33602"/>
                    <a:gd name="connsiteX2" fmla="*/ 2850 w 30612"/>
                    <a:gd name="connsiteY2" fmla="*/ 379 h 33602"/>
                    <a:gd name="connsiteX3" fmla="*/ 3535 w 30612"/>
                    <a:gd name="connsiteY3" fmla="*/ 9812 h 33602"/>
                    <a:gd name="connsiteX4" fmla="*/ 8976 w 30612"/>
                    <a:gd name="connsiteY4" fmla="*/ 13410 h 33602"/>
                    <a:gd name="connsiteX5" fmla="*/ 24921 w 30612"/>
                    <a:gd name="connsiteY5" fmla="*/ 28975 h 336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0612" h="33602">
                      <a:moveTo>
                        <a:pt x="24921" y="28975"/>
                      </a:moveTo>
                      <a:cubicBezTo>
                        <a:pt x="28764" y="23185"/>
                        <a:pt x="18819" y="20997"/>
                        <a:pt x="18908" y="13124"/>
                      </a:cubicBezTo>
                      <a:cubicBezTo>
                        <a:pt x="40408" y="39653"/>
                        <a:pt x="30578" y="-4480"/>
                        <a:pt x="2850" y="379"/>
                      </a:cubicBezTo>
                      <a:cubicBezTo>
                        <a:pt x="-7779" y="2846"/>
                        <a:pt x="15357" y="13368"/>
                        <a:pt x="3535" y="9812"/>
                      </a:cubicBezTo>
                      <a:cubicBezTo>
                        <a:pt x="4600" y="11373"/>
                        <a:pt x="6934" y="15865"/>
                        <a:pt x="8976" y="13410"/>
                      </a:cubicBezTo>
                      <a:cubicBezTo>
                        <a:pt x="9966" y="25686"/>
                        <a:pt x="7175" y="41608"/>
                        <a:pt x="24921" y="28975"/>
                      </a:cubicBezTo>
                      <a:close/>
                    </a:path>
                  </a:pathLst>
                </a:custGeom>
                <a:grpFill/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0" name="Vrije vorm 419">
                  <a:extLst>
                    <a:ext uri="{FF2B5EF4-FFF2-40B4-BE49-F238E27FC236}">
                      <a16:creationId xmlns:a16="http://schemas.microsoft.com/office/drawing/2014/main" id="{6A4333E9-01D2-E742-8CBC-399171DAD34D}"/>
                    </a:ext>
                  </a:extLst>
                </p:cNvPr>
                <p:cNvSpPr/>
                <p:nvPr/>
              </p:nvSpPr>
              <p:spPr>
                <a:xfrm>
                  <a:off x="1701073" y="2460002"/>
                  <a:ext cx="46693" cy="81605"/>
                </a:xfrm>
                <a:custGeom>
                  <a:avLst/>
                  <a:gdLst>
                    <a:gd name="connsiteX0" fmla="*/ 16593 w 46693"/>
                    <a:gd name="connsiteY0" fmla="*/ 55829 h 81605"/>
                    <a:gd name="connsiteX1" fmla="*/ 23278 w 46693"/>
                    <a:gd name="connsiteY1" fmla="*/ 53605 h 81605"/>
                    <a:gd name="connsiteX2" fmla="*/ 27768 w 46693"/>
                    <a:gd name="connsiteY2" fmla="*/ 54317 h 81605"/>
                    <a:gd name="connsiteX3" fmla="*/ 30888 w 46693"/>
                    <a:gd name="connsiteY3" fmla="*/ 64140 h 81605"/>
                    <a:gd name="connsiteX4" fmla="*/ 30888 w 46693"/>
                    <a:gd name="connsiteY4" fmla="*/ 66189 h 81605"/>
                    <a:gd name="connsiteX5" fmla="*/ 32512 w 46693"/>
                    <a:gd name="connsiteY5" fmla="*/ 69604 h 81605"/>
                    <a:gd name="connsiteX6" fmla="*/ 46617 w 46693"/>
                    <a:gd name="connsiteY6" fmla="*/ 75319 h 81605"/>
                    <a:gd name="connsiteX7" fmla="*/ 40021 w 46693"/>
                    <a:gd name="connsiteY7" fmla="*/ 66880 h 81605"/>
                    <a:gd name="connsiteX8" fmla="*/ 43243 w 46693"/>
                    <a:gd name="connsiteY8" fmla="*/ 53776 h 81605"/>
                    <a:gd name="connsiteX9" fmla="*/ 35404 w 46693"/>
                    <a:gd name="connsiteY9" fmla="*/ 46779 h 81605"/>
                    <a:gd name="connsiteX10" fmla="*/ 32372 w 46693"/>
                    <a:gd name="connsiteY10" fmla="*/ 47618 h 81605"/>
                    <a:gd name="connsiteX11" fmla="*/ 30584 w 46693"/>
                    <a:gd name="connsiteY11" fmla="*/ 42376 h 81605"/>
                    <a:gd name="connsiteX12" fmla="*/ 30533 w 46693"/>
                    <a:gd name="connsiteY12" fmla="*/ 37280 h 81605"/>
                    <a:gd name="connsiteX13" fmla="*/ 9236 w 46693"/>
                    <a:gd name="connsiteY13" fmla="*/ 1024 h 81605"/>
                    <a:gd name="connsiteX14" fmla="*/ 9477 w 46693"/>
                    <a:gd name="connsiteY14" fmla="*/ 8481 h 81605"/>
                    <a:gd name="connsiteX15" fmla="*/ 16885 w 46693"/>
                    <a:gd name="connsiteY15" fmla="*/ 37213 h 81605"/>
                    <a:gd name="connsiteX16" fmla="*/ 13498 w 46693"/>
                    <a:gd name="connsiteY16" fmla="*/ 48135 h 81605"/>
                    <a:gd name="connsiteX17" fmla="*/ 16593 w 46693"/>
                    <a:gd name="connsiteY17" fmla="*/ 55829 h 816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46693" h="81605">
                      <a:moveTo>
                        <a:pt x="16593" y="55829"/>
                      </a:moveTo>
                      <a:cubicBezTo>
                        <a:pt x="19130" y="59103"/>
                        <a:pt x="21654" y="53318"/>
                        <a:pt x="23278" y="53605"/>
                      </a:cubicBezTo>
                      <a:cubicBezTo>
                        <a:pt x="22327" y="60289"/>
                        <a:pt x="30026" y="62345"/>
                        <a:pt x="27768" y="54317"/>
                      </a:cubicBezTo>
                      <a:cubicBezTo>
                        <a:pt x="30723" y="62881"/>
                        <a:pt x="27603" y="60949"/>
                        <a:pt x="30888" y="64140"/>
                      </a:cubicBezTo>
                      <a:cubicBezTo>
                        <a:pt x="36444" y="65054"/>
                        <a:pt x="25700" y="64107"/>
                        <a:pt x="30888" y="66189"/>
                      </a:cubicBezTo>
                      <a:cubicBezTo>
                        <a:pt x="24965" y="72467"/>
                        <a:pt x="36203" y="65595"/>
                        <a:pt x="32512" y="69604"/>
                      </a:cubicBezTo>
                      <a:cubicBezTo>
                        <a:pt x="37129" y="66175"/>
                        <a:pt x="40655" y="93480"/>
                        <a:pt x="46617" y="75319"/>
                      </a:cubicBezTo>
                      <a:cubicBezTo>
                        <a:pt x="45437" y="65591"/>
                        <a:pt x="48088" y="67396"/>
                        <a:pt x="40021" y="66880"/>
                      </a:cubicBezTo>
                      <a:cubicBezTo>
                        <a:pt x="59339" y="50736"/>
                        <a:pt x="28948" y="59147"/>
                        <a:pt x="43243" y="53776"/>
                      </a:cubicBezTo>
                      <a:cubicBezTo>
                        <a:pt x="43002" y="49677"/>
                        <a:pt x="39501" y="46544"/>
                        <a:pt x="35404" y="46779"/>
                      </a:cubicBezTo>
                      <a:cubicBezTo>
                        <a:pt x="34351" y="46840"/>
                        <a:pt x="33311" y="47125"/>
                        <a:pt x="32372" y="47618"/>
                      </a:cubicBezTo>
                      <a:cubicBezTo>
                        <a:pt x="36863" y="44133"/>
                        <a:pt x="40034" y="41921"/>
                        <a:pt x="30584" y="42376"/>
                      </a:cubicBezTo>
                      <a:cubicBezTo>
                        <a:pt x="22327" y="49742"/>
                        <a:pt x="32487" y="40250"/>
                        <a:pt x="30533" y="37280"/>
                      </a:cubicBezTo>
                      <a:cubicBezTo>
                        <a:pt x="54823" y="55792"/>
                        <a:pt x="15414" y="4067"/>
                        <a:pt x="9236" y="1024"/>
                      </a:cubicBezTo>
                      <a:cubicBezTo>
                        <a:pt x="3617" y="-3040"/>
                        <a:pt x="-8572" y="6158"/>
                        <a:pt x="9477" y="8481"/>
                      </a:cubicBezTo>
                      <a:cubicBezTo>
                        <a:pt x="19117" y="35897"/>
                        <a:pt x="-6200" y="35082"/>
                        <a:pt x="16885" y="37213"/>
                      </a:cubicBezTo>
                      <a:cubicBezTo>
                        <a:pt x="6357" y="45615"/>
                        <a:pt x="32131" y="52673"/>
                        <a:pt x="13498" y="48135"/>
                      </a:cubicBezTo>
                      <a:cubicBezTo>
                        <a:pt x="801" y="53172"/>
                        <a:pt x="28275" y="52076"/>
                        <a:pt x="16593" y="55829"/>
                      </a:cubicBezTo>
                      <a:close/>
                    </a:path>
                  </a:pathLst>
                </a:custGeom>
                <a:grpFill/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1" name="Vrije vorm 420">
                  <a:extLst>
                    <a:ext uri="{FF2B5EF4-FFF2-40B4-BE49-F238E27FC236}">
                      <a16:creationId xmlns:a16="http://schemas.microsoft.com/office/drawing/2014/main" id="{0AE7B14B-71BF-1E42-A0B5-17941F8F8998}"/>
                    </a:ext>
                  </a:extLst>
                </p:cNvPr>
                <p:cNvSpPr/>
                <p:nvPr/>
              </p:nvSpPr>
              <p:spPr>
                <a:xfrm>
                  <a:off x="1732926" y="2529605"/>
                  <a:ext cx="684" cy="711"/>
                </a:xfrm>
                <a:custGeom>
                  <a:avLst/>
                  <a:gdLst>
                    <a:gd name="connsiteX0" fmla="*/ -26 w 684"/>
                    <a:gd name="connsiteY0" fmla="*/ 712 h 711"/>
                    <a:gd name="connsiteX1" fmla="*/ 659 w 684"/>
                    <a:gd name="connsiteY1" fmla="*/ 1 h 711"/>
                    <a:gd name="connsiteX2" fmla="*/ -26 w 684"/>
                    <a:gd name="connsiteY2" fmla="*/ 712 h 7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84" h="711">
                      <a:moveTo>
                        <a:pt x="-26" y="712"/>
                      </a:moveTo>
                      <a:cubicBezTo>
                        <a:pt x="266" y="434"/>
                        <a:pt x="469" y="214"/>
                        <a:pt x="659" y="1"/>
                      </a:cubicBezTo>
                      <a:cubicBezTo>
                        <a:pt x="405" y="201"/>
                        <a:pt x="164" y="441"/>
                        <a:pt x="-26" y="712"/>
                      </a:cubicBezTo>
                      <a:close/>
                    </a:path>
                  </a:pathLst>
                </a:custGeom>
                <a:grpFill/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2" name="Vrije vorm 421">
                  <a:extLst>
                    <a:ext uri="{FF2B5EF4-FFF2-40B4-BE49-F238E27FC236}">
                      <a16:creationId xmlns:a16="http://schemas.microsoft.com/office/drawing/2014/main" id="{14EDFE1D-4E88-0C4A-AAA1-8A58AC9EE739}"/>
                    </a:ext>
                  </a:extLst>
                </p:cNvPr>
                <p:cNvSpPr/>
                <p:nvPr/>
              </p:nvSpPr>
              <p:spPr>
                <a:xfrm>
                  <a:off x="1716128" y="2567297"/>
                  <a:ext cx="40215" cy="47649"/>
                </a:xfrm>
                <a:custGeom>
                  <a:avLst/>
                  <a:gdLst>
                    <a:gd name="connsiteX0" fmla="*/ 33515 w 40215"/>
                    <a:gd name="connsiteY0" fmla="*/ 39210 h 47649"/>
                    <a:gd name="connsiteX1" fmla="*/ 34746 w 40215"/>
                    <a:gd name="connsiteY1" fmla="*/ 5273 h 47649"/>
                    <a:gd name="connsiteX2" fmla="*/ 28670 w 40215"/>
                    <a:gd name="connsiteY2" fmla="*/ 13680 h 47649"/>
                    <a:gd name="connsiteX3" fmla="*/ 16785 w 40215"/>
                    <a:gd name="connsiteY3" fmla="*/ 25491 h 47649"/>
                    <a:gd name="connsiteX4" fmla="*/ 24066 w 40215"/>
                    <a:gd name="connsiteY4" fmla="*/ 19229 h 47649"/>
                    <a:gd name="connsiteX5" fmla="*/ 14451 w 40215"/>
                    <a:gd name="connsiteY5" fmla="*/ 7411 h 47649"/>
                    <a:gd name="connsiteX6" fmla="*/ 5826 w 40215"/>
                    <a:gd name="connsiteY6" fmla="*/ 27958 h 47649"/>
                    <a:gd name="connsiteX7" fmla="*/ 17724 w 40215"/>
                    <a:gd name="connsiteY7" fmla="*/ 40683 h 47649"/>
                    <a:gd name="connsiteX8" fmla="*/ 14768 w 40215"/>
                    <a:gd name="connsiteY8" fmla="*/ 40218 h 47649"/>
                    <a:gd name="connsiteX9" fmla="*/ 33515 w 40215"/>
                    <a:gd name="connsiteY9" fmla="*/ 39210 h 476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0215" h="47649">
                      <a:moveTo>
                        <a:pt x="33515" y="39210"/>
                      </a:moveTo>
                      <a:cubicBezTo>
                        <a:pt x="26793" y="27991"/>
                        <a:pt x="50335" y="-5232"/>
                        <a:pt x="34746" y="5273"/>
                      </a:cubicBezTo>
                      <a:cubicBezTo>
                        <a:pt x="28416" y="9935"/>
                        <a:pt x="24218" y="3645"/>
                        <a:pt x="28670" y="13680"/>
                      </a:cubicBezTo>
                      <a:cubicBezTo>
                        <a:pt x="22835" y="28702"/>
                        <a:pt x="22061" y="27008"/>
                        <a:pt x="16785" y="25491"/>
                      </a:cubicBezTo>
                      <a:cubicBezTo>
                        <a:pt x="8515" y="24730"/>
                        <a:pt x="16747" y="21636"/>
                        <a:pt x="24066" y="19229"/>
                      </a:cubicBezTo>
                      <a:cubicBezTo>
                        <a:pt x="35215" y="-6614"/>
                        <a:pt x="7982" y="11662"/>
                        <a:pt x="14451" y="7411"/>
                      </a:cubicBezTo>
                      <a:cubicBezTo>
                        <a:pt x="625" y="-14583"/>
                        <a:pt x="-5387" y="18477"/>
                        <a:pt x="5826" y="27958"/>
                      </a:cubicBezTo>
                      <a:cubicBezTo>
                        <a:pt x="-5235" y="27590"/>
                        <a:pt x="25600" y="40688"/>
                        <a:pt x="17724" y="40683"/>
                      </a:cubicBezTo>
                      <a:cubicBezTo>
                        <a:pt x="13741" y="34841"/>
                        <a:pt x="3885" y="42995"/>
                        <a:pt x="14768" y="40218"/>
                      </a:cubicBezTo>
                      <a:cubicBezTo>
                        <a:pt x="6244" y="47049"/>
                        <a:pt x="26615" y="53233"/>
                        <a:pt x="33515" y="39210"/>
                      </a:cubicBezTo>
                      <a:close/>
                    </a:path>
                  </a:pathLst>
                </a:custGeom>
                <a:grpFill/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3" name="Vrije vorm 422">
                  <a:extLst>
                    <a:ext uri="{FF2B5EF4-FFF2-40B4-BE49-F238E27FC236}">
                      <a16:creationId xmlns:a16="http://schemas.microsoft.com/office/drawing/2014/main" id="{52211E53-FBF1-5445-8FB0-DCCBBB261F4A}"/>
                    </a:ext>
                  </a:extLst>
                </p:cNvPr>
                <p:cNvSpPr/>
                <p:nvPr/>
              </p:nvSpPr>
              <p:spPr>
                <a:xfrm>
                  <a:off x="1731937" y="2614898"/>
                  <a:ext cx="42746" cy="48786"/>
                </a:xfrm>
                <a:custGeom>
                  <a:avLst/>
                  <a:gdLst>
                    <a:gd name="connsiteX0" fmla="*/ 38318 w 42746"/>
                    <a:gd name="connsiteY0" fmla="*/ 43961 h 48786"/>
                    <a:gd name="connsiteX1" fmla="*/ 33536 w 42746"/>
                    <a:gd name="connsiteY1" fmla="*/ 38627 h 48786"/>
                    <a:gd name="connsiteX2" fmla="*/ 21575 w 42746"/>
                    <a:gd name="connsiteY2" fmla="*/ 18706 h 48786"/>
                    <a:gd name="connsiteX3" fmla="*/ 17072 w 42746"/>
                    <a:gd name="connsiteY3" fmla="*/ 13272 h 48786"/>
                    <a:gd name="connsiteX4" fmla="*/ 16742 w 42746"/>
                    <a:gd name="connsiteY4" fmla="*/ 6690 h 48786"/>
                    <a:gd name="connsiteX5" fmla="*/ -26 w 42746"/>
                    <a:gd name="connsiteY5" fmla="*/ 3357 h 48786"/>
                    <a:gd name="connsiteX6" fmla="*/ 11288 w 42746"/>
                    <a:gd name="connsiteY6" fmla="*/ 20047 h 48786"/>
                    <a:gd name="connsiteX7" fmla="*/ 15956 w 42746"/>
                    <a:gd name="connsiteY7" fmla="*/ 21317 h 48786"/>
                    <a:gd name="connsiteX8" fmla="*/ 36720 w 42746"/>
                    <a:gd name="connsiteY8" fmla="*/ 48788 h 48786"/>
                    <a:gd name="connsiteX9" fmla="*/ 39257 w 42746"/>
                    <a:gd name="connsiteY9" fmla="*/ 45244 h 48786"/>
                    <a:gd name="connsiteX10" fmla="*/ 38318 w 42746"/>
                    <a:gd name="connsiteY10" fmla="*/ 43961 h 487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42746" h="48786">
                      <a:moveTo>
                        <a:pt x="38318" y="43961"/>
                      </a:moveTo>
                      <a:cubicBezTo>
                        <a:pt x="45573" y="37678"/>
                        <a:pt x="32534" y="45562"/>
                        <a:pt x="33536" y="38627"/>
                      </a:cubicBezTo>
                      <a:cubicBezTo>
                        <a:pt x="42986" y="40050"/>
                        <a:pt x="16971" y="26320"/>
                        <a:pt x="21575" y="18706"/>
                      </a:cubicBezTo>
                      <a:cubicBezTo>
                        <a:pt x="27308" y="17800"/>
                        <a:pt x="19102" y="18465"/>
                        <a:pt x="17072" y="13272"/>
                      </a:cubicBezTo>
                      <a:cubicBezTo>
                        <a:pt x="33511" y="15177"/>
                        <a:pt x="22831" y="5464"/>
                        <a:pt x="16742" y="6690"/>
                      </a:cubicBezTo>
                      <a:cubicBezTo>
                        <a:pt x="43823" y="3141"/>
                        <a:pt x="6544" y="-4347"/>
                        <a:pt x="-26" y="3357"/>
                      </a:cubicBezTo>
                      <a:cubicBezTo>
                        <a:pt x="24695" y="17251"/>
                        <a:pt x="-3172" y="4048"/>
                        <a:pt x="11288" y="20047"/>
                      </a:cubicBezTo>
                      <a:cubicBezTo>
                        <a:pt x="15525" y="13159"/>
                        <a:pt x="16679" y="21877"/>
                        <a:pt x="15956" y="21317"/>
                      </a:cubicBezTo>
                      <a:cubicBezTo>
                        <a:pt x="9398" y="19815"/>
                        <a:pt x="33650" y="45066"/>
                        <a:pt x="36720" y="48788"/>
                      </a:cubicBezTo>
                      <a:cubicBezTo>
                        <a:pt x="33866" y="36268"/>
                        <a:pt x="39878" y="55988"/>
                        <a:pt x="39257" y="45244"/>
                      </a:cubicBezTo>
                      <a:cubicBezTo>
                        <a:pt x="43240" y="50299"/>
                        <a:pt x="44812" y="43123"/>
                        <a:pt x="38318" y="43961"/>
                      </a:cubicBezTo>
                      <a:close/>
                    </a:path>
                  </a:pathLst>
                </a:custGeom>
                <a:grpFill/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4" name="Vrije vorm 423">
                  <a:extLst>
                    <a:ext uri="{FF2B5EF4-FFF2-40B4-BE49-F238E27FC236}">
                      <a16:creationId xmlns:a16="http://schemas.microsoft.com/office/drawing/2014/main" id="{10A0C24C-CFC4-D642-96A8-8BA2CF8E9087}"/>
                    </a:ext>
                  </a:extLst>
                </p:cNvPr>
                <p:cNvSpPr/>
                <p:nvPr/>
              </p:nvSpPr>
              <p:spPr>
                <a:xfrm>
                  <a:off x="899736" y="2313823"/>
                  <a:ext cx="787" cy="761"/>
                </a:xfrm>
                <a:custGeom>
                  <a:avLst/>
                  <a:gdLst>
                    <a:gd name="connsiteX0" fmla="*/ 762 w 787"/>
                    <a:gd name="connsiteY0" fmla="*/ 763 h 761"/>
                    <a:gd name="connsiteX1" fmla="*/ -26 w 787"/>
                    <a:gd name="connsiteY1" fmla="*/ 1 h 761"/>
                    <a:gd name="connsiteX2" fmla="*/ 762 w 787"/>
                    <a:gd name="connsiteY2" fmla="*/ 763 h 7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87" h="761">
                      <a:moveTo>
                        <a:pt x="762" y="763"/>
                      </a:moveTo>
                      <a:cubicBezTo>
                        <a:pt x="474" y="501"/>
                        <a:pt x="235" y="255"/>
                        <a:pt x="-26" y="1"/>
                      </a:cubicBezTo>
                      <a:cubicBezTo>
                        <a:pt x="162" y="322"/>
                        <a:pt x="434" y="587"/>
                        <a:pt x="762" y="763"/>
                      </a:cubicBezTo>
                      <a:close/>
                    </a:path>
                  </a:pathLst>
                </a:custGeom>
                <a:grpFill/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5" name="Vrije vorm 424">
                  <a:extLst>
                    <a:ext uri="{FF2B5EF4-FFF2-40B4-BE49-F238E27FC236}">
                      <a16:creationId xmlns:a16="http://schemas.microsoft.com/office/drawing/2014/main" id="{17870CF6-1AEC-3B4C-9127-9716F709D1F9}"/>
                    </a:ext>
                  </a:extLst>
                </p:cNvPr>
                <p:cNvSpPr/>
                <p:nvPr/>
              </p:nvSpPr>
              <p:spPr>
                <a:xfrm>
                  <a:off x="818319" y="1986852"/>
                  <a:ext cx="1922" cy="1738"/>
                </a:xfrm>
                <a:custGeom>
                  <a:avLst/>
                  <a:gdLst>
                    <a:gd name="connsiteX0" fmla="*/ 1897 w 1922"/>
                    <a:gd name="connsiteY0" fmla="*/ 1 h 1738"/>
                    <a:gd name="connsiteX1" fmla="*/ -26 w 1922"/>
                    <a:gd name="connsiteY1" fmla="*/ 1740 h 1738"/>
                    <a:gd name="connsiteX2" fmla="*/ 1897 w 1922"/>
                    <a:gd name="connsiteY2" fmla="*/ 1 h 17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922" h="1738">
                      <a:moveTo>
                        <a:pt x="1897" y="1"/>
                      </a:moveTo>
                      <a:cubicBezTo>
                        <a:pt x="1203" y="519"/>
                        <a:pt x="560" y="1101"/>
                        <a:pt x="-26" y="1740"/>
                      </a:cubicBezTo>
                      <a:cubicBezTo>
                        <a:pt x="710" y="1274"/>
                        <a:pt x="1359" y="686"/>
                        <a:pt x="1897" y="1"/>
                      </a:cubicBezTo>
                      <a:close/>
                    </a:path>
                  </a:pathLst>
                </a:custGeom>
                <a:grpFill/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6" name="Vrije vorm 425">
                  <a:extLst>
                    <a:ext uri="{FF2B5EF4-FFF2-40B4-BE49-F238E27FC236}">
                      <a16:creationId xmlns:a16="http://schemas.microsoft.com/office/drawing/2014/main" id="{569CCBBB-8D7C-D34E-90AC-91D724D438A8}"/>
                    </a:ext>
                  </a:extLst>
                </p:cNvPr>
                <p:cNvSpPr/>
                <p:nvPr/>
              </p:nvSpPr>
              <p:spPr>
                <a:xfrm>
                  <a:off x="899118" y="1862085"/>
                  <a:ext cx="888" cy="5435"/>
                </a:xfrm>
                <a:custGeom>
                  <a:avLst/>
                  <a:gdLst>
                    <a:gd name="connsiteX0" fmla="*/ 863 w 888"/>
                    <a:gd name="connsiteY0" fmla="*/ 1 h 5435"/>
                    <a:gd name="connsiteX1" fmla="*/ -1 w 888"/>
                    <a:gd name="connsiteY1" fmla="*/ 5437 h 5435"/>
                    <a:gd name="connsiteX2" fmla="*/ 863 w 888"/>
                    <a:gd name="connsiteY2" fmla="*/ 1 h 54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88" h="5435">
                      <a:moveTo>
                        <a:pt x="863" y="1"/>
                      </a:moveTo>
                      <a:cubicBezTo>
                        <a:pt x="176" y="1727"/>
                        <a:pt x="-118" y="3584"/>
                        <a:pt x="-1" y="5437"/>
                      </a:cubicBezTo>
                      <a:cubicBezTo>
                        <a:pt x="450" y="3655"/>
                        <a:pt x="740" y="1835"/>
                        <a:pt x="863" y="1"/>
                      </a:cubicBezTo>
                      <a:close/>
                    </a:path>
                  </a:pathLst>
                </a:custGeom>
                <a:grpFill/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7" name="Vrije vorm 426">
                  <a:extLst>
                    <a:ext uri="{FF2B5EF4-FFF2-40B4-BE49-F238E27FC236}">
                      <a16:creationId xmlns:a16="http://schemas.microsoft.com/office/drawing/2014/main" id="{1B73B93F-1BB1-EC4D-A2B7-ABD08F5D62BB}"/>
                    </a:ext>
                  </a:extLst>
                </p:cNvPr>
                <p:cNvSpPr/>
                <p:nvPr/>
              </p:nvSpPr>
              <p:spPr>
                <a:xfrm>
                  <a:off x="763682" y="1709265"/>
                  <a:ext cx="4113" cy="2887"/>
                </a:xfrm>
                <a:custGeom>
                  <a:avLst/>
                  <a:gdLst>
                    <a:gd name="connsiteX0" fmla="*/ -26 w 4113"/>
                    <a:gd name="connsiteY0" fmla="*/ 2889 h 2887"/>
                    <a:gd name="connsiteX1" fmla="*/ -26 w 4113"/>
                    <a:gd name="connsiteY1" fmla="*/ 2889 h 28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113" h="2887">
                      <a:moveTo>
                        <a:pt x="-26" y="2889"/>
                      </a:moveTo>
                      <a:cubicBezTo>
                        <a:pt x="8534" y="-1659"/>
                        <a:pt x="1287" y="-195"/>
                        <a:pt x="-26" y="2889"/>
                      </a:cubicBezTo>
                      <a:close/>
                    </a:path>
                  </a:pathLst>
                </a:custGeom>
                <a:grpFill/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8" name="Vrije vorm 427">
                  <a:extLst>
                    <a:ext uri="{FF2B5EF4-FFF2-40B4-BE49-F238E27FC236}">
                      <a16:creationId xmlns:a16="http://schemas.microsoft.com/office/drawing/2014/main" id="{F565B046-F3CF-BD49-9428-5CECA4E19EB7}"/>
                    </a:ext>
                  </a:extLst>
                </p:cNvPr>
                <p:cNvSpPr/>
                <p:nvPr/>
              </p:nvSpPr>
              <p:spPr>
                <a:xfrm>
                  <a:off x="899618" y="1560704"/>
                  <a:ext cx="4991" cy="1523"/>
                </a:xfrm>
                <a:custGeom>
                  <a:avLst/>
                  <a:gdLst>
                    <a:gd name="connsiteX0" fmla="*/ 653 w 4991"/>
                    <a:gd name="connsiteY0" fmla="*/ 1525 h 1523"/>
                    <a:gd name="connsiteX1" fmla="*/ 4965 w 4991"/>
                    <a:gd name="connsiteY1" fmla="*/ 1 h 1523"/>
                    <a:gd name="connsiteX2" fmla="*/ 653 w 4991"/>
                    <a:gd name="connsiteY2" fmla="*/ 1525 h 15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991" h="1523">
                      <a:moveTo>
                        <a:pt x="653" y="1525"/>
                      </a:moveTo>
                      <a:cubicBezTo>
                        <a:pt x="2061" y="938"/>
                        <a:pt x="3500" y="429"/>
                        <a:pt x="4965" y="1"/>
                      </a:cubicBezTo>
                      <a:cubicBezTo>
                        <a:pt x="-875" y="1018"/>
                        <a:pt x="-470" y="964"/>
                        <a:pt x="653" y="1525"/>
                      </a:cubicBezTo>
                      <a:close/>
                    </a:path>
                  </a:pathLst>
                </a:custGeom>
                <a:grpFill/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9" name="Vrije vorm 428">
                  <a:extLst>
                    <a:ext uri="{FF2B5EF4-FFF2-40B4-BE49-F238E27FC236}">
                      <a16:creationId xmlns:a16="http://schemas.microsoft.com/office/drawing/2014/main" id="{C0F207DC-702C-914C-A53C-54F5DF7E3CBF}"/>
                    </a:ext>
                  </a:extLst>
                </p:cNvPr>
                <p:cNvSpPr/>
                <p:nvPr/>
              </p:nvSpPr>
              <p:spPr>
                <a:xfrm>
                  <a:off x="722184" y="1466632"/>
                  <a:ext cx="1081148" cy="1069912"/>
                </a:xfrm>
                <a:custGeom>
                  <a:avLst/>
                  <a:gdLst>
                    <a:gd name="connsiteX0" fmla="*/ 1078259 w 1081148"/>
                    <a:gd name="connsiteY0" fmla="*/ 1004974 h 1069912"/>
                    <a:gd name="connsiteX1" fmla="*/ 1075557 w 1081148"/>
                    <a:gd name="connsiteY1" fmla="*/ 1005784 h 1069912"/>
                    <a:gd name="connsiteX2" fmla="*/ 1036604 w 1081148"/>
                    <a:gd name="connsiteY2" fmla="*/ 979956 h 1069912"/>
                    <a:gd name="connsiteX3" fmla="*/ 1033547 w 1081148"/>
                    <a:gd name="connsiteY3" fmla="*/ 980496 h 1069912"/>
                    <a:gd name="connsiteX4" fmla="*/ 926047 w 1081148"/>
                    <a:gd name="connsiteY4" fmla="*/ 807891 h 1069912"/>
                    <a:gd name="connsiteX5" fmla="*/ 900971 w 1081148"/>
                    <a:gd name="connsiteY5" fmla="*/ 827105 h 1069912"/>
                    <a:gd name="connsiteX6" fmla="*/ 898140 w 1081148"/>
                    <a:gd name="connsiteY6" fmla="*/ 826429 h 1069912"/>
                    <a:gd name="connsiteX7" fmla="*/ 892343 w 1081148"/>
                    <a:gd name="connsiteY7" fmla="*/ 843663 h 1069912"/>
                    <a:gd name="connsiteX8" fmla="*/ 889107 w 1081148"/>
                    <a:gd name="connsiteY8" fmla="*/ 843348 h 1069912"/>
                    <a:gd name="connsiteX9" fmla="*/ 870188 w 1081148"/>
                    <a:gd name="connsiteY9" fmla="*/ 857572 h 1069912"/>
                    <a:gd name="connsiteX10" fmla="*/ 823405 w 1081148"/>
                    <a:gd name="connsiteY10" fmla="*/ 776399 h 1069912"/>
                    <a:gd name="connsiteX11" fmla="*/ 797474 w 1081148"/>
                    <a:gd name="connsiteY11" fmla="*/ 785488 h 1069912"/>
                    <a:gd name="connsiteX12" fmla="*/ 785250 w 1081148"/>
                    <a:gd name="connsiteY12" fmla="*/ 779370 h 1069912"/>
                    <a:gd name="connsiteX13" fmla="*/ 782824 w 1081148"/>
                    <a:gd name="connsiteY13" fmla="*/ 783733 h 1069912"/>
                    <a:gd name="connsiteX14" fmla="*/ 769432 w 1081148"/>
                    <a:gd name="connsiteY14" fmla="*/ 144836 h 1069912"/>
                    <a:gd name="connsiteX15" fmla="*/ 769432 w 1081148"/>
                    <a:gd name="connsiteY15" fmla="*/ 143756 h 1069912"/>
                    <a:gd name="connsiteX16" fmla="*/ 761657 w 1081148"/>
                    <a:gd name="connsiteY16" fmla="*/ 141281 h 1069912"/>
                    <a:gd name="connsiteX17" fmla="*/ 761073 w 1081148"/>
                    <a:gd name="connsiteY17" fmla="*/ 141056 h 1069912"/>
                    <a:gd name="connsiteX18" fmla="*/ 757522 w 1081148"/>
                    <a:gd name="connsiteY18" fmla="*/ 139659 h 1069912"/>
                    <a:gd name="connsiteX19" fmla="*/ 754781 w 1081148"/>
                    <a:gd name="connsiteY19" fmla="*/ 138444 h 1069912"/>
                    <a:gd name="connsiteX20" fmla="*/ 750916 w 1081148"/>
                    <a:gd name="connsiteY20" fmla="*/ 136600 h 1069912"/>
                    <a:gd name="connsiteX21" fmla="*/ 750061 w 1081148"/>
                    <a:gd name="connsiteY21" fmla="*/ 136149 h 1069912"/>
                    <a:gd name="connsiteX22" fmla="*/ 747634 w 1081148"/>
                    <a:gd name="connsiteY22" fmla="*/ 134844 h 1069912"/>
                    <a:gd name="connsiteX23" fmla="*/ 745118 w 1081148"/>
                    <a:gd name="connsiteY23" fmla="*/ 133404 h 1069912"/>
                    <a:gd name="connsiteX24" fmla="*/ 742511 w 1081148"/>
                    <a:gd name="connsiteY24" fmla="*/ 131880 h 1069912"/>
                    <a:gd name="connsiteX25" fmla="*/ 739860 w 1081148"/>
                    <a:gd name="connsiteY25" fmla="*/ 130215 h 1069912"/>
                    <a:gd name="connsiteX26" fmla="*/ 737119 w 1081148"/>
                    <a:gd name="connsiteY26" fmla="*/ 128414 h 1069912"/>
                    <a:gd name="connsiteX27" fmla="*/ 734288 w 1081148"/>
                    <a:gd name="connsiteY27" fmla="*/ 126480 h 1069912"/>
                    <a:gd name="connsiteX28" fmla="*/ 731371 w 1081148"/>
                    <a:gd name="connsiteY28" fmla="*/ 124410 h 1069912"/>
                    <a:gd name="connsiteX29" fmla="*/ 711822 w 1081148"/>
                    <a:gd name="connsiteY29" fmla="*/ 108436 h 1069912"/>
                    <a:gd name="connsiteX30" fmla="*/ 696854 w 1081148"/>
                    <a:gd name="connsiteY30" fmla="*/ 105872 h 1069912"/>
                    <a:gd name="connsiteX31" fmla="*/ 682293 w 1081148"/>
                    <a:gd name="connsiteY31" fmla="*/ 114016 h 1069912"/>
                    <a:gd name="connsiteX32" fmla="*/ 650027 w 1081148"/>
                    <a:gd name="connsiteY32" fmla="*/ 112442 h 1069912"/>
                    <a:gd name="connsiteX33" fmla="*/ 532913 w 1081148"/>
                    <a:gd name="connsiteY33" fmla="*/ 73249 h 1069912"/>
                    <a:gd name="connsiteX34" fmla="*/ 519656 w 1081148"/>
                    <a:gd name="connsiteY34" fmla="*/ 74465 h 1069912"/>
                    <a:gd name="connsiteX35" fmla="*/ 491837 w 1081148"/>
                    <a:gd name="connsiteY35" fmla="*/ 73830 h 1069912"/>
                    <a:gd name="connsiteX36" fmla="*/ 479661 w 1081148"/>
                    <a:gd name="connsiteY36" fmla="*/ 84674 h 1069912"/>
                    <a:gd name="connsiteX37" fmla="*/ 440068 w 1081148"/>
                    <a:gd name="connsiteY37" fmla="*/ 69375 h 1069912"/>
                    <a:gd name="connsiteX38" fmla="*/ 454674 w 1081148"/>
                    <a:gd name="connsiteY38" fmla="*/ 65692 h 1069912"/>
                    <a:gd name="connsiteX39" fmla="*/ 437417 w 1081148"/>
                    <a:gd name="connsiteY39" fmla="*/ 40630 h 1069912"/>
                    <a:gd name="connsiteX40" fmla="*/ 420654 w 1081148"/>
                    <a:gd name="connsiteY40" fmla="*/ 37300 h 1069912"/>
                    <a:gd name="connsiteX41" fmla="*/ 378500 w 1081148"/>
                    <a:gd name="connsiteY41" fmla="*/ 40094 h 1069912"/>
                    <a:gd name="connsiteX42" fmla="*/ 371397 w 1081148"/>
                    <a:gd name="connsiteY42" fmla="*/ 29565 h 1069912"/>
                    <a:gd name="connsiteX43" fmla="*/ 369780 w 1081148"/>
                    <a:gd name="connsiteY43" fmla="*/ 23581 h 1069912"/>
                    <a:gd name="connsiteX44" fmla="*/ 367083 w 1081148"/>
                    <a:gd name="connsiteY44" fmla="*/ 31545 h 1069912"/>
                    <a:gd name="connsiteX45" fmla="*/ 355399 w 1081148"/>
                    <a:gd name="connsiteY45" fmla="*/ 44459 h 1069912"/>
                    <a:gd name="connsiteX46" fmla="*/ 353826 w 1081148"/>
                    <a:gd name="connsiteY46" fmla="*/ 46348 h 1069912"/>
                    <a:gd name="connsiteX47" fmla="*/ 349556 w 1081148"/>
                    <a:gd name="connsiteY47" fmla="*/ 45809 h 1069912"/>
                    <a:gd name="connsiteX48" fmla="*/ 345878 w 1081148"/>
                    <a:gd name="connsiteY48" fmla="*/ 43874 h 1069912"/>
                    <a:gd name="connsiteX49" fmla="*/ 342552 w 1081148"/>
                    <a:gd name="connsiteY49" fmla="*/ 37935 h 1069912"/>
                    <a:gd name="connsiteX50" fmla="*/ 340036 w 1081148"/>
                    <a:gd name="connsiteY50" fmla="*/ 36945 h 1069912"/>
                    <a:gd name="connsiteX51" fmla="*/ 329026 w 1081148"/>
                    <a:gd name="connsiteY51" fmla="*/ 4728 h 1069912"/>
                    <a:gd name="connsiteX52" fmla="*/ 256673 w 1081148"/>
                    <a:gd name="connsiteY52" fmla="*/ 48013 h 1069912"/>
                    <a:gd name="connsiteX53" fmla="*/ 252942 w 1081148"/>
                    <a:gd name="connsiteY53" fmla="*/ 57463 h 1069912"/>
                    <a:gd name="connsiteX54" fmla="*/ 248943 w 1081148"/>
                    <a:gd name="connsiteY54" fmla="*/ 51883 h 1069912"/>
                    <a:gd name="connsiteX55" fmla="*/ 255100 w 1081148"/>
                    <a:gd name="connsiteY55" fmla="*/ 46258 h 1069912"/>
                    <a:gd name="connsiteX56" fmla="*/ 227102 w 1081148"/>
                    <a:gd name="connsiteY56" fmla="*/ 63357 h 1069912"/>
                    <a:gd name="connsiteX57" fmla="*/ 232176 w 1081148"/>
                    <a:gd name="connsiteY57" fmla="*/ 62503 h 1069912"/>
                    <a:gd name="connsiteX58" fmla="*/ 241164 w 1081148"/>
                    <a:gd name="connsiteY58" fmla="*/ 72672 h 1069912"/>
                    <a:gd name="connsiteX59" fmla="*/ 248669 w 1081148"/>
                    <a:gd name="connsiteY59" fmla="*/ 72626 h 1069912"/>
                    <a:gd name="connsiteX60" fmla="*/ 235637 w 1081148"/>
                    <a:gd name="connsiteY60" fmla="*/ 74381 h 1069912"/>
                    <a:gd name="connsiteX61" fmla="*/ 233121 w 1081148"/>
                    <a:gd name="connsiteY61" fmla="*/ 90040 h 1069912"/>
                    <a:gd name="connsiteX62" fmla="*/ 226918 w 1081148"/>
                    <a:gd name="connsiteY62" fmla="*/ 88959 h 1069912"/>
                    <a:gd name="connsiteX63" fmla="*/ 232760 w 1081148"/>
                    <a:gd name="connsiteY63" fmla="*/ 66237 h 1069912"/>
                    <a:gd name="connsiteX64" fmla="*/ 182383 w 1081148"/>
                    <a:gd name="connsiteY64" fmla="*/ 99804 h 1069912"/>
                    <a:gd name="connsiteX65" fmla="*/ 177889 w 1081148"/>
                    <a:gd name="connsiteY65" fmla="*/ 101108 h 1069912"/>
                    <a:gd name="connsiteX66" fmla="*/ 178069 w 1081148"/>
                    <a:gd name="connsiteY66" fmla="*/ 95619 h 1069912"/>
                    <a:gd name="connsiteX67" fmla="*/ 70034 w 1081148"/>
                    <a:gd name="connsiteY67" fmla="*/ 208064 h 1069912"/>
                    <a:gd name="connsiteX68" fmla="*/ 41676 w 1081148"/>
                    <a:gd name="connsiteY68" fmla="*/ 247750 h 1069912"/>
                    <a:gd name="connsiteX69" fmla="*/ 41451 w 1081148"/>
                    <a:gd name="connsiteY69" fmla="*/ 245545 h 1069912"/>
                    <a:gd name="connsiteX70" fmla="*/ 37047 w 1081148"/>
                    <a:gd name="connsiteY70" fmla="*/ 247750 h 1069912"/>
                    <a:gd name="connsiteX71" fmla="*/ 165575 w 1081148"/>
                    <a:gd name="connsiteY71" fmla="*/ 345076 h 1069912"/>
                    <a:gd name="connsiteX72" fmla="*/ 186377 w 1081148"/>
                    <a:gd name="connsiteY72" fmla="*/ 379949 h 1069912"/>
                    <a:gd name="connsiteX73" fmla="*/ 205701 w 1081148"/>
                    <a:gd name="connsiteY73" fmla="*/ 372345 h 1069912"/>
                    <a:gd name="connsiteX74" fmla="*/ 220668 w 1081148"/>
                    <a:gd name="connsiteY74" fmla="*/ 374325 h 1069912"/>
                    <a:gd name="connsiteX75" fmla="*/ 196851 w 1081148"/>
                    <a:gd name="connsiteY75" fmla="*/ 382108 h 1069912"/>
                    <a:gd name="connsiteX76" fmla="*/ 155866 w 1081148"/>
                    <a:gd name="connsiteY76" fmla="*/ 356011 h 1069912"/>
                    <a:gd name="connsiteX77" fmla="*/ 177796 w 1081148"/>
                    <a:gd name="connsiteY77" fmla="*/ 395473 h 1069912"/>
                    <a:gd name="connsiteX78" fmla="*/ 197166 w 1081148"/>
                    <a:gd name="connsiteY78" fmla="*/ 410725 h 1069912"/>
                    <a:gd name="connsiteX79" fmla="*/ 192133 w 1081148"/>
                    <a:gd name="connsiteY79" fmla="*/ 400556 h 1069912"/>
                    <a:gd name="connsiteX80" fmla="*/ 179863 w 1081148"/>
                    <a:gd name="connsiteY80" fmla="*/ 420715 h 1069912"/>
                    <a:gd name="connsiteX81" fmla="*/ 154787 w 1081148"/>
                    <a:gd name="connsiteY81" fmla="*/ 419411 h 1069912"/>
                    <a:gd name="connsiteX82" fmla="*/ 120004 w 1081148"/>
                    <a:gd name="connsiteY82" fmla="*/ 405371 h 1069912"/>
                    <a:gd name="connsiteX83" fmla="*/ 111824 w 1081148"/>
                    <a:gd name="connsiteY83" fmla="*/ 406362 h 1069912"/>
                    <a:gd name="connsiteX84" fmla="*/ 119239 w 1081148"/>
                    <a:gd name="connsiteY84" fmla="*/ 378549 h 1069912"/>
                    <a:gd name="connsiteX85" fmla="*/ 96905 w 1081148"/>
                    <a:gd name="connsiteY85" fmla="*/ 380663 h 1069912"/>
                    <a:gd name="connsiteX86" fmla="*/ 63648 w 1081148"/>
                    <a:gd name="connsiteY86" fmla="*/ 402982 h 1069912"/>
                    <a:gd name="connsiteX87" fmla="*/ 56418 w 1081148"/>
                    <a:gd name="connsiteY87" fmla="*/ 408921 h 1069912"/>
                    <a:gd name="connsiteX88" fmla="*/ 35657 w 1081148"/>
                    <a:gd name="connsiteY88" fmla="*/ 420710 h 1069912"/>
                    <a:gd name="connsiteX89" fmla="*/ 35657 w 1081148"/>
                    <a:gd name="connsiteY89" fmla="*/ 423590 h 1069912"/>
                    <a:gd name="connsiteX90" fmla="*/ 24017 w 1081148"/>
                    <a:gd name="connsiteY90" fmla="*/ 426470 h 1069912"/>
                    <a:gd name="connsiteX91" fmla="*/ 18086 w 1081148"/>
                    <a:gd name="connsiteY91" fmla="*/ 436143 h 1069912"/>
                    <a:gd name="connsiteX92" fmla="*/ 7614 w 1081148"/>
                    <a:gd name="connsiteY92" fmla="*/ 437314 h 1069912"/>
                    <a:gd name="connsiteX93" fmla="*/ -26 w 1081148"/>
                    <a:gd name="connsiteY93" fmla="*/ 442757 h 1069912"/>
                    <a:gd name="connsiteX94" fmla="*/ 51385 w 1081148"/>
                    <a:gd name="connsiteY94" fmla="*/ 471061 h 1069912"/>
                    <a:gd name="connsiteX95" fmla="*/ 36375 w 1081148"/>
                    <a:gd name="connsiteY95" fmla="*/ 469537 h 1069912"/>
                    <a:gd name="connsiteX96" fmla="*/ 41049 w 1081148"/>
                    <a:gd name="connsiteY96" fmla="*/ 486770 h 1069912"/>
                    <a:gd name="connsiteX97" fmla="*/ 60463 w 1081148"/>
                    <a:gd name="connsiteY97" fmla="*/ 516827 h 1069912"/>
                    <a:gd name="connsiteX98" fmla="*/ 90259 w 1081148"/>
                    <a:gd name="connsiteY98" fmla="*/ 521145 h 1069912"/>
                    <a:gd name="connsiteX99" fmla="*/ 91471 w 1081148"/>
                    <a:gd name="connsiteY99" fmla="*/ 522000 h 1069912"/>
                    <a:gd name="connsiteX100" fmla="*/ 98033 w 1081148"/>
                    <a:gd name="connsiteY100" fmla="*/ 520245 h 1069912"/>
                    <a:gd name="connsiteX101" fmla="*/ 134563 w 1081148"/>
                    <a:gd name="connsiteY101" fmla="*/ 515610 h 1069912"/>
                    <a:gd name="connsiteX102" fmla="*/ 149887 w 1081148"/>
                    <a:gd name="connsiteY102" fmla="*/ 521960 h 1069912"/>
                    <a:gd name="connsiteX103" fmla="*/ 166336 w 1081148"/>
                    <a:gd name="connsiteY103" fmla="*/ 513636 h 1069912"/>
                    <a:gd name="connsiteX104" fmla="*/ 196355 w 1081148"/>
                    <a:gd name="connsiteY104" fmla="*/ 492808 h 1069912"/>
                    <a:gd name="connsiteX105" fmla="*/ 197928 w 1081148"/>
                    <a:gd name="connsiteY105" fmla="*/ 493302 h 1069912"/>
                    <a:gd name="connsiteX106" fmla="*/ 187592 w 1081148"/>
                    <a:gd name="connsiteY106" fmla="*/ 528579 h 1069912"/>
                    <a:gd name="connsiteX107" fmla="*/ 166246 w 1081148"/>
                    <a:gd name="connsiteY107" fmla="*/ 585769 h 1069912"/>
                    <a:gd name="connsiteX108" fmla="*/ 126833 w 1081148"/>
                    <a:gd name="connsiteY108" fmla="*/ 610426 h 1069912"/>
                    <a:gd name="connsiteX109" fmla="*/ 108048 w 1081148"/>
                    <a:gd name="connsiteY109" fmla="*/ 617177 h 1069912"/>
                    <a:gd name="connsiteX110" fmla="*/ 100589 w 1081148"/>
                    <a:gd name="connsiteY110" fmla="*/ 636840 h 1069912"/>
                    <a:gd name="connsiteX111" fmla="*/ 96454 w 1081148"/>
                    <a:gd name="connsiteY111" fmla="*/ 656144 h 1069912"/>
                    <a:gd name="connsiteX112" fmla="*/ 72227 w 1081148"/>
                    <a:gd name="connsiteY112" fmla="*/ 687461 h 1069912"/>
                    <a:gd name="connsiteX113" fmla="*/ 57216 w 1081148"/>
                    <a:gd name="connsiteY113" fmla="*/ 701005 h 1069912"/>
                    <a:gd name="connsiteX114" fmla="*/ 58969 w 1081148"/>
                    <a:gd name="connsiteY114" fmla="*/ 708789 h 1069912"/>
                    <a:gd name="connsiteX115" fmla="*/ 62834 w 1081148"/>
                    <a:gd name="connsiteY115" fmla="*/ 714189 h 1069912"/>
                    <a:gd name="connsiteX116" fmla="*/ 70833 w 1081148"/>
                    <a:gd name="connsiteY116" fmla="*/ 727373 h 1069912"/>
                    <a:gd name="connsiteX117" fmla="*/ 77574 w 1081148"/>
                    <a:gd name="connsiteY117" fmla="*/ 727103 h 1069912"/>
                    <a:gd name="connsiteX118" fmla="*/ 84270 w 1081148"/>
                    <a:gd name="connsiteY118" fmla="*/ 715088 h 1069912"/>
                    <a:gd name="connsiteX119" fmla="*/ 95505 w 1081148"/>
                    <a:gd name="connsiteY119" fmla="*/ 701455 h 1069912"/>
                    <a:gd name="connsiteX120" fmla="*/ 87551 w 1081148"/>
                    <a:gd name="connsiteY120" fmla="*/ 712839 h 1069912"/>
                    <a:gd name="connsiteX121" fmla="*/ 84270 w 1081148"/>
                    <a:gd name="connsiteY121" fmla="*/ 715088 h 1069912"/>
                    <a:gd name="connsiteX122" fmla="*/ 78382 w 1081148"/>
                    <a:gd name="connsiteY122" fmla="*/ 726788 h 1069912"/>
                    <a:gd name="connsiteX123" fmla="*/ 84851 w 1081148"/>
                    <a:gd name="connsiteY123" fmla="*/ 723368 h 1069912"/>
                    <a:gd name="connsiteX124" fmla="*/ 87953 w 1081148"/>
                    <a:gd name="connsiteY124" fmla="*/ 735067 h 1069912"/>
                    <a:gd name="connsiteX125" fmla="*/ 83278 w 1081148"/>
                    <a:gd name="connsiteY125" fmla="*/ 739881 h 1069912"/>
                    <a:gd name="connsiteX126" fmla="*/ 90469 w 1081148"/>
                    <a:gd name="connsiteY126" fmla="*/ 742896 h 1069912"/>
                    <a:gd name="connsiteX127" fmla="*/ 90515 w 1081148"/>
                    <a:gd name="connsiteY127" fmla="*/ 745011 h 1069912"/>
                    <a:gd name="connsiteX128" fmla="*/ 78830 w 1081148"/>
                    <a:gd name="connsiteY128" fmla="*/ 762514 h 1069912"/>
                    <a:gd name="connsiteX129" fmla="*/ 89345 w 1081148"/>
                    <a:gd name="connsiteY129" fmla="*/ 767014 h 1069912"/>
                    <a:gd name="connsiteX130" fmla="*/ 111232 w 1081148"/>
                    <a:gd name="connsiteY130" fmla="*/ 798737 h 1069912"/>
                    <a:gd name="connsiteX131" fmla="*/ 156936 w 1081148"/>
                    <a:gd name="connsiteY131" fmla="*/ 778713 h 1069912"/>
                    <a:gd name="connsiteX132" fmla="*/ 176529 w 1081148"/>
                    <a:gd name="connsiteY132" fmla="*/ 755270 h 1069912"/>
                    <a:gd name="connsiteX133" fmla="*/ 167496 w 1081148"/>
                    <a:gd name="connsiteY133" fmla="*/ 787893 h 1069912"/>
                    <a:gd name="connsiteX134" fmla="*/ 169384 w 1081148"/>
                    <a:gd name="connsiteY134" fmla="*/ 783842 h 1069912"/>
                    <a:gd name="connsiteX135" fmla="*/ 167496 w 1081148"/>
                    <a:gd name="connsiteY135" fmla="*/ 787893 h 1069912"/>
                    <a:gd name="connsiteX136" fmla="*/ 178278 w 1081148"/>
                    <a:gd name="connsiteY136" fmla="*/ 828660 h 1069912"/>
                    <a:gd name="connsiteX137" fmla="*/ 177517 w 1081148"/>
                    <a:gd name="connsiteY137" fmla="*/ 847202 h 1069912"/>
                    <a:gd name="connsiteX138" fmla="*/ 186100 w 1081148"/>
                    <a:gd name="connsiteY138" fmla="*/ 846439 h 1069912"/>
                    <a:gd name="connsiteX139" fmla="*/ 183718 w 1081148"/>
                    <a:gd name="connsiteY139" fmla="*/ 862638 h 1069912"/>
                    <a:gd name="connsiteX140" fmla="*/ 168978 w 1081148"/>
                    <a:gd name="connsiteY140" fmla="*/ 871457 h 1069912"/>
                    <a:gd name="connsiteX141" fmla="*/ 180663 w 1081148"/>
                    <a:gd name="connsiteY141" fmla="*/ 876137 h 1069912"/>
                    <a:gd name="connsiteX142" fmla="*/ 194099 w 1081148"/>
                    <a:gd name="connsiteY142" fmla="*/ 863403 h 1069912"/>
                    <a:gd name="connsiteX143" fmla="*/ 221333 w 1081148"/>
                    <a:gd name="connsiteY143" fmla="*/ 854674 h 1069912"/>
                    <a:gd name="connsiteX144" fmla="*/ 226366 w 1081148"/>
                    <a:gd name="connsiteY144" fmla="*/ 859669 h 1069912"/>
                    <a:gd name="connsiteX145" fmla="*/ 236432 w 1081148"/>
                    <a:gd name="connsiteY145" fmla="*/ 860304 h 1069912"/>
                    <a:gd name="connsiteX146" fmla="*/ 266902 w 1081148"/>
                    <a:gd name="connsiteY146" fmla="*/ 879111 h 1069912"/>
                    <a:gd name="connsiteX147" fmla="*/ 264026 w 1081148"/>
                    <a:gd name="connsiteY147" fmla="*/ 853285 h 1069912"/>
                    <a:gd name="connsiteX148" fmla="*/ 266055 w 1081148"/>
                    <a:gd name="connsiteY148" fmla="*/ 858054 h 1069912"/>
                    <a:gd name="connsiteX149" fmla="*/ 272795 w 1081148"/>
                    <a:gd name="connsiteY149" fmla="*/ 845905 h 1069912"/>
                    <a:gd name="connsiteX150" fmla="*/ 287221 w 1081148"/>
                    <a:gd name="connsiteY150" fmla="*/ 857462 h 1069912"/>
                    <a:gd name="connsiteX151" fmla="*/ 284480 w 1081148"/>
                    <a:gd name="connsiteY151" fmla="*/ 853144 h 1069912"/>
                    <a:gd name="connsiteX152" fmla="*/ 275492 w 1081148"/>
                    <a:gd name="connsiteY152" fmla="*/ 853280 h 1069912"/>
                    <a:gd name="connsiteX153" fmla="*/ 277648 w 1081148"/>
                    <a:gd name="connsiteY153" fmla="*/ 869433 h 1069912"/>
                    <a:gd name="connsiteX154" fmla="*/ 315084 w 1081148"/>
                    <a:gd name="connsiteY154" fmla="*/ 859533 h 1069912"/>
                    <a:gd name="connsiteX155" fmla="*/ 308343 w 1081148"/>
                    <a:gd name="connsiteY155" fmla="*/ 895982 h 1069912"/>
                    <a:gd name="connsiteX156" fmla="*/ 303670 w 1081148"/>
                    <a:gd name="connsiteY156" fmla="*/ 931170 h 1069912"/>
                    <a:gd name="connsiteX157" fmla="*/ 296479 w 1081148"/>
                    <a:gd name="connsiteY157" fmla="*/ 929011 h 1069912"/>
                    <a:gd name="connsiteX158" fmla="*/ 258190 w 1081148"/>
                    <a:gd name="connsiteY158" fmla="*/ 968968 h 1069912"/>
                    <a:gd name="connsiteX159" fmla="*/ 223991 w 1081148"/>
                    <a:gd name="connsiteY159" fmla="*/ 1018552 h 1069912"/>
                    <a:gd name="connsiteX160" fmla="*/ 208038 w 1081148"/>
                    <a:gd name="connsiteY160" fmla="*/ 1016708 h 1069912"/>
                    <a:gd name="connsiteX161" fmla="*/ 205926 w 1081148"/>
                    <a:gd name="connsiteY161" fmla="*/ 1010724 h 1069912"/>
                    <a:gd name="connsiteX162" fmla="*/ 191903 w 1081148"/>
                    <a:gd name="connsiteY162" fmla="*/ 1012658 h 1069912"/>
                    <a:gd name="connsiteX163" fmla="*/ 159685 w 1081148"/>
                    <a:gd name="connsiteY163" fmla="*/ 1038531 h 1069912"/>
                    <a:gd name="connsiteX164" fmla="*/ 151282 w 1081148"/>
                    <a:gd name="connsiteY164" fmla="*/ 1046045 h 1069912"/>
                    <a:gd name="connsiteX165" fmla="*/ 144901 w 1081148"/>
                    <a:gd name="connsiteY165" fmla="*/ 1048250 h 1069912"/>
                    <a:gd name="connsiteX166" fmla="*/ 137664 w 1081148"/>
                    <a:gd name="connsiteY166" fmla="*/ 1064674 h 1069912"/>
                    <a:gd name="connsiteX167" fmla="*/ 140227 w 1081148"/>
                    <a:gd name="connsiteY167" fmla="*/ 1055855 h 1069912"/>
                    <a:gd name="connsiteX168" fmla="*/ 153664 w 1081148"/>
                    <a:gd name="connsiteY168" fmla="*/ 1062244 h 1069912"/>
                    <a:gd name="connsiteX169" fmla="*/ 158113 w 1081148"/>
                    <a:gd name="connsiteY169" fmla="*/ 1062334 h 1069912"/>
                    <a:gd name="connsiteX170" fmla="*/ 156591 w 1081148"/>
                    <a:gd name="connsiteY170" fmla="*/ 1052210 h 1069912"/>
                    <a:gd name="connsiteX171" fmla="*/ 156951 w 1081148"/>
                    <a:gd name="connsiteY171" fmla="*/ 1047036 h 1069912"/>
                    <a:gd name="connsiteX172" fmla="*/ 164054 w 1081148"/>
                    <a:gd name="connsiteY172" fmla="*/ 1058419 h 1069912"/>
                    <a:gd name="connsiteX173" fmla="*/ 168278 w 1081148"/>
                    <a:gd name="connsiteY173" fmla="*/ 1058465 h 1069912"/>
                    <a:gd name="connsiteX174" fmla="*/ 169986 w 1081148"/>
                    <a:gd name="connsiteY174" fmla="*/ 1054505 h 1069912"/>
                    <a:gd name="connsiteX175" fmla="*/ 198073 w 1081148"/>
                    <a:gd name="connsiteY175" fmla="*/ 1034302 h 1069912"/>
                    <a:gd name="connsiteX176" fmla="*/ 193489 w 1081148"/>
                    <a:gd name="connsiteY176" fmla="*/ 1042896 h 1069912"/>
                    <a:gd name="connsiteX177" fmla="*/ 206792 w 1081148"/>
                    <a:gd name="connsiteY177" fmla="*/ 1037136 h 1069912"/>
                    <a:gd name="connsiteX178" fmla="*/ 213712 w 1081148"/>
                    <a:gd name="connsiteY178" fmla="*/ 1030252 h 1069912"/>
                    <a:gd name="connsiteX179" fmla="*/ 218161 w 1081148"/>
                    <a:gd name="connsiteY179" fmla="*/ 1028227 h 1069912"/>
                    <a:gd name="connsiteX180" fmla="*/ 241575 w 1081148"/>
                    <a:gd name="connsiteY180" fmla="*/ 1028813 h 1069912"/>
                    <a:gd name="connsiteX181" fmla="*/ 243642 w 1081148"/>
                    <a:gd name="connsiteY181" fmla="*/ 1025798 h 1069912"/>
                    <a:gd name="connsiteX182" fmla="*/ 247102 w 1081148"/>
                    <a:gd name="connsiteY182" fmla="*/ 1020983 h 1069912"/>
                    <a:gd name="connsiteX183" fmla="*/ 261123 w 1081148"/>
                    <a:gd name="connsiteY183" fmla="*/ 1014414 h 1069912"/>
                    <a:gd name="connsiteX184" fmla="*/ 268090 w 1081148"/>
                    <a:gd name="connsiteY184" fmla="*/ 1012478 h 1069912"/>
                    <a:gd name="connsiteX185" fmla="*/ 268539 w 1081148"/>
                    <a:gd name="connsiteY185" fmla="*/ 1007260 h 1069912"/>
                    <a:gd name="connsiteX186" fmla="*/ 271415 w 1081148"/>
                    <a:gd name="connsiteY186" fmla="*/ 1001860 h 1069912"/>
                    <a:gd name="connsiteX187" fmla="*/ 272988 w 1081148"/>
                    <a:gd name="connsiteY187" fmla="*/ 1001860 h 1069912"/>
                    <a:gd name="connsiteX188" fmla="*/ 272988 w 1081148"/>
                    <a:gd name="connsiteY188" fmla="*/ 1007439 h 1069912"/>
                    <a:gd name="connsiteX189" fmla="*/ 275325 w 1081148"/>
                    <a:gd name="connsiteY189" fmla="*/ 1010049 h 1069912"/>
                    <a:gd name="connsiteX190" fmla="*/ 273617 w 1081148"/>
                    <a:gd name="connsiteY190" fmla="*/ 1007349 h 1069912"/>
                    <a:gd name="connsiteX191" fmla="*/ 275325 w 1081148"/>
                    <a:gd name="connsiteY191" fmla="*/ 1007124 h 1069912"/>
                    <a:gd name="connsiteX192" fmla="*/ 276268 w 1081148"/>
                    <a:gd name="connsiteY192" fmla="*/ 1001185 h 1069912"/>
                    <a:gd name="connsiteX193" fmla="*/ 284044 w 1081148"/>
                    <a:gd name="connsiteY193" fmla="*/ 998391 h 1069912"/>
                    <a:gd name="connsiteX194" fmla="*/ 278201 w 1081148"/>
                    <a:gd name="connsiteY194" fmla="*/ 1000191 h 1069912"/>
                    <a:gd name="connsiteX195" fmla="*/ 277661 w 1081148"/>
                    <a:gd name="connsiteY195" fmla="*/ 993801 h 1069912"/>
                    <a:gd name="connsiteX196" fmla="*/ 274022 w 1081148"/>
                    <a:gd name="connsiteY196" fmla="*/ 992947 h 1069912"/>
                    <a:gd name="connsiteX197" fmla="*/ 280043 w 1081148"/>
                    <a:gd name="connsiteY197" fmla="*/ 987053 h 1069912"/>
                    <a:gd name="connsiteX198" fmla="*/ 282695 w 1081148"/>
                    <a:gd name="connsiteY198" fmla="*/ 985027 h 1069912"/>
                    <a:gd name="connsiteX199" fmla="*/ 292082 w 1081148"/>
                    <a:gd name="connsiteY199" fmla="*/ 984038 h 1069912"/>
                    <a:gd name="connsiteX200" fmla="*/ 291363 w 1081148"/>
                    <a:gd name="connsiteY200" fmla="*/ 977063 h 1069912"/>
                    <a:gd name="connsiteX201" fmla="*/ 298642 w 1081148"/>
                    <a:gd name="connsiteY201" fmla="*/ 973464 h 1069912"/>
                    <a:gd name="connsiteX202" fmla="*/ 302641 w 1081148"/>
                    <a:gd name="connsiteY202" fmla="*/ 968603 h 1069912"/>
                    <a:gd name="connsiteX203" fmla="*/ 310372 w 1081148"/>
                    <a:gd name="connsiteY203" fmla="*/ 966849 h 1069912"/>
                    <a:gd name="connsiteX204" fmla="*/ 316888 w 1081148"/>
                    <a:gd name="connsiteY204" fmla="*/ 960280 h 1069912"/>
                    <a:gd name="connsiteX205" fmla="*/ 324662 w 1081148"/>
                    <a:gd name="connsiteY205" fmla="*/ 958840 h 1069912"/>
                    <a:gd name="connsiteX206" fmla="*/ 326415 w 1081148"/>
                    <a:gd name="connsiteY206" fmla="*/ 954925 h 1069912"/>
                    <a:gd name="connsiteX207" fmla="*/ 328437 w 1081148"/>
                    <a:gd name="connsiteY207" fmla="*/ 944306 h 1069912"/>
                    <a:gd name="connsiteX208" fmla="*/ 341200 w 1081148"/>
                    <a:gd name="connsiteY208" fmla="*/ 931168 h 1069912"/>
                    <a:gd name="connsiteX209" fmla="*/ 351492 w 1081148"/>
                    <a:gd name="connsiteY209" fmla="*/ 930087 h 1069912"/>
                    <a:gd name="connsiteX210" fmla="*/ 355761 w 1081148"/>
                    <a:gd name="connsiteY210" fmla="*/ 923563 h 1069912"/>
                    <a:gd name="connsiteX211" fmla="*/ 363716 w 1081148"/>
                    <a:gd name="connsiteY211" fmla="*/ 920143 h 1069912"/>
                    <a:gd name="connsiteX212" fmla="*/ 381871 w 1081148"/>
                    <a:gd name="connsiteY212" fmla="*/ 902415 h 1069912"/>
                    <a:gd name="connsiteX213" fmla="*/ 384523 w 1081148"/>
                    <a:gd name="connsiteY213" fmla="*/ 899534 h 1069912"/>
                    <a:gd name="connsiteX214" fmla="*/ 386859 w 1081148"/>
                    <a:gd name="connsiteY214" fmla="*/ 895395 h 1069912"/>
                    <a:gd name="connsiteX215" fmla="*/ 391309 w 1081148"/>
                    <a:gd name="connsiteY215" fmla="*/ 897600 h 1069912"/>
                    <a:gd name="connsiteX216" fmla="*/ 392297 w 1081148"/>
                    <a:gd name="connsiteY216" fmla="*/ 895755 h 1069912"/>
                    <a:gd name="connsiteX217" fmla="*/ 393870 w 1081148"/>
                    <a:gd name="connsiteY217" fmla="*/ 892471 h 1069912"/>
                    <a:gd name="connsiteX218" fmla="*/ 390544 w 1081148"/>
                    <a:gd name="connsiteY218" fmla="*/ 890986 h 1069912"/>
                    <a:gd name="connsiteX219" fmla="*/ 397735 w 1081148"/>
                    <a:gd name="connsiteY219" fmla="*/ 880591 h 1069912"/>
                    <a:gd name="connsiteX220" fmla="*/ 418946 w 1081148"/>
                    <a:gd name="connsiteY220" fmla="*/ 860434 h 1069912"/>
                    <a:gd name="connsiteX221" fmla="*/ 396207 w 1081148"/>
                    <a:gd name="connsiteY221" fmla="*/ 850624 h 1069912"/>
                    <a:gd name="connsiteX222" fmla="*/ 394230 w 1081148"/>
                    <a:gd name="connsiteY222" fmla="*/ 844999 h 1069912"/>
                    <a:gd name="connsiteX223" fmla="*/ 397376 w 1081148"/>
                    <a:gd name="connsiteY223" fmla="*/ 839645 h 1069912"/>
                    <a:gd name="connsiteX224" fmla="*/ 396741 w 1081148"/>
                    <a:gd name="connsiteY224" fmla="*/ 830916 h 1069912"/>
                    <a:gd name="connsiteX225" fmla="*/ 404381 w 1081148"/>
                    <a:gd name="connsiteY225" fmla="*/ 821737 h 1069912"/>
                    <a:gd name="connsiteX226" fmla="*/ 409190 w 1081148"/>
                    <a:gd name="connsiteY226" fmla="*/ 816922 h 1069912"/>
                    <a:gd name="connsiteX227" fmla="*/ 412335 w 1081148"/>
                    <a:gd name="connsiteY227" fmla="*/ 813277 h 1069912"/>
                    <a:gd name="connsiteX228" fmla="*/ 416425 w 1081148"/>
                    <a:gd name="connsiteY228" fmla="*/ 807879 h 1069912"/>
                    <a:gd name="connsiteX229" fmla="*/ 419436 w 1081148"/>
                    <a:gd name="connsiteY229" fmla="*/ 811658 h 1069912"/>
                    <a:gd name="connsiteX230" fmla="*/ 423660 w 1081148"/>
                    <a:gd name="connsiteY230" fmla="*/ 805628 h 1069912"/>
                    <a:gd name="connsiteX231" fmla="*/ 440109 w 1081148"/>
                    <a:gd name="connsiteY231" fmla="*/ 795100 h 1069912"/>
                    <a:gd name="connsiteX232" fmla="*/ 431929 w 1081148"/>
                    <a:gd name="connsiteY232" fmla="*/ 778590 h 1069912"/>
                    <a:gd name="connsiteX233" fmla="*/ 461275 w 1081148"/>
                    <a:gd name="connsiteY233" fmla="*/ 752627 h 1069912"/>
                    <a:gd name="connsiteX234" fmla="*/ 464781 w 1081148"/>
                    <a:gd name="connsiteY234" fmla="*/ 743448 h 1069912"/>
                    <a:gd name="connsiteX235" fmla="*/ 514798 w 1081148"/>
                    <a:gd name="connsiteY235" fmla="*/ 724144 h 1069912"/>
                    <a:gd name="connsiteX236" fmla="*/ 524101 w 1081148"/>
                    <a:gd name="connsiteY236" fmla="*/ 714514 h 1069912"/>
                    <a:gd name="connsiteX237" fmla="*/ 541942 w 1081148"/>
                    <a:gd name="connsiteY237" fmla="*/ 747091 h 1069912"/>
                    <a:gd name="connsiteX238" fmla="*/ 474716 w 1081148"/>
                    <a:gd name="connsiteY238" fmla="*/ 753886 h 1069912"/>
                    <a:gd name="connsiteX239" fmla="*/ 486175 w 1081148"/>
                    <a:gd name="connsiteY239" fmla="*/ 808646 h 1069912"/>
                    <a:gd name="connsiteX240" fmla="*/ 460553 w 1081148"/>
                    <a:gd name="connsiteY240" fmla="*/ 838883 h 1069912"/>
                    <a:gd name="connsiteX241" fmla="*/ 481355 w 1081148"/>
                    <a:gd name="connsiteY241" fmla="*/ 840592 h 1069912"/>
                    <a:gd name="connsiteX242" fmla="*/ 478209 w 1081148"/>
                    <a:gd name="connsiteY242" fmla="*/ 834743 h 1069912"/>
                    <a:gd name="connsiteX243" fmla="*/ 488276 w 1081148"/>
                    <a:gd name="connsiteY243" fmla="*/ 833981 h 1069912"/>
                    <a:gd name="connsiteX244" fmla="*/ 500326 w 1081148"/>
                    <a:gd name="connsiteY244" fmla="*/ 826241 h 1069912"/>
                    <a:gd name="connsiteX245" fmla="*/ 506886 w 1081148"/>
                    <a:gd name="connsiteY245" fmla="*/ 813868 h 1069912"/>
                    <a:gd name="connsiteX246" fmla="*/ 507336 w 1081148"/>
                    <a:gd name="connsiteY246" fmla="*/ 824442 h 1069912"/>
                    <a:gd name="connsiteX247" fmla="*/ 508684 w 1081148"/>
                    <a:gd name="connsiteY247" fmla="*/ 819447 h 1069912"/>
                    <a:gd name="connsiteX248" fmla="*/ 513942 w 1081148"/>
                    <a:gd name="connsiteY248" fmla="*/ 817152 h 1069912"/>
                    <a:gd name="connsiteX249" fmla="*/ 521537 w 1081148"/>
                    <a:gd name="connsiteY249" fmla="*/ 814947 h 1069912"/>
                    <a:gd name="connsiteX250" fmla="*/ 524637 w 1081148"/>
                    <a:gd name="connsiteY250" fmla="*/ 810584 h 1069912"/>
                    <a:gd name="connsiteX251" fmla="*/ 534210 w 1081148"/>
                    <a:gd name="connsiteY251" fmla="*/ 795824 h 1069912"/>
                    <a:gd name="connsiteX252" fmla="*/ 541580 w 1081148"/>
                    <a:gd name="connsiteY252" fmla="*/ 793169 h 1069912"/>
                    <a:gd name="connsiteX253" fmla="*/ 547107 w 1081148"/>
                    <a:gd name="connsiteY253" fmla="*/ 799739 h 1069912"/>
                    <a:gd name="connsiteX254" fmla="*/ 556367 w 1081148"/>
                    <a:gd name="connsiteY254" fmla="*/ 794565 h 1069912"/>
                    <a:gd name="connsiteX255" fmla="*/ 562928 w 1081148"/>
                    <a:gd name="connsiteY255" fmla="*/ 786915 h 1069912"/>
                    <a:gd name="connsiteX256" fmla="*/ 565085 w 1081148"/>
                    <a:gd name="connsiteY256" fmla="*/ 787320 h 1069912"/>
                    <a:gd name="connsiteX257" fmla="*/ 560815 w 1081148"/>
                    <a:gd name="connsiteY257" fmla="*/ 779895 h 1069912"/>
                    <a:gd name="connsiteX258" fmla="*/ 564411 w 1081148"/>
                    <a:gd name="connsiteY258" fmla="*/ 774226 h 1069912"/>
                    <a:gd name="connsiteX259" fmla="*/ 565894 w 1081148"/>
                    <a:gd name="connsiteY259" fmla="*/ 772426 h 1069912"/>
                    <a:gd name="connsiteX260" fmla="*/ 571107 w 1081148"/>
                    <a:gd name="connsiteY260" fmla="*/ 768870 h 1069912"/>
                    <a:gd name="connsiteX261" fmla="*/ 569759 w 1081148"/>
                    <a:gd name="connsiteY261" fmla="*/ 763336 h 1069912"/>
                    <a:gd name="connsiteX262" fmla="*/ 565804 w 1081148"/>
                    <a:gd name="connsiteY262" fmla="*/ 764281 h 1069912"/>
                    <a:gd name="connsiteX263" fmla="*/ 553580 w 1081148"/>
                    <a:gd name="connsiteY263" fmla="*/ 768421 h 1069912"/>
                    <a:gd name="connsiteX264" fmla="*/ 560810 w 1081148"/>
                    <a:gd name="connsiteY264" fmla="*/ 764911 h 1069912"/>
                    <a:gd name="connsiteX265" fmla="*/ 564496 w 1081148"/>
                    <a:gd name="connsiteY265" fmla="*/ 751861 h 1069912"/>
                    <a:gd name="connsiteX266" fmla="*/ 560405 w 1081148"/>
                    <a:gd name="connsiteY266" fmla="*/ 751861 h 1069912"/>
                    <a:gd name="connsiteX267" fmla="*/ 557530 w 1081148"/>
                    <a:gd name="connsiteY267" fmla="*/ 749432 h 1069912"/>
                    <a:gd name="connsiteX268" fmla="*/ 558878 w 1081148"/>
                    <a:gd name="connsiteY268" fmla="*/ 748218 h 1069912"/>
                    <a:gd name="connsiteX269" fmla="*/ 562159 w 1081148"/>
                    <a:gd name="connsiteY269" fmla="*/ 740388 h 1069912"/>
                    <a:gd name="connsiteX270" fmla="*/ 565979 w 1081148"/>
                    <a:gd name="connsiteY270" fmla="*/ 734133 h 1069912"/>
                    <a:gd name="connsiteX271" fmla="*/ 560810 w 1081148"/>
                    <a:gd name="connsiteY271" fmla="*/ 735889 h 1069912"/>
                    <a:gd name="connsiteX272" fmla="*/ 578203 w 1081148"/>
                    <a:gd name="connsiteY272" fmla="*/ 722390 h 1069912"/>
                    <a:gd name="connsiteX273" fmla="*/ 577977 w 1081148"/>
                    <a:gd name="connsiteY273" fmla="*/ 747857 h 1069912"/>
                    <a:gd name="connsiteX274" fmla="*/ 580044 w 1081148"/>
                    <a:gd name="connsiteY274" fmla="*/ 746507 h 1069912"/>
                    <a:gd name="connsiteX275" fmla="*/ 580539 w 1081148"/>
                    <a:gd name="connsiteY275" fmla="*/ 737734 h 1069912"/>
                    <a:gd name="connsiteX276" fmla="*/ 584314 w 1081148"/>
                    <a:gd name="connsiteY276" fmla="*/ 735439 h 1069912"/>
                    <a:gd name="connsiteX277" fmla="*/ 586650 w 1081148"/>
                    <a:gd name="connsiteY277" fmla="*/ 741063 h 1069912"/>
                    <a:gd name="connsiteX278" fmla="*/ 586650 w 1081148"/>
                    <a:gd name="connsiteY278" fmla="*/ 744302 h 1069912"/>
                    <a:gd name="connsiteX279" fmla="*/ 591505 w 1081148"/>
                    <a:gd name="connsiteY279" fmla="*/ 738363 h 1069912"/>
                    <a:gd name="connsiteX280" fmla="*/ 596538 w 1081148"/>
                    <a:gd name="connsiteY280" fmla="*/ 737688 h 1069912"/>
                    <a:gd name="connsiteX281" fmla="*/ 599863 w 1081148"/>
                    <a:gd name="connsiteY281" fmla="*/ 738274 h 1069912"/>
                    <a:gd name="connsiteX282" fmla="*/ 621075 w 1081148"/>
                    <a:gd name="connsiteY282" fmla="*/ 733098 h 1069912"/>
                    <a:gd name="connsiteX283" fmla="*/ 612042 w 1081148"/>
                    <a:gd name="connsiteY283" fmla="*/ 747632 h 1069912"/>
                    <a:gd name="connsiteX284" fmla="*/ 621428 w 1081148"/>
                    <a:gd name="connsiteY284" fmla="*/ 744888 h 1069912"/>
                    <a:gd name="connsiteX285" fmla="*/ 613384 w 1081148"/>
                    <a:gd name="connsiteY285" fmla="*/ 753482 h 1069912"/>
                    <a:gd name="connsiteX286" fmla="*/ 619726 w 1081148"/>
                    <a:gd name="connsiteY286" fmla="*/ 751457 h 1069912"/>
                    <a:gd name="connsiteX287" fmla="*/ 627006 w 1081148"/>
                    <a:gd name="connsiteY287" fmla="*/ 753482 h 1069912"/>
                    <a:gd name="connsiteX288" fmla="*/ 629523 w 1081148"/>
                    <a:gd name="connsiteY288" fmla="*/ 755596 h 1069912"/>
                    <a:gd name="connsiteX289" fmla="*/ 627680 w 1081148"/>
                    <a:gd name="connsiteY289" fmla="*/ 759781 h 1069912"/>
                    <a:gd name="connsiteX290" fmla="*/ 631140 w 1081148"/>
                    <a:gd name="connsiteY290" fmla="*/ 758206 h 1069912"/>
                    <a:gd name="connsiteX291" fmla="*/ 629477 w 1081148"/>
                    <a:gd name="connsiteY291" fmla="*/ 770130 h 1069912"/>
                    <a:gd name="connsiteX292" fmla="*/ 660216 w 1081148"/>
                    <a:gd name="connsiteY292" fmla="*/ 760591 h 1069912"/>
                    <a:gd name="connsiteX293" fmla="*/ 659318 w 1081148"/>
                    <a:gd name="connsiteY293" fmla="*/ 768465 h 1069912"/>
                    <a:gd name="connsiteX294" fmla="*/ 660981 w 1081148"/>
                    <a:gd name="connsiteY294" fmla="*/ 778905 h 1069912"/>
                    <a:gd name="connsiteX295" fmla="*/ 678911 w 1081148"/>
                    <a:gd name="connsiteY295" fmla="*/ 784484 h 1069912"/>
                    <a:gd name="connsiteX296" fmla="*/ 744210 w 1081148"/>
                    <a:gd name="connsiteY296" fmla="*/ 795733 h 1069912"/>
                    <a:gd name="connsiteX297" fmla="*/ 761556 w 1081148"/>
                    <a:gd name="connsiteY297" fmla="*/ 792404 h 1069912"/>
                    <a:gd name="connsiteX298" fmla="*/ 811304 w 1081148"/>
                    <a:gd name="connsiteY298" fmla="*/ 798928 h 1069912"/>
                    <a:gd name="connsiteX299" fmla="*/ 808698 w 1081148"/>
                    <a:gd name="connsiteY299" fmla="*/ 802392 h 1069912"/>
                    <a:gd name="connsiteX300" fmla="*/ 808428 w 1081148"/>
                    <a:gd name="connsiteY300" fmla="*/ 819806 h 1069912"/>
                    <a:gd name="connsiteX301" fmla="*/ 837370 w 1081148"/>
                    <a:gd name="connsiteY301" fmla="*/ 845003 h 1069912"/>
                    <a:gd name="connsiteX302" fmla="*/ 869411 w 1081148"/>
                    <a:gd name="connsiteY302" fmla="*/ 869437 h 1069912"/>
                    <a:gd name="connsiteX303" fmla="*/ 894399 w 1081148"/>
                    <a:gd name="connsiteY303" fmla="*/ 894320 h 1069912"/>
                    <a:gd name="connsiteX304" fmla="*/ 900868 w 1081148"/>
                    <a:gd name="connsiteY304" fmla="*/ 890224 h 1069912"/>
                    <a:gd name="connsiteX305" fmla="*/ 896150 w 1081148"/>
                    <a:gd name="connsiteY305" fmla="*/ 885724 h 1069912"/>
                    <a:gd name="connsiteX306" fmla="*/ 909047 w 1081148"/>
                    <a:gd name="connsiteY306" fmla="*/ 878485 h 1069912"/>
                    <a:gd name="connsiteX307" fmla="*/ 907115 w 1081148"/>
                    <a:gd name="connsiteY307" fmla="*/ 876730 h 1069912"/>
                    <a:gd name="connsiteX308" fmla="*/ 896644 w 1081148"/>
                    <a:gd name="connsiteY308" fmla="*/ 872816 h 1069912"/>
                    <a:gd name="connsiteX309" fmla="*/ 882578 w 1081148"/>
                    <a:gd name="connsiteY309" fmla="*/ 858192 h 1069912"/>
                    <a:gd name="connsiteX310" fmla="*/ 879387 w 1081148"/>
                    <a:gd name="connsiteY310" fmla="*/ 859903 h 1069912"/>
                    <a:gd name="connsiteX311" fmla="*/ 881229 w 1081148"/>
                    <a:gd name="connsiteY311" fmla="*/ 849644 h 1069912"/>
                    <a:gd name="connsiteX312" fmla="*/ 906935 w 1081148"/>
                    <a:gd name="connsiteY312" fmla="*/ 849959 h 1069912"/>
                    <a:gd name="connsiteX313" fmla="*/ 912418 w 1081148"/>
                    <a:gd name="connsiteY313" fmla="*/ 856302 h 1069912"/>
                    <a:gd name="connsiteX314" fmla="*/ 909273 w 1081148"/>
                    <a:gd name="connsiteY314" fmla="*/ 862332 h 1069912"/>
                    <a:gd name="connsiteX315" fmla="*/ 925990 w 1081148"/>
                    <a:gd name="connsiteY315" fmla="*/ 880239 h 1069912"/>
                    <a:gd name="connsiteX316" fmla="*/ 924013 w 1081148"/>
                    <a:gd name="connsiteY316" fmla="*/ 839338 h 1069912"/>
                    <a:gd name="connsiteX317" fmla="*/ 924057 w 1081148"/>
                    <a:gd name="connsiteY317" fmla="*/ 834343 h 1069912"/>
                    <a:gd name="connsiteX318" fmla="*/ 963607 w 1081148"/>
                    <a:gd name="connsiteY318" fmla="*/ 895357 h 1069912"/>
                    <a:gd name="connsiteX319" fmla="*/ 973805 w 1081148"/>
                    <a:gd name="connsiteY319" fmla="*/ 905707 h 1069912"/>
                    <a:gd name="connsiteX320" fmla="*/ 976862 w 1081148"/>
                    <a:gd name="connsiteY320" fmla="*/ 909396 h 1069912"/>
                    <a:gd name="connsiteX321" fmla="*/ 978485 w 1081148"/>
                    <a:gd name="connsiteY321" fmla="*/ 912276 h 1069912"/>
                    <a:gd name="connsiteX322" fmla="*/ 980730 w 1081148"/>
                    <a:gd name="connsiteY322" fmla="*/ 910072 h 1069912"/>
                    <a:gd name="connsiteX323" fmla="*/ 992501 w 1081148"/>
                    <a:gd name="connsiteY323" fmla="*/ 913581 h 1069912"/>
                    <a:gd name="connsiteX324" fmla="*/ 988594 w 1081148"/>
                    <a:gd name="connsiteY324" fmla="*/ 912276 h 1069912"/>
                    <a:gd name="connsiteX325" fmla="*/ 994797 w 1081148"/>
                    <a:gd name="connsiteY325" fmla="*/ 930680 h 1069912"/>
                    <a:gd name="connsiteX326" fmla="*/ 984231 w 1081148"/>
                    <a:gd name="connsiteY326" fmla="*/ 929195 h 1069912"/>
                    <a:gd name="connsiteX327" fmla="*/ 995380 w 1081148"/>
                    <a:gd name="connsiteY327" fmla="*/ 939863 h 1069912"/>
                    <a:gd name="connsiteX328" fmla="*/ 983610 w 1081148"/>
                    <a:gd name="connsiteY328" fmla="*/ 951157 h 1069912"/>
                    <a:gd name="connsiteX329" fmla="*/ 1035818 w 1081148"/>
                    <a:gd name="connsiteY329" fmla="*/ 999036 h 1069912"/>
                    <a:gd name="connsiteX330" fmla="*/ 1024719 w 1081148"/>
                    <a:gd name="connsiteY330" fmla="*/ 1027159 h 1069912"/>
                    <a:gd name="connsiteX331" fmla="*/ 1027243 w 1081148"/>
                    <a:gd name="connsiteY331" fmla="*/ 1017530 h 1069912"/>
                    <a:gd name="connsiteX332" fmla="*/ 1054248 w 1081148"/>
                    <a:gd name="connsiteY332" fmla="*/ 1021354 h 1069912"/>
                    <a:gd name="connsiteX333" fmla="*/ 1060273 w 1081148"/>
                    <a:gd name="connsiteY333" fmla="*/ 1051862 h 1069912"/>
                    <a:gd name="connsiteX334" fmla="*/ 1074289 w 1081148"/>
                    <a:gd name="connsiteY334" fmla="*/ 1060950 h 1069912"/>
                    <a:gd name="connsiteX335" fmla="*/ 1074378 w 1081148"/>
                    <a:gd name="connsiteY335" fmla="*/ 1060816 h 1069912"/>
                    <a:gd name="connsiteX336" fmla="*/ 1078601 w 1081148"/>
                    <a:gd name="connsiteY336" fmla="*/ 1042952 h 1069912"/>
                    <a:gd name="connsiteX337" fmla="*/ 1078601 w 1081148"/>
                    <a:gd name="connsiteY337" fmla="*/ 1042727 h 1069912"/>
                    <a:gd name="connsiteX338" fmla="*/ 1077206 w 1081148"/>
                    <a:gd name="connsiteY338" fmla="*/ 1031297 h 1069912"/>
                    <a:gd name="connsiteX339" fmla="*/ 1079362 w 1081148"/>
                    <a:gd name="connsiteY339" fmla="*/ 1031522 h 1069912"/>
                    <a:gd name="connsiteX340" fmla="*/ 1080986 w 1081148"/>
                    <a:gd name="connsiteY340" fmla="*/ 1015054 h 1069912"/>
                    <a:gd name="connsiteX341" fmla="*/ 1078259 w 1081148"/>
                    <a:gd name="connsiteY341" fmla="*/ 1004974 h 1069912"/>
                    <a:gd name="connsiteX342" fmla="*/ 819900 w 1081148"/>
                    <a:gd name="connsiteY342" fmla="*/ 817476 h 1069912"/>
                    <a:gd name="connsiteX343" fmla="*/ 814867 w 1081148"/>
                    <a:gd name="connsiteY343" fmla="*/ 798172 h 1069912"/>
                    <a:gd name="connsiteX344" fmla="*/ 816214 w 1081148"/>
                    <a:gd name="connsiteY344" fmla="*/ 798982 h 1069912"/>
                    <a:gd name="connsiteX345" fmla="*/ 819900 w 1081148"/>
                    <a:gd name="connsiteY345" fmla="*/ 817476 h 10699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</a:cxnLst>
                  <a:rect l="l" t="t" r="r" b="b"/>
                  <a:pathLst>
                    <a:path w="1081148" h="1069912">
                      <a:moveTo>
                        <a:pt x="1078259" y="1004974"/>
                      </a:moveTo>
                      <a:lnTo>
                        <a:pt x="1075557" y="1005784"/>
                      </a:lnTo>
                      <a:cubicBezTo>
                        <a:pt x="1063342" y="996739"/>
                        <a:pt x="1050481" y="988415"/>
                        <a:pt x="1036604" y="979956"/>
                      </a:cubicBezTo>
                      <a:lnTo>
                        <a:pt x="1033547" y="980496"/>
                      </a:lnTo>
                      <a:cubicBezTo>
                        <a:pt x="1004374" y="919061"/>
                        <a:pt x="968312" y="861152"/>
                        <a:pt x="926047" y="807891"/>
                      </a:cubicBezTo>
                      <a:cubicBezTo>
                        <a:pt x="912521" y="815586"/>
                        <a:pt x="904387" y="815631"/>
                        <a:pt x="900971" y="827105"/>
                      </a:cubicBezTo>
                      <a:cubicBezTo>
                        <a:pt x="899997" y="827035"/>
                        <a:pt x="899040" y="826807"/>
                        <a:pt x="898140" y="826429"/>
                      </a:cubicBezTo>
                      <a:cubicBezTo>
                        <a:pt x="898050" y="831829"/>
                        <a:pt x="899354" y="842403"/>
                        <a:pt x="892343" y="843663"/>
                      </a:cubicBezTo>
                      <a:lnTo>
                        <a:pt x="889107" y="843348"/>
                      </a:lnTo>
                      <a:cubicBezTo>
                        <a:pt x="882121" y="847109"/>
                        <a:pt x="875742" y="851904"/>
                        <a:pt x="870188" y="857572"/>
                      </a:cubicBezTo>
                      <a:cubicBezTo>
                        <a:pt x="869648" y="822610"/>
                        <a:pt x="815989" y="809202"/>
                        <a:pt x="823405" y="776399"/>
                      </a:cubicBezTo>
                      <a:cubicBezTo>
                        <a:pt x="813772" y="774725"/>
                        <a:pt x="803961" y="778164"/>
                        <a:pt x="797474" y="785488"/>
                      </a:cubicBezTo>
                      <a:cubicBezTo>
                        <a:pt x="793505" y="783243"/>
                        <a:pt x="789426" y="781201"/>
                        <a:pt x="785250" y="779370"/>
                      </a:cubicBezTo>
                      <a:cubicBezTo>
                        <a:pt x="783948" y="780178"/>
                        <a:pt x="784082" y="782926"/>
                        <a:pt x="782824" y="783733"/>
                      </a:cubicBezTo>
                      <a:cubicBezTo>
                        <a:pt x="744850" y="594480"/>
                        <a:pt x="782190" y="351457"/>
                        <a:pt x="769432" y="144836"/>
                      </a:cubicBezTo>
                      <a:lnTo>
                        <a:pt x="769432" y="143756"/>
                      </a:lnTo>
                      <a:cubicBezTo>
                        <a:pt x="766915" y="143082"/>
                        <a:pt x="764358" y="142271"/>
                        <a:pt x="761657" y="141281"/>
                      </a:cubicBezTo>
                      <a:cubicBezTo>
                        <a:pt x="761457" y="141219"/>
                        <a:pt x="761262" y="141144"/>
                        <a:pt x="761073" y="141056"/>
                      </a:cubicBezTo>
                      <a:cubicBezTo>
                        <a:pt x="759905" y="140651"/>
                        <a:pt x="758737" y="140156"/>
                        <a:pt x="757522" y="139659"/>
                      </a:cubicBezTo>
                      <a:cubicBezTo>
                        <a:pt x="756622" y="139300"/>
                        <a:pt x="755724" y="138897"/>
                        <a:pt x="754781" y="138444"/>
                      </a:cubicBezTo>
                      <a:cubicBezTo>
                        <a:pt x="753522" y="137904"/>
                        <a:pt x="752218" y="137274"/>
                        <a:pt x="750916" y="136600"/>
                      </a:cubicBezTo>
                      <a:cubicBezTo>
                        <a:pt x="750621" y="136466"/>
                        <a:pt x="750336" y="136316"/>
                        <a:pt x="750061" y="136149"/>
                      </a:cubicBezTo>
                      <a:cubicBezTo>
                        <a:pt x="749253" y="135744"/>
                        <a:pt x="748443" y="135340"/>
                        <a:pt x="747634" y="134844"/>
                      </a:cubicBezTo>
                      <a:cubicBezTo>
                        <a:pt x="746826" y="134439"/>
                        <a:pt x="745971" y="133944"/>
                        <a:pt x="745118" y="133404"/>
                      </a:cubicBezTo>
                      <a:cubicBezTo>
                        <a:pt x="744264" y="132955"/>
                        <a:pt x="743410" y="132459"/>
                        <a:pt x="742511" y="131880"/>
                      </a:cubicBezTo>
                      <a:cubicBezTo>
                        <a:pt x="741657" y="131339"/>
                        <a:pt x="740759" y="130800"/>
                        <a:pt x="739860" y="130215"/>
                      </a:cubicBezTo>
                      <a:cubicBezTo>
                        <a:pt x="738961" y="129674"/>
                        <a:pt x="738063" y="129090"/>
                        <a:pt x="737119" y="128414"/>
                      </a:cubicBezTo>
                      <a:cubicBezTo>
                        <a:pt x="736220" y="127830"/>
                        <a:pt x="735276" y="127200"/>
                        <a:pt x="734288" y="126480"/>
                      </a:cubicBezTo>
                      <a:cubicBezTo>
                        <a:pt x="733344" y="125845"/>
                        <a:pt x="732355" y="125130"/>
                        <a:pt x="731371" y="124410"/>
                      </a:cubicBezTo>
                      <a:cubicBezTo>
                        <a:pt x="725438" y="120092"/>
                        <a:pt x="718967" y="114827"/>
                        <a:pt x="711822" y="108436"/>
                      </a:cubicBezTo>
                      <a:cubicBezTo>
                        <a:pt x="699059" y="103397"/>
                        <a:pt x="708001" y="113746"/>
                        <a:pt x="696854" y="105872"/>
                      </a:cubicBezTo>
                      <a:cubicBezTo>
                        <a:pt x="692990" y="114151"/>
                        <a:pt x="682473" y="104163"/>
                        <a:pt x="682293" y="114016"/>
                      </a:cubicBezTo>
                      <a:cubicBezTo>
                        <a:pt x="679282" y="103348"/>
                        <a:pt x="646387" y="129855"/>
                        <a:pt x="650027" y="112442"/>
                      </a:cubicBezTo>
                      <a:cubicBezTo>
                        <a:pt x="609805" y="97727"/>
                        <a:pt x="568955" y="97727"/>
                        <a:pt x="532913" y="73249"/>
                      </a:cubicBezTo>
                      <a:cubicBezTo>
                        <a:pt x="529452" y="76310"/>
                        <a:pt x="525407" y="70329"/>
                        <a:pt x="519656" y="74465"/>
                      </a:cubicBezTo>
                      <a:cubicBezTo>
                        <a:pt x="485409" y="88459"/>
                        <a:pt x="519386" y="72755"/>
                        <a:pt x="491837" y="73830"/>
                      </a:cubicBezTo>
                      <a:cubicBezTo>
                        <a:pt x="492018" y="77513"/>
                        <a:pt x="477862" y="77386"/>
                        <a:pt x="479661" y="84674"/>
                      </a:cubicBezTo>
                      <a:cubicBezTo>
                        <a:pt x="434811" y="71220"/>
                        <a:pt x="492289" y="67395"/>
                        <a:pt x="440068" y="69375"/>
                      </a:cubicBezTo>
                      <a:cubicBezTo>
                        <a:pt x="438990" y="62806"/>
                        <a:pt x="457100" y="70275"/>
                        <a:pt x="454674" y="65692"/>
                      </a:cubicBezTo>
                      <a:cubicBezTo>
                        <a:pt x="427485" y="65602"/>
                        <a:pt x="466537" y="40089"/>
                        <a:pt x="437417" y="40630"/>
                      </a:cubicBezTo>
                      <a:cubicBezTo>
                        <a:pt x="442046" y="53272"/>
                        <a:pt x="430948" y="36220"/>
                        <a:pt x="420654" y="37300"/>
                      </a:cubicBezTo>
                      <a:cubicBezTo>
                        <a:pt x="405560" y="42879"/>
                        <a:pt x="387668" y="53363"/>
                        <a:pt x="378500" y="40094"/>
                      </a:cubicBezTo>
                      <a:cubicBezTo>
                        <a:pt x="393106" y="33389"/>
                        <a:pt x="369963" y="9407"/>
                        <a:pt x="371397" y="29565"/>
                      </a:cubicBezTo>
                      <a:cubicBezTo>
                        <a:pt x="370275" y="31005"/>
                        <a:pt x="370588" y="6887"/>
                        <a:pt x="369780" y="23581"/>
                      </a:cubicBezTo>
                      <a:cubicBezTo>
                        <a:pt x="362550" y="14807"/>
                        <a:pt x="366679" y="27226"/>
                        <a:pt x="367083" y="31545"/>
                      </a:cubicBezTo>
                      <a:cubicBezTo>
                        <a:pt x="359578" y="23850"/>
                        <a:pt x="358905" y="39869"/>
                        <a:pt x="355399" y="44459"/>
                      </a:cubicBezTo>
                      <a:cubicBezTo>
                        <a:pt x="352882" y="39600"/>
                        <a:pt x="354365" y="45584"/>
                        <a:pt x="353826" y="46348"/>
                      </a:cubicBezTo>
                      <a:cubicBezTo>
                        <a:pt x="353017" y="43604"/>
                        <a:pt x="351129" y="44951"/>
                        <a:pt x="349556" y="45809"/>
                      </a:cubicBezTo>
                      <a:cubicBezTo>
                        <a:pt x="345878" y="44324"/>
                        <a:pt x="343804" y="58763"/>
                        <a:pt x="345878" y="43874"/>
                      </a:cubicBezTo>
                      <a:cubicBezTo>
                        <a:pt x="346192" y="39683"/>
                        <a:pt x="340620" y="40094"/>
                        <a:pt x="342552" y="37935"/>
                      </a:cubicBezTo>
                      <a:cubicBezTo>
                        <a:pt x="341744" y="36314"/>
                        <a:pt x="336980" y="40094"/>
                        <a:pt x="340036" y="36945"/>
                      </a:cubicBezTo>
                      <a:cubicBezTo>
                        <a:pt x="373471" y="21152"/>
                        <a:pt x="348035" y="12827"/>
                        <a:pt x="329026" y="4728"/>
                      </a:cubicBezTo>
                      <a:cubicBezTo>
                        <a:pt x="320442" y="-20200"/>
                        <a:pt x="308443" y="62277"/>
                        <a:pt x="256673" y="48013"/>
                      </a:cubicBezTo>
                      <a:cubicBezTo>
                        <a:pt x="265390" y="52154"/>
                        <a:pt x="245212" y="49004"/>
                        <a:pt x="252942" y="57463"/>
                      </a:cubicBezTo>
                      <a:cubicBezTo>
                        <a:pt x="251235" y="59488"/>
                        <a:pt x="250291" y="47969"/>
                        <a:pt x="248943" y="51883"/>
                      </a:cubicBezTo>
                      <a:cubicBezTo>
                        <a:pt x="242291" y="49408"/>
                        <a:pt x="252447" y="47249"/>
                        <a:pt x="255100" y="46258"/>
                      </a:cubicBezTo>
                      <a:cubicBezTo>
                        <a:pt x="250470" y="34965"/>
                        <a:pt x="239460" y="51524"/>
                        <a:pt x="227102" y="63357"/>
                      </a:cubicBezTo>
                      <a:cubicBezTo>
                        <a:pt x="226922" y="67047"/>
                        <a:pt x="229753" y="60927"/>
                        <a:pt x="232176" y="62503"/>
                      </a:cubicBezTo>
                      <a:cubicBezTo>
                        <a:pt x="234872" y="64752"/>
                        <a:pt x="236488" y="78431"/>
                        <a:pt x="241164" y="72672"/>
                      </a:cubicBezTo>
                      <a:cubicBezTo>
                        <a:pt x="242019" y="72762"/>
                        <a:pt x="254870" y="69252"/>
                        <a:pt x="248669" y="72626"/>
                      </a:cubicBezTo>
                      <a:cubicBezTo>
                        <a:pt x="244760" y="73751"/>
                        <a:pt x="239681" y="77846"/>
                        <a:pt x="235637" y="74381"/>
                      </a:cubicBezTo>
                      <a:cubicBezTo>
                        <a:pt x="230783" y="83200"/>
                        <a:pt x="241883" y="111188"/>
                        <a:pt x="233121" y="90040"/>
                      </a:cubicBezTo>
                      <a:cubicBezTo>
                        <a:pt x="232760" y="80007"/>
                        <a:pt x="230964" y="89500"/>
                        <a:pt x="226918" y="88959"/>
                      </a:cubicBezTo>
                      <a:cubicBezTo>
                        <a:pt x="234648" y="69117"/>
                        <a:pt x="226603" y="82750"/>
                        <a:pt x="232760" y="66237"/>
                      </a:cubicBezTo>
                      <a:cubicBezTo>
                        <a:pt x="205572" y="78302"/>
                        <a:pt x="209929" y="87924"/>
                        <a:pt x="182383" y="99804"/>
                      </a:cubicBezTo>
                      <a:cubicBezTo>
                        <a:pt x="181214" y="98949"/>
                        <a:pt x="179592" y="99894"/>
                        <a:pt x="177889" y="101108"/>
                      </a:cubicBezTo>
                      <a:cubicBezTo>
                        <a:pt x="181124" y="97425"/>
                        <a:pt x="179237" y="96205"/>
                        <a:pt x="178069" y="95619"/>
                      </a:cubicBezTo>
                      <a:cubicBezTo>
                        <a:pt x="130612" y="115058"/>
                        <a:pt x="166474" y="208604"/>
                        <a:pt x="70034" y="208064"/>
                      </a:cubicBezTo>
                      <a:cubicBezTo>
                        <a:pt x="39519" y="195736"/>
                        <a:pt x="65899" y="245275"/>
                        <a:pt x="41676" y="247750"/>
                      </a:cubicBezTo>
                      <a:cubicBezTo>
                        <a:pt x="41209" y="247110"/>
                        <a:pt x="41123" y="246267"/>
                        <a:pt x="41451" y="245545"/>
                      </a:cubicBezTo>
                      <a:cubicBezTo>
                        <a:pt x="40283" y="246180"/>
                        <a:pt x="38889" y="246895"/>
                        <a:pt x="37047" y="247750"/>
                      </a:cubicBezTo>
                      <a:cubicBezTo>
                        <a:pt x="137174" y="284332"/>
                        <a:pt x="103153" y="359971"/>
                        <a:pt x="165575" y="345076"/>
                      </a:cubicBezTo>
                      <a:cubicBezTo>
                        <a:pt x="205932" y="343502"/>
                        <a:pt x="161307" y="360780"/>
                        <a:pt x="186377" y="379949"/>
                      </a:cubicBezTo>
                      <a:cubicBezTo>
                        <a:pt x="195904" y="388317"/>
                        <a:pt x="194875" y="371265"/>
                        <a:pt x="205701" y="372345"/>
                      </a:cubicBezTo>
                      <a:cubicBezTo>
                        <a:pt x="211275" y="377879"/>
                        <a:pt x="217161" y="378284"/>
                        <a:pt x="220668" y="374325"/>
                      </a:cubicBezTo>
                      <a:cubicBezTo>
                        <a:pt x="238466" y="389038"/>
                        <a:pt x="206154" y="403706"/>
                        <a:pt x="196851" y="382108"/>
                      </a:cubicBezTo>
                      <a:cubicBezTo>
                        <a:pt x="168674" y="406677"/>
                        <a:pt x="174965" y="336388"/>
                        <a:pt x="155866" y="356011"/>
                      </a:cubicBezTo>
                      <a:cubicBezTo>
                        <a:pt x="161663" y="370545"/>
                        <a:pt x="179144" y="377519"/>
                        <a:pt x="177796" y="395473"/>
                      </a:cubicBezTo>
                      <a:cubicBezTo>
                        <a:pt x="183459" y="382469"/>
                        <a:pt x="214513" y="403886"/>
                        <a:pt x="197166" y="410725"/>
                      </a:cubicBezTo>
                      <a:cubicBezTo>
                        <a:pt x="206288" y="402402"/>
                        <a:pt x="192177" y="406271"/>
                        <a:pt x="192133" y="400556"/>
                      </a:cubicBezTo>
                      <a:cubicBezTo>
                        <a:pt x="180627" y="397812"/>
                        <a:pt x="181351" y="416575"/>
                        <a:pt x="179863" y="420715"/>
                      </a:cubicBezTo>
                      <a:cubicBezTo>
                        <a:pt x="174111" y="417794"/>
                        <a:pt x="164224" y="410951"/>
                        <a:pt x="154787" y="419411"/>
                      </a:cubicBezTo>
                      <a:cubicBezTo>
                        <a:pt x="154833" y="401772"/>
                        <a:pt x="121666" y="426970"/>
                        <a:pt x="120004" y="405371"/>
                      </a:cubicBezTo>
                      <a:cubicBezTo>
                        <a:pt x="117442" y="406528"/>
                        <a:pt x="114588" y="406873"/>
                        <a:pt x="111824" y="406362"/>
                      </a:cubicBezTo>
                      <a:cubicBezTo>
                        <a:pt x="119779" y="403886"/>
                        <a:pt x="129351" y="383639"/>
                        <a:pt x="119239" y="378549"/>
                      </a:cubicBezTo>
                      <a:cubicBezTo>
                        <a:pt x="141437" y="378998"/>
                        <a:pt x="103375" y="374544"/>
                        <a:pt x="96905" y="380663"/>
                      </a:cubicBezTo>
                      <a:cubicBezTo>
                        <a:pt x="89939" y="395153"/>
                        <a:pt x="72097" y="384308"/>
                        <a:pt x="63648" y="402982"/>
                      </a:cubicBezTo>
                      <a:cubicBezTo>
                        <a:pt x="84860" y="408516"/>
                        <a:pt x="63694" y="417651"/>
                        <a:pt x="56418" y="408921"/>
                      </a:cubicBezTo>
                      <a:cubicBezTo>
                        <a:pt x="54896" y="401947"/>
                        <a:pt x="37859" y="418460"/>
                        <a:pt x="35657" y="420710"/>
                      </a:cubicBezTo>
                      <a:cubicBezTo>
                        <a:pt x="38533" y="416931"/>
                        <a:pt x="29993" y="422150"/>
                        <a:pt x="35657" y="423590"/>
                      </a:cubicBezTo>
                      <a:cubicBezTo>
                        <a:pt x="33589" y="426604"/>
                        <a:pt x="25860" y="433174"/>
                        <a:pt x="24017" y="426470"/>
                      </a:cubicBezTo>
                      <a:cubicBezTo>
                        <a:pt x="19748" y="429664"/>
                        <a:pt x="12692" y="433444"/>
                        <a:pt x="18086" y="436143"/>
                      </a:cubicBezTo>
                      <a:cubicBezTo>
                        <a:pt x="17186" y="442493"/>
                        <a:pt x="-9419" y="447618"/>
                        <a:pt x="7614" y="437314"/>
                      </a:cubicBezTo>
                      <a:cubicBezTo>
                        <a:pt x="5321" y="436729"/>
                        <a:pt x="963" y="440373"/>
                        <a:pt x="-26" y="442757"/>
                      </a:cubicBezTo>
                      <a:cubicBezTo>
                        <a:pt x="17097" y="470746"/>
                        <a:pt x="66799" y="464982"/>
                        <a:pt x="51385" y="471061"/>
                      </a:cubicBezTo>
                      <a:cubicBezTo>
                        <a:pt x="48194" y="474975"/>
                        <a:pt x="30219" y="489329"/>
                        <a:pt x="36375" y="469537"/>
                      </a:cubicBezTo>
                      <a:cubicBezTo>
                        <a:pt x="29005" y="474036"/>
                        <a:pt x="36601" y="482490"/>
                        <a:pt x="41049" y="486770"/>
                      </a:cubicBezTo>
                      <a:cubicBezTo>
                        <a:pt x="57722" y="498694"/>
                        <a:pt x="34938" y="509359"/>
                        <a:pt x="60463" y="516827"/>
                      </a:cubicBezTo>
                      <a:cubicBezTo>
                        <a:pt x="70890" y="519122"/>
                        <a:pt x="102527" y="530912"/>
                        <a:pt x="90259" y="521145"/>
                      </a:cubicBezTo>
                      <a:cubicBezTo>
                        <a:pt x="91020" y="518760"/>
                        <a:pt x="92190" y="519345"/>
                        <a:pt x="91471" y="522000"/>
                      </a:cubicBezTo>
                      <a:cubicBezTo>
                        <a:pt x="92910" y="520650"/>
                        <a:pt x="99022" y="518625"/>
                        <a:pt x="98033" y="520245"/>
                      </a:cubicBezTo>
                      <a:cubicBezTo>
                        <a:pt x="115694" y="506746"/>
                        <a:pt x="163016" y="535993"/>
                        <a:pt x="134563" y="515610"/>
                      </a:cubicBezTo>
                      <a:cubicBezTo>
                        <a:pt x="139282" y="505306"/>
                        <a:pt x="147460" y="519801"/>
                        <a:pt x="149887" y="521960"/>
                      </a:cubicBezTo>
                      <a:cubicBezTo>
                        <a:pt x="152539" y="545455"/>
                        <a:pt x="154834" y="514940"/>
                        <a:pt x="166336" y="513636"/>
                      </a:cubicBezTo>
                      <a:cubicBezTo>
                        <a:pt x="181166" y="494512"/>
                        <a:pt x="187412" y="513001"/>
                        <a:pt x="196355" y="492808"/>
                      </a:cubicBezTo>
                      <a:cubicBezTo>
                        <a:pt x="201344" y="490692"/>
                        <a:pt x="204714" y="494562"/>
                        <a:pt x="197928" y="493302"/>
                      </a:cubicBezTo>
                      <a:cubicBezTo>
                        <a:pt x="226870" y="521560"/>
                        <a:pt x="186783" y="513866"/>
                        <a:pt x="187592" y="528579"/>
                      </a:cubicBezTo>
                      <a:cubicBezTo>
                        <a:pt x="229611" y="540053"/>
                        <a:pt x="200086" y="609303"/>
                        <a:pt x="166246" y="585769"/>
                      </a:cubicBezTo>
                      <a:cubicBezTo>
                        <a:pt x="149258" y="619965"/>
                        <a:pt x="124856" y="616232"/>
                        <a:pt x="126833" y="610426"/>
                      </a:cubicBezTo>
                      <a:cubicBezTo>
                        <a:pt x="127058" y="594544"/>
                        <a:pt x="88147" y="603363"/>
                        <a:pt x="108048" y="617177"/>
                      </a:cubicBezTo>
                      <a:cubicBezTo>
                        <a:pt x="90791" y="606153"/>
                        <a:pt x="86567" y="649079"/>
                        <a:pt x="100589" y="636840"/>
                      </a:cubicBezTo>
                      <a:cubicBezTo>
                        <a:pt x="87287" y="651826"/>
                        <a:pt x="104632" y="647053"/>
                        <a:pt x="96454" y="656144"/>
                      </a:cubicBezTo>
                      <a:cubicBezTo>
                        <a:pt x="98521" y="629642"/>
                        <a:pt x="54256" y="672838"/>
                        <a:pt x="72227" y="687461"/>
                      </a:cubicBezTo>
                      <a:cubicBezTo>
                        <a:pt x="37577" y="691916"/>
                        <a:pt x="79596" y="696460"/>
                        <a:pt x="57216" y="701005"/>
                      </a:cubicBezTo>
                      <a:cubicBezTo>
                        <a:pt x="55373" y="686877"/>
                        <a:pt x="52408" y="710544"/>
                        <a:pt x="58969" y="708789"/>
                      </a:cubicBezTo>
                      <a:cubicBezTo>
                        <a:pt x="56632" y="701455"/>
                        <a:pt x="75866" y="709329"/>
                        <a:pt x="62834" y="714189"/>
                      </a:cubicBezTo>
                      <a:cubicBezTo>
                        <a:pt x="63059" y="723233"/>
                        <a:pt x="74377" y="719048"/>
                        <a:pt x="70833" y="727373"/>
                      </a:cubicBezTo>
                      <a:cubicBezTo>
                        <a:pt x="70743" y="737047"/>
                        <a:pt x="83237" y="734842"/>
                        <a:pt x="77574" y="727103"/>
                      </a:cubicBezTo>
                      <a:cubicBezTo>
                        <a:pt x="78649" y="722554"/>
                        <a:pt x="80967" y="718393"/>
                        <a:pt x="84270" y="715088"/>
                      </a:cubicBezTo>
                      <a:cubicBezTo>
                        <a:pt x="88621" y="711080"/>
                        <a:pt x="92401" y="706493"/>
                        <a:pt x="95505" y="701455"/>
                      </a:cubicBezTo>
                      <a:cubicBezTo>
                        <a:pt x="102246" y="704920"/>
                        <a:pt x="87236" y="709734"/>
                        <a:pt x="87551" y="712839"/>
                      </a:cubicBezTo>
                      <a:cubicBezTo>
                        <a:pt x="86313" y="713351"/>
                        <a:pt x="85195" y="714118"/>
                        <a:pt x="84270" y="715088"/>
                      </a:cubicBezTo>
                      <a:cubicBezTo>
                        <a:pt x="81259" y="718509"/>
                        <a:pt x="84629" y="722559"/>
                        <a:pt x="78382" y="726788"/>
                      </a:cubicBezTo>
                      <a:cubicBezTo>
                        <a:pt x="82652" y="731468"/>
                        <a:pt x="87865" y="728363"/>
                        <a:pt x="84851" y="723368"/>
                      </a:cubicBezTo>
                      <a:cubicBezTo>
                        <a:pt x="89570" y="727058"/>
                        <a:pt x="79728" y="732052"/>
                        <a:pt x="87953" y="735067"/>
                      </a:cubicBezTo>
                      <a:cubicBezTo>
                        <a:pt x="99053" y="727193"/>
                        <a:pt x="91773" y="735428"/>
                        <a:pt x="83278" y="739881"/>
                      </a:cubicBezTo>
                      <a:cubicBezTo>
                        <a:pt x="84674" y="743121"/>
                        <a:pt x="87458" y="743302"/>
                        <a:pt x="90469" y="742896"/>
                      </a:cubicBezTo>
                      <a:cubicBezTo>
                        <a:pt x="90421" y="743601"/>
                        <a:pt x="90436" y="744309"/>
                        <a:pt x="90515" y="745011"/>
                      </a:cubicBezTo>
                      <a:cubicBezTo>
                        <a:pt x="93256" y="749556"/>
                        <a:pt x="85568" y="761254"/>
                        <a:pt x="78830" y="762514"/>
                      </a:cubicBezTo>
                      <a:cubicBezTo>
                        <a:pt x="71684" y="772773"/>
                        <a:pt x="90694" y="761705"/>
                        <a:pt x="89345" y="767014"/>
                      </a:cubicBezTo>
                      <a:cubicBezTo>
                        <a:pt x="69977" y="771604"/>
                        <a:pt x="125702" y="795676"/>
                        <a:pt x="111232" y="798737"/>
                      </a:cubicBezTo>
                      <a:cubicBezTo>
                        <a:pt x="122915" y="822944"/>
                        <a:pt x="176936" y="792482"/>
                        <a:pt x="156936" y="778713"/>
                      </a:cubicBezTo>
                      <a:cubicBezTo>
                        <a:pt x="166507" y="771154"/>
                        <a:pt x="164620" y="756305"/>
                        <a:pt x="176529" y="755270"/>
                      </a:cubicBezTo>
                      <a:cubicBezTo>
                        <a:pt x="168845" y="758959"/>
                        <a:pt x="155048" y="787893"/>
                        <a:pt x="167496" y="787893"/>
                      </a:cubicBezTo>
                      <a:cubicBezTo>
                        <a:pt x="162508" y="783888"/>
                        <a:pt x="170414" y="781142"/>
                        <a:pt x="169384" y="783842"/>
                      </a:cubicBezTo>
                      <a:cubicBezTo>
                        <a:pt x="168350" y="784964"/>
                        <a:pt x="167689" y="786379"/>
                        <a:pt x="167496" y="787893"/>
                      </a:cubicBezTo>
                      <a:cubicBezTo>
                        <a:pt x="165385" y="799771"/>
                        <a:pt x="186911" y="819119"/>
                        <a:pt x="178278" y="828660"/>
                      </a:cubicBezTo>
                      <a:cubicBezTo>
                        <a:pt x="173559" y="834780"/>
                        <a:pt x="169780" y="839684"/>
                        <a:pt x="177517" y="847202"/>
                      </a:cubicBezTo>
                      <a:cubicBezTo>
                        <a:pt x="176439" y="844952"/>
                        <a:pt x="187134" y="843917"/>
                        <a:pt x="186100" y="846439"/>
                      </a:cubicBezTo>
                      <a:cubicBezTo>
                        <a:pt x="177022" y="848104"/>
                        <a:pt x="177741" y="863628"/>
                        <a:pt x="183718" y="862638"/>
                      </a:cubicBezTo>
                      <a:cubicBezTo>
                        <a:pt x="178645" y="869433"/>
                        <a:pt x="177157" y="869387"/>
                        <a:pt x="168978" y="871457"/>
                      </a:cubicBezTo>
                      <a:cubicBezTo>
                        <a:pt x="175404" y="875237"/>
                        <a:pt x="185381" y="868352"/>
                        <a:pt x="180663" y="876137"/>
                      </a:cubicBezTo>
                      <a:cubicBezTo>
                        <a:pt x="186992" y="874420"/>
                        <a:pt x="192039" y="869637"/>
                        <a:pt x="194099" y="863403"/>
                      </a:cubicBezTo>
                      <a:cubicBezTo>
                        <a:pt x="202682" y="869880"/>
                        <a:pt x="224613" y="836540"/>
                        <a:pt x="221333" y="854674"/>
                      </a:cubicBezTo>
                      <a:cubicBezTo>
                        <a:pt x="223625" y="857689"/>
                        <a:pt x="226186" y="855169"/>
                        <a:pt x="226366" y="859669"/>
                      </a:cubicBezTo>
                      <a:cubicBezTo>
                        <a:pt x="229961" y="854809"/>
                        <a:pt x="235893" y="871188"/>
                        <a:pt x="236432" y="860304"/>
                      </a:cubicBezTo>
                      <a:cubicBezTo>
                        <a:pt x="243579" y="839603"/>
                        <a:pt x="256473" y="902960"/>
                        <a:pt x="266902" y="879111"/>
                      </a:cubicBezTo>
                      <a:cubicBezTo>
                        <a:pt x="257780" y="861789"/>
                        <a:pt x="266452" y="867817"/>
                        <a:pt x="264026" y="853285"/>
                      </a:cubicBezTo>
                      <a:cubicBezTo>
                        <a:pt x="267083" y="850810"/>
                        <a:pt x="265959" y="855669"/>
                        <a:pt x="266055" y="858054"/>
                      </a:cubicBezTo>
                      <a:cubicBezTo>
                        <a:pt x="268846" y="859538"/>
                        <a:pt x="276256" y="848334"/>
                        <a:pt x="272795" y="845905"/>
                      </a:cubicBezTo>
                      <a:cubicBezTo>
                        <a:pt x="267043" y="839381"/>
                        <a:pt x="289558" y="854004"/>
                        <a:pt x="287221" y="857462"/>
                      </a:cubicBezTo>
                      <a:cubicBezTo>
                        <a:pt x="286009" y="860972"/>
                        <a:pt x="285558" y="854808"/>
                        <a:pt x="284480" y="853144"/>
                      </a:cubicBezTo>
                      <a:cubicBezTo>
                        <a:pt x="282142" y="848600"/>
                        <a:pt x="268886" y="850223"/>
                        <a:pt x="275492" y="853280"/>
                      </a:cubicBezTo>
                      <a:cubicBezTo>
                        <a:pt x="267538" y="859894"/>
                        <a:pt x="276031" y="863043"/>
                        <a:pt x="277648" y="869433"/>
                      </a:cubicBezTo>
                      <a:cubicBezTo>
                        <a:pt x="295850" y="888286"/>
                        <a:pt x="334319" y="822142"/>
                        <a:pt x="315084" y="859533"/>
                      </a:cubicBezTo>
                      <a:cubicBezTo>
                        <a:pt x="316926" y="867993"/>
                        <a:pt x="286907" y="886441"/>
                        <a:pt x="308343" y="895982"/>
                      </a:cubicBezTo>
                      <a:cubicBezTo>
                        <a:pt x="291445" y="891933"/>
                        <a:pt x="294322" y="941829"/>
                        <a:pt x="303670" y="931170"/>
                      </a:cubicBezTo>
                      <a:cubicBezTo>
                        <a:pt x="306461" y="936123"/>
                        <a:pt x="294007" y="934814"/>
                        <a:pt x="296479" y="929011"/>
                      </a:cubicBezTo>
                      <a:cubicBezTo>
                        <a:pt x="273066" y="936480"/>
                        <a:pt x="270413" y="974502"/>
                        <a:pt x="258190" y="968968"/>
                      </a:cubicBezTo>
                      <a:cubicBezTo>
                        <a:pt x="270366" y="961634"/>
                        <a:pt x="190511" y="1002490"/>
                        <a:pt x="223991" y="1018552"/>
                      </a:cubicBezTo>
                      <a:cubicBezTo>
                        <a:pt x="220396" y="1025888"/>
                        <a:pt x="215856" y="1014504"/>
                        <a:pt x="208038" y="1016708"/>
                      </a:cubicBezTo>
                      <a:cubicBezTo>
                        <a:pt x="217969" y="1033762"/>
                        <a:pt x="196263" y="1017204"/>
                        <a:pt x="205926" y="1010724"/>
                      </a:cubicBezTo>
                      <a:cubicBezTo>
                        <a:pt x="201538" y="1012721"/>
                        <a:pt x="196666" y="1013392"/>
                        <a:pt x="191903" y="1012658"/>
                      </a:cubicBezTo>
                      <a:cubicBezTo>
                        <a:pt x="206599" y="1000780"/>
                        <a:pt x="146694" y="1036731"/>
                        <a:pt x="159685" y="1038531"/>
                      </a:cubicBezTo>
                      <a:cubicBezTo>
                        <a:pt x="160854" y="1045460"/>
                        <a:pt x="154697" y="1041141"/>
                        <a:pt x="151282" y="1046045"/>
                      </a:cubicBezTo>
                      <a:cubicBezTo>
                        <a:pt x="149035" y="1049060"/>
                        <a:pt x="144406" y="1056575"/>
                        <a:pt x="144901" y="1048250"/>
                      </a:cubicBezTo>
                      <a:cubicBezTo>
                        <a:pt x="134880" y="1052750"/>
                        <a:pt x="137215" y="1060355"/>
                        <a:pt x="137664" y="1064674"/>
                      </a:cubicBezTo>
                      <a:cubicBezTo>
                        <a:pt x="129261" y="1075067"/>
                        <a:pt x="149664" y="1063684"/>
                        <a:pt x="140227" y="1055855"/>
                      </a:cubicBezTo>
                      <a:cubicBezTo>
                        <a:pt x="142699" y="1045686"/>
                        <a:pt x="146338" y="1069713"/>
                        <a:pt x="153664" y="1062244"/>
                      </a:cubicBezTo>
                      <a:cubicBezTo>
                        <a:pt x="156091" y="1054685"/>
                        <a:pt x="154518" y="1059769"/>
                        <a:pt x="158113" y="1062334"/>
                      </a:cubicBezTo>
                      <a:cubicBezTo>
                        <a:pt x="156405" y="1056665"/>
                        <a:pt x="155416" y="1056170"/>
                        <a:pt x="156591" y="1052210"/>
                      </a:cubicBezTo>
                      <a:cubicBezTo>
                        <a:pt x="149401" y="1049915"/>
                        <a:pt x="158253" y="1042312"/>
                        <a:pt x="156951" y="1047036"/>
                      </a:cubicBezTo>
                      <a:cubicBezTo>
                        <a:pt x="167063" y="1052840"/>
                        <a:pt x="153805" y="1058914"/>
                        <a:pt x="164054" y="1058419"/>
                      </a:cubicBezTo>
                      <a:cubicBezTo>
                        <a:pt x="165178" y="1055179"/>
                        <a:pt x="165449" y="1061165"/>
                        <a:pt x="168278" y="1058465"/>
                      </a:cubicBezTo>
                      <a:cubicBezTo>
                        <a:pt x="165671" y="1054190"/>
                        <a:pt x="173086" y="1049829"/>
                        <a:pt x="169986" y="1054505"/>
                      </a:cubicBezTo>
                      <a:cubicBezTo>
                        <a:pt x="178029" y="1064405"/>
                        <a:pt x="180187" y="1012929"/>
                        <a:pt x="198073" y="1034302"/>
                      </a:cubicBezTo>
                      <a:cubicBezTo>
                        <a:pt x="188007" y="1029802"/>
                        <a:pt x="184186" y="1041951"/>
                        <a:pt x="193489" y="1042896"/>
                      </a:cubicBezTo>
                      <a:cubicBezTo>
                        <a:pt x="199197" y="1044111"/>
                        <a:pt x="206522" y="1029353"/>
                        <a:pt x="206792" y="1037136"/>
                      </a:cubicBezTo>
                      <a:cubicBezTo>
                        <a:pt x="215417" y="1039746"/>
                        <a:pt x="207870" y="1033401"/>
                        <a:pt x="213712" y="1030252"/>
                      </a:cubicBezTo>
                      <a:cubicBezTo>
                        <a:pt x="213398" y="1042176"/>
                        <a:pt x="222071" y="1031062"/>
                        <a:pt x="218161" y="1028227"/>
                      </a:cubicBezTo>
                      <a:cubicBezTo>
                        <a:pt x="231957" y="1030252"/>
                        <a:pt x="238202" y="1003119"/>
                        <a:pt x="241575" y="1028813"/>
                      </a:cubicBezTo>
                      <a:cubicBezTo>
                        <a:pt x="233756" y="1031287"/>
                        <a:pt x="242025" y="1034797"/>
                        <a:pt x="243642" y="1025798"/>
                      </a:cubicBezTo>
                      <a:cubicBezTo>
                        <a:pt x="245215" y="1020668"/>
                        <a:pt x="242204" y="1009415"/>
                        <a:pt x="247102" y="1020983"/>
                      </a:cubicBezTo>
                      <a:cubicBezTo>
                        <a:pt x="247192" y="1014233"/>
                        <a:pt x="258607" y="1014414"/>
                        <a:pt x="261123" y="1014414"/>
                      </a:cubicBezTo>
                      <a:cubicBezTo>
                        <a:pt x="263237" y="1005639"/>
                        <a:pt x="265258" y="1012839"/>
                        <a:pt x="268090" y="1012478"/>
                      </a:cubicBezTo>
                      <a:cubicBezTo>
                        <a:pt x="271954" y="1006269"/>
                        <a:pt x="263640" y="1011129"/>
                        <a:pt x="268539" y="1007260"/>
                      </a:cubicBezTo>
                      <a:cubicBezTo>
                        <a:pt x="266876" y="1000021"/>
                        <a:pt x="268224" y="1006719"/>
                        <a:pt x="271415" y="1001860"/>
                      </a:cubicBezTo>
                      <a:cubicBezTo>
                        <a:pt x="264854" y="999430"/>
                        <a:pt x="276489" y="999924"/>
                        <a:pt x="272988" y="1001860"/>
                      </a:cubicBezTo>
                      <a:cubicBezTo>
                        <a:pt x="272089" y="1003795"/>
                        <a:pt x="267551" y="1009599"/>
                        <a:pt x="272988" y="1007439"/>
                      </a:cubicBezTo>
                      <a:cubicBezTo>
                        <a:pt x="269753" y="1011399"/>
                        <a:pt x="273483" y="1008429"/>
                        <a:pt x="275325" y="1010049"/>
                      </a:cubicBezTo>
                      <a:cubicBezTo>
                        <a:pt x="275999" y="1005864"/>
                        <a:pt x="273393" y="1010634"/>
                        <a:pt x="273617" y="1007349"/>
                      </a:cubicBezTo>
                      <a:cubicBezTo>
                        <a:pt x="273347" y="1005234"/>
                        <a:pt x="274427" y="1002849"/>
                        <a:pt x="275325" y="1007124"/>
                      </a:cubicBezTo>
                      <a:cubicBezTo>
                        <a:pt x="276629" y="1005370"/>
                        <a:pt x="273929" y="1002265"/>
                        <a:pt x="276268" y="1001185"/>
                      </a:cubicBezTo>
                      <a:cubicBezTo>
                        <a:pt x="276178" y="1006179"/>
                        <a:pt x="281167" y="1000285"/>
                        <a:pt x="284044" y="998391"/>
                      </a:cubicBezTo>
                      <a:cubicBezTo>
                        <a:pt x="282470" y="996726"/>
                        <a:pt x="277347" y="1004241"/>
                        <a:pt x="278201" y="1000191"/>
                      </a:cubicBezTo>
                      <a:cubicBezTo>
                        <a:pt x="270202" y="998751"/>
                        <a:pt x="288538" y="997491"/>
                        <a:pt x="277661" y="993801"/>
                      </a:cubicBezTo>
                      <a:cubicBezTo>
                        <a:pt x="274966" y="995872"/>
                        <a:pt x="276139" y="993892"/>
                        <a:pt x="274022" y="992947"/>
                      </a:cubicBezTo>
                      <a:cubicBezTo>
                        <a:pt x="265397" y="1006760"/>
                        <a:pt x="272627" y="983633"/>
                        <a:pt x="280043" y="987053"/>
                      </a:cubicBezTo>
                      <a:cubicBezTo>
                        <a:pt x="282155" y="987592"/>
                        <a:pt x="285751" y="985612"/>
                        <a:pt x="282695" y="985027"/>
                      </a:cubicBezTo>
                      <a:cubicBezTo>
                        <a:pt x="284537" y="981471"/>
                        <a:pt x="290874" y="989436"/>
                        <a:pt x="292082" y="984038"/>
                      </a:cubicBezTo>
                      <a:cubicBezTo>
                        <a:pt x="291002" y="978232"/>
                        <a:pt x="277476" y="985435"/>
                        <a:pt x="291363" y="977063"/>
                      </a:cubicBezTo>
                      <a:cubicBezTo>
                        <a:pt x="293429" y="974228"/>
                        <a:pt x="311046" y="985117"/>
                        <a:pt x="298642" y="973464"/>
                      </a:cubicBezTo>
                      <a:cubicBezTo>
                        <a:pt x="299766" y="972204"/>
                        <a:pt x="307267" y="971213"/>
                        <a:pt x="302641" y="968603"/>
                      </a:cubicBezTo>
                      <a:cubicBezTo>
                        <a:pt x="301609" y="960549"/>
                        <a:pt x="314776" y="977693"/>
                        <a:pt x="310372" y="966849"/>
                      </a:cubicBezTo>
                      <a:cubicBezTo>
                        <a:pt x="312753" y="968559"/>
                        <a:pt x="318730" y="963699"/>
                        <a:pt x="316888" y="960280"/>
                      </a:cubicBezTo>
                      <a:cubicBezTo>
                        <a:pt x="325876" y="971753"/>
                        <a:pt x="319045" y="950785"/>
                        <a:pt x="324662" y="958840"/>
                      </a:cubicBezTo>
                      <a:cubicBezTo>
                        <a:pt x="332258" y="961899"/>
                        <a:pt x="325023" y="957130"/>
                        <a:pt x="326415" y="954925"/>
                      </a:cubicBezTo>
                      <a:cubicBezTo>
                        <a:pt x="330234" y="959514"/>
                        <a:pt x="340885" y="936881"/>
                        <a:pt x="328437" y="944306"/>
                      </a:cubicBezTo>
                      <a:cubicBezTo>
                        <a:pt x="330819" y="935035"/>
                        <a:pt x="347762" y="937286"/>
                        <a:pt x="341200" y="931168"/>
                      </a:cubicBezTo>
                      <a:cubicBezTo>
                        <a:pt x="344464" y="929857"/>
                        <a:pt x="348028" y="929482"/>
                        <a:pt x="351492" y="930087"/>
                      </a:cubicBezTo>
                      <a:cubicBezTo>
                        <a:pt x="351582" y="925272"/>
                        <a:pt x="350593" y="925134"/>
                        <a:pt x="355761" y="923563"/>
                      </a:cubicBezTo>
                      <a:cubicBezTo>
                        <a:pt x="351357" y="912493"/>
                        <a:pt x="359222" y="921629"/>
                        <a:pt x="363716" y="920143"/>
                      </a:cubicBezTo>
                      <a:cubicBezTo>
                        <a:pt x="361783" y="911368"/>
                        <a:pt x="375355" y="906194"/>
                        <a:pt x="381871" y="902415"/>
                      </a:cubicBezTo>
                      <a:cubicBezTo>
                        <a:pt x="386500" y="910425"/>
                        <a:pt x="383900" y="898680"/>
                        <a:pt x="384523" y="899534"/>
                      </a:cubicBezTo>
                      <a:cubicBezTo>
                        <a:pt x="388709" y="904754"/>
                        <a:pt x="387803" y="897915"/>
                        <a:pt x="386859" y="895395"/>
                      </a:cubicBezTo>
                      <a:cubicBezTo>
                        <a:pt x="389151" y="898455"/>
                        <a:pt x="391668" y="905564"/>
                        <a:pt x="391309" y="897600"/>
                      </a:cubicBezTo>
                      <a:cubicBezTo>
                        <a:pt x="394589" y="901560"/>
                        <a:pt x="394860" y="897645"/>
                        <a:pt x="392297" y="895755"/>
                      </a:cubicBezTo>
                      <a:cubicBezTo>
                        <a:pt x="395398" y="897105"/>
                        <a:pt x="398409" y="892834"/>
                        <a:pt x="393870" y="892471"/>
                      </a:cubicBezTo>
                      <a:cubicBezTo>
                        <a:pt x="403667" y="886892"/>
                        <a:pt x="389512" y="893106"/>
                        <a:pt x="390544" y="890986"/>
                      </a:cubicBezTo>
                      <a:cubicBezTo>
                        <a:pt x="395128" y="885542"/>
                        <a:pt x="403667" y="888555"/>
                        <a:pt x="397735" y="880591"/>
                      </a:cubicBezTo>
                      <a:cubicBezTo>
                        <a:pt x="401780" y="874653"/>
                        <a:pt x="415262" y="873479"/>
                        <a:pt x="418946" y="860434"/>
                      </a:cubicBezTo>
                      <a:cubicBezTo>
                        <a:pt x="427081" y="860478"/>
                        <a:pt x="405374" y="840368"/>
                        <a:pt x="396207" y="850624"/>
                      </a:cubicBezTo>
                      <a:cubicBezTo>
                        <a:pt x="393331" y="849274"/>
                        <a:pt x="398364" y="843605"/>
                        <a:pt x="394230" y="844999"/>
                      </a:cubicBezTo>
                      <a:cubicBezTo>
                        <a:pt x="392387" y="842930"/>
                        <a:pt x="396612" y="842165"/>
                        <a:pt x="397376" y="839645"/>
                      </a:cubicBezTo>
                      <a:cubicBezTo>
                        <a:pt x="393690" y="831681"/>
                        <a:pt x="408251" y="834246"/>
                        <a:pt x="396741" y="830916"/>
                      </a:cubicBezTo>
                      <a:cubicBezTo>
                        <a:pt x="401504" y="830916"/>
                        <a:pt x="415212" y="825472"/>
                        <a:pt x="404381" y="821737"/>
                      </a:cubicBezTo>
                      <a:cubicBezTo>
                        <a:pt x="407933" y="822682"/>
                        <a:pt x="418987" y="818722"/>
                        <a:pt x="409190" y="816922"/>
                      </a:cubicBezTo>
                      <a:cubicBezTo>
                        <a:pt x="411346" y="816022"/>
                        <a:pt x="411167" y="814493"/>
                        <a:pt x="412335" y="813277"/>
                      </a:cubicBezTo>
                      <a:cubicBezTo>
                        <a:pt x="413145" y="821737"/>
                        <a:pt x="418043" y="811880"/>
                        <a:pt x="416425" y="807879"/>
                      </a:cubicBezTo>
                      <a:cubicBezTo>
                        <a:pt x="416380" y="808778"/>
                        <a:pt x="421498" y="813187"/>
                        <a:pt x="419436" y="811658"/>
                      </a:cubicBezTo>
                      <a:cubicBezTo>
                        <a:pt x="410492" y="825472"/>
                        <a:pt x="441546" y="806123"/>
                        <a:pt x="423660" y="805628"/>
                      </a:cubicBezTo>
                      <a:cubicBezTo>
                        <a:pt x="416695" y="802793"/>
                        <a:pt x="440063" y="804549"/>
                        <a:pt x="440109" y="795100"/>
                      </a:cubicBezTo>
                      <a:cubicBezTo>
                        <a:pt x="445771" y="786591"/>
                        <a:pt x="417549" y="776696"/>
                        <a:pt x="431929" y="778590"/>
                      </a:cubicBezTo>
                      <a:cubicBezTo>
                        <a:pt x="443838" y="795148"/>
                        <a:pt x="451209" y="759016"/>
                        <a:pt x="461275" y="752627"/>
                      </a:cubicBezTo>
                      <a:cubicBezTo>
                        <a:pt x="470128" y="759151"/>
                        <a:pt x="460377" y="747674"/>
                        <a:pt x="464781" y="743448"/>
                      </a:cubicBezTo>
                      <a:cubicBezTo>
                        <a:pt x="490665" y="730579"/>
                        <a:pt x="490486" y="716360"/>
                        <a:pt x="514798" y="724144"/>
                      </a:cubicBezTo>
                      <a:cubicBezTo>
                        <a:pt x="514574" y="706954"/>
                        <a:pt x="549268" y="704705"/>
                        <a:pt x="524101" y="714514"/>
                      </a:cubicBezTo>
                      <a:cubicBezTo>
                        <a:pt x="500328" y="735753"/>
                        <a:pt x="529175" y="735257"/>
                        <a:pt x="541942" y="747091"/>
                      </a:cubicBezTo>
                      <a:cubicBezTo>
                        <a:pt x="514079" y="736337"/>
                        <a:pt x="497271" y="737867"/>
                        <a:pt x="474716" y="753886"/>
                      </a:cubicBezTo>
                      <a:cubicBezTo>
                        <a:pt x="488737" y="778905"/>
                        <a:pt x="431439" y="833388"/>
                        <a:pt x="486175" y="808646"/>
                      </a:cubicBezTo>
                      <a:cubicBezTo>
                        <a:pt x="480154" y="827274"/>
                        <a:pt x="456380" y="821424"/>
                        <a:pt x="460553" y="838883"/>
                      </a:cubicBezTo>
                      <a:cubicBezTo>
                        <a:pt x="470934" y="849413"/>
                        <a:pt x="468417" y="833529"/>
                        <a:pt x="481355" y="840592"/>
                      </a:cubicBezTo>
                      <a:cubicBezTo>
                        <a:pt x="486302" y="838658"/>
                        <a:pt x="479602" y="836408"/>
                        <a:pt x="478209" y="834743"/>
                      </a:cubicBezTo>
                      <a:cubicBezTo>
                        <a:pt x="485176" y="833573"/>
                        <a:pt x="489804" y="845722"/>
                        <a:pt x="488276" y="833981"/>
                      </a:cubicBezTo>
                      <a:cubicBezTo>
                        <a:pt x="500365" y="830697"/>
                        <a:pt x="495961" y="809458"/>
                        <a:pt x="500326" y="826241"/>
                      </a:cubicBezTo>
                      <a:cubicBezTo>
                        <a:pt x="502275" y="821996"/>
                        <a:pt x="504466" y="817864"/>
                        <a:pt x="506886" y="813868"/>
                      </a:cubicBezTo>
                      <a:cubicBezTo>
                        <a:pt x="506886" y="814768"/>
                        <a:pt x="500819" y="829347"/>
                        <a:pt x="507336" y="824442"/>
                      </a:cubicBezTo>
                      <a:cubicBezTo>
                        <a:pt x="506841" y="821521"/>
                        <a:pt x="509807" y="823136"/>
                        <a:pt x="508684" y="819447"/>
                      </a:cubicBezTo>
                      <a:cubicBezTo>
                        <a:pt x="514886" y="822506"/>
                        <a:pt x="508234" y="807073"/>
                        <a:pt x="513942" y="817152"/>
                      </a:cubicBezTo>
                      <a:cubicBezTo>
                        <a:pt x="519110" y="807028"/>
                        <a:pt x="511560" y="805769"/>
                        <a:pt x="521537" y="814947"/>
                      </a:cubicBezTo>
                      <a:cubicBezTo>
                        <a:pt x="519470" y="800549"/>
                        <a:pt x="524683" y="792810"/>
                        <a:pt x="524637" y="810584"/>
                      </a:cubicBezTo>
                      <a:cubicBezTo>
                        <a:pt x="527334" y="814993"/>
                        <a:pt x="529492" y="775351"/>
                        <a:pt x="534210" y="795824"/>
                      </a:cubicBezTo>
                      <a:cubicBezTo>
                        <a:pt x="534749" y="811302"/>
                        <a:pt x="534479" y="792674"/>
                        <a:pt x="541580" y="793169"/>
                      </a:cubicBezTo>
                      <a:cubicBezTo>
                        <a:pt x="536007" y="799874"/>
                        <a:pt x="543692" y="796184"/>
                        <a:pt x="547107" y="799739"/>
                      </a:cubicBezTo>
                      <a:cubicBezTo>
                        <a:pt x="554074" y="796589"/>
                        <a:pt x="553625" y="803789"/>
                        <a:pt x="556367" y="794565"/>
                      </a:cubicBezTo>
                      <a:cubicBezTo>
                        <a:pt x="560905" y="805995"/>
                        <a:pt x="558209" y="786285"/>
                        <a:pt x="562928" y="786915"/>
                      </a:cubicBezTo>
                      <a:cubicBezTo>
                        <a:pt x="565175" y="795330"/>
                        <a:pt x="571062" y="775666"/>
                        <a:pt x="565085" y="787320"/>
                      </a:cubicBezTo>
                      <a:cubicBezTo>
                        <a:pt x="568050" y="774226"/>
                        <a:pt x="555468" y="793889"/>
                        <a:pt x="560815" y="779895"/>
                      </a:cubicBezTo>
                      <a:cubicBezTo>
                        <a:pt x="566748" y="785251"/>
                        <a:pt x="562614" y="774001"/>
                        <a:pt x="564411" y="774226"/>
                      </a:cubicBezTo>
                      <a:cubicBezTo>
                        <a:pt x="566209" y="778141"/>
                        <a:pt x="568365" y="774861"/>
                        <a:pt x="565894" y="772426"/>
                      </a:cubicBezTo>
                      <a:cubicBezTo>
                        <a:pt x="568860" y="774047"/>
                        <a:pt x="575287" y="770986"/>
                        <a:pt x="571107" y="768870"/>
                      </a:cubicBezTo>
                      <a:cubicBezTo>
                        <a:pt x="574702" y="765586"/>
                        <a:pt x="567826" y="765631"/>
                        <a:pt x="569759" y="763336"/>
                      </a:cubicBezTo>
                      <a:cubicBezTo>
                        <a:pt x="566658" y="757037"/>
                        <a:pt x="566028" y="774004"/>
                        <a:pt x="565804" y="764281"/>
                      </a:cubicBezTo>
                      <a:cubicBezTo>
                        <a:pt x="562793" y="777108"/>
                        <a:pt x="561624" y="759376"/>
                        <a:pt x="553580" y="768421"/>
                      </a:cubicBezTo>
                      <a:cubicBezTo>
                        <a:pt x="548591" y="773685"/>
                        <a:pt x="557670" y="757486"/>
                        <a:pt x="560810" y="764911"/>
                      </a:cubicBezTo>
                      <a:cubicBezTo>
                        <a:pt x="566698" y="763336"/>
                        <a:pt x="563601" y="756541"/>
                        <a:pt x="564496" y="751861"/>
                      </a:cubicBezTo>
                      <a:cubicBezTo>
                        <a:pt x="558564" y="760816"/>
                        <a:pt x="558249" y="759961"/>
                        <a:pt x="560405" y="751861"/>
                      </a:cubicBezTo>
                      <a:cubicBezTo>
                        <a:pt x="553980" y="755552"/>
                        <a:pt x="545755" y="760457"/>
                        <a:pt x="557530" y="749432"/>
                      </a:cubicBezTo>
                      <a:cubicBezTo>
                        <a:pt x="549032" y="752896"/>
                        <a:pt x="551598" y="747183"/>
                        <a:pt x="558878" y="748218"/>
                      </a:cubicBezTo>
                      <a:cubicBezTo>
                        <a:pt x="562430" y="752132"/>
                        <a:pt x="562833" y="743403"/>
                        <a:pt x="562159" y="740388"/>
                      </a:cubicBezTo>
                      <a:cubicBezTo>
                        <a:pt x="564270" y="743763"/>
                        <a:pt x="568001" y="735393"/>
                        <a:pt x="565979" y="734133"/>
                      </a:cubicBezTo>
                      <a:cubicBezTo>
                        <a:pt x="562563" y="734809"/>
                        <a:pt x="555508" y="743718"/>
                        <a:pt x="560810" y="735889"/>
                      </a:cubicBezTo>
                      <a:cubicBezTo>
                        <a:pt x="568630" y="724370"/>
                        <a:pt x="565843" y="748667"/>
                        <a:pt x="578203" y="722390"/>
                      </a:cubicBezTo>
                      <a:cubicBezTo>
                        <a:pt x="583101" y="724324"/>
                        <a:pt x="560047" y="745833"/>
                        <a:pt x="577977" y="747857"/>
                      </a:cubicBezTo>
                      <a:cubicBezTo>
                        <a:pt x="575282" y="741513"/>
                        <a:pt x="579372" y="740118"/>
                        <a:pt x="580044" y="746507"/>
                      </a:cubicBezTo>
                      <a:cubicBezTo>
                        <a:pt x="583505" y="748352"/>
                        <a:pt x="583370" y="737329"/>
                        <a:pt x="580539" y="737734"/>
                      </a:cubicBezTo>
                      <a:cubicBezTo>
                        <a:pt x="584134" y="734358"/>
                        <a:pt x="584943" y="723605"/>
                        <a:pt x="584314" y="735439"/>
                      </a:cubicBezTo>
                      <a:cubicBezTo>
                        <a:pt x="582202" y="755281"/>
                        <a:pt x="587684" y="729768"/>
                        <a:pt x="586650" y="741063"/>
                      </a:cubicBezTo>
                      <a:cubicBezTo>
                        <a:pt x="590785" y="736384"/>
                        <a:pt x="586247" y="742368"/>
                        <a:pt x="586650" y="744302"/>
                      </a:cubicBezTo>
                      <a:cubicBezTo>
                        <a:pt x="591505" y="744617"/>
                        <a:pt x="591597" y="742413"/>
                        <a:pt x="591505" y="738363"/>
                      </a:cubicBezTo>
                      <a:cubicBezTo>
                        <a:pt x="594965" y="738498"/>
                        <a:pt x="592900" y="744077"/>
                        <a:pt x="596538" y="737688"/>
                      </a:cubicBezTo>
                      <a:cubicBezTo>
                        <a:pt x="600403" y="738049"/>
                        <a:pt x="595638" y="741108"/>
                        <a:pt x="599863" y="738274"/>
                      </a:cubicBezTo>
                      <a:cubicBezTo>
                        <a:pt x="598515" y="749522"/>
                        <a:pt x="613614" y="720229"/>
                        <a:pt x="621075" y="733098"/>
                      </a:cubicBezTo>
                      <a:cubicBezTo>
                        <a:pt x="603458" y="732739"/>
                        <a:pt x="605706" y="745068"/>
                        <a:pt x="612042" y="747632"/>
                      </a:cubicBezTo>
                      <a:cubicBezTo>
                        <a:pt x="613839" y="750467"/>
                        <a:pt x="619188" y="748577"/>
                        <a:pt x="621428" y="744888"/>
                      </a:cubicBezTo>
                      <a:cubicBezTo>
                        <a:pt x="629382" y="748533"/>
                        <a:pt x="613654" y="749793"/>
                        <a:pt x="613384" y="753482"/>
                      </a:cubicBezTo>
                      <a:cubicBezTo>
                        <a:pt x="604710" y="750737"/>
                        <a:pt x="611945" y="762437"/>
                        <a:pt x="619726" y="751457"/>
                      </a:cubicBezTo>
                      <a:cubicBezTo>
                        <a:pt x="616444" y="760321"/>
                        <a:pt x="629073" y="746057"/>
                        <a:pt x="627006" y="753482"/>
                      </a:cubicBezTo>
                      <a:cubicBezTo>
                        <a:pt x="618782" y="757217"/>
                        <a:pt x="620040" y="762840"/>
                        <a:pt x="629523" y="755596"/>
                      </a:cubicBezTo>
                      <a:cubicBezTo>
                        <a:pt x="631045" y="756136"/>
                        <a:pt x="628039" y="758567"/>
                        <a:pt x="627680" y="759781"/>
                      </a:cubicBezTo>
                      <a:cubicBezTo>
                        <a:pt x="629747" y="760367"/>
                        <a:pt x="633657" y="753211"/>
                        <a:pt x="631140" y="758206"/>
                      </a:cubicBezTo>
                      <a:cubicBezTo>
                        <a:pt x="643139" y="758792"/>
                        <a:pt x="636443" y="759961"/>
                        <a:pt x="629477" y="770130"/>
                      </a:cubicBezTo>
                      <a:cubicBezTo>
                        <a:pt x="647273" y="771075"/>
                        <a:pt x="648936" y="782195"/>
                        <a:pt x="660216" y="760591"/>
                      </a:cubicBezTo>
                      <a:cubicBezTo>
                        <a:pt x="671766" y="749747"/>
                        <a:pt x="661789" y="760006"/>
                        <a:pt x="659318" y="768465"/>
                      </a:cubicBezTo>
                      <a:cubicBezTo>
                        <a:pt x="667541" y="766981"/>
                        <a:pt x="652172" y="779984"/>
                        <a:pt x="660981" y="778905"/>
                      </a:cubicBezTo>
                      <a:cubicBezTo>
                        <a:pt x="667946" y="782729"/>
                        <a:pt x="669160" y="788444"/>
                        <a:pt x="678911" y="784484"/>
                      </a:cubicBezTo>
                      <a:cubicBezTo>
                        <a:pt x="676439" y="806582"/>
                        <a:pt x="716212" y="781830"/>
                        <a:pt x="744210" y="795733"/>
                      </a:cubicBezTo>
                      <a:cubicBezTo>
                        <a:pt x="762544" y="806982"/>
                        <a:pt x="752433" y="779085"/>
                        <a:pt x="761556" y="792404"/>
                      </a:cubicBezTo>
                      <a:cubicBezTo>
                        <a:pt x="760477" y="831865"/>
                        <a:pt x="797553" y="803961"/>
                        <a:pt x="811304" y="798928"/>
                      </a:cubicBezTo>
                      <a:cubicBezTo>
                        <a:pt x="810313" y="799984"/>
                        <a:pt x="809439" y="801146"/>
                        <a:pt x="808698" y="802392"/>
                      </a:cubicBezTo>
                      <a:cubicBezTo>
                        <a:pt x="811079" y="809457"/>
                        <a:pt x="813551" y="814677"/>
                        <a:pt x="808428" y="819806"/>
                      </a:cubicBezTo>
                      <a:cubicBezTo>
                        <a:pt x="789643" y="824531"/>
                        <a:pt x="848830" y="843113"/>
                        <a:pt x="837370" y="845003"/>
                      </a:cubicBezTo>
                      <a:cubicBezTo>
                        <a:pt x="853098" y="842574"/>
                        <a:pt x="855526" y="873981"/>
                        <a:pt x="869411" y="869437"/>
                      </a:cubicBezTo>
                      <a:cubicBezTo>
                        <a:pt x="861817" y="880370"/>
                        <a:pt x="890938" y="885995"/>
                        <a:pt x="894399" y="894320"/>
                      </a:cubicBezTo>
                      <a:cubicBezTo>
                        <a:pt x="894759" y="885951"/>
                        <a:pt x="892197" y="887300"/>
                        <a:pt x="900868" y="890224"/>
                      </a:cubicBezTo>
                      <a:cubicBezTo>
                        <a:pt x="903070" y="882620"/>
                        <a:pt x="893903" y="889054"/>
                        <a:pt x="896150" y="885724"/>
                      </a:cubicBezTo>
                      <a:cubicBezTo>
                        <a:pt x="897273" y="878931"/>
                        <a:pt x="913855" y="899313"/>
                        <a:pt x="909047" y="878485"/>
                      </a:cubicBezTo>
                      <a:cubicBezTo>
                        <a:pt x="905408" y="877850"/>
                        <a:pt x="905362" y="880375"/>
                        <a:pt x="907115" y="876730"/>
                      </a:cubicBezTo>
                      <a:cubicBezTo>
                        <a:pt x="907834" y="869352"/>
                        <a:pt x="900195" y="874031"/>
                        <a:pt x="896644" y="872816"/>
                      </a:cubicBezTo>
                      <a:cubicBezTo>
                        <a:pt x="904867" y="874346"/>
                        <a:pt x="897812" y="858328"/>
                        <a:pt x="882578" y="858192"/>
                      </a:cubicBezTo>
                      <a:cubicBezTo>
                        <a:pt x="880556" y="859273"/>
                        <a:pt x="879612" y="859813"/>
                        <a:pt x="879387" y="859903"/>
                      </a:cubicBezTo>
                      <a:cubicBezTo>
                        <a:pt x="880285" y="859268"/>
                        <a:pt x="890217" y="852838"/>
                        <a:pt x="881229" y="849644"/>
                      </a:cubicBezTo>
                      <a:cubicBezTo>
                        <a:pt x="891431" y="849329"/>
                        <a:pt x="913047" y="882626"/>
                        <a:pt x="906935" y="849959"/>
                      </a:cubicBezTo>
                      <a:cubicBezTo>
                        <a:pt x="910036" y="851803"/>
                        <a:pt x="910621" y="866292"/>
                        <a:pt x="912418" y="856302"/>
                      </a:cubicBezTo>
                      <a:cubicBezTo>
                        <a:pt x="924103" y="858282"/>
                        <a:pt x="912194" y="857967"/>
                        <a:pt x="909273" y="862332"/>
                      </a:cubicBezTo>
                      <a:cubicBezTo>
                        <a:pt x="917990" y="876556"/>
                        <a:pt x="915788" y="895314"/>
                        <a:pt x="925990" y="880239"/>
                      </a:cubicBezTo>
                      <a:cubicBezTo>
                        <a:pt x="944910" y="923075"/>
                        <a:pt x="933584" y="849912"/>
                        <a:pt x="924013" y="839338"/>
                      </a:cubicBezTo>
                      <a:cubicBezTo>
                        <a:pt x="935696" y="850182"/>
                        <a:pt x="930889" y="843117"/>
                        <a:pt x="924057" y="834343"/>
                      </a:cubicBezTo>
                      <a:cubicBezTo>
                        <a:pt x="941536" y="829754"/>
                        <a:pt x="921046" y="868633"/>
                        <a:pt x="963607" y="895357"/>
                      </a:cubicBezTo>
                      <a:cubicBezTo>
                        <a:pt x="973805" y="870835"/>
                        <a:pt x="958076" y="907777"/>
                        <a:pt x="973805" y="905707"/>
                      </a:cubicBezTo>
                      <a:cubicBezTo>
                        <a:pt x="977267" y="892613"/>
                        <a:pt x="974883" y="902603"/>
                        <a:pt x="976862" y="909396"/>
                      </a:cubicBezTo>
                      <a:cubicBezTo>
                        <a:pt x="965991" y="899092"/>
                        <a:pt x="980147" y="928341"/>
                        <a:pt x="978485" y="912276"/>
                      </a:cubicBezTo>
                      <a:cubicBezTo>
                        <a:pt x="980857" y="916102"/>
                        <a:pt x="978612" y="910657"/>
                        <a:pt x="980730" y="910072"/>
                      </a:cubicBezTo>
                      <a:cubicBezTo>
                        <a:pt x="984853" y="910383"/>
                        <a:pt x="988873" y="911579"/>
                        <a:pt x="992501" y="913581"/>
                      </a:cubicBezTo>
                      <a:cubicBezTo>
                        <a:pt x="991169" y="913255"/>
                        <a:pt x="989850" y="912820"/>
                        <a:pt x="988594" y="912276"/>
                      </a:cubicBezTo>
                      <a:cubicBezTo>
                        <a:pt x="970164" y="908541"/>
                        <a:pt x="987288" y="924786"/>
                        <a:pt x="994797" y="930680"/>
                      </a:cubicBezTo>
                      <a:cubicBezTo>
                        <a:pt x="988188" y="926362"/>
                        <a:pt x="967196" y="917361"/>
                        <a:pt x="984231" y="929195"/>
                      </a:cubicBezTo>
                      <a:cubicBezTo>
                        <a:pt x="980007" y="934684"/>
                        <a:pt x="985182" y="947598"/>
                        <a:pt x="995380" y="939863"/>
                      </a:cubicBezTo>
                      <a:cubicBezTo>
                        <a:pt x="992856" y="945757"/>
                        <a:pt x="975872" y="943643"/>
                        <a:pt x="983610" y="951157"/>
                      </a:cubicBezTo>
                      <a:cubicBezTo>
                        <a:pt x="1010830" y="952057"/>
                        <a:pt x="1001126" y="987064"/>
                        <a:pt x="1035818" y="999036"/>
                      </a:cubicBezTo>
                      <a:cubicBezTo>
                        <a:pt x="1016588" y="997237"/>
                        <a:pt x="1021611" y="1051322"/>
                        <a:pt x="1024719" y="1027159"/>
                      </a:cubicBezTo>
                      <a:cubicBezTo>
                        <a:pt x="1028994" y="1035483"/>
                        <a:pt x="1034740" y="1017980"/>
                        <a:pt x="1027243" y="1017530"/>
                      </a:cubicBezTo>
                      <a:cubicBezTo>
                        <a:pt x="1051825" y="1008441"/>
                        <a:pt x="1045077" y="1004076"/>
                        <a:pt x="1054248" y="1021354"/>
                      </a:cubicBezTo>
                      <a:cubicBezTo>
                        <a:pt x="1063545" y="1037192"/>
                        <a:pt x="1043377" y="1068015"/>
                        <a:pt x="1060273" y="1051862"/>
                      </a:cubicBezTo>
                      <a:cubicBezTo>
                        <a:pt x="1044582" y="1070940"/>
                        <a:pt x="1064903" y="1076384"/>
                        <a:pt x="1074289" y="1060950"/>
                      </a:cubicBezTo>
                      <a:lnTo>
                        <a:pt x="1074378" y="1060816"/>
                      </a:lnTo>
                      <a:cubicBezTo>
                        <a:pt x="1077460" y="1055384"/>
                        <a:pt x="1078918" y="1049187"/>
                        <a:pt x="1078601" y="1042952"/>
                      </a:cubicBezTo>
                      <a:lnTo>
                        <a:pt x="1078601" y="1042727"/>
                      </a:lnTo>
                      <a:cubicBezTo>
                        <a:pt x="1078538" y="1038879"/>
                        <a:pt x="1078081" y="1035047"/>
                        <a:pt x="1077206" y="1031297"/>
                      </a:cubicBezTo>
                      <a:cubicBezTo>
                        <a:pt x="1080542" y="1007224"/>
                        <a:pt x="1079819" y="1017439"/>
                        <a:pt x="1079362" y="1031522"/>
                      </a:cubicBezTo>
                      <a:cubicBezTo>
                        <a:pt x="1079565" y="1026003"/>
                        <a:pt x="1080111" y="1020504"/>
                        <a:pt x="1080986" y="1015054"/>
                      </a:cubicBezTo>
                      <a:cubicBezTo>
                        <a:pt x="1081316" y="1011812"/>
                        <a:pt x="1081265" y="1006819"/>
                        <a:pt x="1078259" y="1004974"/>
                      </a:cubicBezTo>
                      <a:close/>
                      <a:moveTo>
                        <a:pt x="819900" y="817476"/>
                      </a:moveTo>
                      <a:cubicBezTo>
                        <a:pt x="815855" y="825620"/>
                        <a:pt x="818416" y="802402"/>
                        <a:pt x="814867" y="798172"/>
                      </a:cubicBezTo>
                      <a:cubicBezTo>
                        <a:pt x="815432" y="798166"/>
                        <a:pt x="815954" y="798479"/>
                        <a:pt x="816214" y="798982"/>
                      </a:cubicBezTo>
                      <a:cubicBezTo>
                        <a:pt x="841741" y="815316"/>
                        <a:pt x="809878" y="793582"/>
                        <a:pt x="819900" y="817476"/>
                      </a:cubicBezTo>
                      <a:close/>
                    </a:path>
                  </a:pathLst>
                </a:custGeom>
                <a:grpFill/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410" name="Graphic 5">
                <a:extLst>
                  <a:ext uri="{FF2B5EF4-FFF2-40B4-BE49-F238E27FC236}">
                    <a16:creationId xmlns:a16="http://schemas.microsoft.com/office/drawing/2014/main" id="{898220B6-A112-A84E-882C-A567CA9C010D}"/>
                  </a:ext>
                </a:extLst>
              </p:cNvPr>
              <p:cNvGrpSpPr/>
              <p:nvPr/>
            </p:nvGrpSpPr>
            <p:grpSpPr>
              <a:xfrm>
                <a:off x="1951627" y="2787485"/>
                <a:ext cx="1639105" cy="875703"/>
                <a:chOff x="1951627" y="2787485"/>
                <a:chExt cx="1639105" cy="875703"/>
              </a:xfrm>
              <a:grpFill/>
            </p:grpSpPr>
            <p:sp>
              <p:nvSpPr>
                <p:cNvPr id="412" name="Vrije vorm 411">
                  <a:extLst>
                    <a:ext uri="{FF2B5EF4-FFF2-40B4-BE49-F238E27FC236}">
                      <a16:creationId xmlns:a16="http://schemas.microsoft.com/office/drawing/2014/main" id="{6FCCD05F-56F6-5545-A3E8-4C8D60B0D320}"/>
                    </a:ext>
                  </a:extLst>
                </p:cNvPr>
                <p:cNvSpPr/>
                <p:nvPr/>
              </p:nvSpPr>
              <p:spPr>
                <a:xfrm>
                  <a:off x="3437959" y="3120312"/>
                  <a:ext cx="2574" cy="1320"/>
                </a:xfrm>
                <a:custGeom>
                  <a:avLst/>
                  <a:gdLst>
                    <a:gd name="connsiteX0" fmla="*/ -26 w 2574"/>
                    <a:gd name="connsiteY0" fmla="*/ 1322 h 1320"/>
                    <a:gd name="connsiteX1" fmla="*/ 2549 w 2574"/>
                    <a:gd name="connsiteY1" fmla="*/ 1 h 1320"/>
                    <a:gd name="connsiteX2" fmla="*/ -26 w 2574"/>
                    <a:gd name="connsiteY2" fmla="*/ 1322 h 13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574" h="1320">
                      <a:moveTo>
                        <a:pt x="-26" y="1322"/>
                      </a:moveTo>
                      <a:cubicBezTo>
                        <a:pt x="925" y="1093"/>
                        <a:pt x="1813" y="636"/>
                        <a:pt x="2549" y="1"/>
                      </a:cubicBezTo>
                      <a:cubicBezTo>
                        <a:pt x="1585" y="204"/>
                        <a:pt x="697" y="649"/>
                        <a:pt x="-26" y="1322"/>
                      </a:cubicBezTo>
                      <a:close/>
                    </a:path>
                  </a:pathLst>
                </a:custGeom>
                <a:grpFill/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13" name="Vrije vorm 412">
                  <a:extLst>
                    <a:ext uri="{FF2B5EF4-FFF2-40B4-BE49-F238E27FC236}">
                      <a16:creationId xmlns:a16="http://schemas.microsoft.com/office/drawing/2014/main" id="{7A949C3D-96DD-6E49-83BA-B5C9393373DB}"/>
                    </a:ext>
                  </a:extLst>
                </p:cNvPr>
                <p:cNvSpPr/>
                <p:nvPr/>
              </p:nvSpPr>
              <p:spPr>
                <a:xfrm>
                  <a:off x="3391431" y="3121646"/>
                  <a:ext cx="59631" cy="18280"/>
                </a:xfrm>
                <a:custGeom>
                  <a:avLst/>
                  <a:gdLst>
                    <a:gd name="connsiteX0" fmla="*/ 59605 w 59631"/>
                    <a:gd name="connsiteY0" fmla="*/ 496 h 18280"/>
                    <a:gd name="connsiteX1" fmla="*/ 6497 w 59631"/>
                    <a:gd name="connsiteY1" fmla="*/ 17464 h 18280"/>
                    <a:gd name="connsiteX2" fmla="*/ 7435 w 59631"/>
                    <a:gd name="connsiteY2" fmla="*/ 11482 h 18280"/>
                    <a:gd name="connsiteX3" fmla="*/ 8158 w 59631"/>
                    <a:gd name="connsiteY3" fmla="*/ 8777 h 18280"/>
                    <a:gd name="connsiteX4" fmla="*/ 10632 w 59631"/>
                    <a:gd name="connsiteY4" fmla="*/ 9272 h 18280"/>
                    <a:gd name="connsiteX5" fmla="*/ 15350 w 59631"/>
                    <a:gd name="connsiteY5" fmla="*/ 7520 h 18280"/>
                    <a:gd name="connsiteX6" fmla="*/ 46490 w 59631"/>
                    <a:gd name="connsiteY6" fmla="*/ 1 h 18280"/>
                    <a:gd name="connsiteX7" fmla="*/ 41315 w 59631"/>
                    <a:gd name="connsiteY7" fmla="*/ 6212 h 18280"/>
                    <a:gd name="connsiteX8" fmla="*/ 59605 w 59631"/>
                    <a:gd name="connsiteY8" fmla="*/ 496 h 182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59631" h="18280">
                      <a:moveTo>
                        <a:pt x="59605" y="496"/>
                      </a:moveTo>
                      <a:cubicBezTo>
                        <a:pt x="54303" y="8015"/>
                        <a:pt x="-1329" y="21426"/>
                        <a:pt x="6497" y="17464"/>
                      </a:cubicBezTo>
                      <a:cubicBezTo>
                        <a:pt x="-3042" y="21375"/>
                        <a:pt x="-1596" y="9907"/>
                        <a:pt x="7435" y="11482"/>
                      </a:cubicBezTo>
                      <a:cubicBezTo>
                        <a:pt x="6307" y="7075"/>
                        <a:pt x="11126" y="11799"/>
                        <a:pt x="8158" y="8777"/>
                      </a:cubicBezTo>
                      <a:cubicBezTo>
                        <a:pt x="8653" y="6300"/>
                        <a:pt x="10226" y="9729"/>
                        <a:pt x="10632" y="9272"/>
                      </a:cubicBezTo>
                      <a:cubicBezTo>
                        <a:pt x="10137" y="4510"/>
                        <a:pt x="14221" y="6618"/>
                        <a:pt x="15350" y="7520"/>
                      </a:cubicBezTo>
                      <a:cubicBezTo>
                        <a:pt x="25574" y="4408"/>
                        <a:pt x="35975" y="1906"/>
                        <a:pt x="46490" y="1"/>
                      </a:cubicBezTo>
                      <a:cubicBezTo>
                        <a:pt x="43294" y="2351"/>
                        <a:pt x="38892" y="6935"/>
                        <a:pt x="41315" y="6212"/>
                      </a:cubicBezTo>
                      <a:cubicBezTo>
                        <a:pt x="47111" y="3430"/>
                        <a:pt x="53263" y="1512"/>
                        <a:pt x="59605" y="496"/>
                      </a:cubicBezTo>
                      <a:close/>
                    </a:path>
                  </a:pathLst>
                </a:custGeom>
                <a:grpFill/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14" name="Vrije vorm 413">
                  <a:extLst>
                    <a:ext uri="{FF2B5EF4-FFF2-40B4-BE49-F238E27FC236}">
                      <a16:creationId xmlns:a16="http://schemas.microsoft.com/office/drawing/2014/main" id="{71610264-60E0-7541-9741-CE1CB8F03D3D}"/>
                    </a:ext>
                  </a:extLst>
                </p:cNvPr>
                <p:cNvSpPr/>
                <p:nvPr/>
              </p:nvSpPr>
              <p:spPr>
                <a:xfrm>
                  <a:off x="1951627" y="2787485"/>
                  <a:ext cx="1639105" cy="875703"/>
                </a:xfrm>
                <a:custGeom>
                  <a:avLst/>
                  <a:gdLst>
                    <a:gd name="connsiteX0" fmla="*/ 1636386 w 1639105"/>
                    <a:gd name="connsiteY0" fmla="*/ 186728 h 875703"/>
                    <a:gd name="connsiteX1" fmla="*/ 1633151 w 1639105"/>
                    <a:gd name="connsiteY1" fmla="*/ 186055 h 875703"/>
                    <a:gd name="connsiteX2" fmla="*/ 1636069 w 1639105"/>
                    <a:gd name="connsiteY2" fmla="*/ 179476 h 875703"/>
                    <a:gd name="connsiteX3" fmla="*/ 1633735 w 1639105"/>
                    <a:gd name="connsiteY3" fmla="*/ 175425 h 875703"/>
                    <a:gd name="connsiteX4" fmla="*/ 1631667 w 1639105"/>
                    <a:gd name="connsiteY4" fmla="*/ 174040 h 875703"/>
                    <a:gd name="connsiteX5" fmla="*/ 1629828 w 1639105"/>
                    <a:gd name="connsiteY5" fmla="*/ 176098 h 875703"/>
                    <a:gd name="connsiteX6" fmla="*/ 1625427 w 1639105"/>
                    <a:gd name="connsiteY6" fmla="*/ 157607 h 875703"/>
                    <a:gd name="connsiteX7" fmla="*/ 1624526 w 1639105"/>
                    <a:gd name="connsiteY7" fmla="*/ 157696 h 875703"/>
                    <a:gd name="connsiteX8" fmla="*/ 1618273 w 1639105"/>
                    <a:gd name="connsiteY8" fmla="*/ 154368 h 875703"/>
                    <a:gd name="connsiteX9" fmla="*/ 1617689 w 1639105"/>
                    <a:gd name="connsiteY9" fmla="*/ 154952 h 875703"/>
                    <a:gd name="connsiteX10" fmla="*/ 1617055 w 1639105"/>
                    <a:gd name="connsiteY10" fmla="*/ 117564 h 875703"/>
                    <a:gd name="connsiteX11" fmla="*/ 1614721 w 1639105"/>
                    <a:gd name="connsiteY11" fmla="*/ 98717 h 875703"/>
                    <a:gd name="connsiteX12" fmla="*/ 1602671 w 1639105"/>
                    <a:gd name="connsiteY12" fmla="*/ 86106 h 875703"/>
                    <a:gd name="connsiteX13" fmla="*/ 1599120 w 1639105"/>
                    <a:gd name="connsiteY13" fmla="*/ 87058 h 875703"/>
                    <a:gd name="connsiteX14" fmla="*/ 1590089 w 1639105"/>
                    <a:gd name="connsiteY14" fmla="*/ 90970 h 875703"/>
                    <a:gd name="connsiteX15" fmla="*/ 1583975 w 1639105"/>
                    <a:gd name="connsiteY15" fmla="*/ 92278 h 875703"/>
                    <a:gd name="connsiteX16" fmla="*/ 1580423 w 1639105"/>
                    <a:gd name="connsiteY16" fmla="*/ 85433 h 875703"/>
                    <a:gd name="connsiteX17" fmla="*/ 1575882 w 1639105"/>
                    <a:gd name="connsiteY17" fmla="*/ 81610 h 875703"/>
                    <a:gd name="connsiteX18" fmla="*/ 1550133 w 1639105"/>
                    <a:gd name="connsiteY18" fmla="*/ 125399 h 875703"/>
                    <a:gd name="connsiteX19" fmla="*/ 1541508 w 1639105"/>
                    <a:gd name="connsiteY19" fmla="*/ 147980 h 875703"/>
                    <a:gd name="connsiteX20" fmla="*/ 1533695 w 1639105"/>
                    <a:gd name="connsiteY20" fmla="*/ 166522 h 875703"/>
                    <a:gd name="connsiteX21" fmla="*/ 1530815 w 1639105"/>
                    <a:gd name="connsiteY21" fmla="*/ 165760 h 875703"/>
                    <a:gd name="connsiteX22" fmla="*/ 1529788 w 1639105"/>
                    <a:gd name="connsiteY22" fmla="*/ 169405 h 875703"/>
                    <a:gd name="connsiteX23" fmla="*/ 1528342 w 1639105"/>
                    <a:gd name="connsiteY23" fmla="*/ 172783 h 875703"/>
                    <a:gd name="connsiteX24" fmla="*/ 1526503 w 1639105"/>
                    <a:gd name="connsiteY24" fmla="*/ 169087 h 875703"/>
                    <a:gd name="connsiteX25" fmla="*/ 1523091 w 1639105"/>
                    <a:gd name="connsiteY25" fmla="*/ 169951 h 875703"/>
                    <a:gd name="connsiteX26" fmla="*/ 1520034 w 1639105"/>
                    <a:gd name="connsiteY26" fmla="*/ 172059 h 875703"/>
                    <a:gd name="connsiteX27" fmla="*/ 1517192 w 1639105"/>
                    <a:gd name="connsiteY27" fmla="*/ 170535 h 875703"/>
                    <a:gd name="connsiteX28" fmla="*/ 1469018 w 1639105"/>
                    <a:gd name="connsiteY28" fmla="*/ 182727 h 875703"/>
                    <a:gd name="connsiteX29" fmla="*/ 1420628 w 1639105"/>
                    <a:gd name="connsiteY29" fmla="*/ 182359 h 875703"/>
                    <a:gd name="connsiteX30" fmla="*/ 1420133 w 1639105"/>
                    <a:gd name="connsiteY30" fmla="*/ 182270 h 875703"/>
                    <a:gd name="connsiteX31" fmla="*/ 1419321 w 1639105"/>
                    <a:gd name="connsiteY31" fmla="*/ 182321 h 875703"/>
                    <a:gd name="connsiteX32" fmla="*/ 1415719 w 1639105"/>
                    <a:gd name="connsiteY32" fmla="*/ 181864 h 875703"/>
                    <a:gd name="connsiteX33" fmla="*/ 1384541 w 1639105"/>
                    <a:gd name="connsiteY33" fmla="*/ 205397 h 875703"/>
                    <a:gd name="connsiteX34" fmla="*/ 1388042 w 1639105"/>
                    <a:gd name="connsiteY34" fmla="*/ 206070 h 875703"/>
                    <a:gd name="connsiteX35" fmla="*/ 1381167 w 1639105"/>
                    <a:gd name="connsiteY35" fmla="*/ 223088 h 875703"/>
                    <a:gd name="connsiteX36" fmla="*/ 1355545 w 1639105"/>
                    <a:gd name="connsiteY36" fmla="*/ 250482 h 875703"/>
                    <a:gd name="connsiteX37" fmla="*/ 1301168 w 1639105"/>
                    <a:gd name="connsiteY37" fmla="*/ 250126 h 875703"/>
                    <a:gd name="connsiteX38" fmla="*/ 1289118 w 1639105"/>
                    <a:gd name="connsiteY38" fmla="*/ 266636 h 875703"/>
                    <a:gd name="connsiteX39" fmla="*/ 1298695 w 1639105"/>
                    <a:gd name="connsiteY39" fmla="*/ 263398 h 875703"/>
                    <a:gd name="connsiteX40" fmla="*/ 1182926 w 1639105"/>
                    <a:gd name="connsiteY40" fmla="*/ 287693 h 875703"/>
                    <a:gd name="connsiteX41" fmla="*/ 1184994 w 1639105"/>
                    <a:gd name="connsiteY41" fmla="*/ 298132 h 875703"/>
                    <a:gd name="connsiteX42" fmla="*/ 1200494 w 1639105"/>
                    <a:gd name="connsiteY42" fmla="*/ 255663 h 875703"/>
                    <a:gd name="connsiteX43" fmla="*/ 1170610 w 1639105"/>
                    <a:gd name="connsiteY43" fmla="*/ 233476 h 875703"/>
                    <a:gd name="connsiteX44" fmla="*/ 1175379 w 1639105"/>
                    <a:gd name="connsiteY44" fmla="*/ 186588 h 875703"/>
                    <a:gd name="connsiteX45" fmla="*/ 1174935 w 1639105"/>
                    <a:gd name="connsiteY45" fmla="*/ 175387 h 875703"/>
                    <a:gd name="connsiteX46" fmla="*/ 1136693 w 1639105"/>
                    <a:gd name="connsiteY46" fmla="*/ 146951 h 875703"/>
                    <a:gd name="connsiteX47" fmla="*/ 1159017 w 1639105"/>
                    <a:gd name="connsiteY47" fmla="*/ 142849 h 875703"/>
                    <a:gd name="connsiteX48" fmla="*/ 1149402 w 1639105"/>
                    <a:gd name="connsiteY48" fmla="*/ 133185 h 875703"/>
                    <a:gd name="connsiteX49" fmla="*/ 1153994 w 1639105"/>
                    <a:gd name="connsiteY49" fmla="*/ 131330 h 875703"/>
                    <a:gd name="connsiteX50" fmla="*/ 1151152 w 1639105"/>
                    <a:gd name="connsiteY50" fmla="*/ 119494 h 875703"/>
                    <a:gd name="connsiteX51" fmla="*/ 1148095 w 1639105"/>
                    <a:gd name="connsiteY51" fmla="*/ 121348 h 875703"/>
                    <a:gd name="connsiteX52" fmla="*/ 1146751 w 1639105"/>
                    <a:gd name="connsiteY52" fmla="*/ 120485 h 875703"/>
                    <a:gd name="connsiteX53" fmla="*/ 1142210 w 1639105"/>
                    <a:gd name="connsiteY53" fmla="*/ 123406 h 875703"/>
                    <a:gd name="connsiteX54" fmla="*/ 1141855 w 1639105"/>
                    <a:gd name="connsiteY54" fmla="*/ 122872 h 875703"/>
                    <a:gd name="connsiteX55" fmla="*/ 1129716 w 1639105"/>
                    <a:gd name="connsiteY55" fmla="*/ 109601 h 875703"/>
                    <a:gd name="connsiteX56" fmla="*/ 1071026 w 1639105"/>
                    <a:gd name="connsiteY56" fmla="*/ 119316 h 875703"/>
                    <a:gd name="connsiteX57" fmla="*/ 1034851 w 1639105"/>
                    <a:gd name="connsiteY57" fmla="*/ 107619 h 875703"/>
                    <a:gd name="connsiteX58" fmla="*/ 1036373 w 1639105"/>
                    <a:gd name="connsiteY58" fmla="*/ 103746 h 875703"/>
                    <a:gd name="connsiteX59" fmla="*/ 1028103 w 1639105"/>
                    <a:gd name="connsiteY59" fmla="*/ 95554 h 875703"/>
                    <a:gd name="connsiteX60" fmla="*/ 964961 w 1639105"/>
                    <a:gd name="connsiteY60" fmla="*/ 105003 h 875703"/>
                    <a:gd name="connsiteX61" fmla="*/ 935572 w 1639105"/>
                    <a:gd name="connsiteY61" fmla="*/ 102806 h 875703"/>
                    <a:gd name="connsiteX62" fmla="*/ 997192 w 1639105"/>
                    <a:gd name="connsiteY62" fmla="*/ 58610 h 875703"/>
                    <a:gd name="connsiteX63" fmla="*/ 993729 w 1639105"/>
                    <a:gd name="connsiteY63" fmla="*/ 58216 h 875703"/>
                    <a:gd name="connsiteX64" fmla="*/ 975793 w 1639105"/>
                    <a:gd name="connsiteY64" fmla="*/ 55740 h 875703"/>
                    <a:gd name="connsiteX65" fmla="*/ 960471 w 1639105"/>
                    <a:gd name="connsiteY65" fmla="*/ 48501 h 875703"/>
                    <a:gd name="connsiteX66" fmla="*/ 937246 w 1639105"/>
                    <a:gd name="connsiteY66" fmla="*/ 53098 h 875703"/>
                    <a:gd name="connsiteX67" fmla="*/ 936967 w 1639105"/>
                    <a:gd name="connsiteY67" fmla="*/ 52908 h 875703"/>
                    <a:gd name="connsiteX68" fmla="*/ 928253 w 1639105"/>
                    <a:gd name="connsiteY68" fmla="*/ 45529 h 875703"/>
                    <a:gd name="connsiteX69" fmla="*/ 919577 w 1639105"/>
                    <a:gd name="connsiteY69" fmla="*/ 49441 h 875703"/>
                    <a:gd name="connsiteX70" fmla="*/ 912208 w 1639105"/>
                    <a:gd name="connsiteY70" fmla="*/ 39179 h 875703"/>
                    <a:gd name="connsiteX71" fmla="*/ 880700 w 1639105"/>
                    <a:gd name="connsiteY71" fmla="*/ 37922 h 875703"/>
                    <a:gd name="connsiteX72" fmla="*/ 868257 w 1639105"/>
                    <a:gd name="connsiteY72" fmla="*/ 30454 h 875703"/>
                    <a:gd name="connsiteX73" fmla="*/ 854190 w 1639105"/>
                    <a:gd name="connsiteY73" fmla="*/ 25285 h 875703"/>
                    <a:gd name="connsiteX74" fmla="*/ 851362 w 1639105"/>
                    <a:gd name="connsiteY74" fmla="*/ 8636 h 875703"/>
                    <a:gd name="connsiteX75" fmla="*/ 836750 w 1639105"/>
                    <a:gd name="connsiteY75" fmla="*/ 38 h 875703"/>
                    <a:gd name="connsiteX76" fmla="*/ 823139 w 1639105"/>
                    <a:gd name="connsiteY76" fmla="*/ 3772 h 875703"/>
                    <a:gd name="connsiteX77" fmla="*/ 813068 w 1639105"/>
                    <a:gd name="connsiteY77" fmla="*/ 5397 h 875703"/>
                    <a:gd name="connsiteX78" fmla="*/ 673707 w 1639105"/>
                    <a:gd name="connsiteY78" fmla="*/ 19786 h 875703"/>
                    <a:gd name="connsiteX79" fmla="*/ 522537 w 1639105"/>
                    <a:gd name="connsiteY79" fmla="*/ 21412 h 875703"/>
                    <a:gd name="connsiteX80" fmla="*/ 365786 w 1639105"/>
                    <a:gd name="connsiteY80" fmla="*/ 16916 h 875703"/>
                    <a:gd name="connsiteX81" fmla="*/ 209707 w 1639105"/>
                    <a:gd name="connsiteY81" fmla="*/ 13043 h 875703"/>
                    <a:gd name="connsiteX82" fmla="*/ 56279 w 1639105"/>
                    <a:gd name="connsiteY82" fmla="*/ 16052 h 875703"/>
                    <a:gd name="connsiteX83" fmla="*/ 60553 w 1639105"/>
                    <a:gd name="connsiteY83" fmla="*/ 28244 h 875703"/>
                    <a:gd name="connsiteX84" fmla="*/ 62938 w 1639105"/>
                    <a:gd name="connsiteY84" fmla="*/ 39763 h 875703"/>
                    <a:gd name="connsiteX85" fmla="*/ 69128 w 1639105"/>
                    <a:gd name="connsiteY85" fmla="*/ 56553 h 875703"/>
                    <a:gd name="connsiteX86" fmla="*/ 68329 w 1639105"/>
                    <a:gd name="connsiteY86" fmla="*/ 49796 h 875703"/>
                    <a:gd name="connsiteX87" fmla="*/ 67251 w 1639105"/>
                    <a:gd name="connsiteY87" fmla="*/ 72885 h 875703"/>
                    <a:gd name="connsiteX88" fmla="*/ 52600 w 1639105"/>
                    <a:gd name="connsiteY88" fmla="*/ 93497 h 875703"/>
                    <a:gd name="connsiteX89" fmla="*/ 57091 w 1639105"/>
                    <a:gd name="connsiteY89" fmla="*/ 93535 h 875703"/>
                    <a:gd name="connsiteX90" fmla="*/ 62837 w 1639105"/>
                    <a:gd name="connsiteY90" fmla="*/ 89763 h 875703"/>
                    <a:gd name="connsiteX91" fmla="*/ 59653 w 1639105"/>
                    <a:gd name="connsiteY91" fmla="*/ 73558 h 875703"/>
                    <a:gd name="connsiteX92" fmla="*/ 60236 w 1639105"/>
                    <a:gd name="connsiteY92" fmla="*/ 70231 h 875703"/>
                    <a:gd name="connsiteX93" fmla="*/ 61581 w 1639105"/>
                    <a:gd name="connsiteY93" fmla="*/ 61137 h 875703"/>
                    <a:gd name="connsiteX94" fmla="*/ 55201 w 1639105"/>
                    <a:gd name="connsiteY94" fmla="*/ 82740 h 875703"/>
                    <a:gd name="connsiteX95" fmla="*/ 56152 w 1639105"/>
                    <a:gd name="connsiteY95" fmla="*/ 65455 h 875703"/>
                    <a:gd name="connsiteX96" fmla="*/ 61175 w 1639105"/>
                    <a:gd name="connsiteY96" fmla="*/ 64198 h 875703"/>
                    <a:gd name="connsiteX97" fmla="*/ 54211 w 1639105"/>
                    <a:gd name="connsiteY97" fmla="*/ 58801 h 875703"/>
                    <a:gd name="connsiteX98" fmla="*/ 50305 w 1639105"/>
                    <a:gd name="connsiteY98" fmla="*/ 57137 h 875703"/>
                    <a:gd name="connsiteX99" fmla="*/ 46525 w 1639105"/>
                    <a:gd name="connsiteY99" fmla="*/ 55562 h 875703"/>
                    <a:gd name="connsiteX100" fmla="*/ 46614 w 1639105"/>
                    <a:gd name="connsiteY100" fmla="*/ 55562 h 875703"/>
                    <a:gd name="connsiteX101" fmla="*/ 51294 w 1639105"/>
                    <a:gd name="connsiteY101" fmla="*/ 54978 h 875703"/>
                    <a:gd name="connsiteX102" fmla="*/ 37760 w 1639105"/>
                    <a:gd name="connsiteY102" fmla="*/ 52095 h 875703"/>
                    <a:gd name="connsiteX103" fmla="*/ 37582 w 1639105"/>
                    <a:gd name="connsiteY103" fmla="*/ 52044 h 875703"/>
                    <a:gd name="connsiteX104" fmla="*/ 30441 w 1639105"/>
                    <a:gd name="connsiteY104" fmla="*/ 49580 h 875703"/>
                    <a:gd name="connsiteX105" fmla="*/ 24150 w 1639105"/>
                    <a:gd name="connsiteY105" fmla="*/ 47688 h 875703"/>
                    <a:gd name="connsiteX106" fmla="*/ 18620 w 1639105"/>
                    <a:gd name="connsiteY106" fmla="*/ 46431 h 875703"/>
                    <a:gd name="connsiteX107" fmla="*/ 13901 w 1639105"/>
                    <a:gd name="connsiteY107" fmla="*/ 45796 h 875703"/>
                    <a:gd name="connsiteX108" fmla="*/ 10121 w 1639105"/>
                    <a:gd name="connsiteY108" fmla="*/ 45745 h 875703"/>
                    <a:gd name="connsiteX109" fmla="*/ 8827 w 1639105"/>
                    <a:gd name="connsiteY109" fmla="*/ 45885 h 875703"/>
                    <a:gd name="connsiteX110" fmla="*/ 8777 w 1639105"/>
                    <a:gd name="connsiteY110" fmla="*/ 45885 h 875703"/>
                    <a:gd name="connsiteX111" fmla="*/ -26 w 1639105"/>
                    <a:gd name="connsiteY111" fmla="*/ 43992 h 875703"/>
                    <a:gd name="connsiteX112" fmla="*/ 1496 w 1639105"/>
                    <a:gd name="connsiteY112" fmla="*/ 52946 h 875703"/>
                    <a:gd name="connsiteX113" fmla="*/ 4020 w 1639105"/>
                    <a:gd name="connsiteY113" fmla="*/ 64516 h 875703"/>
                    <a:gd name="connsiteX114" fmla="*/ 6481 w 1639105"/>
                    <a:gd name="connsiteY114" fmla="*/ 69913 h 875703"/>
                    <a:gd name="connsiteX115" fmla="*/ 9715 w 1639105"/>
                    <a:gd name="connsiteY115" fmla="*/ 76035 h 875703"/>
                    <a:gd name="connsiteX116" fmla="*/ 13724 w 1639105"/>
                    <a:gd name="connsiteY116" fmla="*/ 82778 h 875703"/>
                    <a:gd name="connsiteX117" fmla="*/ 16019 w 1639105"/>
                    <a:gd name="connsiteY117" fmla="*/ 86474 h 875703"/>
                    <a:gd name="connsiteX118" fmla="*/ 21182 w 1639105"/>
                    <a:gd name="connsiteY118" fmla="*/ 94208 h 875703"/>
                    <a:gd name="connsiteX119" fmla="*/ 27067 w 1639105"/>
                    <a:gd name="connsiteY119" fmla="*/ 102666 h 875703"/>
                    <a:gd name="connsiteX120" fmla="*/ 28957 w 1639105"/>
                    <a:gd name="connsiteY120" fmla="*/ 114058 h 875703"/>
                    <a:gd name="connsiteX121" fmla="*/ 24188 w 1639105"/>
                    <a:gd name="connsiteY121" fmla="*/ 124891 h 875703"/>
                    <a:gd name="connsiteX122" fmla="*/ 21271 w 1639105"/>
                    <a:gd name="connsiteY122" fmla="*/ 116027 h 875703"/>
                    <a:gd name="connsiteX123" fmla="*/ 26395 w 1639105"/>
                    <a:gd name="connsiteY123" fmla="*/ 131559 h 875703"/>
                    <a:gd name="connsiteX124" fmla="*/ 45548 w 1639105"/>
                    <a:gd name="connsiteY124" fmla="*/ 134569 h 875703"/>
                    <a:gd name="connsiteX125" fmla="*/ 34132 w 1639105"/>
                    <a:gd name="connsiteY125" fmla="*/ 133439 h 875703"/>
                    <a:gd name="connsiteX126" fmla="*/ 22628 w 1639105"/>
                    <a:gd name="connsiteY126" fmla="*/ 132638 h 875703"/>
                    <a:gd name="connsiteX127" fmla="*/ 8295 w 1639105"/>
                    <a:gd name="connsiteY127" fmla="*/ 263664 h 875703"/>
                    <a:gd name="connsiteX128" fmla="*/ 15969 w 1639105"/>
                    <a:gd name="connsiteY128" fmla="*/ 348704 h 875703"/>
                    <a:gd name="connsiteX129" fmla="*/ 35743 w 1639105"/>
                    <a:gd name="connsiteY129" fmla="*/ 420154 h 875703"/>
                    <a:gd name="connsiteX130" fmla="*/ 51700 w 1639105"/>
                    <a:gd name="connsiteY130" fmla="*/ 439547 h 875703"/>
                    <a:gd name="connsiteX131" fmla="*/ 51700 w 1639105"/>
                    <a:gd name="connsiteY131" fmla="*/ 447383 h 875703"/>
                    <a:gd name="connsiteX132" fmla="*/ 64828 w 1639105"/>
                    <a:gd name="connsiteY132" fmla="*/ 451663 h 875703"/>
                    <a:gd name="connsiteX133" fmla="*/ 65995 w 1639105"/>
                    <a:gd name="connsiteY133" fmla="*/ 452018 h 875703"/>
                    <a:gd name="connsiteX134" fmla="*/ 88015 w 1639105"/>
                    <a:gd name="connsiteY134" fmla="*/ 441807 h 875703"/>
                    <a:gd name="connsiteX135" fmla="*/ 89004 w 1639105"/>
                    <a:gd name="connsiteY135" fmla="*/ 444271 h 875703"/>
                    <a:gd name="connsiteX136" fmla="*/ 87203 w 1639105"/>
                    <a:gd name="connsiteY136" fmla="*/ 446303 h 875703"/>
                    <a:gd name="connsiteX137" fmla="*/ 74849 w 1639105"/>
                    <a:gd name="connsiteY137" fmla="*/ 462140 h 875703"/>
                    <a:gd name="connsiteX138" fmla="*/ 68189 w 1639105"/>
                    <a:gd name="connsiteY138" fmla="*/ 458673 h 875703"/>
                    <a:gd name="connsiteX139" fmla="*/ 67745 w 1639105"/>
                    <a:gd name="connsiteY139" fmla="*/ 476275 h 875703"/>
                    <a:gd name="connsiteX140" fmla="*/ 81761 w 1639105"/>
                    <a:gd name="connsiteY140" fmla="*/ 496113 h 875703"/>
                    <a:gd name="connsiteX141" fmla="*/ 111518 w 1639105"/>
                    <a:gd name="connsiteY141" fmla="*/ 540613 h 875703"/>
                    <a:gd name="connsiteX142" fmla="*/ 150751 w 1639105"/>
                    <a:gd name="connsiteY142" fmla="*/ 574091 h 875703"/>
                    <a:gd name="connsiteX143" fmla="*/ 217254 w 1639105"/>
                    <a:gd name="connsiteY143" fmla="*/ 634073 h 875703"/>
                    <a:gd name="connsiteX144" fmla="*/ 218383 w 1639105"/>
                    <a:gd name="connsiteY144" fmla="*/ 636498 h 875703"/>
                    <a:gd name="connsiteX145" fmla="*/ 285343 w 1639105"/>
                    <a:gd name="connsiteY145" fmla="*/ 630517 h 875703"/>
                    <a:gd name="connsiteX146" fmla="*/ 291368 w 1639105"/>
                    <a:gd name="connsiteY146" fmla="*/ 638797 h 875703"/>
                    <a:gd name="connsiteX147" fmla="*/ 329560 w 1639105"/>
                    <a:gd name="connsiteY147" fmla="*/ 656475 h 875703"/>
                    <a:gd name="connsiteX148" fmla="*/ 388617 w 1639105"/>
                    <a:gd name="connsiteY148" fmla="*/ 675513 h 875703"/>
                    <a:gd name="connsiteX149" fmla="*/ 435447 w 1639105"/>
                    <a:gd name="connsiteY149" fmla="*/ 678167 h 875703"/>
                    <a:gd name="connsiteX150" fmla="*/ 461145 w 1639105"/>
                    <a:gd name="connsiteY150" fmla="*/ 678167 h 875703"/>
                    <a:gd name="connsiteX151" fmla="*/ 470050 w 1639105"/>
                    <a:gd name="connsiteY151" fmla="*/ 663676 h 875703"/>
                    <a:gd name="connsiteX152" fmla="*/ 520609 w 1639105"/>
                    <a:gd name="connsiteY152" fmla="*/ 662368 h 875703"/>
                    <a:gd name="connsiteX153" fmla="*/ 554095 w 1639105"/>
                    <a:gd name="connsiteY153" fmla="*/ 694093 h 875703"/>
                    <a:gd name="connsiteX154" fmla="*/ 563126 w 1639105"/>
                    <a:gd name="connsiteY154" fmla="*/ 700938 h 875703"/>
                    <a:gd name="connsiteX155" fmla="*/ 572297 w 1639105"/>
                    <a:gd name="connsiteY155" fmla="*/ 725868 h 875703"/>
                    <a:gd name="connsiteX156" fmla="*/ 586440 w 1639105"/>
                    <a:gd name="connsiteY156" fmla="*/ 740092 h 875703"/>
                    <a:gd name="connsiteX157" fmla="*/ 608523 w 1639105"/>
                    <a:gd name="connsiteY157" fmla="*/ 751967 h 875703"/>
                    <a:gd name="connsiteX158" fmla="*/ 617275 w 1639105"/>
                    <a:gd name="connsiteY158" fmla="*/ 748499 h 875703"/>
                    <a:gd name="connsiteX159" fmla="*/ 625012 w 1639105"/>
                    <a:gd name="connsiteY159" fmla="*/ 732294 h 875703"/>
                    <a:gd name="connsiteX160" fmla="*/ 634716 w 1639105"/>
                    <a:gd name="connsiteY160" fmla="*/ 727532 h 875703"/>
                    <a:gd name="connsiteX161" fmla="*/ 651573 w 1639105"/>
                    <a:gd name="connsiteY161" fmla="*/ 726402 h 875703"/>
                    <a:gd name="connsiteX162" fmla="*/ 663661 w 1639105"/>
                    <a:gd name="connsiteY162" fmla="*/ 729742 h 875703"/>
                    <a:gd name="connsiteX163" fmla="*/ 673504 w 1639105"/>
                    <a:gd name="connsiteY163" fmla="*/ 738251 h 875703"/>
                    <a:gd name="connsiteX164" fmla="*/ 698758 w 1639105"/>
                    <a:gd name="connsiteY164" fmla="*/ 778294 h 875703"/>
                    <a:gd name="connsiteX165" fmla="*/ 713053 w 1639105"/>
                    <a:gd name="connsiteY165" fmla="*/ 796645 h 875703"/>
                    <a:gd name="connsiteX166" fmla="*/ 717543 w 1639105"/>
                    <a:gd name="connsiteY166" fmla="*/ 804659 h 875703"/>
                    <a:gd name="connsiteX167" fmla="*/ 729454 w 1639105"/>
                    <a:gd name="connsiteY167" fmla="*/ 835571 h 875703"/>
                    <a:gd name="connsiteX168" fmla="*/ 736684 w 1639105"/>
                    <a:gd name="connsiteY168" fmla="*/ 836561 h 875703"/>
                    <a:gd name="connsiteX169" fmla="*/ 749888 w 1639105"/>
                    <a:gd name="connsiteY169" fmla="*/ 843356 h 875703"/>
                    <a:gd name="connsiteX170" fmla="*/ 759693 w 1639105"/>
                    <a:gd name="connsiteY170" fmla="*/ 846277 h 875703"/>
                    <a:gd name="connsiteX171" fmla="*/ 773975 w 1639105"/>
                    <a:gd name="connsiteY171" fmla="*/ 851179 h 875703"/>
                    <a:gd name="connsiteX172" fmla="*/ 779734 w 1639105"/>
                    <a:gd name="connsiteY172" fmla="*/ 851903 h 875703"/>
                    <a:gd name="connsiteX173" fmla="*/ 779290 w 1639105"/>
                    <a:gd name="connsiteY173" fmla="*/ 841959 h 875703"/>
                    <a:gd name="connsiteX174" fmla="*/ 767785 w 1639105"/>
                    <a:gd name="connsiteY174" fmla="*/ 807542 h 875703"/>
                    <a:gd name="connsiteX175" fmla="*/ 766073 w 1639105"/>
                    <a:gd name="connsiteY175" fmla="*/ 801865 h 875703"/>
                    <a:gd name="connsiteX176" fmla="*/ 774255 w 1639105"/>
                    <a:gd name="connsiteY176" fmla="*/ 804024 h 875703"/>
                    <a:gd name="connsiteX177" fmla="*/ 773620 w 1639105"/>
                    <a:gd name="connsiteY177" fmla="*/ 807758 h 875703"/>
                    <a:gd name="connsiteX178" fmla="*/ 778339 w 1639105"/>
                    <a:gd name="connsiteY178" fmla="*/ 788771 h 875703"/>
                    <a:gd name="connsiteX179" fmla="*/ 787370 w 1639105"/>
                    <a:gd name="connsiteY179" fmla="*/ 781304 h 875703"/>
                    <a:gd name="connsiteX180" fmla="*/ 783146 w 1639105"/>
                    <a:gd name="connsiteY180" fmla="*/ 780453 h 875703"/>
                    <a:gd name="connsiteX181" fmla="*/ 790554 w 1639105"/>
                    <a:gd name="connsiteY181" fmla="*/ 776452 h 875703"/>
                    <a:gd name="connsiteX182" fmla="*/ 792444 w 1639105"/>
                    <a:gd name="connsiteY182" fmla="*/ 771588 h 875703"/>
                    <a:gd name="connsiteX183" fmla="*/ 804849 w 1639105"/>
                    <a:gd name="connsiteY183" fmla="*/ 770191 h 875703"/>
                    <a:gd name="connsiteX184" fmla="*/ 797923 w 1639105"/>
                    <a:gd name="connsiteY184" fmla="*/ 761466 h 875703"/>
                    <a:gd name="connsiteX185" fmla="*/ 804582 w 1639105"/>
                    <a:gd name="connsiteY185" fmla="*/ 764260 h 875703"/>
                    <a:gd name="connsiteX186" fmla="*/ 806599 w 1639105"/>
                    <a:gd name="connsiteY186" fmla="*/ 764527 h 875703"/>
                    <a:gd name="connsiteX187" fmla="*/ 810290 w 1639105"/>
                    <a:gd name="connsiteY187" fmla="*/ 764705 h 875703"/>
                    <a:gd name="connsiteX188" fmla="*/ 809973 w 1639105"/>
                    <a:gd name="connsiteY188" fmla="*/ 766064 h 875703"/>
                    <a:gd name="connsiteX189" fmla="*/ 811812 w 1639105"/>
                    <a:gd name="connsiteY189" fmla="*/ 768210 h 875703"/>
                    <a:gd name="connsiteX190" fmla="*/ 816265 w 1639105"/>
                    <a:gd name="connsiteY190" fmla="*/ 765784 h 875703"/>
                    <a:gd name="connsiteX191" fmla="*/ 849472 w 1639105"/>
                    <a:gd name="connsiteY191" fmla="*/ 740905 h 875703"/>
                    <a:gd name="connsiteX192" fmla="*/ 847049 w 1639105"/>
                    <a:gd name="connsiteY192" fmla="*/ 731507 h 875703"/>
                    <a:gd name="connsiteX193" fmla="*/ 851184 w 1639105"/>
                    <a:gd name="connsiteY193" fmla="*/ 735190 h 875703"/>
                    <a:gd name="connsiteX194" fmla="*/ 877973 w 1639105"/>
                    <a:gd name="connsiteY194" fmla="*/ 722909 h 875703"/>
                    <a:gd name="connsiteX195" fmla="*/ 926769 w 1639105"/>
                    <a:gd name="connsiteY195" fmla="*/ 729615 h 875703"/>
                    <a:gd name="connsiteX196" fmla="*/ 930270 w 1639105"/>
                    <a:gd name="connsiteY196" fmla="*/ 725779 h 875703"/>
                    <a:gd name="connsiteX197" fmla="*/ 951174 w 1639105"/>
                    <a:gd name="connsiteY197" fmla="*/ 733615 h 875703"/>
                    <a:gd name="connsiteX198" fmla="*/ 951897 w 1639105"/>
                    <a:gd name="connsiteY198" fmla="*/ 738695 h 875703"/>
                    <a:gd name="connsiteX199" fmla="*/ 954586 w 1639105"/>
                    <a:gd name="connsiteY199" fmla="*/ 743331 h 875703"/>
                    <a:gd name="connsiteX200" fmla="*/ 948878 w 1639105"/>
                    <a:gd name="connsiteY200" fmla="*/ 742289 h 875703"/>
                    <a:gd name="connsiteX201" fmla="*/ 973092 w 1639105"/>
                    <a:gd name="connsiteY201" fmla="*/ 743026 h 875703"/>
                    <a:gd name="connsiteX202" fmla="*/ 974500 w 1639105"/>
                    <a:gd name="connsiteY202" fmla="*/ 741540 h 875703"/>
                    <a:gd name="connsiteX203" fmla="*/ 981413 w 1639105"/>
                    <a:gd name="connsiteY203" fmla="*/ 735546 h 875703"/>
                    <a:gd name="connsiteX204" fmla="*/ 990761 w 1639105"/>
                    <a:gd name="connsiteY204" fmla="*/ 737209 h 875703"/>
                    <a:gd name="connsiteX205" fmla="*/ 992029 w 1639105"/>
                    <a:gd name="connsiteY205" fmla="*/ 739546 h 875703"/>
                    <a:gd name="connsiteX206" fmla="*/ 1001999 w 1639105"/>
                    <a:gd name="connsiteY206" fmla="*/ 744639 h 875703"/>
                    <a:gd name="connsiteX207" fmla="*/ 1005817 w 1639105"/>
                    <a:gd name="connsiteY207" fmla="*/ 746887 h 875703"/>
                    <a:gd name="connsiteX208" fmla="*/ 1003217 w 1639105"/>
                    <a:gd name="connsiteY208" fmla="*/ 755066 h 875703"/>
                    <a:gd name="connsiteX209" fmla="*/ 1010764 w 1639105"/>
                    <a:gd name="connsiteY209" fmla="*/ 753046 h 875703"/>
                    <a:gd name="connsiteX210" fmla="*/ 994629 w 1639105"/>
                    <a:gd name="connsiteY210" fmla="*/ 732879 h 875703"/>
                    <a:gd name="connsiteX211" fmla="*/ 996570 w 1639105"/>
                    <a:gd name="connsiteY211" fmla="*/ 731304 h 875703"/>
                    <a:gd name="connsiteX212" fmla="*/ 1001238 w 1639105"/>
                    <a:gd name="connsiteY212" fmla="*/ 731977 h 875703"/>
                    <a:gd name="connsiteX213" fmla="*/ 1003750 w 1639105"/>
                    <a:gd name="connsiteY213" fmla="*/ 723976 h 875703"/>
                    <a:gd name="connsiteX214" fmla="*/ 1002582 w 1639105"/>
                    <a:gd name="connsiteY214" fmla="*/ 722401 h 875703"/>
                    <a:gd name="connsiteX215" fmla="*/ 1002050 w 1639105"/>
                    <a:gd name="connsiteY215" fmla="*/ 721042 h 875703"/>
                    <a:gd name="connsiteX216" fmla="*/ 994858 w 1639105"/>
                    <a:gd name="connsiteY216" fmla="*/ 721728 h 875703"/>
                    <a:gd name="connsiteX217" fmla="*/ 994858 w 1639105"/>
                    <a:gd name="connsiteY217" fmla="*/ 715022 h 875703"/>
                    <a:gd name="connsiteX218" fmla="*/ 998042 w 1639105"/>
                    <a:gd name="connsiteY218" fmla="*/ 714159 h 875703"/>
                    <a:gd name="connsiteX219" fmla="*/ 1042221 w 1639105"/>
                    <a:gd name="connsiteY219" fmla="*/ 698195 h 875703"/>
                    <a:gd name="connsiteX220" fmla="*/ 1045100 w 1639105"/>
                    <a:gd name="connsiteY220" fmla="*/ 711644 h 875703"/>
                    <a:gd name="connsiteX221" fmla="*/ 1059573 w 1639105"/>
                    <a:gd name="connsiteY221" fmla="*/ 704494 h 875703"/>
                    <a:gd name="connsiteX222" fmla="*/ 1062845 w 1639105"/>
                    <a:gd name="connsiteY222" fmla="*/ 708939 h 875703"/>
                    <a:gd name="connsiteX223" fmla="*/ 1069010 w 1639105"/>
                    <a:gd name="connsiteY223" fmla="*/ 705612 h 875703"/>
                    <a:gd name="connsiteX224" fmla="*/ 1072016 w 1639105"/>
                    <a:gd name="connsiteY224" fmla="*/ 701878 h 875703"/>
                    <a:gd name="connsiteX225" fmla="*/ 1074718 w 1639105"/>
                    <a:gd name="connsiteY225" fmla="*/ 705574 h 875703"/>
                    <a:gd name="connsiteX226" fmla="*/ 1096788 w 1639105"/>
                    <a:gd name="connsiteY226" fmla="*/ 706920 h 875703"/>
                    <a:gd name="connsiteX227" fmla="*/ 1090180 w 1639105"/>
                    <a:gd name="connsiteY227" fmla="*/ 707364 h 875703"/>
                    <a:gd name="connsiteX228" fmla="*/ 1107798 w 1639105"/>
                    <a:gd name="connsiteY228" fmla="*/ 715238 h 875703"/>
                    <a:gd name="connsiteX229" fmla="*/ 1111755 w 1639105"/>
                    <a:gd name="connsiteY229" fmla="*/ 709625 h 875703"/>
                    <a:gd name="connsiteX230" fmla="*/ 1116157 w 1639105"/>
                    <a:gd name="connsiteY230" fmla="*/ 718210 h 875703"/>
                    <a:gd name="connsiteX231" fmla="*/ 1109104 w 1639105"/>
                    <a:gd name="connsiteY231" fmla="*/ 715873 h 875703"/>
                    <a:gd name="connsiteX232" fmla="*/ 1112960 w 1639105"/>
                    <a:gd name="connsiteY232" fmla="*/ 719429 h 875703"/>
                    <a:gd name="connsiteX233" fmla="*/ 1117095 w 1639105"/>
                    <a:gd name="connsiteY233" fmla="*/ 724420 h 875703"/>
                    <a:gd name="connsiteX234" fmla="*/ 1118579 w 1639105"/>
                    <a:gd name="connsiteY234" fmla="*/ 730770 h 875703"/>
                    <a:gd name="connsiteX235" fmla="*/ 1143517 w 1639105"/>
                    <a:gd name="connsiteY235" fmla="*/ 720648 h 875703"/>
                    <a:gd name="connsiteX236" fmla="*/ 1190169 w 1639105"/>
                    <a:gd name="connsiteY236" fmla="*/ 786523 h 875703"/>
                    <a:gd name="connsiteX237" fmla="*/ 1190258 w 1639105"/>
                    <a:gd name="connsiteY237" fmla="*/ 790702 h 875703"/>
                    <a:gd name="connsiteX238" fmla="*/ 1194837 w 1639105"/>
                    <a:gd name="connsiteY238" fmla="*/ 786295 h 875703"/>
                    <a:gd name="connsiteX239" fmla="*/ 1201179 w 1639105"/>
                    <a:gd name="connsiteY239" fmla="*/ 787158 h 875703"/>
                    <a:gd name="connsiteX240" fmla="*/ 1194799 w 1639105"/>
                    <a:gd name="connsiteY240" fmla="*/ 801103 h 875703"/>
                    <a:gd name="connsiteX241" fmla="*/ 1193683 w 1639105"/>
                    <a:gd name="connsiteY241" fmla="*/ 802271 h 875703"/>
                    <a:gd name="connsiteX242" fmla="*/ 1209056 w 1639105"/>
                    <a:gd name="connsiteY242" fmla="*/ 823379 h 875703"/>
                    <a:gd name="connsiteX243" fmla="*/ 1207572 w 1639105"/>
                    <a:gd name="connsiteY243" fmla="*/ 818197 h 875703"/>
                    <a:gd name="connsiteX244" fmla="*/ 1210172 w 1639105"/>
                    <a:gd name="connsiteY244" fmla="*/ 817981 h 875703"/>
                    <a:gd name="connsiteX245" fmla="*/ 1218087 w 1639105"/>
                    <a:gd name="connsiteY245" fmla="*/ 827379 h 875703"/>
                    <a:gd name="connsiteX246" fmla="*/ 1221816 w 1639105"/>
                    <a:gd name="connsiteY246" fmla="*/ 851001 h 875703"/>
                    <a:gd name="connsiteX247" fmla="*/ 1244191 w 1639105"/>
                    <a:gd name="connsiteY247" fmla="*/ 871918 h 875703"/>
                    <a:gd name="connsiteX248" fmla="*/ 1238940 w 1639105"/>
                    <a:gd name="connsiteY248" fmla="*/ 875703 h 875703"/>
                    <a:gd name="connsiteX249" fmla="*/ 1248275 w 1639105"/>
                    <a:gd name="connsiteY249" fmla="*/ 875068 h 875703"/>
                    <a:gd name="connsiteX250" fmla="*/ 1232560 w 1639105"/>
                    <a:gd name="connsiteY250" fmla="*/ 670877 h 875703"/>
                    <a:gd name="connsiteX251" fmla="*/ 1239117 w 1639105"/>
                    <a:gd name="connsiteY251" fmla="*/ 657148 h 875703"/>
                    <a:gd name="connsiteX252" fmla="*/ 1242846 w 1639105"/>
                    <a:gd name="connsiteY252" fmla="*/ 656018 h 875703"/>
                    <a:gd name="connsiteX253" fmla="*/ 1247210 w 1639105"/>
                    <a:gd name="connsiteY253" fmla="*/ 639470 h 875703"/>
                    <a:gd name="connsiteX254" fmla="*/ 1252410 w 1639105"/>
                    <a:gd name="connsiteY254" fmla="*/ 645579 h 875703"/>
                    <a:gd name="connsiteX255" fmla="*/ 1254668 w 1639105"/>
                    <a:gd name="connsiteY255" fmla="*/ 642442 h 875703"/>
                    <a:gd name="connsiteX256" fmla="*/ 1250990 w 1639105"/>
                    <a:gd name="connsiteY256" fmla="*/ 637260 h 875703"/>
                    <a:gd name="connsiteX257" fmla="*/ 1271792 w 1639105"/>
                    <a:gd name="connsiteY257" fmla="*/ 625830 h 875703"/>
                    <a:gd name="connsiteX258" fmla="*/ 1281317 w 1639105"/>
                    <a:gd name="connsiteY258" fmla="*/ 623671 h 875703"/>
                    <a:gd name="connsiteX259" fmla="*/ 1289220 w 1639105"/>
                    <a:gd name="connsiteY259" fmla="*/ 616026 h 875703"/>
                    <a:gd name="connsiteX260" fmla="*/ 1291427 w 1639105"/>
                    <a:gd name="connsiteY260" fmla="*/ 616242 h 875703"/>
                    <a:gd name="connsiteX261" fmla="*/ 1328046 w 1639105"/>
                    <a:gd name="connsiteY261" fmla="*/ 585736 h 875703"/>
                    <a:gd name="connsiteX262" fmla="*/ 1343330 w 1639105"/>
                    <a:gd name="connsiteY262" fmla="*/ 565759 h 875703"/>
                    <a:gd name="connsiteX263" fmla="*/ 1345715 w 1639105"/>
                    <a:gd name="connsiteY263" fmla="*/ 567741 h 875703"/>
                    <a:gd name="connsiteX264" fmla="*/ 1366428 w 1639105"/>
                    <a:gd name="connsiteY264" fmla="*/ 559054 h 875703"/>
                    <a:gd name="connsiteX265" fmla="*/ 1372403 w 1639105"/>
                    <a:gd name="connsiteY265" fmla="*/ 554329 h 875703"/>
                    <a:gd name="connsiteX266" fmla="*/ 1354290 w 1639105"/>
                    <a:gd name="connsiteY266" fmla="*/ 549567 h 875703"/>
                    <a:gd name="connsiteX267" fmla="*/ 1363054 w 1639105"/>
                    <a:gd name="connsiteY267" fmla="*/ 552628 h 875703"/>
                    <a:gd name="connsiteX268" fmla="*/ 1366162 w 1639105"/>
                    <a:gd name="connsiteY268" fmla="*/ 546011 h 875703"/>
                    <a:gd name="connsiteX269" fmla="*/ 1353808 w 1639105"/>
                    <a:gd name="connsiteY269" fmla="*/ 534124 h 875703"/>
                    <a:gd name="connsiteX270" fmla="*/ 1368179 w 1639105"/>
                    <a:gd name="connsiteY270" fmla="*/ 536511 h 875703"/>
                    <a:gd name="connsiteX271" fmla="*/ 1371781 w 1639105"/>
                    <a:gd name="connsiteY271" fmla="*/ 536562 h 875703"/>
                    <a:gd name="connsiteX272" fmla="*/ 1373570 w 1639105"/>
                    <a:gd name="connsiteY272" fmla="*/ 538315 h 875703"/>
                    <a:gd name="connsiteX273" fmla="*/ 1388220 w 1639105"/>
                    <a:gd name="connsiteY273" fmla="*/ 532688 h 875703"/>
                    <a:gd name="connsiteX274" fmla="*/ 1387332 w 1639105"/>
                    <a:gd name="connsiteY274" fmla="*/ 522160 h 875703"/>
                    <a:gd name="connsiteX275" fmla="*/ 1379645 w 1639105"/>
                    <a:gd name="connsiteY275" fmla="*/ 528409 h 875703"/>
                    <a:gd name="connsiteX276" fmla="*/ 1381218 w 1639105"/>
                    <a:gd name="connsiteY276" fmla="*/ 522427 h 875703"/>
                    <a:gd name="connsiteX277" fmla="*/ 1362966 w 1639105"/>
                    <a:gd name="connsiteY277" fmla="*/ 506590 h 875703"/>
                    <a:gd name="connsiteX278" fmla="*/ 1370525 w 1639105"/>
                    <a:gd name="connsiteY278" fmla="*/ 510679 h 875703"/>
                    <a:gd name="connsiteX279" fmla="*/ 1378110 w 1639105"/>
                    <a:gd name="connsiteY279" fmla="*/ 514286 h 875703"/>
                    <a:gd name="connsiteX280" fmla="*/ 1381079 w 1639105"/>
                    <a:gd name="connsiteY280" fmla="*/ 510870 h 875703"/>
                    <a:gd name="connsiteX281" fmla="*/ 1385074 w 1639105"/>
                    <a:gd name="connsiteY281" fmla="*/ 510502 h 875703"/>
                    <a:gd name="connsiteX282" fmla="*/ 1389171 w 1639105"/>
                    <a:gd name="connsiteY282" fmla="*/ 515277 h 875703"/>
                    <a:gd name="connsiteX283" fmla="*/ 1395462 w 1639105"/>
                    <a:gd name="connsiteY283" fmla="*/ 523379 h 875703"/>
                    <a:gd name="connsiteX284" fmla="*/ 1364538 w 1639105"/>
                    <a:gd name="connsiteY284" fmla="*/ 480352 h 875703"/>
                    <a:gd name="connsiteX285" fmla="*/ 1355190 w 1639105"/>
                    <a:gd name="connsiteY285" fmla="*/ 471271 h 875703"/>
                    <a:gd name="connsiteX286" fmla="*/ 1368458 w 1639105"/>
                    <a:gd name="connsiteY286" fmla="*/ 472491 h 875703"/>
                    <a:gd name="connsiteX287" fmla="*/ 1372897 w 1639105"/>
                    <a:gd name="connsiteY287" fmla="*/ 473075 h 875703"/>
                    <a:gd name="connsiteX288" fmla="*/ 1372897 w 1639105"/>
                    <a:gd name="connsiteY288" fmla="*/ 473075 h 875703"/>
                    <a:gd name="connsiteX289" fmla="*/ 1375688 w 1639105"/>
                    <a:gd name="connsiteY289" fmla="*/ 471309 h 875703"/>
                    <a:gd name="connsiteX290" fmla="*/ 1366301 w 1639105"/>
                    <a:gd name="connsiteY290" fmla="*/ 455384 h 875703"/>
                    <a:gd name="connsiteX291" fmla="*/ 1366441 w 1639105"/>
                    <a:gd name="connsiteY291" fmla="*/ 443014 h 875703"/>
                    <a:gd name="connsiteX292" fmla="*/ 1353630 w 1639105"/>
                    <a:gd name="connsiteY292" fmla="*/ 432892 h 875703"/>
                    <a:gd name="connsiteX293" fmla="*/ 1354264 w 1639105"/>
                    <a:gd name="connsiteY293" fmla="*/ 416776 h 875703"/>
                    <a:gd name="connsiteX294" fmla="*/ 1347706 w 1639105"/>
                    <a:gd name="connsiteY294" fmla="*/ 429285 h 875703"/>
                    <a:gd name="connsiteX295" fmla="*/ 1354404 w 1639105"/>
                    <a:gd name="connsiteY295" fmla="*/ 429742 h 875703"/>
                    <a:gd name="connsiteX296" fmla="*/ 1360822 w 1639105"/>
                    <a:gd name="connsiteY296" fmla="*/ 437972 h 875703"/>
                    <a:gd name="connsiteX297" fmla="*/ 1372415 w 1639105"/>
                    <a:gd name="connsiteY297" fmla="*/ 443369 h 875703"/>
                    <a:gd name="connsiteX298" fmla="*/ 1364323 w 1639105"/>
                    <a:gd name="connsiteY298" fmla="*/ 422579 h 875703"/>
                    <a:gd name="connsiteX299" fmla="*/ 1368737 w 1639105"/>
                    <a:gd name="connsiteY299" fmla="*/ 412724 h 875703"/>
                    <a:gd name="connsiteX300" fmla="*/ 1367659 w 1639105"/>
                    <a:gd name="connsiteY300" fmla="*/ 408279 h 875703"/>
                    <a:gd name="connsiteX301" fmla="*/ 1369815 w 1639105"/>
                    <a:gd name="connsiteY301" fmla="*/ 408140 h 875703"/>
                    <a:gd name="connsiteX302" fmla="*/ 1369625 w 1639105"/>
                    <a:gd name="connsiteY302" fmla="*/ 405079 h 875703"/>
                    <a:gd name="connsiteX303" fmla="*/ 1372415 w 1639105"/>
                    <a:gd name="connsiteY303" fmla="*/ 402285 h 875703"/>
                    <a:gd name="connsiteX304" fmla="*/ 1372288 w 1639105"/>
                    <a:gd name="connsiteY304" fmla="*/ 396621 h 875703"/>
                    <a:gd name="connsiteX305" fmla="*/ 1377324 w 1639105"/>
                    <a:gd name="connsiteY305" fmla="*/ 393598 h 875703"/>
                    <a:gd name="connsiteX306" fmla="*/ 1383666 w 1639105"/>
                    <a:gd name="connsiteY306" fmla="*/ 394411 h 875703"/>
                    <a:gd name="connsiteX307" fmla="*/ 1387167 w 1639105"/>
                    <a:gd name="connsiteY307" fmla="*/ 391439 h 875703"/>
                    <a:gd name="connsiteX308" fmla="*/ 1385911 w 1639105"/>
                    <a:gd name="connsiteY308" fmla="*/ 397522 h 875703"/>
                    <a:gd name="connsiteX309" fmla="*/ 1379392 w 1639105"/>
                    <a:gd name="connsiteY309" fmla="*/ 410603 h 875703"/>
                    <a:gd name="connsiteX310" fmla="*/ 1373049 w 1639105"/>
                    <a:gd name="connsiteY310" fmla="*/ 416687 h 875703"/>
                    <a:gd name="connsiteX311" fmla="*/ 1378034 w 1639105"/>
                    <a:gd name="connsiteY311" fmla="*/ 415379 h 875703"/>
                    <a:gd name="connsiteX312" fmla="*/ 1380470 w 1639105"/>
                    <a:gd name="connsiteY312" fmla="*/ 417626 h 875703"/>
                    <a:gd name="connsiteX313" fmla="*/ 1374394 w 1639105"/>
                    <a:gd name="connsiteY313" fmla="*/ 422668 h 875703"/>
                    <a:gd name="connsiteX314" fmla="*/ 1381725 w 1639105"/>
                    <a:gd name="connsiteY314" fmla="*/ 424967 h 875703"/>
                    <a:gd name="connsiteX315" fmla="*/ 1378757 w 1639105"/>
                    <a:gd name="connsiteY315" fmla="*/ 426669 h 875703"/>
                    <a:gd name="connsiteX316" fmla="*/ 1382575 w 1639105"/>
                    <a:gd name="connsiteY316" fmla="*/ 438734 h 875703"/>
                    <a:gd name="connsiteX317" fmla="*/ 1388106 w 1639105"/>
                    <a:gd name="connsiteY317" fmla="*/ 432524 h 875703"/>
                    <a:gd name="connsiteX318" fmla="*/ 1388651 w 1639105"/>
                    <a:gd name="connsiteY318" fmla="*/ 441350 h 875703"/>
                    <a:gd name="connsiteX319" fmla="*/ 1387700 w 1639105"/>
                    <a:gd name="connsiteY319" fmla="*/ 449542 h 875703"/>
                    <a:gd name="connsiteX320" fmla="*/ 1385100 w 1639105"/>
                    <a:gd name="connsiteY320" fmla="*/ 478294 h 875703"/>
                    <a:gd name="connsiteX321" fmla="*/ 1409402 w 1639105"/>
                    <a:gd name="connsiteY321" fmla="*/ 417944 h 875703"/>
                    <a:gd name="connsiteX322" fmla="*/ 1411343 w 1639105"/>
                    <a:gd name="connsiteY322" fmla="*/ 373723 h 875703"/>
                    <a:gd name="connsiteX323" fmla="*/ 1411381 w 1639105"/>
                    <a:gd name="connsiteY323" fmla="*/ 404050 h 875703"/>
                    <a:gd name="connsiteX324" fmla="*/ 1418167 w 1639105"/>
                    <a:gd name="connsiteY324" fmla="*/ 410400 h 875703"/>
                    <a:gd name="connsiteX325" fmla="*/ 1434390 w 1639105"/>
                    <a:gd name="connsiteY325" fmla="*/ 387134 h 875703"/>
                    <a:gd name="connsiteX326" fmla="*/ 1432995 w 1639105"/>
                    <a:gd name="connsiteY326" fmla="*/ 353834 h 875703"/>
                    <a:gd name="connsiteX327" fmla="*/ 1442889 w 1639105"/>
                    <a:gd name="connsiteY327" fmla="*/ 337096 h 875703"/>
                    <a:gd name="connsiteX328" fmla="*/ 1487156 w 1639105"/>
                    <a:gd name="connsiteY328" fmla="*/ 326212 h 875703"/>
                    <a:gd name="connsiteX329" fmla="*/ 1514567 w 1639105"/>
                    <a:gd name="connsiteY329" fmla="*/ 309384 h 875703"/>
                    <a:gd name="connsiteX330" fmla="*/ 1516901 w 1639105"/>
                    <a:gd name="connsiteY330" fmla="*/ 312255 h 875703"/>
                    <a:gd name="connsiteX331" fmla="*/ 1520186 w 1639105"/>
                    <a:gd name="connsiteY331" fmla="*/ 319456 h 875703"/>
                    <a:gd name="connsiteX332" fmla="*/ 1524055 w 1639105"/>
                    <a:gd name="connsiteY332" fmla="*/ 317385 h 875703"/>
                    <a:gd name="connsiteX333" fmla="*/ 1531868 w 1639105"/>
                    <a:gd name="connsiteY333" fmla="*/ 312750 h 875703"/>
                    <a:gd name="connsiteX334" fmla="*/ 1535737 w 1639105"/>
                    <a:gd name="connsiteY334" fmla="*/ 309880 h 875703"/>
                    <a:gd name="connsiteX335" fmla="*/ 1546836 w 1639105"/>
                    <a:gd name="connsiteY335" fmla="*/ 296964 h 875703"/>
                    <a:gd name="connsiteX336" fmla="*/ 1533581 w 1639105"/>
                    <a:gd name="connsiteY336" fmla="*/ 299212 h 875703"/>
                    <a:gd name="connsiteX337" fmla="*/ 1526972 w 1639105"/>
                    <a:gd name="connsiteY337" fmla="*/ 289941 h 875703"/>
                    <a:gd name="connsiteX338" fmla="*/ 1524143 w 1639105"/>
                    <a:gd name="connsiteY338" fmla="*/ 287058 h 875703"/>
                    <a:gd name="connsiteX339" fmla="*/ 1525260 w 1639105"/>
                    <a:gd name="connsiteY339" fmla="*/ 284899 h 875703"/>
                    <a:gd name="connsiteX340" fmla="*/ 1532769 w 1639105"/>
                    <a:gd name="connsiteY340" fmla="*/ 257543 h 875703"/>
                    <a:gd name="connsiteX341" fmla="*/ 1547064 w 1639105"/>
                    <a:gd name="connsiteY341" fmla="*/ 233692 h 875703"/>
                    <a:gd name="connsiteX342" fmla="*/ 1555816 w 1639105"/>
                    <a:gd name="connsiteY342" fmla="*/ 228841 h 875703"/>
                    <a:gd name="connsiteX343" fmla="*/ 1554243 w 1639105"/>
                    <a:gd name="connsiteY343" fmla="*/ 232435 h 875703"/>
                    <a:gd name="connsiteX344" fmla="*/ 1554649 w 1639105"/>
                    <a:gd name="connsiteY344" fmla="*/ 231673 h 875703"/>
                    <a:gd name="connsiteX345" fmla="*/ 1559773 w 1639105"/>
                    <a:gd name="connsiteY345" fmla="*/ 232435 h 875703"/>
                    <a:gd name="connsiteX346" fmla="*/ 1560408 w 1639105"/>
                    <a:gd name="connsiteY346" fmla="*/ 219608 h 875703"/>
                    <a:gd name="connsiteX347" fmla="*/ 1561980 w 1639105"/>
                    <a:gd name="connsiteY347" fmla="*/ 227850 h 875703"/>
                    <a:gd name="connsiteX348" fmla="*/ 1564314 w 1639105"/>
                    <a:gd name="connsiteY348" fmla="*/ 220865 h 875703"/>
                    <a:gd name="connsiteX349" fmla="*/ 1565392 w 1639105"/>
                    <a:gd name="connsiteY349" fmla="*/ 229463 h 875703"/>
                    <a:gd name="connsiteX350" fmla="*/ 1566433 w 1639105"/>
                    <a:gd name="connsiteY350" fmla="*/ 224790 h 875703"/>
                    <a:gd name="connsiteX351" fmla="*/ 1570796 w 1639105"/>
                    <a:gd name="connsiteY351" fmla="*/ 220865 h 875703"/>
                    <a:gd name="connsiteX352" fmla="*/ 1573587 w 1639105"/>
                    <a:gd name="connsiteY352" fmla="*/ 222669 h 875703"/>
                    <a:gd name="connsiteX353" fmla="*/ 1575958 w 1639105"/>
                    <a:gd name="connsiteY353" fmla="*/ 221589 h 875703"/>
                    <a:gd name="connsiteX354" fmla="*/ 1582567 w 1639105"/>
                    <a:gd name="connsiteY354" fmla="*/ 205308 h 875703"/>
                    <a:gd name="connsiteX355" fmla="*/ 1587425 w 1639105"/>
                    <a:gd name="connsiteY355" fmla="*/ 206057 h 875703"/>
                    <a:gd name="connsiteX356" fmla="*/ 1590748 w 1639105"/>
                    <a:gd name="connsiteY356" fmla="*/ 205752 h 875703"/>
                    <a:gd name="connsiteX357" fmla="*/ 1587285 w 1639105"/>
                    <a:gd name="connsiteY357" fmla="*/ 209524 h 875703"/>
                    <a:gd name="connsiteX358" fmla="*/ 1596989 w 1639105"/>
                    <a:gd name="connsiteY358" fmla="*/ 202412 h 875703"/>
                    <a:gd name="connsiteX359" fmla="*/ 1599602 w 1639105"/>
                    <a:gd name="connsiteY359" fmla="*/ 205155 h 875703"/>
                    <a:gd name="connsiteX360" fmla="*/ 1601809 w 1639105"/>
                    <a:gd name="connsiteY360" fmla="*/ 201028 h 875703"/>
                    <a:gd name="connsiteX361" fmla="*/ 1611017 w 1639105"/>
                    <a:gd name="connsiteY361" fmla="*/ 204355 h 875703"/>
                    <a:gd name="connsiteX362" fmla="*/ 1611195 w 1639105"/>
                    <a:gd name="connsiteY362" fmla="*/ 202196 h 875703"/>
                    <a:gd name="connsiteX363" fmla="*/ 1614924 w 1639105"/>
                    <a:gd name="connsiteY363" fmla="*/ 200126 h 875703"/>
                    <a:gd name="connsiteX364" fmla="*/ 1616231 w 1639105"/>
                    <a:gd name="connsiteY364" fmla="*/ 200533 h 875703"/>
                    <a:gd name="connsiteX365" fmla="*/ 1617626 w 1639105"/>
                    <a:gd name="connsiteY365" fmla="*/ 199085 h 875703"/>
                    <a:gd name="connsiteX366" fmla="*/ 1618653 w 1639105"/>
                    <a:gd name="connsiteY366" fmla="*/ 202146 h 875703"/>
                    <a:gd name="connsiteX367" fmla="*/ 1622662 w 1639105"/>
                    <a:gd name="connsiteY367" fmla="*/ 197510 h 875703"/>
                    <a:gd name="connsiteX368" fmla="*/ 1624590 w 1639105"/>
                    <a:gd name="connsiteY368" fmla="*/ 196875 h 875703"/>
                    <a:gd name="connsiteX369" fmla="*/ 1626619 w 1639105"/>
                    <a:gd name="connsiteY369" fmla="*/ 196024 h 875703"/>
                    <a:gd name="connsiteX370" fmla="*/ 1628090 w 1639105"/>
                    <a:gd name="connsiteY370" fmla="*/ 196697 h 875703"/>
                    <a:gd name="connsiteX371" fmla="*/ 1630031 w 1639105"/>
                    <a:gd name="connsiteY371" fmla="*/ 194183 h 875703"/>
                    <a:gd name="connsiteX372" fmla="*/ 1639062 w 1639105"/>
                    <a:gd name="connsiteY372" fmla="*/ 187972 h 875703"/>
                    <a:gd name="connsiteX373" fmla="*/ 1636386 w 1639105"/>
                    <a:gd name="connsiteY373" fmla="*/ 186728 h 875703"/>
                    <a:gd name="connsiteX374" fmla="*/ 1112351 w 1639105"/>
                    <a:gd name="connsiteY374" fmla="*/ 191490 h 875703"/>
                    <a:gd name="connsiteX375" fmla="*/ 1112174 w 1639105"/>
                    <a:gd name="connsiteY375" fmla="*/ 187083 h 875703"/>
                    <a:gd name="connsiteX376" fmla="*/ 1092298 w 1639105"/>
                    <a:gd name="connsiteY376" fmla="*/ 256959 h 875703"/>
                    <a:gd name="connsiteX377" fmla="*/ 1046102 w 1639105"/>
                    <a:gd name="connsiteY377" fmla="*/ 252425 h 875703"/>
                    <a:gd name="connsiteX378" fmla="*/ 1051277 w 1639105"/>
                    <a:gd name="connsiteY378" fmla="*/ 193878 h 875703"/>
                    <a:gd name="connsiteX379" fmla="*/ 1047497 w 1639105"/>
                    <a:gd name="connsiteY379" fmla="*/ 185369 h 875703"/>
                    <a:gd name="connsiteX380" fmla="*/ 1083990 w 1639105"/>
                    <a:gd name="connsiteY380" fmla="*/ 150317 h 875703"/>
                    <a:gd name="connsiteX381" fmla="*/ 1134777 w 1639105"/>
                    <a:gd name="connsiteY381" fmla="*/ 149999 h 875703"/>
                    <a:gd name="connsiteX382" fmla="*/ 1112351 w 1639105"/>
                    <a:gd name="connsiteY382" fmla="*/ 191490 h 8757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</a:cxnLst>
                  <a:rect l="l" t="t" r="r" b="b"/>
                  <a:pathLst>
                    <a:path w="1639105" h="875703">
                      <a:moveTo>
                        <a:pt x="1636386" y="186728"/>
                      </a:moveTo>
                      <a:cubicBezTo>
                        <a:pt x="1634953" y="188709"/>
                        <a:pt x="1635181" y="190106"/>
                        <a:pt x="1633151" y="186055"/>
                      </a:cubicBezTo>
                      <a:cubicBezTo>
                        <a:pt x="1635498" y="186182"/>
                        <a:pt x="1638644" y="184835"/>
                        <a:pt x="1636069" y="179476"/>
                      </a:cubicBezTo>
                      <a:cubicBezTo>
                        <a:pt x="1635054" y="178282"/>
                        <a:pt x="1634268" y="176911"/>
                        <a:pt x="1633735" y="175425"/>
                      </a:cubicBezTo>
                      <a:cubicBezTo>
                        <a:pt x="1632530" y="174574"/>
                        <a:pt x="1631756" y="174079"/>
                        <a:pt x="1631667" y="174040"/>
                      </a:cubicBezTo>
                      <a:cubicBezTo>
                        <a:pt x="1630678" y="174307"/>
                        <a:pt x="1631084" y="175831"/>
                        <a:pt x="1629828" y="176098"/>
                      </a:cubicBezTo>
                      <a:cubicBezTo>
                        <a:pt x="1621507" y="171513"/>
                        <a:pt x="1629016" y="161925"/>
                        <a:pt x="1625427" y="157607"/>
                      </a:cubicBezTo>
                      <a:lnTo>
                        <a:pt x="1624526" y="157696"/>
                      </a:lnTo>
                      <a:cubicBezTo>
                        <a:pt x="1621977" y="157899"/>
                        <a:pt x="1619529" y="156603"/>
                        <a:pt x="1618273" y="154368"/>
                      </a:cubicBezTo>
                      <a:cubicBezTo>
                        <a:pt x="1617956" y="154368"/>
                        <a:pt x="1617918" y="154825"/>
                        <a:pt x="1617689" y="154952"/>
                      </a:cubicBezTo>
                      <a:cubicBezTo>
                        <a:pt x="1615305" y="142621"/>
                        <a:pt x="1615089" y="129971"/>
                        <a:pt x="1617055" y="117564"/>
                      </a:cubicBezTo>
                      <a:cubicBezTo>
                        <a:pt x="1617474" y="111188"/>
                        <a:pt x="1616687" y="104787"/>
                        <a:pt x="1614721" y="98717"/>
                      </a:cubicBezTo>
                      <a:cubicBezTo>
                        <a:pt x="1613060" y="94259"/>
                        <a:pt x="1608164" y="86207"/>
                        <a:pt x="1602671" y="86106"/>
                      </a:cubicBezTo>
                      <a:cubicBezTo>
                        <a:pt x="1601428" y="86156"/>
                        <a:pt x="1600223" y="86487"/>
                        <a:pt x="1599120" y="87058"/>
                      </a:cubicBezTo>
                      <a:lnTo>
                        <a:pt x="1590089" y="90970"/>
                      </a:lnTo>
                      <a:cubicBezTo>
                        <a:pt x="1588224" y="92011"/>
                        <a:pt x="1586093" y="92468"/>
                        <a:pt x="1583975" y="92278"/>
                      </a:cubicBezTo>
                      <a:cubicBezTo>
                        <a:pt x="1580208" y="91516"/>
                        <a:pt x="1581235" y="88087"/>
                        <a:pt x="1580423" y="85433"/>
                      </a:cubicBezTo>
                      <a:cubicBezTo>
                        <a:pt x="1580106" y="84442"/>
                        <a:pt x="1577823" y="79502"/>
                        <a:pt x="1575882" y="81610"/>
                      </a:cubicBezTo>
                      <a:cubicBezTo>
                        <a:pt x="1564758" y="94551"/>
                        <a:pt x="1556044" y="109385"/>
                        <a:pt x="1550133" y="125399"/>
                      </a:cubicBezTo>
                      <a:cubicBezTo>
                        <a:pt x="1547076" y="132867"/>
                        <a:pt x="1544299" y="140424"/>
                        <a:pt x="1541508" y="147980"/>
                      </a:cubicBezTo>
                      <a:cubicBezTo>
                        <a:pt x="1539732" y="154482"/>
                        <a:pt x="1537094" y="160718"/>
                        <a:pt x="1533695" y="166522"/>
                      </a:cubicBezTo>
                      <a:cubicBezTo>
                        <a:pt x="1533784" y="165265"/>
                        <a:pt x="1531716" y="164858"/>
                        <a:pt x="1530815" y="165760"/>
                      </a:cubicBezTo>
                      <a:cubicBezTo>
                        <a:pt x="1530054" y="166814"/>
                        <a:pt x="1529686" y="168110"/>
                        <a:pt x="1529788" y="169405"/>
                      </a:cubicBezTo>
                      <a:cubicBezTo>
                        <a:pt x="1529877" y="170700"/>
                        <a:pt x="1529344" y="171958"/>
                        <a:pt x="1528342" y="172783"/>
                      </a:cubicBezTo>
                      <a:cubicBezTo>
                        <a:pt x="1528164" y="171335"/>
                        <a:pt x="1527847" y="169672"/>
                        <a:pt x="1526503" y="169087"/>
                      </a:cubicBezTo>
                      <a:cubicBezTo>
                        <a:pt x="1525298" y="168745"/>
                        <a:pt x="1523991" y="169075"/>
                        <a:pt x="1523091" y="169951"/>
                      </a:cubicBezTo>
                      <a:cubicBezTo>
                        <a:pt x="1522203" y="170827"/>
                        <a:pt x="1521175" y="171551"/>
                        <a:pt x="1520034" y="172059"/>
                      </a:cubicBezTo>
                      <a:cubicBezTo>
                        <a:pt x="1518867" y="172377"/>
                        <a:pt x="1517294" y="171742"/>
                        <a:pt x="1517192" y="170535"/>
                      </a:cubicBezTo>
                      <a:cubicBezTo>
                        <a:pt x="1513286" y="186105"/>
                        <a:pt x="1480713" y="182905"/>
                        <a:pt x="1469018" y="182727"/>
                      </a:cubicBezTo>
                      <a:cubicBezTo>
                        <a:pt x="1452922" y="181406"/>
                        <a:pt x="1436737" y="181292"/>
                        <a:pt x="1420628" y="182359"/>
                      </a:cubicBezTo>
                      <a:lnTo>
                        <a:pt x="1420133" y="182270"/>
                      </a:lnTo>
                      <a:lnTo>
                        <a:pt x="1419321" y="182321"/>
                      </a:lnTo>
                      <a:lnTo>
                        <a:pt x="1415719" y="181864"/>
                      </a:lnTo>
                      <a:cubicBezTo>
                        <a:pt x="1404227" y="188137"/>
                        <a:pt x="1393725" y="196062"/>
                        <a:pt x="1384541" y="205397"/>
                      </a:cubicBezTo>
                      <a:cubicBezTo>
                        <a:pt x="1389488" y="203644"/>
                        <a:pt x="1391949" y="203289"/>
                        <a:pt x="1388042" y="206070"/>
                      </a:cubicBezTo>
                      <a:cubicBezTo>
                        <a:pt x="1370246" y="220154"/>
                        <a:pt x="1373303" y="215023"/>
                        <a:pt x="1381167" y="223088"/>
                      </a:cubicBezTo>
                      <a:cubicBezTo>
                        <a:pt x="1365845" y="235597"/>
                        <a:pt x="1396718" y="231406"/>
                        <a:pt x="1355545" y="250482"/>
                      </a:cubicBezTo>
                      <a:cubicBezTo>
                        <a:pt x="1345030" y="245669"/>
                        <a:pt x="1319903" y="248907"/>
                        <a:pt x="1301168" y="250126"/>
                      </a:cubicBezTo>
                      <a:cubicBezTo>
                        <a:pt x="1297972" y="256184"/>
                        <a:pt x="1293913" y="261747"/>
                        <a:pt x="1289118" y="266636"/>
                      </a:cubicBezTo>
                      <a:cubicBezTo>
                        <a:pt x="1292594" y="266738"/>
                        <a:pt x="1295993" y="265595"/>
                        <a:pt x="1298695" y="263398"/>
                      </a:cubicBezTo>
                      <a:cubicBezTo>
                        <a:pt x="1299913" y="301155"/>
                        <a:pt x="1134219" y="352082"/>
                        <a:pt x="1182926" y="287693"/>
                      </a:cubicBezTo>
                      <a:cubicBezTo>
                        <a:pt x="1179781" y="295440"/>
                        <a:pt x="1181633" y="297548"/>
                        <a:pt x="1184994" y="298132"/>
                      </a:cubicBezTo>
                      <a:cubicBezTo>
                        <a:pt x="1184867" y="287553"/>
                        <a:pt x="1193670" y="273342"/>
                        <a:pt x="1200494" y="255663"/>
                      </a:cubicBezTo>
                      <a:cubicBezTo>
                        <a:pt x="1191881" y="242836"/>
                        <a:pt x="1199999" y="193154"/>
                        <a:pt x="1170610" y="233476"/>
                      </a:cubicBezTo>
                      <a:cubicBezTo>
                        <a:pt x="1135919" y="241478"/>
                        <a:pt x="1188862" y="205663"/>
                        <a:pt x="1175379" y="186588"/>
                      </a:cubicBezTo>
                      <a:cubicBezTo>
                        <a:pt x="1165270" y="178079"/>
                        <a:pt x="1182026" y="182270"/>
                        <a:pt x="1174935" y="175387"/>
                      </a:cubicBezTo>
                      <a:cubicBezTo>
                        <a:pt x="1171967" y="160718"/>
                        <a:pt x="1136147" y="159181"/>
                        <a:pt x="1136693" y="146951"/>
                      </a:cubicBezTo>
                      <a:cubicBezTo>
                        <a:pt x="1134029" y="133312"/>
                        <a:pt x="1149136" y="145592"/>
                        <a:pt x="1159017" y="142849"/>
                      </a:cubicBezTo>
                      <a:cubicBezTo>
                        <a:pt x="1159562" y="139700"/>
                        <a:pt x="1153004" y="134569"/>
                        <a:pt x="1149402" y="133185"/>
                      </a:cubicBezTo>
                      <a:cubicBezTo>
                        <a:pt x="1150848" y="132384"/>
                        <a:pt x="1152395" y="131762"/>
                        <a:pt x="1153994" y="131330"/>
                      </a:cubicBezTo>
                      <a:cubicBezTo>
                        <a:pt x="1153233" y="126428"/>
                        <a:pt x="1153715" y="121120"/>
                        <a:pt x="1151152" y="119494"/>
                      </a:cubicBezTo>
                      <a:cubicBezTo>
                        <a:pt x="1150442" y="119989"/>
                        <a:pt x="1148819" y="120942"/>
                        <a:pt x="1148095" y="121348"/>
                      </a:cubicBezTo>
                      <a:lnTo>
                        <a:pt x="1146751" y="120485"/>
                      </a:lnTo>
                      <a:cubicBezTo>
                        <a:pt x="1144506" y="120129"/>
                        <a:pt x="1143922" y="122694"/>
                        <a:pt x="1142210" y="123406"/>
                      </a:cubicBezTo>
                      <a:cubicBezTo>
                        <a:pt x="1142083" y="123228"/>
                        <a:pt x="1141994" y="123050"/>
                        <a:pt x="1141855" y="122872"/>
                      </a:cubicBezTo>
                      <a:cubicBezTo>
                        <a:pt x="1136096" y="124676"/>
                        <a:pt x="1120863" y="121386"/>
                        <a:pt x="1129716" y="109601"/>
                      </a:cubicBezTo>
                      <a:cubicBezTo>
                        <a:pt x="1109548" y="107797"/>
                        <a:pt x="1086044" y="126250"/>
                        <a:pt x="1071026" y="119316"/>
                      </a:cubicBezTo>
                      <a:cubicBezTo>
                        <a:pt x="1056376" y="128854"/>
                        <a:pt x="1052063" y="89979"/>
                        <a:pt x="1034851" y="107619"/>
                      </a:cubicBezTo>
                      <a:cubicBezTo>
                        <a:pt x="1035612" y="105638"/>
                        <a:pt x="1036107" y="104419"/>
                        <a:pt x="1036373" y="103746"/>
                      </a:cubicBezTo>
                      <a:cubicBezTo>
                        <a:pt x="1034889" y="106311"/>
                        <a:pt x="1029815" y="114058"/>
                        <a:pt x="1028103" y="95554"/>
                      </a:cubicBezTo>
                      <a:cubicBezTo>
                        <a:pt x="1018539" y="90208"/>
                        <a:pt x="950894" y="139877"/>
                        <a:pt x="964961" y="105003"/>
                      </a:cubicBezTo>
                      <a:cubicBezTo>
                        <a:pt x="960560" y="98755"/>
                        <a:pt x="910051" y="126746"/>
                        <a:pt x="935572" y="102806"/>
                      </a:cubicBezTo>
                      <a:cubicBezTo>
                        <a:pt x="948700" y="79400"/>
                        <a:pt x="979751" y="73507"/>
                        <a:pt x="997192" y="58610"/>
                      </a:cubicBezTo>
                      <a:cubicBezTo>
                        <a:pt x="996025" y="58521"/>
                        <a:pt x="994896" y="58343"/>
                        <a:pt x="993729" y="58216"/>
                      </a:cubicBezTo>
                      <a:cubicBezTo>
                        <a:pt x="987755" y="57404"/>
                        <a:pt x="981768" y="56540"/>
                        <a:pt x="975793" y="55740"/>
                      </a:cubicBezTo>
                      <a:cubicBezTo>
                        <a:pt x="969845" y="55803"/>
                        <a:pt x="964200" y="53136"/>
                        <a:pt x="960471" y="48501"/>
                      </a:cubicBezTo>
                      <a:cubicBezTo>
                        <a:pt x="955321" y="56184"/>
                        <a:pt x="944920" y="58255"/>
                        <a:pt x="937246" y="53098"/>
                      </a:cubicBezTo>
                      <a:cubicBezTo>
                        <a:pt x="937145" y="53035"/>
                        <a:pt x="937056" y="52971"/>
                        <a:pt x="936967" y="52908"/>
                      </a:cubicBezTo>
                      <a:cubicBezTo>
                        <a:pt x="934342" y="50139"/>
                        <a:pt x="931412" y="47663"/>
                        <a:pt x="928253" y="45529"/>
                      </a:cubicBezTo>
                      <a:cubicBezTo>
                        <a:pt x="924790" y="43904"/>
                        <a:pt x="919400" y="45618"/>
                        <a:pt x="919577" y="49441"/>
                      </a:cubicBezTo>
                      <a:cubicBezTo>
                        <a:pt x="918550" y="45186"/>
                        <a:pt x="915899" y="41516"/>
                        <a:pt x="912208" y="39179"/>
                      </a:cubicBezTo>
                      <a:cubicBezTo>
                        <a:pt x="903532" y="30861"/>
                        <a:pt x="890010" y="30315"/>
                        <a:pt x="880700" y="37922"/>
                      </a:cubicBezTo>
                      <a:cubicBezTo>
                        <a:pt x="879483" y="32880"/>
                        <a:pt x="873419" y="31000"/>
                        <a:pt x="868257" y="30454"/>
                      </a:cubicBezTo>
                      <a:cubicBezTo>
                        <a:pt x="863133" y="29959"/>
                        <a:pt x="857158" y="29514"/>
                        <a:pt x="854190" y="25285"/>
                      </a:cubicBezTo>
                      <a:cubicBezTo>
                        <a:pt x="850956" y="20599"/>
                        <a:pt x="853239" y="13982"/>
                        <a:pt x="851362" y="8636"/>
                      </a:cubicBezTo>
                      <a:cubicBezTo>
                        <a:pt x="848736" y="3022"/>
                        <a:pt x="842927" y="-394"/>
                        <a:pt x="836750" y="38"/>
                      </a:cubicBezTo>
                      <a:cubicBezTo>
                        <a:pt x="832044" y="558"/>
                        <a:pt x="827452" y="1816"/>
                        <a:pt x="823139" y="3772"/>
                      </a:cubicBezTo>
                      <a:cubicBezTo>
                        <a:pt x="819829" y="4572"/>
                        <a:pt x="816455" y="5105"/>
                        <a:pt x="813068" y="5397"/>
                      </a:cubicBezTo>
                      <a:cubicBezTo>
                        <a:pt x="766923" y="12801"/>
                        <a:pt x="720397" y="17602"/>
                        <a:pt x="673707" y="19786"/>
                      </a:cubicBezTo>
                      <a:cubicBezTo>
                        <a:pt x="623376" y="22136"/>
                        <a:pt x="572957" y="22225"/>
                        <a:pt x="522537" y="21412"/>
                      </a:cubicBezTo>
                      <a:cubicBezTo>
                        <a:pt x="470278" y="20561"/>
                        <a:pt x="418044" y="18669"/>
                        <a:pt x="365786" y="16916"/>
                      </a:cubicBezTo>
                      <a:cubicBezTo>
                        <a:pt x="313780" y="15163"/>
                        <a:pt x="261750" y="13487"/>
                        <a:pt x="209707" y="13043"/>
                      </a:cubicBezTo>
                      <a:cubicBezTo>
                        <a:pt x="161938" y="12585"/>
                        <a:pt x="104720" y="13182"/>
                        <a:pt x="56279" y="16052"/>
                      </a:cubicBezTo>
                      <a:cubicBezTo>
                        <a:pt x="58017" y="20002"/>
                        <a:pt x="59450" y="24079"/>
                        <a:pt x="60553" y="28244"/>
                      </a:cubicBezTo>
                      <a:cubicBezTo>
                        <a:pt x="66300" y="21412"/>
                        <a:pt x="66756" y="42557"/>
                        <a:pt x="62938" y="39763"/>
                      </a:cubicBezTo>
                      <a:cubicBezTo>
                        <a:pt x="71284" y="53086"/>
                        <a:pt x="57623" y="46240"/>
                        <a:pt x="69128" y="56553"/>
                      </a:cubicBezTo>
                      <a:cubicBezTo>
                        <a:pt x="67340" y="54622"/>
                        <a:pt x="63116" y="47726"/>
                        <a:pt x="68329" y="49796"/>
                      </a:cubicBezTo>
                      <a:cubicBezTo>
                        <a:pt x="76092" y="68161"/>
                        <a:pt x="69445" y="51828"/>
                        <a:pt x="67251" y="72885"/>
                      </a:cubicBezTo>
                      <a:cubicBezTo>
                        <a:pt x="78121" y="87147"/>
                        <a:pt x="46702" y="104787"/>
                        <a:pt x="52600" y="93497"/>
                      </a:cubicBezTo>
                      <a:cubicBezTo>
                        <a:pt x="42707" y="107086"/>
                        <a:pt x="59564" y="70548"/>
                        <a:pt x="57091" y="93535"/>
                      </a:cubicBezTo>
                      <a:cubicBezTo>
                        <a:pt x="60097" y="86614"/>
                        <a:pt x="57040" y="79997"/>
                        <a:pt x="62837" y="89763"/>
                      </a:cubicBezTo>
                      <a:cubicBezTo>
                        <a:pt x="66439" y="74460"/>
                        <a:pt x="61847" y="81610"/>
                        <a:pt x="59653" y="73558"/>
                      </a:cubicBezTo>
                      <a:cubicBezTo>
                        <a:pt x="63065" y="81076"/>
                        <a:pt x="61949" y="72339"/>
                        <a:pt x="60236" y="70231"/>
                      </a:cubicBezTo>
                      <a:cubicBezTo>
                        <a:pt x="65272" y="74282"/>
                        <a:pt x="67340" y="64020"/>
                        <a:pt x="61581" y="61137"/>
                      </a:cubicBezTo>
                      <a:cubicBezTo>
                        <a:pt x="68050" y="65278"/>
                        <a:pt x="33993" y="89979"/>
                        <a:pt x="55201" y="82740"/>
                      </a:cubicBezTo>
                      <a:cubicBezTo>
                        <a:pt x="37265" y="95072"/>
                        <a:pt x="54934" y="70459"/>
                        <a:pt x="56152" y="65455"/>
                      </a:cubicBezTo>
                      <a:cubicBezTo>
                        <a:pt x="56279" y="78829"/>
                        <a:pt x="55607" y="66535"/>
                        <a:pt x="61175" y="64198"/>
                      </a:cubicBezTo>
                      <a:cubicBezTo>
                        <a:pt x="59069" y="58216"/>
                        <a:pt x="54072" y="46431"/>
                        <a:pt x="54211" y="58801"/>
                      </a:cubicBezTo>
                      <a:cubicBezTo>
                        <a:pt x="52867" y="58216"/>
                        <a:pt x="51560" y="57632"/>
                        <a:pt x="50305" y="57137"/>
                      </a:cubicBezTo>
                      <a:cubicBezTo>
                        <a:pt x="48998" y="56591"/>
                        <a:pt x="47742" y="56057"/>
                        <a:pt x="46525" y="55562"/>
                      </a:cubicBezTo>
                      <a:lnTo>
                        <a:pt x="46614" y="55562"/>
                      </a:lnTo>
                      <a:lnTo>
                        <a:pt x="51294" y="54978"/>
                      </a:lnTo>
                      <a:cubicBezTo>
                        <a:pt x="46842" y="53987"/>
                        <a:pt x="42352" y="53086"/>
                        <a:pt x="37760" y="52095"/>
                      </a:cubicBezTo>
                      <a:lnTo>
                        <a:pt x="37582" y="52044"/>
                      </a:lnTo>
                      <a:cubicBezTo>
                        <a:pt x="35071" y="51104"/>
                        <a:pt x="32686" y="50254"/>
                        <a:pt x="30441" y="49580"/>
                      </a:cubicBezTo>
                      <a:cubicBezTo>
                        <a:pt x="28196" y="48857"/>
                        <a:pt x="26129" y="48222"/>
                        <a:pt x="24150" y="47688"/>
                      </a:cubicBezTo>
                      <a:cubicBezTo>
                        <a:pt x="22171" y="47193"/>
                        <a:pt x="20332" y="46786"/>
                        <a:pt x="18620" y="46431"/>
                      </a:cubicBezTo>
                      <a:cubicBezTo>
                        <a:pt x="17059" y="46126"/>
                        <a:pt x="15487" y="45910"/>
                        <a:pt x="13901" y="45796"/>
                      </a:cubicBezTo>
                      <a:cubicBezTo>
                        <a:pt x="12645" y="45707"/>
                        <a:pt x="11390" y="45694"/>
                        <a:pt x="10121" y="45745"/>
                      </a:cubicBezTo>
                      <a:cubicBezTo>
                        <a:pt x="9690" y="45770"/>
                        <a:pt x="9259" y="45809"/>
                        <a:pt x="8827" y="45885"/>
                      </a:cubicBezTo>
                      <a:lnTo>
                        <a:pt x="8777" y="45885"/>
                      </a:lnTo>
                      <a:cubicBezTo>
                        <a:pt x="5859" y="45250"/>
                        <a:pt x="3031" y="44627"/>
                        <a:pt x="-26" y="43992"/>
                      </a:cubicBezTo>
                      <a:cubicBezTo>
                        <a:pt x="684" y="47409"/>
                        <a:pt x="1090" y="50342"/>
                        <a:pt x="1496" y="52946"/>
                      </a:cubicBezTo>
                      <a:cubicBezTo>
                        <a:pt x="1496" y="56934"/>
                        <a:pt x="2346" y="60883"/>
                        <a:pt x="4020" y="64516"/>
                      </a:cubicBezTo>
                      <a:cubicBezTo>
                        <a:pt x="4730" y="66179"/>
                        <a:pt x="5542" y="67970"/>
                        <a:pt x="6481" y="69913"/>
                      </a:cubicBezTo>
                      <a:cubicBezTo>
                        <a:pt x="7432" y="71844"/>
                        <a:pt x="8510" y="73876"/>
                        <a:pt x="9715" y="76035"/>
                      </a:cubicBezTo>
                      <a:cubicBezTo>
                        <a:pt x="10895" y="78143"/>
                        <a:pt x="12239" y="80391"/>
                        <a:pt x="13724" y="82778"/>
                      </a:cubicBezTo>
                      <a:cubicBezTo>
                        <a:pt x="14446" y="83947"/>
                        <a:pt x="15208" y="85166"/>
                        <a:pt x="16019" y="86474"/>
                      </a:cubicBezTo>
                      <a:cubicBezTo>
                        <a:pt x="17630" y="88938"/>
                        <a:pt x="19343" y="91503"/>
                        <a:pt x="21182" y="94208"/>
                      </a:cubicBezTo>
                      <a:cubicBezTo>
                        <a:pt x="23021" y="96913"/>
                        <a:pt x="25000" y="99745"/>
                        <a:pt x="27067" y="102666"/>
                      </a:cubicBezTo>
                      <a:cubicBezTo>
                        <a:pt x="12785" y="107480"/>
                        <a:pt x="18937" y="111087"/>
                        <a:pt x="28957" y="114058"/>
                      </a:cubicBezTo>
                      <a:cubicBezTo>
                        <a:pt x="19076" y="111760"/>
                        <a:pt x="29274" y="127012"/>
                        <a:pt x="24188" y="124891"/>
                      </a:cubicBezTo>
                      <a:cubicBezTo>
                        <a:pt x="20104" y="129705"/>
                        <a:pt x="22311" y="118732"/>
                        <a:pt x="21271" y="116027"/>
                      </a:cubicBezTo>
                      <a:cubicBezTo>
                        <a:pt x="15296" y="118503"/>
                        <a:pt x="25406" y="136779"/>
                        <a:pt x="26395" y="131559"/>
                      </a:cubicBezTo>
                      <a:cubicBezTo>
                        <a:pt x="34082" y="125577"/>
                        <a:pt x="38572" y="137045"/>
                        <a:pt x="45548" y="134569"/>
                      </a:cubicBezTo>
                      <a:cubicBezTo>
                        <a:pt x="41134" y="140741"/>
                        <a:pt x="37950" y="130073"/>
                        <a:pt x="34132" y="133439"/>
                      </a:cubicBezTo>
                      <a:cubicBezTo>
                        <a:pt x="24784" y="133083"/>
                        <a:pt x="29997" y="139115"/>
                        <a:pt x="22628" y="132638"/>
                      </a:cubicBezTo>
                      <a:cubicBezTo>
                        <a:pt x="25621" y="176822"/>
                        <a:pt x="20763" y="221183"/>
                        <a:pt x="8295" y="263664"/>
                      </a:cubicBezTo>
                      <a:cubicBezTo>
                        <a:pt x="8739" y="289356"/>
                        <a:pt x="26978" y="332867"/>
                        <a:pt x="15969" y="348704"/>
                      </a:cubicBezTo>
                      <a:cubicBezTo>
                        <a:pt x="-1054" y="351447"/>
                        <a:pt x="38572" y="407657"/>
                        <a:pt x="35743" y="420154"/>
                      </a:cubicBezTo>
                      <a:cubicBezTo>
                        <a:pt x="41908" y="424523"/>
                        <a:pt x="61860" y="451878"/>
                        <a:pt x="51700" y="439547"/>
                      </a:cubicBezTo>
                      <a:cubicBezTo>
                        <a:pt x="53146" y="442709"/>
                        <a:pt x="48237" y="447510"/>
                        <a:pt x="51700" y="447383"/>
                      </a:cubicBezTo>
                      <a:cubicBezTo>
                        <a:pt x="49277" y="439153"/>
                        <a:pt x="66705" y="459168"/>
                        <a:pt x="64828" y="451663"/>
                      </a:cubicBezTo>
                      <a:cubicBezTo>
                        <a:pt x="65183" y="450354"/>
                        <a:pt x="65272" y="451294"/>
                        <a:pt x="65995" y="452018"/>
                      </a:cubicBezTo>
                      <a:cubicBezTo>
                        <a:pt x="61226" y="432981"/>
                        <a:pt x="78172" y="451205"/>
                        <a:pt x="88015" y="441807"/>
                      </a:cubicBezTo>
                      <a:cubicBezTo>
                        <a:pt x="84057" y="447421"/>
                        <a:pt x="86087" y="445173"/>
                        <a:pt x="89004" y="444271"/>
                      </a:cubicBezTo>
                      <a:cubicBezTo>
                        <a:pt x="88598" y="444678"/>
                        <a:pt x="88104" y="445262"/>
                        <a:pt x="87203" y="446303"/>
                      </a:cubicBezTo>
                      <a:cubicBezTo>
                        <a:pt x="71880" y="445490"/>
                        <a:pt x="61454" y="442252"/>
                        <a:pt x="74849" y="462140"/>
                      </a:cubicBezTo>
                      <a:cubicBezTo>
                        <a:pt x="83068" y="471640"/>
                        <a:pt x="67657" y="462000"/>
                        <a:pt x="68189" y="458673"/>
                      </a:cubicBezTo>
                      <a:cubicBezTo>
                        <a:pt x="62672" y="444411"/>
                        <a:pt x="65995" y="470103"/>
                        <a:pt x="67745" y="476275"/>
                      </a:cubicBezTo>
                      <a:cubicBezTo>
                        <a:pt x="72502" y="486664"/>
                        <a:pt x="94978" y="485317"/>
                        <a:pt x="81761" y="496113"/>
                      </a:cubicBezTo>
                      <a:cubicBezTo>
                        <a:pt x="73986" y="505295"/>
                        <a:pt x="107916" y="534263"/>
                        <a:pt x="111518" y="540613"/>
                      </a:cubicBezTo>
                      <a:cubicBezTo>
                        <a:pt x="128553" y="575399"/>
                        <a:pt x="101409" y="566978"/>
                        <a:pt x="150751" y="574091"/>
                      </a:cubicBezTo>
                      <a:cubicBezTo>
                        <a:pt x="174610" y="593534"/>
                        <a:pt x="212231" y="599338"/>
                        <a:pt x="217254" y="634073"/>
                      </a:cubicBezTo>
                      <a:cubicBezTo>
                        <a:pt x="217622" y="634835"/>
                        <a:pt x="217977" y="635647"/>
                        <a:pt x="218383" y="636498"/>
                      </a:cubicBezTo>
                      <a:lnTo>
                        <a:pt x="285343" y="630517"/>
                      </a:lnTo>
                      <a:cubicBezTo>
                        <a:pt x="286446" y="633831"/>
                        <a:pt x="288552" y="636727"/>
                        <a:pt x="291368" y="638797"/>
                      </a:cubicBezTo>
                      <a:cubicBezTo>
                        <a:pt x="303659" y="645591"/>
                        <a:pt x="316431" y="651497"/>
                        <a:pt x="329560" y="656475"/>
                      </a:cubicBezTo>
                      <a:cubicBezTo>
                        <a:pt x="333111" y="657555"/>
                        <a:pt x="382186" y="672681"/>
                        <a:pt x="388617" y="675513"/>
                      </a:cubicBezTo>
                      <a:cubicBezTo>
                        <a:pt x="404130" y="677621"/>
                        <a:pt x="419795" y="678510"/>
                        <a:pt x="435447" y="678167"/>
                      </a:cubicBezTo>
                      <a:cubicBezTo>
                        <a:pt x="446140" y="678700"/>
                        <a:pt x="456922" y="681723"/>
                        <a:pt x="461145" y="678167"/>
                      </a:cubicBezTo>
                      <a:cubicBezTo>
                        <a:pt x="465331" y="674611"/>
                        <a:pt x="467982" y="665607"/>
                        <a:pt x="470050" y="663676"/>
                      </a:cubicBezTo>
                      <a:cubicBezTo>
                        <a:pt x="486856" y="662305"/>
                        <a:pt x="503739" y="661873"/>
                        <a:pt x="520609" y="662368"/>
                      </a:cubicBezTo>
                      <a:cubicBezTo>
                        <a:pt x="520609" y="662368"/>
                        <a:pt x="550810" y="692746"/>
                        <a:pt x="554095" y="694093"/>
                      </a:cubicBezTo>
                      <a:cubicBezTo>
                        <a:pt x="557850" y="695172"/>
                        <a:pt x="561059" y="697611"/>
                        <a:pt x="563126" y="700938"/>
                      </a:cubicBezTo>
                      <a:cubicBezTo>
                        <a:pt x="565549" y="705116"/>
                        <a:pt x="568606" y="719645"/>
                        <a:pt x="572297" y="725868"/>
                      </a:cubicBezTo>
                      <a:cubicBezTo>
                        <a:pt x="575354" y="732015"/>
                        <a:pt x="580313" y="736993"/>
                        <a:pt x="586440" y="740092"/>
                      </a:cubicBezTo>
                      <a:cubicBezTo>
                        <a:pt x="593124" y="745198"/>
                        <a:pt x="600570" y="749211"/>
                        <a:pt x="608523" y="751967"/>
                      </a:cubicBezTo>
                      <a:cubicBezTo>
                        <a:pt x="614535" y="752500"/>
                        <a:pt x="612518" y="755929"/>
                        <a:pt x="617275" y="748499"/>
                      </a:cubicBezTo>
                      <a:cubicBezTo>
                        <a:pt x="621994" y="741070"/>
                        <a:pt x="619431" y="736346"/>
                        <a:pt x="625012" y="732294"/>
                      </a:cubicBezTo>
                      <a:cubicBezTo>
                        <a:pt x="630543" y="728205"/>
                        <a:pt x="626319" y="728345"/>
                        <a:pt x="634716" y="727532"/>
                      </a:cubicBezTo>
                      <a:cubicBezTo>
                        <a:pt x="640233" y="726262"/>
                        <a:pt x="645929" y="725881"/>
                        <a:pt x="651573" y="726402"/>
                      </a:cubicBezTo>
                      <a:cubicBezTo>
                        <a:pt x="656647" y="727583"/>
                        <a:pt x="659387" y="726859"/>
                        <a:pt x="663661" y="729742"/>
                      </a:cubicBezTo>
                      <a:cubicBezTo>
                        <a:pt x="667378" y="732015"/>
                        <a:pt x="670713" y="734885"/>
                        <a:pt x="673504" y="738251"/>
                      </a:cubicBezTo>
                      <a:cubicBezTo>
                        <a:pt x="676510" y="741807"/>
                        <a:pt x="693190" y="769747"/>
                        <a:pt x="698758" y="778294"/>
                      </a:cubicBezTo>
                      <a:cubicBezTo>
                        <a:pt x="703058" y="784758"/>
                        <a:pt x="707840" y="790892"/>
                        <a:pt x="713053" y="796645"/>
                      </a:cubicBezTo>
                      <a:cubicBezTo>
                        <a:pt x="715222" y="798881"/>
                        <a:pt x="716782" y="801636"/>
                        <a:pt x="717543" y="804659"/>
                      </a:cubicBezTo>
                      <a:cubicBezTo>
                        <a:pt x="718622" y="807986"/>
                        <a:pt x="725991" y="834720"/>
                        <a:pt x="729454" y="835571"/>
                      </a:cubicBezTo>
                      <a:cubicBezTo>
                        <a:pt x="732866" y="836384"/>
                        <a:pt x="730215" y="833094"/>
                        <a:pt x="736684" y="836561"/>
                      </a:cubicBezTo>
                      <a:cubicBezTo>
                        <a:pt x="743204" y="840067"/>
                        <a:pt x="744320" y="840435"/>
                        <a:pt x="749888" y="843356"/>
                      </a:cubicBezTo>
                      <a:cubicBezTo>
                        <a:pt x="755419" y="846328"/>
                        <a:pt x="752324" y="845744"/>
                        <a:pt x="759693" y="846277"/>
                      </a:cubicBezTo>
                      <a:cubicBezTo>
                        <a:pt x="767101" y="846810"/>
                        <a:pt x="768280" y="849566"/>
                        <a:pt x="773975" y="851179"/>
                      </a:cubicBezTo>
                      <a:cubicBezTo>
                        <a:pt x="775853" y="851687"/>
                        <a:pt x="777793" y="851928"/>
                        <a:pt x="779734" y="851903"/>
                      </a:cubicBezTo>
                      <a:cubicBezTo>
                        <a:pt x="779899" y="848576"/>
                        <a:pt x="779747" y="845248"/>
                        <a:pt x="779290" y="841959"/>
                      </a:cubicBezTo>
                      <a:cubicBezTo>
                        <a:pt x="768179" y="827240"/>
                        <a:pt x="781484" y="810323"/>
                        <a:pt x="767785" y="807542"/>
                      </a:cubicBezTo>
                      <a:cubicBezTo>
                        <a:pt x="770335" y="807542"/>
                        <a:pt x="766796" y="804252"/>
                        <a:pt x="766073" y="801865"/>
                      </a:cubicBezTo>
                      <a:cubicBezTo>
                        <a:pt x="771198" y="805599"/>
                        <a:pt x="769485" y="808850"/>
                        <a:pt x="774255" y="804024"/>
                      </a:cubicBezTo>
                      <a:cubicBezTo>
                        <a:pt x="775421" y="806323"/>
                        <a:pt x="772098" y="807275"/>
                        <a:pt x="773620" y="807758"/>
                      </a:cubicBezTo>
                      <a:cubicBezTo>
                        <a:pt x="789032" y="794982"/>
                        <a:pt x="768585" y="788416"/>
                        <a:pt x="778339" y="788771"/>
                      </a:cubicBezTo>
                      <a:cubicBezTo>
                        <a:pt x="781396" y="791210"/>
                        <a:pt x="786837" y="788009"/>
                        <a:pt x="787370" y="781304"/>
                      </a:cubicBezTo>
                      <a:cubicBezTo>
                        <a:pt x="785163" y="781888"/>
                        <a:pt x="781789" y="786663"/>
                        <a:pt x="783146" y="780453"/>
                      </a:cubicBezTo>
                      <a:cubicBezTo>
                        <a:pt x="787903" y="776363"/>
                        <a:pt x="788093" y="783247"/>
                        <a:pt x="790554" y="776452"/>
                      </a:cubicBezTo>
                      <a:cubicBezTo>
                        <a:pt x="787865" y="785761"/>
                        <a:pt x="797657" y="775728"/>
                        <a:pt x="792444" y="771588"/>
                      </a:cubicBezTo>
                      <a:cubicBezTo>
                        <a:pt x="795323" y="770509"/>
                        <a:pt x="798697" y="777798"/>
                        <a:pt x="804849" y="770191"/>
                      </a:cubicBezTo>
                      <a:cubicBezTo>
                        <a:pt x="800625" y="768616"/>
                        <a:pt x="800397" y="767537"/>
                        <a:pt x="797923" y="761466"/>
                      </a:cubicBezTo>
                      <a:cubicBezTo>
                        <a:pt x="801703" y="763663"/>
                        <a:pt x="805927" y="768299"/>
                        <a:pt x="804582" y="764260"/>
                      </a:cubicBezTo>
                      <a:cubicBezTo>
                        <a:pt x="803999" y="759218"/>
                        <a:pt x="804265" y="760526"/>
                        <a:pt x="806599" y="764527"/>
                      </a:cubicBezTo>
                      <a:cubicBezTo>
                        <a:pt x="808756" y="763219"/>
                        <a:pt x="811724" y="760844"/>
                        <a:pt x="810290" y="764705"/>
                      </a:cubicBezTo>
                      <a:cubicBezTo>
                        <a:pt x="815364" y="764260"/>
                        <a:pt x="810239" y="764933"/>
                        <a:pt x="809973" y="766064"/>
                      </a:cubicBezTo>
                      <a:cubicBezTo>
                        <a:pt x="821478" y="761873"/>
                        <a:pt x="813791" y="766813"/>
                        <a:pt x="811812" y="768210"/>
                      </a:cubicBezTo>
                      <a:cubicBezTo>
                        <a:pt x="812485" y="767854"/>
                        <a:pt x="813880" y="767143"/>
                        <a:pt x="816265" y="765784"/>
                      </a:cubicBezTo>
                      <a:cubicBezTo>
                        <a:pt x="822023" y="766013"/>
                        <a:pt x="839134" y="750443"/>
                        <a:pt x="849472" y="740905"/>
                      </a:cubicBezTo>
                      <a:cubicBezTo>
                        <a:pt x="846060" y="741311"/>
                        <a:pt x="840529" y="722630"/>
                        <a:pt x="847049" y="731507"/>
                      </a:cubicBezTo>
                      <a:cubicBezTo>
                        <a:pt x="852174" y="724344"/>
                        <a:pt x="855814" y="728980"/>
                        <a:pt x="851184" y="735190"/>
                      </a:cubicBezTo>
                      <a:cubicBezTo>
                        <a:pt x="855408" y="740181"/>
                        <a:pt x="866684" y="735914"/>
                        <a:pt x="877973" y="722909"/>
                      </a:cubicBezTo>
                      <a:cubicBezTo>
                        <a:pt x="876121" y="730605"/>
                        <a:pt x="932388" y="738428"/>
                        <a:pt x="926769" y="729615"/>
                      </a:cubicBezTo>
                      <a:cubicBezTo>
                        <a:pt x="919945" y="728980"/>
                        <a:pt x="928291" y="728713"/>
                        <a:pt x="930270" y="725779"/>
                      </a:cubicBezTo>
                      <a:cubicBezTo>
                        <a:pt x="938096" y="723760"/>
                        <a:pt x="943538" y="742569"/>
                        <a:pt x="951174" y="733615"/>
                      </a:cubicBezTo>
                      <a:cubicBezTo>
                        <a:pt x="953101" y="731367"/>
                        <a:pt x="948878" y="737755"/>
                        <a:pt x="951897" y="738695"/>
                      </a:cubicBezTo>
                      <a:cubicBezTo>
                        <a:pt x="951313" y="740727"/>
                        <a:pt x="956475" y="741172"/>
                        <a:pt x="954586" y="743331"/>
                      </a:cubicBezTo>
                      <a:cubicBezTo>
                        <a:pt x="952429" y="747826"/>
                        <a:pt x="955397" y="737794"/>
                        <a:pt x="948878" y="742289"/>
                      </a:cubicBezTo>
                      <a:cubicBezTo>
                        <a:pt x="955359" y="749185"/>
                        <a:pt x="966204" y="749516"/>
                        <a:pt x="973092" y="743026"/>
                      </a:cubicBezTo>
                      <a:cubicBezTo>
                        <a:pt x="973586" y="742556"/>
                        <a:pt x="974056" y="742061"/>
                        <a:pt x="974500" y="741540"/>
                      </a:cubicBezTo>
                      <a:cubicBezTo>
                        <a:pt x="983214" y="755485"/>
                        <a:pt x="989645" y="742480"/>
                        <a:pt x="981413" y="735546"/>
                      </a:cubicBezTo>
                      <a:cubicBezTo>
                        <a:pt x="978850" y="730821"/>
                        <a:pt x="989645" y="740537"/>
                        <a:pt x="990761" y="737209"/>
                      </a:cubicBezTo>
                      <a:cubicBezTo>
                        <a:pt x="993057" y="736943"/>
                        <a:pt x="990355" y="738873"/>
                        <a:pt x="992029" y="739546"/>
                      </a:cubicBezTo>
                      <a:cubicBezTo>
                        <a:pt x="993780" y="740994"/>
                        <a:pt x="996075" y="745718"/>
                        <a:pt x="1001999" y="744639"/>
                      </a:cubicBezTo>
                      <a:cubicBezTo>
                        <a:pt x="1000566" y="745845"/>
                        <a:pt x="1005995" y="753681"/>
                        <a:pt x="1005817" y="746887"/>
                      </a:cubicBezTo>
                      <a:cubicBezTo>
                        <a:pt x="1008963" y="749262"/>
                        <a:pt x="1004155" y="750532"/>
                        <a:pt x="1003217" y="755066"/>
                      </a:cubicBezTo>
                      <a:cubicBezTo>
                        <a:pt x="1007479" y="752106"/>
                        <a:pt x="1007085" y="746887"/>
                        <a:pt x="1010764" y="753046"/>
                      </a:cubicBezTo>
                      <a:cubicBezTo>
                        <a:pt x="1019757" y="739902"/>
                        <a:pt x="1002088" y="745350"/>
                        <a:pt x="994629" y="732879"/>
                      </a:cubicBezTo>
                      <a:cubicBezTo>
                        <a:pt x="991217" y="730313"/>
                        <a:pt x="999348" y="734542"/>
                        <a:pt x="996570" y="731304"/>
                      </a:cubicBezTo>
                      <a:cubicBezTo>
                        <a:pt x="993501" y="728561"/>
                        <a:pt x="998993" y="731761"/>
                        <a:pt x="1001238" y="731977"/>
                      </a:cubicBezTo>
                      <a:cubicBezTo>
                        <a:pt x="991978" y="726084"/>
                        <a:pt x="1010130" y="727125"/>
                        <a:pt x="1003750" y="723976"/>
                      </a:cubicBezTo>
                      <a:cubicBezTo>
                        <a:pt x="1006045" y="721906"/>
                        <a:pt x="1002405" y="724293"/>
                        <a:pt x="1002582" y="722401"/>
                      </a:cubicBezTo>
                      <a:cubicBezTo>
                        <a:pt x="1005779" y="722033"/>
                        <a:pt x="1004105" y="721410"/>
                        <a:pt x="1002050" y="721042"/>
                      </a:cubicBezTo>
                      <a:cubicBezTo>
                        <a:pt x="1007301" y="711136"/>
                        <a:pt x="993868" y="729780"/>
                        <a:pt x="994858" y="721728"/>
                      </a:cubicBezTo>
                      <a:cubicBezTo>
                        <a:pt x="983759" y="721817"/>
                        <a:pt x="1001733" y="716229"/>
                        <a:pt x="994858" y="715022"/>
                      </a:cubicBezTo>
                      <a:cubicBezTo>
                        <a:pt x="982186" y="727037"/>
                        <a:pt x="957287" y="701294"/>
                        <a:pt x="998042" y="714159"/>
                      </a:cubicBezTo>
                      <a:cubicBezTo>
                        <a:pt x="1018489" y="699046"/>
                        <a:pt x="1039341" y="719696"/>
                        <a:pt x="1042221" y="698195"/>
                      </a:cubicBezTo>
                      <a:cubicBezTo>
                        <a:pt x="1042221" y="693686"/>
                        <a:pt x="1054486" y="716229"/>
                        <a:pt x="1045100" y="711644"/>
                      </a:cubicBezTo>
                      <a:cubicBezTo>
                        <a:pt x="1041777" y="716013"/>
                        <a:pt x="1062630" y="709841"/>
                        <a:pt x="1059573" y="704494"/>
                      </a:cubicBezTo>
                      <a:cubicBezTo>
                        <a:pt x="1065813" y="706475"/>
                        <a:pt x="1050224" y="714654"/>
                        <a:pt x="1062845" y="708939"/>
                      </a:cubicBezTo>
                      <a:cubicBezTo>
                        <a:pt x="1067919" y="707542"/>
                        <a:pt x="1066574" y="695579"/>
                        <a:pt x="1069010" y="705612"/>
                      </a:cubicBezTo>
                      <a:cubicBezTo>
                        <a:pt x="1070988" y="705205"/>
                        <a:pt x="1070354" y="697966"/>
                        <a:pt x="1072016" y="701878"/>
                      </a:cubicBezTo>
                      <a:cubicBezTo>
                        <a:pt x="1071787" y="702018"/>
                        <a:pt x="1071343" y="704799"/>
                        <a:pt x="1074718" y="705574"/>
                      </a:cubicBezTo>
                      <a:cubicBezTo>
                        <a:pt x="1052913" y="712952"/>
                        <a:pt x="1097638" y="699401"/>
                        <a:pt x="1096788" y="706920"/>
                      </a:cubicBezTo>
                      <a:cubicBezTo>
                        <a:pt x="1095799" y="708634"/>
                        <a:pt x="1091346" y="704939"/>
                        <a:pt x="1090180" y="707364"/>
                      </a:cubicBezTo>
                      <a:cubicBezTo>
                        <a:pt x="1078852" y="705028"/>
                        <a:pt x="1104386" y="712177"/>
                        <a:pt x="1107798" y="715238"/>
                      </a:cubicBezTo>
                      <a:cubicBezTo>
                        <a:pt x="1100783" y="705929"/>
                        <a:pt x="1107887" y="714705"/>
                        <a:pt x="1111755" y="709625"/>
                      </a:cubicBezTo>
                      <a:cubicBezTo>
                        <a:pt x="1106136" y="717994"/>
                        <a:pt x="1110271" y="713765"/>
                        <a:pt x="1116157" y="718210"/>
                      </a:cubicBezTo>
                      <a:cubicBezTo>
                        <a:pt x="1118440" y="722084"/>
                        <a:pt x="1110855" y="715556"/>
                        <a:pt x="1109104" y="715873"/>
                      </a:cubicBezTo>
                      <a:cubicBezTo>
                        <a:pt x="1109777" y="716508"/>
                        <a:pt x="1111654" y="718210"/>
                        <a:pt x="1112960" y="719429"/>
                      </a:cubicBezTo>
                      <a:cubicBezTo>
                        <a:pt x="1121091" y="721944"/>
                        <a:pt x="1119531" y="737298"/>
                        <a:pt x="1117095" y="724420"/>
                      </a:cubicBezTo>
                      <a:cubicBezTo>
                        <a:pt x="1116157" y="726643"/>
                        <a:pt x="1116753" y="729208"/>
                        <a:pt x="1118579" y="730770"/>
                      </a:cubicBezTo>
                      <a:cubicBezTo>
                        <a:pt x="1128511" y="730237"/>
                        <a:pt x="1150848" y="723036"/>
                        <a:pt x="1143517" y="720648"/>
                      </a:cubicBezTo>
                      <a:cubicBezTo>
                        <a:pt x="1168682" y="709002"/>
                        <a:pt x="1207381" y="762584"/>
                        <a:pt x="1190169" y="786523"/>
                      </a:cubicBezTo>
                      <a:cubicBezTo>
                        <a:pt x="1186123" y="790613"/>
                        <a:pt x="1198579" y="800696"/>
                        <a:pt x="1190258" y="790702"/>
                      </a:cubicBezTo>
                      <a:cubicBezTo>
                        <a:pt x="1198705" y="797864"/>
                        <a:pt x="1195699" y="789673"/>
                        <a:pt x="1194837" y="786295"/>
                      </a:cubicBezTo>
                      <a:cubicBezTo>
                        <a:pt x="1192465" y="778065"/>
                        <a:pt x="1199657" y="795299"/>
                        <a:pt x="1201179" y="787158"/>
                      </a:cubicBezTo>
                      <a:cubicBezTo>
                        <a:pt x="1203031" y="795439"/>
                        <a:pt x="1194126" y="800379"/>
                        <a:pt x="1194799" y="801103"/>
                      </a:cubicBezTo>
                      <a:cubicBezTo>
                        <a:pt x="1196016" y="804341"/>
                        <a:pt x="1190448" y="796785"/>
                        <a:pt x="1193683" y="802271"/>
                      </a:cubicBezTo>
                      <a:cubicBezTo>
                        <a:pt x="1202625" y="808215"/>
                        <a:pt x="1198845" y="821169"/>
                        <a:pt x="1209056" y="823379"/>
                      </a:cubicBezTo>
                      <a:cubicBezTo>
                        <a:pt x="1209195" y="821524"/>
                        <a:pt x="1208663" y="819696"/>
                        <a:pt x="1207572" y="818197"/>
                      </a:cubicBezTo>
                      <a:cubicBezTo>
                        <a:pt x="1208447" y="818261"/>
                        <a:pt x="1209322" y="818184"/>
                        <a:pt x="1210172" y="817981"/>
                      </a:cubicBezTo>
                      <a:cubicBezTo>
                        <a:pt x="1216818" y="814019"/>
                        <a:pt x="1203969" y="840879"/>
                        <a:pt x="1218087" y="827379"/>
                      </a:cubicBezTo>
                      <a:cubicBezTo>
                        <a:pt x="1211516" y="835152"/>
                        <a:pt x="1222171" y="844156"/>
                        <a:pt x="1221816" y="851001"/>
                      </a:cubicBezTo>
                      <a:cubicBezTo>
                        <a:pt x="1234399" y="847890"/>
                        <a:pt x="1233130" y="866025"/>
                        <a:pt x="1244191" y="871918"/>
                      </a:cubicBezTo>
                      <a:cubicBezTo>
                        <a:pt x="1242846" y="876871"/>
                        <a:pt x="1231963" y="862330"/>
                        <a:pt x="1238940" y="875703"/>
                      </a:cubicBezTo>
                      <a:cubicBezTo>
                        <a:pt x="1242796" y="875792"/>
                        <a:pt x="1246081" y="873137"/>
                        <a:pt x="1248275" y="875068"/>
                      </a:cubicBezTo>
                      <a:cubicBezTo>
                        <a:pt x="1311239" y="814679"/>
                        <a:pt x="1205682" y="736562"/>
                        <a:pt x="1232560" y="670877"/>
                      </a:cubicBezTo>
                      <a:cubicBezTo>
                        <a:pt x="1233904" y="661784"/>
                        <a:pt x="1241679" y="664299"/>
                        <a:pt x="1239117" y="657148"/>
                      </a:cubicBezTo>
                      <a:cubicBezTo>
                        <a:pt x="1240817" y="659714"/>
                        <a:pt x="1245091" y="658812"/>
                        <a:pt x="1242846" y="656018"/>
                      </a:cubicBezTo>
                      <a:cubicBezTo>
                        <a:pt x="1248960" y="647750"/>
                        <a:pt x="1251472" y="650672"/>
                        <a:pt x="1247210" y="639470"/>
                      </a:cubicBezTo>
                      <a:cubicBezTo>
                        <a:pt x="1251116" y="647700"/>
                        <a:pt x="1251243" y="634517"/>
                        <a:pt x="1252410" y="645579"/>
                      </a:cubicBezTo>
                      <a:cubicBezTo>
                        <a:pt x="1257091" y="644106"/>
                        <a:pt x="1260591" y="640092"/>
                        <a:pt x="1254668" y="642442"/>
                      </a:cubicBezTo>
                      <a:cubicBezTo>
                        <a:pt x="1258397" y="637844"/>
                        <a:pt x="1255746" y="638568"/>
                        <a:pt x="1250990" y="637260"/>
                      </a:cubicBezTo>
                      <a:cubicBezTo>
                        <a:pt x="1261594" y="637171"/>
                        <a:pt x="1275166" y="636625"/>
                        <a:pt x="1271792" y="625830"/>
                      </a:cubicBezTo>
                      <a:cubicBezTo>
                        <a:pt x="1275787" y="631634"/>
                        <a:pt x="1279694" y="625284"/>
                        <a:pt x="1281317" y="623671"/>
                      </a:cubicBezTo>
                      <a:cubicBezTo>
                        <a:pt x="1278844" y="617867"/>
                        <a:pt x="1292505" y="621741"/>
                        <a:pt x="1289220" y="616026"/>
                      </a:cubicBezTo>
                      <a:cubicBezTo>
                        <a:pt x="1288548" y="614362"/>
                        <a:pt x="1291338" y="617372"/>
                        <a:pt x="1291427" y="616242"/>
                      </a:cubicBezTo>
                      <a:cubicBezTo>
                        <a:pt x="1293088" y="590600"/>
                        <a:pt x="1322883" y="593344"/>
                        <a:pt x="1328046" y="585736"/>
                      </a:cubicBezTo>
                      <a:cubicBezTo>
                        <a:pt x="1329898" y="589521"/>
                        <a:pt x="1341441" y="566483"/>
                        <a:pt x="1343330" y="565759"/>
                      </a:cubicBezTo>
                      <a:cubicBezTo>
                        <a:pt x="1343064" y="558431"/>
                        <a:pt x="1344764" y="563245"/>
                        <a:pt x="1345715" y="567741"/>
                      </a:cubicBezTo>
                      <a:cubicBezTo>
                        <a:pt x="1354391" y="559054"/>
                        <a:pt x="1363689" y="564146"/>
                        <a:pt x="1366428" y="559054"/>
                      </a:cubicBezTo>
                      <a:cubicBezTo>
                        <a:pt x="1368458" y="568375"/>
                        <a:pt x="1380673" y="545109"/>
                        <a:pt x="1372403" y="554329"/>
                      </a:cubicBezTo>
                      <a:cubicBezTo>
                        <a:pt x="1371236" y="546862"/>
                        <a:pt x="1363777" y="561619"/>
                        <a:pt x="1354290" y="549567"/>
                      </a:cubicBezTo>
                      <a:cubicBezTo>
                        <a:pt x="1351461" y="543128"/>
                        <a:pt x="1359110" y="555955"/>
                        <a:pt x="1363054" y="552628"/>
                      </a:cubicBezTo>
                      <a:cubicBezTo>
                        <a:pt x="1372682" y="545731"/>
                        <a:pt x="1362788" y="547586"/>
                        <a:pt x="1366162" y="546011"/>
                      </a:cubicBezTo>
                      <a:cubicBezTo>
                        <a:pt x="1377616" y="542493"/>
                        <a:pt x="1356864" y="539928"/>
                        <a:pt x="1353808" y="534124"/>
                      </a:cubicBezTo>
                      <a:cubicBezTo>
                        <a:pt x="1365756" y="544753"/>
                        <a:pt x="1370475" y="527431"/>
                        <a:pt x="1368179" y="536511"/>
                      </a:cubicBezTo>
                      <a:cubicBezTo>
                        <a:pt x="1368369" y="539077"/>
                        <a:pt x="1371147" y="540334"/>
                        <a:pt x="1371781" y="536562"/>
                      </a:cubicBezTo>
                      <a:cubicBezTo>
                        <a:pt x="1373265" y="539216"/>
                        <a:pt x="1372453" y="542988"/>
                        <a:pt x="1373570" y="538315"/>
                      </a:cubicBezTo>
                      <a:cubicBezTo>
                        <a:pt x="1380673" y="547497"/>
                        <a:pt x="1386165" y="527824"/>
                        <a:pt x="1388220" y="532688"/>
                      </a:cubicBezTo>
                      <a:cubicBezTo>
                        <a:pt x="1396452" y="530123"/>
                        <a:pt x="1385975" y="512622"/>
                        <a:pt x="1387332" y="522160"/>
                      </a:cubicBezTo>
                      <a:cubicBezTo>
                        <a:pt x="1381256" y="516217"/>
                        <a:pt x="1386292" y="535305"/>
                        <a:pt x="1379645" y="528409"/>
                      </a:cubicBezTo>
                      <a:cubicBezTo>
                        <a:pt x="1384681" y="529767"/>
                        <a:pt x="1381256" y="525081"/>
                        <a:pt x="1381218" y="522427"/>
                      </a:cubicBezTo>
                      <a:cubicBezTo>
                        <a:pt x="1385569" y="511454"/>
                        <a:pt x="1355013" y="530301"/>
                        <a:pt x="1362966" y="506590"/>
                      </a:cubicBezTo>
                      <a:cubicBezTo>
                        <a:pt x="1359414" y="518744"/>
                        <a:pt x="1379151" y="519773"/>
                        <a:pt x="1370525" y="510679"/>
                      </a:cubicBezTo>
                      <a:cubicBezTo>
                        <a:pt x="1372720" y="511810"/>
                        <a:pt x="1375155" y="514642"/>
                        <a:pt x="1378110" y="514286"/>
                      </a:cubicBezTo>
                      <a:cubicBezTo>
                        <a:pt x="1369752" y="505282"/>
                        <a:pt x="1383818" y="518376"/>
                        <a:pt x="1381079" y="510870"/>
                      </a:cubicBezTo>
                      <a:cubicBezTo>
                        <a:pt x="1370969" y="500075"/>
                        <a:pt x="1387725" y="516217"/>
                        <a:pt x="1385074" y="510502"/>
                      </a:cubicBezTo>
                      <a:cubicBezTo>
                        <a:pt x="1383197" y="501954"/>
                        <a:pt x="1386837" y="512800"/>
                        <a:pt x="1389171" y="515277"/>
                      </a:cubicBezTo>
                      <a:cubicBezTo>
                        <a:pt x="1377311" y="479869"/>
                        <a:pt x="1389082" y="503529"/>
                        <a:pt x="1395462" y="523379"/>
                      </a:cubicBezTo>
                      <a:cubicBezTo>
                        <a:pt x="1391010" y="498716"/>
                        <a:pt x="1382246" y="484721"/>
                        <a:pt x="1364538" y="480352"/>
                      </a:cubicBezTo>
                      <a:cubicBezTo>
                        <a:pt x="1368547" y="472986"/>
                        <a:pt x="1334972" y="471398"/>
                        <a:pt x="1355190" y="471271"/>
                      </a:cubicBezTo>
                      <a:cubicBezTo>
                        <a:pt x="1366657" y="478739"/>
                        <a:pt x="1385074" y="490169"/>
                        <a:pt x="1368458" y="472491"/>
                      </a:cubicBezTo>
                      <a:cubicBezTo>
                        <a:pt x="1369523" y="473875"/>
                        <a:pt x="1371515" y="474141"/>
                        <a:pt x="1372897" y="473075"/>
                      </a:cubicBezTo>
                      <a:cubicBezTo>
                        <a:pt x="1372897" y="473075"/>
                        <a:pt x="1372897" y="473075"/>
                        <a:pt x="1372897" y="473075"/>
                      </a:cubicBezTo>
                      <a:cubicBezTo>
                        <a:pt x="1370297" y="468757"/>
                        <a:pt x="1371286" y="465061"/>
                        <a:pt x="1375688" y="471309"/>
                      </a:cubicBezTo>
                      <a:cubicBezTo>
                        <a:pt x="1379962" y="471856"/>
                        <a:pt x="1373316" y="463308"/>
                        <a:pt x="1366301" y="455384"/>
                      </a:cubicBezTo>
                      <a:cubicBezTo>
                        <a:pt x="1375967" y="462140"/>
                        <a:pt x="1382347" y="454355"/>
                        <a:pt x="1366441" y="443014"/>
                      </a:cubicBezTo>
                      <a:cubicBezTo>
                        <a:pt x="1359389" y="439953"/>
                        <a:pt x="1356015" y="440944"/>
                        <a:pt x="1353630" y="432892"/>
                      </a:cubicBezTo>
                      <a:cubicBezTo>
                        <a:pt x="1335834" y="439725"/>
                        <a:pt x="1353858" y="421411"/>
                        <a:pt x="1354264" y="416776"/>
                      </a:cubicBezTo>
                      <a:cubicBezTo>
                        <a:pt x="1359617" y="413855"/>
                        <a:pt x="1349635" y="426097"/>
                        <a:pt x="1347706" y="429285"/>
                      </a:cubicBezTo>
                      <a:cubicBezTo>
                        <a:pt x="1347212" y="437616"/>
                        <a:pt x="1353681" y="431673"/>
                        <a:pt x="1354404" y="429742"/>
                      </a:cubicBezTo>
                      <a:cubicBezTo>
                        <a:pt x="1358222" y="445313"/>
                        <a:pt x="1360467" y="427532"/>
                        <a:pt x="1360822" y="437972"/>
                      </a:cubicBezTo>
                      <a:cubicBezTo>
                        <a:pt x="1366898" y="440855"/>
                        <a:pt x="1370398" y="439597"/>
                        <a:pt x="1372415" y="443369"/>
                      </a:cubicBezTo>
                      <a:cubicBezTo>
                        <a:pt x="1380825" y="444322"/>
                        <a:pt x="1361000" y="430733"/>
                        <a:pt x="1364323" y="422579"/>
                      </a:cubicBezTo>
                      <a:cubicBezTo>
                        <a:pt x="1374762" y="452729"/>
                        <a:pt x="1367925" y="414934"/>
                        <a:pt x="1368737" y="412724"/>
                      </a:cubicBezTo>
                      <a:cubicBezTo>
                        <a:pt x="1373544" y="416458"/>
                        <a:pt x="1367659" y="409625"/>
                        <a:pt x="1367659" y="408279"/>
                      </a:cubicBezTo>
                      <a:cubicBezTo>
                        <a:pt x="1370221" y="413004"/>
                        <a:pt x="1374077" y="410349"/>
                        <a:pt x="1369815" y="408140"/>
                      </a:cubicBezTo>
                      <a:cubicBezTo>
                        <a:pt x="1372098" y="408774"/>
                        <a:pt x="1372327" y="405714"/>
                        <a:pt x="1369625" y="405079"/>
                      </a:cubicBezTo>
                      <a:cubicBezTo>
                        <a:pt x="1363156" y="396570"/>
                        <a:pt x="1370310" y="406031"/>
                        <a:pt x="1372415" y="402285"/>
                      </a:cubicBezTo>
                      <a:cubicBezTo>
                        <a:pt x="1365147" y="399224"/>
                        <a:pt x="1378085" y="400304"/>
                        <a:pt x="1372288" y="396621"/>
                      </a:cubicBezTo>
                      <a:cubicBezTo>
                        <a:pt x="1378085" y="394995"/>
                        <a:pt x="1374090" y="403504"/>
                        <a:pt x="1377324" y="393598"/>
                      </a:cubicBezTo>
                      <a:cubicBezTo>
                        <a:pt x="1376462" y="405663"/>
                        <a:pt x="1388372" y="378612"/>
                        <a:pt x="1383666" y="394411"/>
                      </a:cubicBezTo>
                      <a:cubicBezTo>
                        <a:pt x="1385455" y="392925"/>
                        <a:pt x="1386546" y="391934"/>
                        <a:pt x="1387167" y="391439"/>
                      </a:cubicBezTo>
                      <a:cubicBezTo>
                        <a:pt x="1385505" y="393103"/>
                        <a:pt x="1381954" y="397205"/>
                        <a:pt x="1385911" y="397522"/>
                      </a:cubicBezTo>
                      <a:cubicBezTo>
                        <a:pt x="1369688" y="398602"/>
                        <a:pt x="1380381" y="409346"/>
                        <a:pt x="1379392" y="410603"/>
                      </a:cubicBezTo>
                      <a:cubicBezTo>
                        <a:pt x="1375028" y="412813"/>
                        <a:pt x="1373240" y="408533"/>
                        <a:pt x="1373049" y="416687"/>
                      </a:cubicBezTo>
                      <a:cubicBezTo>
                        <a:pt x="1374267" y="415061"/>
                        <a:pt x="1378313" y="409575"/>
                        <a:pt x="1378034" y="415379"/>
                      </a:cubicBezTo>
                      <a:cubicBezTo>
                        <a:pt x="1382398" y="410794"/>
                        <a:pt x="1375383" y="421589"/>
                        <a:pt x="1380470" y="417626"/>
                      </a:cubicBezTo>
                      <a:cubicBezTo>
                        <a:pt x="1379836" y="423748"/>
                        <a:pt x="1373138" y="409930"/>
                        <a:pt x="1374394" y="422668"/>
                      </a:cubicBezTo>
                      <a:cubicBezTo>
                        <a:pt x="1375878" y="416687"/>
                        <a:pt x="1377235" y="421906"/>
                        <a:pt x="1381725" y="424967"/>
                      </a:cubicBezTo>
                      <a:cubicBezTo>
                        <a:pt x="1377946" y="425323"/>
                        <a:pt x="1372606" y="426364"/>
                        <a:pt x="1378757" y="426669"/>
                      </a:cubicBezTo>
                      <a:cubicBezTo>
                        <a:pt x="1370716" y="433146"/>
                        <a:pt x="1377629" y="431177"/>
                        <a:pt x="1382575" y="438734"/>
                      </a:cubicBezTo>
                      <a:cubicBezTo>
                        <a:pt x="1385772" y="427126"/>
                        <a:pt x="1381358" y="444322"/>
                        <a:pt x="1388106" y="432524"/>
                      </a:cubicBezTo>
                      <a:cubicBezTo>
                        <a:pt x="1386939" y="438150"/>
                        <a:pt x="1382449" y="443598"/>
                        <a:pt x="1388651" y="441350"/>
                      </a:cubicBezTo>
                      <a:cubicBezTo>
                        <a:pt x="1391340" y="442430"/>
                        <a:pt x="1387345" y="444728"/>
                        <a:pt x="1387700" y="449542"/>
                      </a:cubicBezTo>
                      <a:cubicBezTo>
                        <a:pt x="1404329" y="444906"/>
                        <a:pt x="1375345" y="467398"/>
                        <a:pt x="1385100" y="478294"/>
                      </a:cubicBezTo>
                      <a:cubicBezTo>
                        <a:pt x="1399877" y="440626"/>
                        <a:pt x="1413994" y="436765"/>
                        <a:pt x="1409402" y="417944"/>
                      </a:cubicBezTo>
                      <a:cubicBezTo>
                        <a:pt x="1393674" y="409079"/>
                        <a:pt x="1391429" y="380339"/>
                        <a:pt x="1411343" y="373723"/>
                      </a:cubicBezTo>
                      <a:cubicBezTo>
                        <a:pt x="1396376" y="382130"/>
                        <a:pt x="1391251" y="397662"/>
                        <a:pt x="1411381" y="404050"/>
                      </a:cubicBezTo>
                      <a:cubicBezTo>
                        <a:pt x="1421224" y="400939"/>
                        <a:pt x="1406168" y="421906"/>
                        <a:pt x="1418167" y="410400"/>
                      </a:cubicBezTo>
                      <a:cubicBezTo>
                        <a:pt x="1422619" y="402018"/>
                        <a:pt x="1428061" y="394195"/>
                        <a:pt x="1434390" y="387134"/>
                      </a:cubicBezTo>
                      <a:cubicBezTo>
                        <a:pt x="1437003" y="371830"/>
                        <a:pt x="1448863" y="369760"/>
                        <a:pt x="1432995" y="353834"/>
                      </a:cubicBezTo>
                      <a:cubicBezTo>
                        <a:pt x="1436635" y="349288"/>
                        <a:pt x="1442610" y="345148"/>
                        <a:pt x="1442889" y="337096"/>
                      </a:cubicBezTo>
                      <a:cubicBezTo>
                        <a:pt x="1447696" y="352806"/>
                        <a:pt x="1455826" y="322745"/>
                        <a:pt x="1487156" y="326212"/>
                      </a:cubicBezTo>
                      <a:cubicBezTo>
                        <a:pt x="1488945" y="323735"/>
                        <a:pt x="1518613" y="328282"/>
                        <a:pt x="1514567" y="309384"/>
                      </a:cubicBezTo>
                      <a:cubicBezTo>
                        <a:pt x="1514161" y="303796"/>
                        <a:pt x="1516901" y="310286"/>
                        <a:pt x="1516901" y="312255"/>
                      </a:cubicBezTo>
                      <a:cubicBezTo>
                        <a:pt x="1526515" y="305143"/>
                        <a:pt x="1516952" y="310007"/>
                        <a:pt x="1520186" y="319456"/>
                      </a:cubicBezTo>
                      <a:cubicBezTo>
                        <a:pt x="1522203" y="317931"/>
                        <a:pt x="1524448" y="314693"/>
                        <a:pt x="1524055" y="317385"/>
                      </a:cubicBezTo>
                      <a:cubicBezTo>
                        <a:pt x="1526249" y="319595"/>
                        <a:pt x="1529572" y="311086"/>
                        <a:pt x="1531868" y="312750"/>
                      </a:cubicBezTo>
                      <a:cubicBezTo>
                        <a:pt x="1533390" y="309956"/>
                        <a:pt x="1534342" y="308343"/>
                        <a:pt x="1535737" y="309880"/>
                      </a:cubicBezTo>
                      <a:cubicBezTo>
                        <a:pt x="1530663" y="328320"/>
                        <a:pt x="1574424" y="301053"/>
                        <a:pt x="1546836" y="296964"/>
                      </a:cubicBezTo>
                      <a:cubicBezTo>
                        <a:pt x="1563997" y="307492"/>
                        <a:pt x="1541356" y="315315"/>
                        <a:pt x="1533581" y="299212"/>
                      </a:cubicBezTo>
                      <a:cubicBezTo>
                        <a:pt x="1541800" y="298310"/>
                        <a:pt x="1528951" y="284949"/>
                        <a:pt x="1526972" y="289941"/>
                      </a:cubicBezTo>
                      <a:cubicBezTo>
                        <a:pt x="1526249" y="289306"/>
                        <a:pt x="1526211" y="288099"/>
                        <a:pt x="1524143" y="287058"/>
                      </a:cubicBezTo>
                      <a:cubicBezTo>
                        <a:pt x="1524232" y="284810"/>
                        <a:pt x="1526249" y="286296"/>
                        <a:pt x="1525260" y="284899"/>
                      </a:cubicBezTo>
                      <a:cubicBezTo>
                        <a:pt x="1544096" y="266585"/>
                        <a:pt x="1526249" y="283692"/>
                        <a:pt x="1532769" y="257543"/>
                      </a:cubicBezTo>
                      <a:cubicBezTo>
                        <a:pt x="1538603" y="250660"/>
                        <a:pt x="1549081" y="238468"/>
                        <a:pt x="1547064" y="233692"/>
                      </a:cubicBezTo>
                      <a:cubicBezTo>
                        <a:pt x="1556399" y="222491"/>
                        <a:pt x="1552264" y="234277"/>
                        <a:pt x="1555816" y="228841"/>
                      </a:cubicBezTo>
                      <a:cubicBezTo>
                        <a:pt x="1555512" y="229514"/>
                        <a:pt x="1554522" y="231673"/>
                        <a:pt x="1554243" y="232435"/>
                      </a:cubicBezTo>
                      <a:cubicBezTo>
                        <a:pt x="1554344" y="232257"/>
                        <a:pt x="1554471" y="232029"/>
                        <a:pt x="1554649" y="231673"/>
                      </a:cubicBezTo>
                      <a:cubicBezTo>
                        <a:pt x="1560319" y="221323"/>
                        <a:pt x="1556006" y="235369"/>
                        <a:pt x="1559773" y="232435"/>
                      </a:cubicBezTo>
                      <a:cubicBezTo>
                        <a:pt x="1561346" y="225869"/>
                        <a:pt x="1554560" y="222808"/>
                        <a:pt x="1560408" y="219608"/>
                      </a:cubicBezTo>
                      <a:cubicBezTo>
                        <a:pt x="1557668" y="222529"/>
                        <a:pt x="1561536" y="236715"/>
                        <a:pt x="1561980" y="227850"/>
                      </a:cubicBezTo>
                      <a:cubicBezTo>
                        <a:pt x="1560090" y="231444"/>
                        <a:pt x="1561625" y="221856"/>
                        <a:pt x="1564314" y="220865"/>
                      </a:cubicBezTo>
                      <a:cubicBezTo>
                        <a:pt x="1562932" y="223697"/>
                        <a:pt x="1563350" y="227076"/>
                        <a:pt x="1565392" y="229463"/>
                      </a:cubicBezTo>
                      <a:cubicBezTo>
                        <a:pt x="1565494" y="226580"/>
                        <a:pt x="1566965" y="216738"/>
                        <a:pt x="1566433" y="224790"/>
                      </a:cubicBezTo>
                      <a:cubicBezTo>
                        <a:pt x="1565887" y="232435"/>
                        <a:pt x="1569134" y="225425"/>
                        <a:pt x="1570796" y="220865"/>
                      </a:cubicBezTo>
                      <a:cubicBezTo>
                        <a:pt x="1574348" y="217817"/>
                        <a:pt x="1569718" y="223926"/>
                        <a:pt x="1573587" y="222669"/>
                      </a:cubicBezTo>
                      <a:cubicBezTo>
                        <a:pt x="1572496" y="226580"/>
                        <a:pt x="1574931" y="221450"/>
                        <a:pt x="1575958" y="221589"/>
                      </a:cubicBezTo>
                      <a:cubicBezTo>
                        <a:pt x="1575514" y="229552"/>
                        <a:pt x="1584140" y="210794"/>
                        <a:pt x="1582567" y="205308"/>
                      </a:cubicBezTo>
                      <a:cubicBezTo>
                        <a:pt x="1587691" y="204000"/>
                        <a:pt x="1591826" y="193789"/>
                        <a:pt x="1587425" y="206057"/>
                      </a:cubicBezTo>
                      <a:cubicBezTo>
                        <a:pt x="1588820" y="208216"/>
                        <a:pt x="1589454" y="200977"/>
                        <a:pt x="1590748" y="205752"/>
                      </a:cubicBezTo>
                      <a:cubicBezTo>
                        <a:pt x="1588871" y="206070"/>
                        <a:pt x="1587438" y="207619"/>
                        <a:pt x="1587285" y="209524"/>
                      </a:cubicBezTo>
                      <a:cubicBezTo>
                        <a:pt x="1599335" y="210655"/>
                        <a:pt x="1592993" y="215696"/>
                        <a:pt x="1596989" y="202412"/>
                      </a:cubicBezTo>
                      <a:cubicBezTo>
                        <a:pt x="1599906" y="201612"/>
                        <a:pt x="1597306" y="208038"/>
                        <a:pt x="1599602" y="205155"/>
                      </a:cubicBezTo>
                      <a:cubicBezTo>
                        <a:pt x="1601530" y="203492"/>
                        <a:pt x="1603788" y="203898"/>
                        <a:pt x="1601809" y="201028"/>
                      </a:cubicBezTo>
                      <a:cubicBezTo>
                        <a:pt x="1613402" y="202463"/>
                        <a:pt x="1605043" y="215100"/>
                        <a:pt x="1611017" y="204355"/>
                      </a:cubicBezTo>
                      <a:cubicBezTo>
                        <a:pt x="1608595" y="202869"/>
                        <a:pt x="1611284" y="204216"/>
                        <a:pt x="1611195" y="202196"/>
                      </a:cubicBezTo>
                      <a:cubicBezTo>
                        <a:pt x="1613846" y="207314"/>
                        <a:pt x="1613085" y="204355"/>
                        <a:pt x="1614924" y="200126"/>
                      </a:cubicBezTo>
                      <a:cubicBezTo>
                        <a:pt x="1615597" y="198361"/>
                        <a:pt x="1617575" y="197383"/>
                        <a:pt x="1616231" y="200533"/>
                      </a:cubicBezTo>
                      <a:cubicBezTo>
                        <a:pt x="1616725" y="200075"/>
                        <a:pt x="1617195" y="199593"/>
                        <a:pt x="1617626" y="199085"/>
                      </a:cubicBezTo>
                      <a:cubicBezTo>
                        <a:pt x="1617487" y="199402"/>
                        <a:pt x="1617131" y="200609"/>
                        <a:pt x="1618653" y="202146"/>
                      </a:cubicBezTo>
                      <a:cubicBezTo>
                        <a:pt x="1619731" y="197739"/>
                        <a:pt x="1623562" y="203581"/>
                        <a:pt x="1622662" y="197510"/>
                      </a:cubicBezTo>
                      <a:cubicBezTo>
                        <a:pt x="1622167" y="196786"/>
                        <a:pt x="1623600" y="196659"/>
                        <a:pt x="1624590" y="196875"/>
                      </a:cubicBezTo>
                      <a:cubicBezTo>
                        <a:pt x="1625528" y="199212"/>
                        <a:pt x="1626302" y="197142"/>
                        <a:pt x="1626619" y="196024"/>
                      </a:cubicBezTo>
                      <a:cubicBezTo>
                        <a:pt x="1626619" y="198539"/>
                        <a:pt x="1628369" y="197916"/>
                        <a:pt x="1628090" y="196697"/>
                      </a:cubicBezTo>
                      <a:cubicBezTo>
                        <a:pt x="1628407" y="194399"/>
                        <a:pt x="1627291" y="194310"/>
                        <a:pt x="1630031" y="194183"/>
                      </a:cubicBezTo>
                      <a:cubicBezTo>
                        <a:pt x="1629131" y="200253"/>
                        <a:pt x="1639557" y="192646"/>
                        <a:pt x="1639062" y="187972"/>
                      </a:cubicBezTo>
                      <a:cubicBezTo>
                        <a:pt x="1635853" y="184112"/>
                        <a:pt x="1638770" y="192392"/>
                        <a:pt x="1636386" y="186728"/>
                      </a:cubicBezTo>
                      <a:close/>
                      <a:moveTo>
                        <a:pt x="1112351" y="191490"/>
                      </a:moveTo>
                      <a:cubicBezTo>
                        <a:pt x="1114013" y="187134"/>
                        <a:pt x="1115992" y="177635"/>
                        <a:pt x="1112174" y="187083"/>
                      </a:cubicBezTo>
                      <a:cubicBezTo>
                        <a:pt x="1108572" y="151409"/>
                        <a:pt x="1072257" y="234416"/>
                        <a:pt x="1092298" y="256959"/>
                      </a:cubicBezTo>
                      <a:cubicBezTo>
                        <a:pt x="1099718" y="328193"/>
                        <a:pt x="1036576" y="322110"/>
                        <a:pt x="1046102" y="252425"/>
                      </a:cubicBezTo>
                      <a:cubicBezTo>
                        <a:pt x="1046330" y="241401"/>
                        <a:pt x="1073969" y="165125"/>
                        <a:pt x="1051277" y="193878"/>
                      </a:cubicBezTo>
                      <a:cubicBezTo>
                        <a:pt x="1039049" y="207111"/>
                        <a:pt x="1043273" y="194106"/>
                        <a:pt x="1047497" y="185369"/>
                      </a:cubicBezTo>
                      <a:cubicBezTo>
                        <a:pt x="1062604" y="168541"/>
                        <a:pt x="1076037" y="136588"/>
                        <a:pt x="1083990" y="150317"/>
                      </a:cubicBezTo>
                      <a:cubicBezTo>
                        <a:pt x="1071458" y="164757"/>
                        <a:pt x="1125061" y="117195"/>
                        <a:pt x="1134777" y="149999"/>
                      </a:cubicBezTo>
                      <a:cubicBezTo>
                        <a:pt x="1120660" y="160172"/>
                        <a:pt x="1122994" y="172237"/>
                        <a:pt x="1112351" y="191490"/>
                      </a:cubicBezTo>
                      <a:close/>
                    </a:path>
                  </a:pathLst>
                </a:custGeom>
                <a:solidFill>
                  <a:schemeClr val="accent4"/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411" name="Vrije vorm 410">
                <a:extLst>
                  <a:ext uri="{FF2B5EF4-FFF2-40B4-BE49-F238E27FC236}">
                    <a16:creationId xmlns:a16="http://schemas.microsoft.com/office/drawing/2014/main" id="{CC66990B-A742-044B-830C-10737DD65F52}"/>
                  </a:ext>
                </a:extLst>
              </p:cNvPr>
              <p:cNvSpPr/>
              <p:nvPr/>
            </p:nvSpPr>
            <p:spPr>
              <a:xfrm>
                <a:off x="958205" y="3754932"/>
                <a:ext cx="141024" cy="100444"/>
              </a:xfrm>
              <a:custGeom>
                <a:avLst/>
                <a:gdLst>
                  <a:gd name="connsiteX0" fmla="*/ 140681 w 141024"/>
                  <a:gd name="connsiteY0" fmla="*/ 81853 h 100444"/>
                  <a:gd name="connsiteX1" fmla="*/ 140096 w 141024"/>
                  <a:gd name="connsiteY1" fmla="*/ 81307 h 100444"/>
                  <a:gd name="connsiteX2" fmla="*/ 138574 w 141024"/>
                  <a:gd name="connsiteY2" fmla="*/ 80684 h 100444"/>
                  <a:gd name="connsiteX3" fmla="*/ 137136 w 141024"/>
                  <a:gd name="connsiteY3" fmla="*/ 79325 h 100444"/>
                  <a:gd name="connsiteX4" fmla="*/ 136687 w 141024"/>
                  <a:gd name="connsiteY4" fmla="*/ 78563 h 100444"/>
                  <a:gd name="connsiteX5" fmla="*/ 136282 w 141024"/>
                  <a:gd name="connsiteY5" fmla="*/ 77801 h 100444"/>
                  <a:gd name="connsiteX6" fmla="*/ 136416 w 141024"/>
                  <a:gd name="connsiteY6" fmla="*/ 76493 h 100444"/>
                  <a:gd name="connsiteX7" fmla="*/ 136012 w 141024"/>
                  <a:gd name="connsiteY7" fmla="*/ 75858 h 100444"/>
                  <a:gd name="connsiteX8" fmla="*/ 135204 w 141024"/>
                  <a:gd name="connsiteY8" fmla="*/ 75274 h 100444"/>
                  <a:gd name="connsiteX9" fmla="*/ 134124 w 141024"/>
                  <a:gd name="connsiteY9" fmla="*/ 75820 h 100444"/>
                  <a:gd name="connsiteX10" fmla="*/ 133316 w 141024"/>
                  <a:gd name="connsiteY10" fmla="*/ 75858 h 100444"/>
                  <a:gd name="connsiteX11" fmla="*/ 133226 w 141024"/>
                  <a:gd name="connsiteY11" fmla="*/ 74601 h 100444"/>
                  <a:gd name="connsiteX12" fmla="*/ 133271 w 141024"/>
                  <a:gd name="connsiteY12" fmla="*/ 73026 h 100444"/>
                  <a:gd name="connsiteX13" fmla="*/ 133271 w 141024"/>
                  <a:gd name="connsiteY13" fmla="*/ 71858 h 100444"/>
                  <a:gd name="connsiteX14" fmla="*/ 132461 w 141024"/>
                  <a:gd name="connsiteY14" fmla="*/ 70778 h 100444"/>
                  <a:gd name="connsiteX15" fmla="*/ 130979 w 141024"/>
                  <a:gd name="connsiteY15" fmla="*/ 69254 h 100444"/>
                  <a:gd name="connsiteX16" fmla="*/ 129630 w 141024"/>
                  <a:gd name="connsiteY16" fmla="*/ 68403 h 100444"/>
                  <a:gd name="connsiteX17" fmla="*/ 126304 w 141024"/>
                  <a:gd name="connsiteY17" fmla="*/ 66282 h 100444"/>
                  <a:gd name="connsiteX18" fmla="*/ 123788 w 141024"/>
                  <a:gd name="connsiteY18" fmla="*/ 64974 h 100444"/>
                  <a:gd name="connsiteX19" fmla="*/ 121811 w 141024"/>
                  <a:gd name="connsiteY19" fmla="*/ 64263 h 100444"/>
                  <a:gd name="connsiteX20" fmla="*/ 120778 w 141024"/>
                  <a:gd name="connsiteY20" fmla="*/ 63895 h 100444"/>
                  <a:gd name="connsiteX21" fmla="*/ 119744 w 141024"/>
                  <a:gd name="connsiteY21" fmla="*/ 63806 h 100444"/>
                  <a:gd name="connsiteX22" fmla="*/ 119110 w 141024"/>
                  <a:gd name="connsiteY22" fmla="*/ 63984 h 100444"/>
                  <a:gd name="connsiteX23" fmla="*/ 118525 w 141024"/>
                  <a:gd name="connsiteY23" fmla="*/ 63539 h 100444"/>
                  <a:gd name="connsiteX24" fmla="*/ 117852 w 141024"/>
                  <a:gd name="connsiteY24" fmla="*/ 63222 h 100444"/>
                  <a:gd name="connsiteX25" fmla="*/ 117357 w 141024"/>
                  <a:gd name="connsiteY25" fmla="*/ 62638 h 100444"/>
                  <a:gd name="connsiteX26" fmla="*/ 116638 w 141024"/>
                  <a:gd name="connsiteY26" fmla="*/ 62231 h 100444"/>
                  <a:gd name="connsiteX27" fmla="*/ 115560 w 141024"/>
                  <a:gd name="connsiteY27" fmla="*/ 61787 h 100444"/>
                  <a:gd name="connsiteX28" fmla="*/ 115065 w 141024"/>
                  <a:gd name="connsiteY28" fmla="*/ 61025 h 100444"/>
                  <a:gd name="connsiteX29" fmla="*/ 115065 w 141024"/>
                  <a:gd name="connsiteY29" fmla="*/ 60707 h 100444"/>
                  <a:gd name="connsiteX30" fmla="*/ 114931 w 141024"/>
                  <a:gd name="connsiteY30" fmla="*/ 60479 h 100444"/>
                  <a:gd name="connsiteX31" fmla="*/ 114795 w 141024"/>
                  <a:gd name="connsiteY31" fmla="*/ 60352 h 100444"/>
                  <a:gd name="connsiteX32" fmla="*/ 113987 w 141024"/>
                  <a:gd name="connsiteY32" fmla="*/ 60174 h 100444"/>
                  <a:gd name="connsiteX33" fmla="*/ 112144 w 141024"/>
                  <a:gd name="connsiteY33" fmla="*/ 59767 h 100444"/>
                  <a:gd name="connsiteX34" fmla="*/ 111109 w 141024"/>
                  <a:gd name="connsiteY34" fmla="*/ 59767 h 100444"/>
                  <a:gd name="connsiteX35" fmla="*/ 110750 w 141024"/>
                  <a:gd name="connsiteY35" fmla="*/ 60072 h 100444"/>
                  <a:gd name="connsiteX36" fmla="*/ 110211 w 141024"/>
                  <a:gd name="connsiteY36" fmla="*/ 61164 h 100444"/>
                  <a:gd name="connsiteX37" fmla="*/ 110211 w 141024"/>
                  <a:gd name="connsiteY37" fmla="*/ 62142 h 100444"/>
                  <a:gd name="connsiteX38" fmla="*/ 110300 w 141024"/>
                  <a:gd name="connsiteY38" fmla="*/ 63184 h 100444"/>
                  <a:gd name="connsiteX39" fmla="*/ 110704 w 141024"/>
                  <a:gd name="connsiteY39" fmla="*/ 64530 h 100444"/>
                  <a:gd name="connsiteX40" fmla="*/ 111694 w 141024"/>
                  <a:gd name="connsiteY40" fmla="*/ 66016 h 100444"/>
                  <a:gd name="connsiteX41" fmla="*/ 112143 w 141024"/>
                  <a:gd name="connsiteY41" fmla="*/ 66511 h 100444"/>
                  <a:gd name="connsiteX42" fmla="*/ 112367 w 141024"/>
                  <a:gd name="connsiteY42" fmla="*/ 67057 h 100444"/>
                  <a:gd name="connsiteX43" fmla="*/ 112233 w 141024"/>
                  <a:gd name="connsiteY43" fmla="*/ 67463 h 100444"/>
                  <a:gd name="connsiteX44" fmla="*/ 112053 w 141024"/>
                  <a:gd name="connsiteY44" fmla="*/ 68403 h 100444"/>
                  <a:gd name="connsiteX45" fmla="*/ 111604 w 141024"/>
                  <a:gd name="connsiteY45" fmla="*/ 68403 h 100444"/>
                  <a:gd name="connsiteX46" fmla="*/ 110969 w 141024"/>
                  <a:gd name="connsiteY46" fmla="*/ 69127 h 100444"/>
                  <a:gd name="connsiteX47" fmla="*/ 110295 w 141024"/>
                  <a:gd name="connsiteY47" fmla="*/ 70296 h 100444"/>
                  <a:gd name="connsiteX48" fmla="*/ 110026 w 141024"/>
                  <a:gd name="connsiteY48" fmla="*/ 70601 h 100444"/>
                  <a:gd name="connsiteX49" fmla="*/ 109441 w 141024"/>
                  <a:gd name="connsiteY49" fmla="*/ 71591 h 100444"/>
                  <a:gd name="connsiteX50" fmla="*/ 108273 w 141024"/>
                  <a:gd name="connsiteY50" fmla="*/ 72048 h 100444"/>
                  <a:gd name="connsiteX51" fmla="*/ 107868 w 141024"/>
                  <a:gd name="connsiteY51" fmla="*/ 72366 h 100444"/>
                  <a:gd name="connsiteX52" fmla="*/ 107734 w 141024"/>
                  <a:gd name="connsiteY52" fmla="*/ 72950 h 100444"/>
                  <a:gd name="connsiteX53" fmla="*/ 107463 w 141024"/>
                  <a:gd name="connsiteY53" fmla="*/ 73267 h 100444"/>
                  <a:gd name="connsiteX54" fmla="*/ 106880 w 141024"/>
                  <a:gd name="connsiteY54" fmla="*/ 73674 h 100444"/>
                  <a:gd name="connsiteX55" fmla="*/ 106246 w 141024"/>
                  <a:gd name="connsiteY55" fmla="*/ 74207 h 100444"/>
                  <a:gd name="connsiteX56" fmla="*/ 105931 w 141024"/>
                  <a:gd name="connsiteY56" fmla="*/ 74880 h 100444"/>
                  <a:gd name="connsiteX57" fmla="*/ 105661 w 141024"/>
                  <a:gd name="connsiteY57" fmla="*/ 75731 h 100444"/>
                  <a:gd name="connsiteX58" fmla="*/ 106336 w 141024"/>
                  <a:gd name="connsiteY58" fmla="*/ 77624 h 100444"/>
                  <a:gd name="connsiteX59" fmla="*/ 106919 w 141024"/>
                  <a:gd name="connsiteY59" fmla="*/ 78386 h 100444"/>
                  <a:gd name="connsiteX60" fmla="*/ 107368 w 141024"/>
                  <a:gd name="connsiteY60" fmla="*/ 78703 h 100444"/>
                  <a:gd name="connsiteX61" fmla="*/ 107863 w 141024"/>
                  <a:gd name="connsiteY61" fmla="*/ 79427 h 100444"/>
                  <a:gd name="connsiteX62" fmla="*/ 108178 w 141024"/>
                  <a:gd name="connsiteY62" fmla="*/ 80278 h 100444"/>
                  <a:gd name="connsiteX63" fmla="*/ 108313 w 141024"/>
                  <a:gd name="connsiteY63" fmla="*/ 80951 h 100444"/>
                  <a:gd name="connsiteX64" fmla="*/ 108672 w 141024"/>
                  <a:gd name="connsiteY64" fmla="*/ 81586 h 100444"/>
                  <a:gd name="connsiteX65" fmla="*/ 108582 w 141024"/>
                  <a:gd name="connsiteY65" fmla="*/ 82259 h 100444"/>
                  <a:gd name="connsiteX66" fmla="*/ 108852 w 141024"/>
                  <a:gd name="connsiteY66" fmla="*/ 82843 h 100444"/>
                  <a:gd name="connsiteX67" fmla="*/ 109167 w 141024"/>
                  <a:gd name="connsiteY67" fmla="*/ 83250 h 100444"/>
                  <a:gd name="connsiteX68" fmla="*/ 109346 w 141024"/>
                  <a:gd name="connsiteY68" fmla="*/ 83834 h 100444"/>
                  <a:gd name="connsiteX69" fmla="*/ 109840 w 141024"/>
                  <a:gd name="connsiteY69" fmla="*/ 85231 h 100444"/>
                  <a:gd name="connsiteX70" fmla="*/ 110155 w 141024"/>
                  <a:gd name="connsiteY70" fmla="*/ 86183 h 100444"/>
                  <a:gd name="connsiteX71" fmla="*/ 110560 w 141024"/>
                  <a:gd name="connsiteY71" fmla="*/ 86894 h 100444"/>
                  <a:gd name="connsiteX72" fmla="*/ 110604 w 141024"/>
                  <a:gd name="connsiteY72" fmla="*/ 87618 h 100444"/>
                  <a:gd name="connsiteX73" fmla="*/ 109970 w 141024"/>
                  <a:gd name="connsiteY73" fmla="*/ 91987 h 100444"/>
                  <a:gd name="connsiteX74" fmla="*/ 109611 w 141024"/>
                  <a:gd name="connsiteY74" fmla="*/ 93473 h 100444"/>
                  <a:gd name="connsiteX75" fmla="*/ 109835 w 141024"/>
                  <a:gd name="connsiteY75" fmla="*/ 94781 h 100444"/>
                  <a:gd name="connsiteX76" fmla="*/ 110060 w 141024"/>
                  <a:gd name="connsiteY76" fmla="*/ 95543 h 100444"/>
                  <a:gd name="connsiteX77" fmla="*/ 110420 w 141024"/>
                  <a:gd name="connsiteY77" fmla="*/ 95670 h 100444"/>
                  <a:gd name="connsiteX78" fmla="*/ 110645 w 141024"/>
                  <a:gd name="connsiteY78" fmla="*/ 96216 h 100444"/>
                  <a:gd name="connsiteX79" fmla="*/ 110825 w 141024"/>
                  <a:gd name="connsiteY79" fmla="*/ 96750 h 100444"/>
                  <a:gd name="connsiteX80" fmla="*/ 111364 w 141024"/>
                  <a:gd name="connsiteY80" fmla="*/ 96928 h 100444"/>
                  <a:gd name="connsiteX81" fmla="*/ 112532 w 141024"/>
                  <a:gd name="connsiteY81" fmla="*/ 97245 h 100444"/>
                  <a:gd name="connsiteX82" fmla="*/ 113251 w 141024"/>
                  <a:gd name="connsiteY82" fmla="*/ 97702 h 100444"/>
                  <a:gd name="connsiteX83" fmla="*/ 114600 w 141024"/>
                  <a:gd name="connsiteY83" fmla="*/ 98553 h 100444"/>
                  <a:gd name="connsiteX84" fmla="*/ 115723 w 141024"/>
                  <a:gd name="connsiteY84" fmla="*/ 99137 h 100444"/>
                  <a:gd name="connsiteX85" fmla="*/ 116358 w 141024"/>
                  <a:gd name="connsiteY85" fmla="*/ 99633 h 100444"/>
                  <a:gd name="connsiteX86" fmla="*/ 116313 w 141024"/>
                  <a:gd name="connsiteY86" fmla="*/ 100268 h 100444"/>
                  <a:gd name="connsiteX87" fmla="*/ 116583 w 141024"/>
                  <a:gd name="connsiteY87" fmla="*/ 100445 h 100444"/>
                  <a:gd name="connsiteX88" fmla="*/ 117257 w 141024"/>
                  <a:gd name="connsiteY88" fmla="*/ 99811 h 100444"/>
                  <a:gd name="connsiteX89" fmla="*/ 117752 w 141024"/>
                  <a:gd name="connsiteY89" fmla="*/ 99404 h 100444"/>
                  <a:gd name="connsiteX90" fmla="*/ 118156 w 141024"/>
                  <a:gd name="connsiteY90" fmla="*/ 98960 h 100444"/>
                  <a:gd name="connsiteX91" fmla="*/ 118650 w 141024"/>
                  <a:gd name="connsiteY91" fmla="*/ 97702 h 100444"/>
                  <a:gd name="connsiteX92" fmla="*/ 119549 w 141024"/>
                  <a:gd name="connsiteY92" fmla="*/ 96839 h 100444"/>
                  <a:gd name="connsiteX93" fmla="*/ 120044 w 141024"/>
                  <a:gd name="connsiteY93" fmla="*/ 96254 h 100444"/>
                  <a:gd name="connsiteX94" fmla="*/ 119998 w 141024"/>
                  <a:gd name="connsiteY94" fmla="*/ 95175 h 100444"/>
                  <a:gd name="connsiteX95" fmla="*/ 120224 w 141024"/>
                  <a:gd name="connsiteY95" fmla="*/ 94680 h 100444"/>
                  <a:gd name="connsiteX96" fmla="*/ 121436 w 141024"/>
                  <a:gd name="connsiteY96" fmla="*/ 93511 h 100444"/>
                  <a:gd name="connsiteX97" fmla="*/ 121885 w 141024"/>
                  <a:gd name="connsiteY97" fmla="*/ 93384 h 100444"/>
                  <a:gd name="connsiteX98" fmla="*/ 123324 w 141024"/>
                  <a:gd name="connsiteY98" fmla="*/ 92571 h 100444"/>
                  <a:gd name="connsiteX99" fmla="*/ 123728 w 141024"/>
                  <a:gd name="connsiteY99" fmla="*/ 92254 h 100444"/>
                  <a:gd name="connsiteX100" fmla="*/ 124363 w 141024"/>
                  <a:gd name="connsiteY100" fmla="*/ 91847 h 100444"/>
                  <a:gd name="connsiteX101" fmla="*/ 124812 w 141024"/>
                  <a:gd name="connsiteY101" fmla="*/ 91619 h 100444"/>
                  <a:gd name="connsiteX102" fmla="*/ 125396 w 141024"/>
                  <a:gd name="connsiteY102" fmla="*/ 91530 h 100444"/>
                  <a:gd name="connsiteX103" fmla="*/ 125935 w 141024"/>
                  <a:gd name="connsiteY103" fmla="*/ 90895 h 100444"/>
                  <a:gd name="connsiteX104" fmla="*/ 126789 w 141024"/>
                  <a:gd name="connsiteY104" fmla="*/ 90260 h 100444"/>
                  <a:gd name="connsiteX105" fmla="*/ 127464 w 141024"/>
                  <a:gd name="connsiteY105" fmla="*/ 89854 h 100444"/>
                  <a:gd name="connsiteX106" fmla="*/ 128098 w 141024"/>
                  <a:gd name="connsiteY106" fmla="*/ 89676 h 100444"/>
                  <a:gd name="connsiteX107" fmla="*/ 128772 w 141024"/>
                  <a:gd name="connsiteY107" fmla="*/ 89676 h 100444"/>
                  <a:gd name="connsiteX108" fmla="*/ 129985 w 141024"/>
                  <a:gd name="connsiteY108" fmla="*/ 89993 h 100444"/>
                  <a:gd name="connsiteX109" fmla="*/ 131381 w 141024"/>
                  <a:gd name="connsiteY109" fmla="*/ 89587 h 100444"/>
                  <a:gd name="connsiteX110" fmla="*/ 133088 w 141024"/>
                  <a:gd name="connsiteY110" fmla="*/ 89054 h 100444"/>
                  <a:gd name="connsiteX111" fmla="*/ 133943 w 141024"/>
                  <a:gd name="connsiteY111" fmla="*/ 88419 h 100444"/>
                  <a:gd name="connsiteX112" fmla="*/ 134975 w 141024"/>
                  <a:gd name="connsiteY112" fmla="*/ 88139 h 100444"/>
                  <a:gd name="connsiteX113" fmla="*/ 135021 w 141024"/>
                  <a:gd name="connsiteY113" fmla="*/ 87822 h 100444"/>
                  <a:gd name="connsiteX114" fmla="*/ 136235 w 141024"/>
                  <a:gd name="connsiteY114" fmla="*/ 87466 h 100444"/>
                  <a:gd name="connsiteX115" fmla="*/ 138032 w 141024"/>
                  <a:gd name="connsiteY115" fmla="*/ 85714 h 100444"/>
                  <a:gd name="connsiteX116" fmla="*/ 139291 w 141024"/>
                  <a:gd name="connsiteY116" fmla="*/ 85256 h 100444"/>
                  <a:gd name="connsiteX117" fmla="*/ 140549 w 141024"/>
                  <a:gd name="connsiteY117" fmla="*/ 83745 h 100444"/>
                  <a:gd name="connsiteX118" fmla="*/ 140908 w 141024"/>
                  <a:gd name="connsiteY118" fmla="*/ 83288 h 100444"/>
                  <a:gd name="connsiteX119" fmla="*/ 140998 w 141024"/>
                  <a:gd name="connsiteY119" fmla="*/ 82475 h 100444"/>
                  <a:gd name="connsiteX120" fmla="*/ 107335 w 141024"/>
                  <a:gd name="connsiteY120" fmla="*/ 43562 h 100444"/>
                  <a:gd name="connsiteX121" fmla="*/ 105897 w 141024"/>
                  <a:gd name="connsiteY121" fmla="*/ 43105 h 100444"/>
                  <a:gd name="connsiteX122" fmla="*/ 104953 w 141024"/>
                  <a:gd name="connsiteY122" fmla="*/ 42610 h 100444"/>
                  <a:gd name="connsiteX123" fmla="*/ 103965 w 141024"/>
                  <a:gd name="connsiteY123" fmla="*/ 42483 h 100444"/>
                  <a:gd name="connsiteX124" fmla="*/ 103785 w 141024"/>
                  <a:gd name="connsiteY124" fmla="*/ 42254 h 100444"/>
                  <a:gd name="connsiteX125" fmla="*/ 103651 w 141024"/>
                  <a:gd name="connsiteY125" fmla="*/ 41848 h 100444"/>
                  <a:gd name="connsiteX126" fmla="*/ 103290 w 141024"/>
                  <a:gd name="connsiteY126" fmla="*/ 41543 h 100444"/>
                  <a:gd name="connsiteX127" fmla="*/ 103156 w 141024"/>
                  <a:gd name="connsiteY127" fmla="*/ 41721 h 100444"/>
                  <a:gd name="connsiteX128" fmla="*/ 103021 w 141024"/>
                  <a:gd name="connsiteY128" fmla="*/ 41721 h 100444"/>
                  <a:gd name="connsiteX129" fmla="*/ 102707 w 141024"/>
                  <a:gd name="connsiteY129" fmla="*/ 41670 h 100444"/>
                  <a:gd name="connsiteX130" fmla="*/ 102661 w 141024"/>
                  <a:gd name="connsiteY130" fmla="*/ 41403 h 100444"/>
                  <a:gd name="connsiteX131" fmla="*/ 102302 w 141024"/>
                  <a:gd name="connsiteY131" fmla="*/ 41047 h 100444"/>
                  <a:gd name="connsiteX132" fmla="*/ 101763 w 141024"/>
                  <a:gd name="connsiteY132" fmla="*/ 40730 h 100444"/>
                  <a:gd name="connsiteX133" fmla="*/ 101493 w 141024"/>
                  <a:gd name="connsiteY133" fmla="*/ 40362 h 100444"/>
                  <a:gd name="connsiteX134" fmla="*/ 101268 w 141024"/>
                  <a:gd name="connsiteY134" fmla="*/ 40095 h 100444"/>
                  <a:gd name="connsiteX135" fmla="*/ 101088 w 141024"/>
                  <a:gd name="connsiteY135" fmla="*/ 39968 h 100444"/>
                  <a:gd name="connsiteX136" fmla="*/ 100954 w 141024"/>
                  <a:gd name="connsiteY136" fmla="*/ 39600 h 100444"/>
                  <a:gd name="connsiteX137" fmla="*/ 100459 w 141024"/>
                  <a:gd name="connsiteY137" fmla="*/ 39282 h 100444"/>
                  <a:gd name="connsiteX138" fmla="*/ 100100 w 141024"/>
                  <a:gd name="connsiteY138" fmla="*/ 39422 h 100444"/>
                  <a:gd name="connsiteX139" fmla="*/ 100055 w 141024"/>
                  <a:gd name="connsiteY139" fmla="*/ 39282 h 100444"/>
                  <a:gd name="connsiteX140" fmla="*/ 99966 w 141024"/>
                  <a:gd name="connsiteY140" fmla="*/ 39244 h 100444"/>
                  <a:gd name="connsiteX141" fmla="*/ 99876 w 141024"/>
                  <a:gd name="connsiteY141" fmla="*/ 39193 h 100444"/>
                  <a:gd name="connsiteX142" fmla="*/ 99740 w 141024"/>
                  <a:gd name="connsiteY142" fmla="*/ 39193 h 100444"/>
                  <a:gd name="connsiteX143" fmla="*/ 99381 w 141024"/>
                  <a:gd name="connsiteY143" fmla="*/ 39016 h 100444"/>
                  <a:gd name="connsiteX144" fmla="*/ 98886 w 141024"/>
                  <a:gd name="connsiteY144" fmla="*/ 38977 h 100444"/>
                  <a:gd name="connsiteX145" fmla="*/ 98437 w 141024"/>
                  <a:gd name="connsiteY145" fmla="*/ 38977 h 100444"/>
                  <a:gd name="connsiteX146" fmla="*/ 97988 w 141024"/>
                  <a:gd name="connsiteY146" fmla="*/ 39016 h 100444"/>
                  <a:gd name="connsiteX147" fmla="*/ 97538 w 141024"/>
                  <a:gd name="connsiteY147" fmla="*/ 39155 h 100444"/>
                  <a:gd name="connsiteX148" fmla="*/ 96640 w 141024"/>
                  <a:gd name="connsiteY148" fmla="*/ 39828 h 100444"/>
                  <a:gd name="connsiteX149" fmla="*/ 96325 w 141024"/>
                  <a:gd name="connsiteY149" fmla="*/ 39917 h 100444"/>
                  <a:gd name="connsiteX150" fmla="*/ 95472 w 141024"/>
                  <a:gd name="connsiteY150" fmla="*/ 39968 h 100444"/>
                  <a:gd name="connsiteX151" fmla="*/ 95067 w 141024"/>
                  <a:gd name="connsiteY151" fmla="*/ 40006 h 100444"/>
                  <a:gd name="connsiteX152" fmla="*/ 94528 w 141024"/>
                  <a:gd name="connsiteY152" fmla="*/ 40006 h 100444"/>
                  <a:gd name="connsiteX153" fmla="*/ 94212 w 141024"/>
                  <a:gd name="connsiteY153" fmla="*/ 40362 h 100444"/>
                  <a:gd name="connsiteX154" fmla="*/ 93719 w 141024"/>
                  <a:gd name="connsiteY154" fmla="*/ 40413 h 100444"/>
                  <a:gd name="connsiteX155" fmla="*/ 93404 w 141024"/>
                  <a:gd name="connsiteY155" fmla="*/ 39917 h 100444"/>
                  <a:gd name="connsiteX156" fmla="*/ 93180 w 141024"/>
                  <a:gd name="connsiteY156" fmla="*/ 39422 h 100444"/>
                  <a:gd name="connsiteX157" fmla="*/ 92910 w 141024"/>
                  <a:gd name="connsiteY157" fmla="*/ 39016 h 100444"/>
                  <a:gd name="connsiteX158" fmla="*/ 92551 w 141024"/>
                  <a:gd name="connsiteY158" fmla="*/ 38660 h 100444"/>
                  <a:gd name="connsiteX159" fmla="*/ 92551 w 141024"/>
                  <a:gd name="connsiteY159" fmla="*/ 38342 h 100444"/>
                  <a:gd name="connsiteX160" fmla="*/ 92461 w 141024"/>
                  <a:gd name="connsiteY160" fmla="*/ 37936 h 100444"/>
                  <a:gd name="connsiteX161" fmla="*/ 92100 w 141024"/>
                  <a:gd name="connsiteY161" fmla="*/ 37809 h 100444"/>
                  <a:gd name="connsiteX162" fmla="*/ 91966 w 141024"/>
                  <a:gd name="connsiteY162" fmla="*/ 37441 h 100444"/>
                  <a:gd name="connsiteX163" fmla="*/ 91606 w 141024"/>
                  <a:gd name="connsiteY163" fmla="*/ 37263 h 100444"/>
                  <a:gd name="connsiteX164" fmla="*/ 91157 w 141024"/>
                  <a:gd name="connsiteY164" fmla="*/ 37034 h 100444"/>
                  <a:gd name="connsiteX165" fmla="*/ 90888 w 141024"/>
                  <a:gd name="connsiteY165" fmla="*/ 36996 h 100444"/>
                  <a:gd name="connsiteX166" fmla="*/ 90663 w 141024"/>
                  <a:gd name="connsiteY166" fmla="*/ 36679 h 100444"/>
                  <a:gd name="connsiteX167" fmla="*/ 90393 w 141024"/>
                  <a:gd name="connsiteY167" fmla="*/ 36539 h 100444"/>
                  <a:gd name="connsiteX168" fmla="*/ 90259 w 141024"/>
                  <a:gd name="connsiteY168" fmla="*/ 36590 h 100444"/>
                  <a:gd name="connsiteX169" fmla="*/ 90123 w 141024"/>
                  <a:gd name="connsiteY169" fmla="*/ 36717 h 100444"/>
                  <a:gd name="connsiteX170" fmla="*/ 89898 w 141024"/>
                  <a:gd name="connsiteY170" fmla="*/ 36768 h 100444"/>
                  <a:gd name="connsiteX171" fmla="*/ 89584 w 141024"/>
                  <a:gd name="connsiteY171" fmla="*/ 36717 h 100444"/>
                  <a:gd name="connsiteX172" fmla="*/ 89315 w 141024"/>
                  <a:gd name="connsiteY172" fmla="*/ 36717 h 100444"/>
                  <a:gd name="connsiteX173" fmla="*/ 89089 w 141024"/>
                  <a:gd name="connsiteY173" fmla="*/ 36907 h 100444"/>
                  <a:gd name="connsiteX174" fmla="*/ 89045 w 141024"/>
                  <a:gd name="connsiteY174" fmla="*/ 37123 h 100444"/>
                  <a:gd name="connsiteX175" fmla="*/ 88820 w 141024"/>
                  <a:gd name="connsiteY175" fmla="*/ 37403 h 100444"/>
                  <a:gd name="connsiteX176" fmla="*/ 88461 w 141024"/>
                  <a:gd name="connsiteY176" fmla="*/ 37441 h 100444"/>
                  <a:gd name="connsiteX177" fmla="*/ 88191 w 141024"/>
                  <a:gd name="connsiteY177" fmla="*/ 37898 h 100444"/>
                  <a:gd name="connsiteX178" fmla="*/ 87921 w 141024"/>
                  <a:gd name="connsiteY178" fmla="*/ 38609 h 100444"/>
                  <a:gd name="connsiteX179" fmla="*/ 87742 w 141024"/>
                  <a:gd name="connsiteY179" fmla="*/ 39473 h 100444"/>
                  <a:gd name="connsiteX180" fmla="*/ 87606 w 141024"/>
                  <a:gd name="connsiteY180" fmla="*/ 40108 h 100444"/>
                  <a:gd name="connsiteX181" fmla="*/ 87921 w 141024"/>
                  <a:gd name="connsiteY181" fmla="*/ 40463 h 100444"/>
                  <a:gd name="connsiteX182" fmla="*/ 87921 w 141024"/>
                  <a:gd name="connsiteY182" fmla="*/ 41098 h 100444"/>
                  <a:gd name="connsiteX183" fmla="*/ 88730 w 141024"/>
                  <a:gd name="connsiteY183" fmla="*/ 42127 h 100444"/>
                  <a:gd name="connsiteX184" fmla="*/ 89404 w 141024"/>
                  <a:gd name="connsiteY184" fmla="*/ 42851 h 100444"/>
                  <a:gd name="connsiteX185" fmla="*/ 89764 w 141024"/>
                  <a:gd name="connsiteY185" fmla="*/ 43397 h 100444"/>
                  <a:gd name="connsiteX186" fmla="*/ 90169 w 141024"/>
                  <a:gd name="connsiteY186" fmla="*/ 43346 h 100444"/>
                  <a:gd name="connsiteX187" fmla="*/ 90803 w 141024"/>
                  <a:gd name="connsiteY187" fmla="*/ 43702 h 100444"/>
                  <a:gd name="connsiteX188" fmla="*/ 91437 w 141024"/>
                  <a:gd name="connsiteY188" fmla="*/ 43841 h 100444"/>
                  <a:gd name="connsiteX189" fmla="*/ 91796 w 141024"/>
                  <a:gd name="connsiteY189" fmla="*/ 44108 h 100444"/>
                  <a:gd name="connsiteX190" fmla="*/ 92246 w 141024"/>
                  <a:gd name="connsiteY190" fmla="*/ 44388 h 100444"/>
                  <a:gd name="connsiteX191" fmla="*/ 92605 w 141024"/>
                  <a:gd name="connsiteY191" fmla="*/ 44299 h 100444"/>
                  <a:gd name="connsiteX192" fmla="*/ 92740 w 141024"/>
                  <a:gd name="connsiteY192" fmla="*/ 43892 h 100444"/>
                  <a:gd name="connsiteX193" fmla="*/ 93144 w 141024"/>
                  <a:gd name="connsiteY193" fmla="*/ 43702 h 100444"/>
                  <a:gd name="connsiteX194" fmla="*/ 93593 w 141024"/>
                  <a:gd name="connsiteY194" fmla="*/ 43702 h 100444"/>
                  <a:gd name="connsiteX195" fmla="*/ 93908 w 141024"/>
                  <a:gd name="connsiteY195" fmla="*/ 43892 h 100444"/>
                  <a:gd name="connsiteX196" fmla="*/ 94088 w 141024"/>
                  <a:gd name="connsiteY196" fmla="*/ 44070 h 100444"/>
                  <a:gd name="connsiteX197" fmla="*/ 94222 w 141024"/>
                  <a:gd name="connsiteY197" fmla="*/ 44159 h 100444"/>
                  <a:gd name="connsiteX198" fmla="*/ 94403 w 141024"/>
                  <a:gd name="connsiteY198" fmla="*/ 44654 h 100444"/>
                  <a:gd name="connsiteX199" fmla="*/ 94358 w 141024"/>
                  <a:gd name="connsiteY199" fmla="*/ 45289 h 100444"/>
                  <a:gd name="connsiteX200" fmla="*/ 94583 w 141024"/>
                  <a:gd name="connsiteY200" fmla="*/ 45823 h 100444"/>
                  <a:gd name="connsiteX201" fmla="*/ 94807 w 141024"/>
                  <a:gd name="connsiteY201" fmla="*/ 47804 h 100444"/>
                  <a:gd name="connsiteX202" fmla="*/ 94807 w 141024"/>
                  <a:gd name="connsiteY202" fmla="*/ 48350 h 100444"/>
                  <a:gd name="connsiteX203" fmla="*/ 94583 w 141024"/>
                  <a:gd name="connsiteY203" fmla="*/ 48566 h 100444"/>
                  <a:gd name="connsiteX204" fmla="*/ 94942 w 141024"/>
                  <a:gd name="connsiteY204" fmla="*/ 48972 h 100444"/>
                  <a:gd name="connsiteX205" fmla="*/ 95032 w 141024"/>
                  <a:gd name="connsiteY205" fmla="*/ 49252 h 100444"/>
                  <a:gd name="connsiteX206" fmla="*/ 95793 w 141024"/>
                  <a:gd name="connsiteY206" fmla="*/ 50001 h 100444"/>
                  <a:gd name="connsiteX207" fmla="*/ 97005 w 141024"/>
                  <a:gd name="connsiteY207" fmla="*/ 49963 h 100444"/>
                  <a:gd name="connsiteX208" fmla="*/ 97366 w 141024"/>
                  <a:gd name="connsiteY208" fmla="*/ 49874 h 100444"/>
                  <a:gd name="connsiteX209" fmla="*/ 97859 w 141024"/>
                  <a:gd name="connsiteY209" fmla="*/ 49963 h 100444"/>
                  <a:gd name="connsiteX210" fmla="*/ 98083 w 141024"/>
                  <a:gd name="connsiteY210" fmla="*/ 50001 h 100444"/>
                  <a:gd name="connsiteX211" fmla="*/ 98803 w 141024"/>
                  <a:gd name="connsiteY211" fmla="*/ 50191 h 100444"/>
                  <a:gd name="connsiteX212" fmla="*/ 99297 w 141024"/>
                  <a:gd name="connsiteY212" fmla="*/ 49963 h 100444"/>
                  <a:gd name="connsiteX213" fmla="*/ 100197 w 141024"/>
                  <a:gd name="connsiteY213" fmla="*/ 49506 h 100444"/>
                  <a:gd name="connsiteX214" fmla="*/ 101592 w 141024"/>
                  <a:gd name="connsiteY214" fmla="*/ 48833 h 100444"/>
                  <a:gd name="connsiteX215" fmla="*/ 102131 w 141024"/>
                  <a:gd name="connsiteY215" fmla="*/ 48794 h 100444"/>
                  <a:gd name="connsiteX216" fmla="*/ 102670 w 141024"/>
                  <a:gd name="connsiteY216" fmla="*/ 48883 h 100444"/>
                  <a:gd name="connsiteX217" fmla="*/ 103704 w 141024"/>
                  <a:gd name="connsiteY217" fmla="*/ 48883 h 100444"/>
                  <a:gd name="connsiteX218" fmla="*/ 105226 w 141024"/>
                  <a:gd name="connsiteY218" fmla="*/ 48121 h 100444"/>
                  <a:gd name="connsiteX219" fmla="*/ 105987 w 141024"/>
                  <a:gd name="connsiteY219" fmla="*/ 48071 h 100444"/>
                  <a:gd name="connsiteX220" fmla="*/ 106572 w 141024"/>
                  <a:gd name="connsiteY220" fmla="*/ 47220 h 100444"/>
                  <a:gd name="connsiteX221" fmla="*/ 107291 w 141024"/>
                  <a:gd name="connsiteY221" fmla="*/ 47042 h 100444"/>
                  <a:gd name="connsiteX222" fmla="*/ 107784 w 141024"/>
                  <a:gd name="connsiteY222" fmla="*/ 46102 h 100444"/>
                  <a:gd name="connsiteX223" fmla="*/ 107964 w 141024"/>
                  <a:gd name="connsiteY223" fmla="*/ 44883 h 100444"/>
                  <a:gd name="connsiteX224" fmla="*/ 87157 w 141024"/>
                  <a:gd name="connsiteY224" fmla="*/ 32666 h 100444"/>
                  <a:gd name="connsiteX225" fmla="*/ 86708 w 141024"/>
                  <a:gd name="connsiteY225" fmla="*/ 32666 h 100444"/>
                  <a:gd name="connsiteX226" fmla="*/ 86484 w 141024"/>
                  <a:gd name="connsiteY226" fmla="*/ 32577 h 100444"/>
                  <a:gd name="connsiteX227" fmla="*/ 86573 w 141024"/>
                  <a:gd name="connsiteY227" fmla="*/ 32450 h 100444"/>
                  <a:gd name="connsiteX228" fmla="*/ 86394 w 141024"/>
                  <a:gd name="connsiteY228" fmla="*/ 32310 h 100444"/>
                  <a:gd name="connsiteX229" fmla="*/ 86124 w 141024"/>
                  <a:gd name="connsiteY229" fmla="*/ 32361 h 100444"/>
                  <a:gd name="connsiteX230" fmla="*/ 85809 w 141024"/>
                  <a:gd name="connsiteY230" fmla="*/ 32310 h 100444"/>
                  <a:gd name="connsiteX231" fmla="*/ 85450 w 141024"/>
                  <a:gd name="connsiteY231" fmla="*/ 32183 h 100444"/>
                  <a:gd name="connsiteX232" fmla="*/ 84910 w 141024"/>
                  <a:gd name="connsiteY232" fmla="*/ 32221 h 100444"/>
                  <a:gd name="connsiteX233" fmla="*/ 84685 w 141024"/>
                  <a:gd name="connsiteY233" fmla="*/ 32183 h 100444"/>
                  <a:gd name="connsiteX234" fmla="*/ 84371 w 141024"/>
                  <a:gd name="connsiteY234" fmla="*/ 32272 h 100444"/>
                  <a:gd name="connsiteX235" fmla="*/ 83967 w 141024"/>
                  <a:gd name="connsiteY235" fmla="*/ 32399 h 100444"/>
                  <a:gd name="connsiteX236" fmla="*/ 83333 w 141024"/>
                  <a:gd name="connsiteY236" fmla="*/ 32488 h 100444"/>
                  <a:gd name="connsiteX237" fmla="*/ 81938 w 141024"/>
                  <a:gd name="connsiteY237" fmla="*/ 32538 h 100444"/>
                  <a:gd name="connsiteX238" fmla="*/ 81129 w 141024"/>
                  <a:gd name="connsiteY238" fmla="*/ 32361 h 100444"/>
                  <a:gd name="connsiteX239" fmla="*/ 80494 w 141024"/>
                  <a:gd name="connsiteY239" fmla="*/ 32132 h 100444"/>
                  <a:gd name="connsiteX240" fmla="*/ 80360 w 141024"/>
                  <a:gd name="connsiteY240" fmla="*/ 31599 h 100444"/>
                  <a:gd name="connsiteX241" fmla="*/ 79955 w 141024"/>
                  <a:gd name="connsiteY241" fmla="*/ 31103 h 100444"/>
                  <a:gd name="connsiteX242" fmla="*/ 79686 w 141024"/>
                  <a:gd name="connsiteY242" fmla="*/ 31141 h 100444"/>
                  <a:gd name="connsiteX243" fmla="*/ 79551 w 141024"/>
                  <a:gd name="connsiteY243" fmla="*/ 31370 h 100444"/>
                  <a:gd name="connsiteX244" fmla="*/ 79506 w 141024"/>
                  <a:gd name="connsiteY244" fmla="*/ 31688 h 100444"/>
                  <a:gd name="connsiteX245" fmla="*/ 79282 w 141024"/>
                  <a:gd name="connsiteY245" fmla="*/ 31992 h 100444"/>
                  <a:gd name="connsiteX246" fmla="*/ 78202 w 141024"/>
                  <a:gd name="connsiteY246" fmla="*/ 31954 h 100444"/>
                  <a:gd name="connsiteX247" fmla="*/ 76765 w 141024"/>
                  <a:gd name="connsiteY247" fmla="*/ 31726 h 100444"/>
                  <a:gd name="connsiteX248" fmla="*/ 74069 w 141024"/>
                  <a:gd name="connsiteY248" fmla="*/ 31319 h 100444"/>
                  <a:gd name="connsiteX249" fmla="*/ 73664 w 141024"/>
                  <a:gd name="connsiteY249" fmla="*/ 31319 h 100444"/>
                  <a:gd name="connsiteX250" fmla="*/ 73394 w 141024"/>
                  <a:gd name="connsiteY250" fmla="*/ 30964 h 100444"/>
                  <a:gd name="connsiteX251" fmla="*/ 73035 w 141024"/>
                  <a:gd name="connsiteY251" fmla="*/ 30875 h 100444"/>
                  <a:gd name="connsiteX252" fmla="*/ 72401 w 141024"/>
                  <a:gd name="connsiteY252" fmla="*/ 30913 h 100444"/>
                  <a:gd name="connsiteX253" fmla="*/ 71952 w 141024"/>
                  <a:gd name="connsiteY253" fmla="*/ 30824 h 100444"/>
                  <a:gd name="connsiteX254" fmla="*/ 71637 w 141024"/>
                  <a:gd name="connsiteY254" fmla="*/ 30824 h 100444"/>
                  <a:gd name="connsiteX255" fmla="*/ 71637 w 141024"/>
                  <a:gd name="connsiteY255" fmla="*/ 31053 h 100444"/>
                  <a:gd name="connsiteX256" fmla="*/ 71996 w 141024"/>
                  <a:gd name="connsiteY256" fmla="*/ 31497 h 100444"/>
                  <a:gd name="connsiteX257" fmla="*/ 71861 w 141024"/>
                  <a:gd name="connsiteY257" fmla="*/ 32094 h 100444"/>
                  <a:gd name="connsiteX258" fmla="*/ 71412 w 141024"/>
                  <a:gd name="connsiteY258" fmla="*/ 32627 h 100444"/>
                  <a:gd name="connsiteX259" fmla="*/ 70872 w 141024"/>
                  <a:gd name="connsiteY259" fmla="*/ 32805 h 100444"/>
                  <a:gd name="connsiteX260" fmla="*/ 70558 w 141024"/>
                  <a:gd name="connsiteY260" fmla="*/ 33161 h 100444"/>
                  <a:gd name="connsiteX261" fmla="*/ 70379 w 141024"/>
                  <a:gd name="connsiteY261" fmla="*/ 33656 h 100444"/>
                  <a:gd name="connsiteX262" fmla="*/ 70379 w 141024"/>
                  <a:gd name="connsiteY262" fmla="*/ 34202 h 100444"/>
                  <a:gd name="connsiteX263" fmla="*/ 70693 w 141024"/>
                  <a:gd name="connsiteY263" fmla="*/ 34647 h 100444"/>
                  <a:gd name="connsiteX264" fmla="*/ 71232 w 141024"/>
                  <a:gd name="connsiteY264" fmla="*/ 34875 h 100444"/>
                  <a:gd name="connsiteX265" fmla="*/ 71867 w 141024"/>
                  <a:gd name="connsiteY265" fmla="*/ 34875 h 100444"/>
                  <a:gd name="connsiteX266" fmla="*/ 72676 w 141024"/>
                  <a:gd name="connsiteY266" fmla="*/ 34926 h 100444"/>
                  <a:gd name="connsiteX267" fmla="*/ 73664 w 141024"/>
                  <a:gd name="connsiteY267" fmla="*/ 34748 h 100444"/>
                  <a:gd name="connsiteX268" fmla="*/ 75012 w 141024"/>
                  <a:gd name="connsiteY268" fmla="*/ 34697 h 100444"/>
                  <a:gd name="connsiteX269" fmla="*/ 76945 w 141024"/>
                  <a:gd name="connsiteY269" fmla="*/ 34520 h 100444"/>
                  <a:gd name="connsiteX270" fmla="*/ 78292 w 141024"/>
                  <a:gd name="connsiteY270" fmla="*/ 35015 h 100444"/>
                  <a:gd name="connsiteX271" fmla="*/ 80494 w 141024"/>
                  <a:gd name="connsiteY271" fmla="*/ 35599 h 100444"/>
                  <a:gd name="connsiteX272" fmla="*/ 81574 w 141024"/>
                  <a:gd name="connsiteY272" fmla="*/ 35815 h 100444"/>
                  <a:gd name="connsiteX273" fmla="*/ 82696 w 141024"/>
                  <a:gd name="connsiteY273" fmla="*/ 35917 h 100444"/>
                  <a:gd name="connsiteX274" fmla="*/ 83776 w 141024"/>
                  <a:gd name="connsiteY274" fmla="*/ 35688 h 100444"/>
                  <a:gd name="connsiteX275" fmla="*/ 84854 w 141024"/>
                  <a:gd name="connsiteY275" fmla="*/ 35244 h 100444"/>
                  <a:gd name="connsiteX276" fmla="*/ 85933 w 141024"/>
                  <a:gd name="connsiteY276" fmla="*/ 34647 h 100444"/>
                  <a:gd name="connsiteX277" fmla="*/ 86787 w 141024"/>
                  <a:gd name="connsiteY277" fmla="*/ 33796 h 100444"/>
                  <a:gd name="connsiteX278" fmla="*/ 87326 w 141024"/>
                  <a:gd name="connsiteY278" fmla="*/ 32805 h 100444"/>
                  <a:gd name="connsiteX279" fmla="*/ 60463 w 141024"/>
                  <a:gd name="connsiteY279" fmla="*/ 28081 h 100444"/>
                  <a:gd name="connsiteX280" fmla="*/ 59879 w 141024"/>
                  <a:gd name="connsiteY280" fmla="*/ 27763 h 100444"/>
                  <a:gd name="connsiteX281" fmla="*/ 59244 w 141024"/>
                  <a:gd name="connsiteY281" fmla="*/ 27357 h 100444"/>
                  <a:gd name="connsiteX282" fmla="*/ 58976 w 141024"/>
                  <a:gd name="connsiteY282" fmla="*/ 26862 h 100444"/>
                  <a:gd name="connsiteX283" fmla="*/ 58850 w 141024"/>
                  <a:gd name="connsiteY283" fmla="*/ 26506 h 100444"/>
                  <a:gd name="connsiteX284" fmla="*/ 58986 w 141024"/>
                  <a:gd name="connsiteY284" fmla="*/ 26188 h 100444"/>
                  <a:gd name="connsiteX285" fmla="*/ 58896 w 141024"/>
                  <a:gd name="connsiteY285" fmla="*/ 25922 h 100444"/>
                  <a:gd name="connsiteX286" fmla="*/ 58535 w 141024"/>
                  <a:gd name="connsiteY286" fmla="*/ 25566 h 100444"/>
                  <a:gd name="connsiteX287" fmla="*/ 58041 w 141024"/>
                  <a:gd name="connsiteY287" fmla="*/ 25249 h 100444"/>
                  <a:gd name="connsiteX288" fmla="*/ 57996 w 141024"/>
                  <a:gd name="connsiteY288" fmla="*/ 24842 h 100444"/>
                  <a:gd name="connsiteX289" fmla="*/ 58086 w 141024"/>
                  <a:gd name="connsiteY289" fmla="*/ 24258 h 100444"/>
                  <a:gd name="connsiteX290" fmla="*/ 58491 w 141024"/>
                  <a:gd name="connsiteY290" fmla="*/ 23852 h 100444"/>
                  <a:gd name="connsiteX291" fmla="*/ 58445 w 141024"/>
                  <a:gd name="connsiteY291" fmla="*/ 23623 h 100444"/>
                  <a:gd name="connsiteX292" fmla="*/ 58086 w 141024"/>
                  <a:gd name="connsiteY292" fmla="*/ 23712 h 100444"/>
                  <a:gd name="connsiteX293" fmla="*/ 57367 w 141024"/>
                  <a:gd name="connsiteY293" fmla="*/ 23623 h 100444"/>
                  <a:gd name="connsiteX294" fmla="*/ 57053 w 141024"/>
                  <a:gd name="connsiteY294" fmla="*/ 23763 h 100444"/>
                  <a:gd name="connsiteX295" fmla="*/ 57008 w 141024"/>
                  <a:gd name="connsiteY295" fmla="*/ 24118 h 100444"/>
                  <a:gd name="connsiteX296" fmla="*/ 57457 w 141024"/>
                  <a:gd name="connsiteY296" fmla="*/ 24398 h 100444"/>
                  <a:gd name="connsiteX297" fmla="*/ 57187 w 141024"/>
                  <a:gd name="connsiteY297" fmla="*/ 24791 h 100444"/>
                  <a:gd name="connsiteX298" fmla="*/ 57008 w 141024"/>
                  <a:gd name="connsiteY298" fmla="*/ 25020 h 100444"/>
                  <a:gd name="connsiteX299" fmla="*/ 56694 w 141024"/>
                  <a:gd name="connsiteY299" fmla="*/ 24931 h 100444"/>
                  <a:gd name="connsiteX300" fmla="*/ 56643 w 141024"/>
                  <a:gd name="connsiteY300" fmla="*/ 24703 h 100444"/>
                  <a:gd name="connsiteX301" fmla="*/ 56194 w 141024"/>
                  <a:gd name="connsiteY301" fmla="*/ 24525 h 100444"/>
                  <a:gd name="connsiteX302" fmla="*/ 56014 w 141024"/>
                  <a:gd name="connsiteY302" fmla="*/ 24157 h 100444"/>
                  <a:gd name="connsiteX303" fmla="*/ 55745 w 141024"/>
                  <a:gd name="connsiteY303" fmla="*/ 23801 h 100444"/>
                  <a:gd name="connsiteX304" fmla="*/ 55385 w 141024"/>
                  <a:gd name="connsiteY304" fmla="*/ 23661 h 100444"/>
                  <a:gd name="connsiteX305" fmla="*/ 55115 w 141024"/>
                  <a:gd name="connsiteY305" fmla="*/ 23572 h 100444"/>
                  <a:gd name="connsiteX306" fmla="*/ 55026 w 141024"/>
                  <a:gd name="connsiteY306" fmla="*/ 23039 h 100444"/>
                  <a:gd name="connsiteX307" fmla="*/ 54980 w 141024"/>
                  <a:gd name="connsiteY307" fmla="*/ 22721 h 100444"/>
                  <a:gd name="connsiteX308" fmla="*/ 54890 w 141024"/>
                  <a:gd name="connsiteY308" fmla="*/ 22226 h 100444"/>
                  <a:gd name="connsiteX309" fmla="*/ 55070 w 141024"/>
                  <a:gd name="connsiteY309" fmla="*/ 22048 h 100444"/>
                  <a:gd name="connsiteX310" fmla="*/ 55298 w 141024"/>
                  <a:gd name="connsiteY310" fmla="*/ 22048 h 100444"/>
                  <a:gd name="connsiteX311" fmla="*/ 55298 w 141024"/>
                  <a:gd name="connsiteY311" fmla="*/ 21324 h 100444"/>
                  <a:gd name="connsiteX312" fmla="*/ 55030 w 141024"/>
                  <a:gd name="connsiteY312" fmla="*/ 20918 h 100444"/>
                  <a:gd name="connsiteX313" fmla="*/ 54804 w 141024"/>
                  <a:gd name="connsiteY313" fmla="*/ 20651 h 100444"/>
                  <a:gd name="connsiteX314" fmla="*/ 54535 w 141024"/>
                  <a:gd name="connsiteY314" fmla="*/ 20562 h 100444"/>
                  <a:gd name="connsiteX315" fmla="*/ 54310 w 141024"/>
                  <a:gd name="connsiteY315" fmla="*/ 20613 h 100444"/>
                  <a:gd name="connsiteX316" fmla="*/ 54220 w 141024"/>
                  <a:gd name="connsiteY316" fmla="*/ 20296 h 100444"/>
                  <a:gd name="connsiteX317" fmla="*/ 54130 w 141024"/>
                  <a:gd name="connsiteY317" fmla="*/ 20118 h 100444"/>
                  <a:gd name="connsiteX318" fmla="*/ 53816 w 141024"/>
                  <a:gd name="connsiteY318" fmla="*/ 19927 h 100444"/>
                  <a:gd name="connsiteX319" fmla="*/ 53681 w 141024"/>
                  <a:gd name="connsiteY319" fmla="*/ 19394 h 100444"/>
                  <a:gd name="connsiteX320" fmla="*/ 53277 w 141024"/>
                  <a:gd name="connsiteY320" fmla="*/ 19039 h 100444"/>
                  <a:gd name="connsiteX321" fmla="*/ 52916 w 141024"/>
                  <a:gd name="connsiteY321" fmla="*/ 18492 h 100444"/>
                  <a:gd name="connsiteX322" fmla="*/ 53052 w 141024"/>
                  <a:gd name="connsiteY322" fmla="*/ 17946 h 100444"/>
                  <a:gd name="connsiteX323" fmla="*/ 52782 w 141024"/>
                  <a:gd name="connsiteY323" fmla="*/ 17680 h 100444"/>
                  <a:gd name="connsiteX324" fmla="*/ 52782 w 141024"/>
                  <a:gd name="connsiteY324" fmla="*/ 17413 h 100444"/>
                  <a:gd name="connsiteX325" fmla="*/ 52557 w 141024"/>
                  <a:gd name="connsiteY325" fmla="*/ 17324 h 100444"/>
                  <a:gd name="connsiteX326" fmla="*/ 52513 w 141024"/>
                  <a:gd name="connsiteY326" fmla="*/ 16968 h 100444"/>
                  <a:gd name="connsiteX327" fmla="*/ 52063 w 141024"/>
                  <a:gd name="connsiteY327" fmla="*/ 16600 h 100444"/>
                  <a:gd name="connsiteX328" fmla="*/ 51884 w 141024"/>
                  <a:gd name="connsiteY328" fmla="*/ 16333 h 100444"/>
                  <a:gd name="connsiteX329" fmla="*/ 51704 w 141024"/>
                  <a:gd name="connsiteY329" fmla="*/ 16156 h 100444"/>
                  <a:gd name="connsiteX330" fmla="*/ 51524 w 141024"/>
                  <a:gd name="connsiteY330" fmla="*/ 16016 h 100444"/>
                  <a:gd name="connsiteX331" fmla="*/ 51113 w 141024"/>
                  <a:gd name="connsiteY331" fmla="*/ 16016 h 100444"/>
                  <a:gd name="connsiteX332" fmla="*/ 50215 w 141024"/>
                  <a:gd name="connsiteY332" fmla="*/ 16245 h 100444"/>
                  <a:gd name="connsiteX333" fmla="*/ 49630 w 141024"/>
                  <a:gd name="connsiteY333" fmla="*/ 16829 h 100444"/>
                  <a:gd name="connsiteX334" fmla="*/ 49225 w 141024"/>
                  <a:gd name="connsiteY334" fmla="*/ 17184 h 100444"/>
                  <a:gd name="connsiteX335" fmla="*/ 48956 w 141024"/>
                  <a:gd name="connsiteY335" fmla="*/ 17768 h 100444"/>
                  <a:gd name="connsiteX336" fmla="*/ 48731 w 141024"/>
                  <a:gd name="connsiteY336" fmla="*/ 18086 h 100444"/>
                  <a:gd name="connsiteX337" fmla="*/ 48776 w 141024"/>
                  <a:gd name="connsiteY337" fmla="*/ 18264 h 100444"/>
                  <a:gd name="connsiteX338" fmla="*/ 48552 w 141024"/>
                  <a:gd name="connsiteY338" fmla="*/ 18441 h 100444"/>
                  <a:gd name="connsiteX339" fmla="*/ 47967 w 141024"/>
                  <a:gd name="connsiteY339" fmla="*/ 18937 h 100444"/>
                  <a:gd name="connsiteX340" fmla="*/ 47428 w 141024"/>
                  <a:gd name="connsiteY340" fmla="*/ 19216 h 100444"/>
                  <a:gd name="connsiteX341" fmla="*/ 47293 w 141024"/>
                  <a:gd name="connsiteY341" fmla="*/ 19394 h 100444"/>
                  <a:gd name="connsiteX342" fmla="*/ 47203 w 141024"/>
                  <a:gd name="connsiteY342" fmla="*/ 19801 h 100444"/>
                  <a:gd name="connsiteX343" fmla="*/ 46754 w 141024"/>
                  <a:gd name="connsiteY343" fmla="*/ 19661 h 100444"/>
                  <a:gd name="connsiteX344" fmla="*/ 46394 w 141024"/>
                  <a:gd name="connsiteY344" fmla="*/ 19750 h 100444"/>
                  <a:gd name="connsiteX345" fmla="*/ 45945 w 141024"/>
                  <a:gd name="connsiteY345" fmla="*/ 19801 h 100444"/>
                  <a:gd name="connsiteX346" fmla="*/ 45136 w 141024"/>
                  <a:gd name="connsiteY346" fmla="*/ 19750 h 100444"/>
                  <a:gd name="connsiteX347" fmla="*/ 43922 w 141024"/>
                  <a:gd name="connsiteY347" fmla="*/ 19801 h 100444"/>
                  <a:gd name="connsiteX348" fmla="*/ 42934 w 141024"/>
                  <a:gd name="connsiteY348" fmla="*/ 19978 h 100444"/>
                  <a:gd name="connsiteX349" fmla="*/ 42709 w 141024"/>
                  <a:gd name="connsiteY349" fmla="*/ 20118 h 100444"/>
                  <a:gd name="connsiteX350" fmla="*/ 43968 w 141024"/>
                  <a:gd name="connsiteY350" fmla="*/ 21096 h 100444"/>
                  <a:gd name="connsiteX351" fmla="*/ 44148 w 141024"/>
                  <a:gd name="connsiteY351" fmla="*/ 21375 h 100444"/>
                  <a:gd name="connsiteX352" fmla="*/ 44192 w 141024"/>
                  <a:gd name="connsiteY352" fmla="*/ 22277 h 100444"/>
                  <a:gd name="connsiteX353" fmla="*/ 44192 w 141024"/>
                  <a:gd name="connsiteY353" fmla="*/ 22912 h 100444"/>
                  <a:gd name="connsiteX354" fmla="*/ 44507 w 141024"/>
                  <a:gd name="connsiteY354" fmla="*/ 23445 h 100444"/>
                  <a:gd name="connsiteX355" fmla="*/ 44821 w 141024"/>
                  <a:gd name="connsiteY355" fmla="*/ 23623 h 100444"/>
                  <a:gd name="connsiteX356" fmla="*/ 45316 w 141024"/>
                  <a:gd name="connsiteY356" fmla="*/ 24080 h 100444"/>
                  <a:gd name="connsiteX357" fmla="*/ 45496 w 141024"/>
                  <a:gd name="connsiteY357" fmla="*/ 24487 h 100444"/>
                  <a:gd name="connsiteX358" fmla="*/ 45631 w 141024"/>
                  <a:gd name="connsiteY358" fmla="*/ 25287 h 100444"/>
                  <a:gd name="connsiteX359" fmla="*/ 46170 w 141024"/>
                  <a:gd name="connsiteY359" fmla="*/ 25566 h 100444"/>
                  <a:gd name="connsiteX360" fmla="*/ 46439 w 141024"/>
                  <a:gd name="connsiteY360" fmla="*/ 26011 h 100444"/>
                  <a:gd name="connsiteX361" fmla="*/ 46799 w 141024"/>
                  <a:gd name="connsiteY361" fmla="*/ 26468 h 100444"/>
                  <a:gd name="connsiteX362" fmla="*/ 47113 w 141024"/>
                  <a:gd name="connsiteY362" fmla="*/ 27268 h 100444"/>
                  <a:gd name="connsiteX363" fmla="*/ 47383 w 141024"/>
                  <a:gd name="connsiteY363" fmla="*/ 28309 h 100444"/>
                  <a:gd name="connsiteX364" fmla="*/ 47698 w 141024"/>
                  <a:gd name="connsiteY364" fmla="*/ 28487 h 100444"/>
                  <a:gd name="connsiteX365" fmla="*/ 47833 w 141024"/>
                  <a:gd name="connsiteY365" fmla="*/ 28576 h 100444"/>
                  <a:gd name="connsiteX366" fmla="*/ 47967 w 141024"/>
                  <a:gd name="connsiteY366" fmla="*/ 28665 h 100444"/>
                  <a:gd name="connsiteX367" fmla="*/ 48416 w 141024"/>
                  <a:gd name="connsiteY367" fmla="*/ 28538 h 100444"/>
                  <a:gd name="connsiteX368" fmla="*/ 48956 w 141024"/>
                  <a:gd name="connsiteY368" fmla="*/ 28449 h 100444"/>
                  <a:gd name="connsiteX369" fmla="*/ 49990 w 141024"/>
                  <a:gd name="connsiteY369" fmla="*/ 28221 h 100444"/>
                  <a:gd name="connsiteX370" fmla="*/ 50664 w 141024"/>
                  <a:gd name="connsiteY370" fmla="*/ 28132 h 100444"/>
                  <a:gd name="connsiteX371" fmla="*/ 51203 w 141024"/>
                  <a:gd name="connsiteY371" fmla="*/ 27903 h 100444"/>
                  <a:gd name="connsiteX372" fmla="*/ 51337 w 141024"/>
                  <a:gd name="connsiteY372" fmla="*/ 27408 h 100444"/>
                  <a:gd name="connsiteX373" fmla="*/ 51068 w 141024"/>
                  <a:gd name="connsiteY373" fmla="*/ 27179 h 100444"/>
                  <a:gd name="connsiteX374" fmla="*/ 50754 w 141024"/>
                  <a:gd name="connsiteY374" fmla="*/ 26912 h 100444"/>
                  <a:gd name="connsiteX375" fmla="*/ 50259 w 141024"/>
                  <a:gd name="connsiteY375" fmla="*/ 26417 h 100444"/>
                  <a:gd name="connsiteX376" fmla="*/ 50079 w 141024"/>
                  <a:gd name="connsiteY376" fmla="*/ 25922 h 100444"/>
                  <a:gd name="connsiteX377" fmla="*/ 50303 w 141024"/>
                  <a:gd name="connsiteY377" fmla="*/ 26151 h 100444"/>
                  <a:gd name="connsiteX378" fmla="*/ 50938 w 141024"/>
                  <a:gd name="connsiteY378" fmla="*/ 26684 h 100444"/>
                  <a:gd name="connsiteX379" fmla="*/ 51073 w 141024"/>
                  <a:gd name="connsiteY379" fmla="*/ 26557 h 100444"/>
                  <a:gd name="connsiteX380" fmla="*/ 50893 w 141024"/>
                  <a:gd name="connsiteY380" fmla="*/ 26100 h 100444"/>
                  <a:gd name="connsiteX381" fmla="*/ 50893 w 141024"/>
                  <a:gd name="connsiteY381" fmla="*/ 25693 h 100444"/>
                  <a:gd name="connsiteX382" fmla="*/ 51073 w 141024"/>
                  <a:gd name="connsiteY382" fmla="*/ 25884 h 100444"/>
                  <a:gd name="connsiteX383" fmla="*/ 51253 w 141024"/>
                  <a:gd name="connsiteY383" fmla="*/ 26151 h 100444"/>
                  <a:gd name="connsiteX384" fmla="*/ 51522 w 141024"/>
                  <a:gd name="connsiteY384" fmla="*/ 26277 h 100444"/>
                  <a:gd name="connsiteX385" fmla="*/ 51612 w 141024"/>
                  <a:gd name="connsiteY385" fmla="*/ 25884 h 100444"/>
                  <a:gd name="connsiteX386" fmla="*/ 51747 w 141024"/>
                  <a:gd name="connsiteY386" fmla="*/ 25744 h 100444"/>
                  <a:gd name="connsiteX387" fmla="*/ 51973 w 141024"/>
                  <a:gd name="connsiteY387" fmla="*/ 25884 h 100444"/>
                  <a:gd name="connsiteX388" fmla="*/ 52242 w 141024"/>
                  <a:gd name="connsiteY388" fmla="*/ 26011 h 100444"/>
                  <a:gd name="connsiteX389" fmla="*/ 52556 w 141024"/>
                  <a:gd name="connsiteY389" fmla="*/ 26277 h 100444"/>
                  <a:gd name="connsiteX390" fmla="*/ 52466 w 141024"/>
                  <a:gd name="connsiteY390" fmla="*/ 26557 h 100444"/>
                  <a:gd name="connsiteX391" fmla="*/ 52151 w 141024"/>
                  <a:gd name="connsiteY391" fmla="*/ 26735 h 100444"/>
                  <a:gd name="connsiteX392" fmla="*/ 51837 w 141024"/>
                  <a:gd name="connsiteY392" fmla="*/ 26862 h 100444"/>
                  <a:gd name="connsiteX393" fmla="*/ 51568 w 141024"/>
                  <a:gd name="connsiteY393" fmla="*/ 27001 h 100444"/>
                  <a:gd name="connsiteX394" fmla="*/ 51612 w 141024"/>
                  <a:gd name="connsiteY394" fmla="*/ 27230 h 100444"/>
                  <a:gd name="connsiteX395" fmla="*/ 51568 w 141024"/>
                  <a:gd name="connsiteY395" fmla="*/ 27408 h 100444"/>
                  <a:gd name="connsiteX396" fmla="*/ 51657 w 141024"/>
                  <a:gd name="connsiteY396" fmla="*/ 27636 h 100444"/>
                  <a:gd name="connsiteX397" fmla="*/ 51657 w 141024"/>
                  <a:gd name="connsiteY397" fmla="*/ 27941 h 100444"/>
                  <a:gd name="connsiteX398" fmla="*/ 52107 w 141024"/>
                  <a:gd name="connsiteY398" fmla="*/ 27941 h 100444"/>
                  <a:gd name="connsiteX399" fmla="*/ 52332 w 141024"/>
                  <a:gd name="connsiteY399" fmla="*/ 28132 h 100444"/>
                  <a:gd name="connsiteX400" fmla="*/ 52151 w 141024"/>
                  <a:gd name="connsiteY400" fmla="*/ 28221 h 100444"/>
                  <a:gd name="connsiteX401" fmla="*/ 52151 w 141024"/>
                  <a:gd name="connsiteY401" fmla="*/ 28347 h 100444"/>
                  <a:gd name="connsiteX402" fmla="*/ 53320 w 141024"/>
                  <a:gd name="connsiteY402" fmla="*/ 28259 h 100444"/>
                  <a:gd name="connsiteX403" fmla="*/ 53051 w 141024"/>
                  <a:gd name="connsiteY403" fmla="*/ 27941 h 100444"/>
                  <a:gd name="connsiteX404" fmla="*/ 53410 w 141024"/>
                  <a:gd name="connsiteY404" fmla="*/ 27585 h 100444"/>
                  <a:gd name="connsiteX405" fmla="*/ 53634 w 141024"/>
                  <a:gd name="connsiteY405" fmla="*/ 27497 h 100444"/>
                  <a:gd name="connsiteX406" fmla="*/ 53634 w 141024"/>
                  <a:gd name="connsiteY406" fmla="*/ 27763 h 100444"/>
                  <a:gd name="connsiteX407" fmla="*/ 53724 w 141024"/>
                  <a:gd name="connsiteY407" fmla="*/ 28081 h 100444"/>
                  <a:gd name="connsiteX408" fmla="*/ 54039 w 141024"/>
                  <a:gd name="connsiteY408" fmla="*/ 28538 h 100444"/>
                  <a:gd name="connsiteX409" fmla="*/ 54534 w 141024"/>
                  <a:gd name="connsiteY409" fmla="*/ 28754 h 100444"/>
                  <a:gd name="connsiteX410" fmla="*/ 55432 w 141024"/>
                  <a:gd name="connsiteY410" fmla="*/ 29160 h 100444"/>
                  <a:gd name="connsiteX411" fmla="*/ 55657 w 141024"/>
                  <a:gd name="connsiteY411" fmla="*/ 29478 h 100444"/>
                  <a:gd name="connsiteX412" fmla="*/ 55792 w 141024"/>
                  <a:gd name="connsiteY412" fmla="*/ 29744 h 100444"/>
                  <a:gd name="connsiteX413" fmla="*/ 56016 w 141024"/>
                  <a:gd name="connsiteY413" fmla="*/ 29833 h 100444"/>
                  <a:gd name="connsiteX414" fmla="*/ 56467 w 141024"/>
                  <a:gd name="connsiteY414" fmla="*/ 29833 h 100444"/>
                  <a:gd name="connsiteX415" fmla="*/ 56826 w 141024"/>
                  <a:gd name="connsiteY415" fmla="*/ 29529 h 100444"/>
                  <a:gd name="connsiteX416" fmla="*/ 57365 w 141024"/>
                  <a:gd name="connsiteY416" fmla="*/ 29249 h 100444"/>
                  <a:gd name="connsiteX417" fmla="*/ 57949 w 141024"/>
                  <a:gd name="connsiteY417" fmla="*/ 29211 h 100444"/>
                  <a:gd name="connsiteX418" fmla="*/ 58710 w 141024"/>
                  <a:gd name="connsiteY418" fmla="*/ 28983 h 100444"/>
                  <a:gd name="connsiteX419" fmla="*/ 58981 w 141024"/>
                  <a:gd name="connsiteY419" fmla="*/ 29211 h 100444"/>
                  <a:gd name="connsiteX420" fmla="*/ 58935 w 141024"/>
                  <a:gd name="connsiteY420" fmla="*/ 29478 h 100444"/>
                  <a:gd name="connsiteX421" fmla="*/ 59025 w 141024"/>
                  <a:gd name="connsiteY421" fmla="*/ 29656 h 100444"/>
                  <a:gd name="connsiteX422" fmla="*/ 59340 w 141024"/>
                  <a:gd name="connsiteY422" fmla="*/ 29567 h 100444"/>
                  <a:gd name="connsiteX423" fmla="*/ 59609 w 141024"/>
                  <a:gd name="connsiteY423" fmla="*/ 29300 h 100444"/>
                  <a:gd name="connsiteX424" fmla="*/ 60328 w 141024"/>
                  <a:gd name="connsiteY424" fmla="*/ 28627 h 100444"/>
                  <a:gd name="connsiteX425" fmla="*/ 60642 w 141024"/>
                  <a:gd name="connsiteY425" fmla="*/ 28259 h 100444"/>
                  <a:gd name="connsiteX426" fmla="*/ 13726 w 141024"/>
                  <a:gd name="connsiteY426" fmla="*/ 2566 h 100444"/>
                  <a:gd name="connsiteX427" fmla="*/ 13636 w 141024"/>
                  <a:gd name="connsiteY427" fmla="*/ 2300 h 100444"/>
                  <a:gd name="connsiteX428" fmla="*/ 13546 w 141024"/>
                  <a:gd name="connsiteY428" fmla="*/ 1982 h 100444"/>
                  <a:gd name="connsiteX429" fmla="*/ 13456 w 141024"/>
                  <a:gd name="connsiteY429" fmla="*/ 1576 h 100444"/>
                  <a:gd name="connsiteX430" fmla="*/ 13231 w 141024"/>
                  <a:gd name="connsiteY430" fmla="*/ 1538 h 100444"/>
                  <a:gd name="connsiteX431" fmla="*/ 12871 w 141024"/>
                  <a:gd name="connsiteY431" fmla="*/ 1169 h 100444"/>
                  <a:gd name="connsiteX432" fmla="*/ 12692 w 141024"/>
                  <a:gd name="connsiteY432" fmla="*/ 674 h 100444"/>
                  <a:gd name="connsiteX433" fmla="*/ 12152 w 141024"/>
                  <a:gd name="connsiteY433" fmla="*/ 408 h 100444"/>
                  <a:gd name="connsiteX434" fmla="*/ 11703 w 141024"/>
                  <a:gd name="connsiteY434" fmla="*/ 408 h 100444"/>
                  <a:gd name="connsiteX435" fmla="*/ 11254 w 141024"/>
                  <a:gd name="connsiteY435" fmla="*/ 230 h 100444"/>
                  <a:gd name="connsiteX436" fmla="*/ 10939 w 141024"/>
                  <a:gd name="connsiteY436" fmla="*/ 1 h 100444"/>
                  <a:gd name="connsiteX437" fmla="*/ 10715 w 141024"/>
                  <a:gd name="connsiteY437" fmla="*/ 230 h 100444"/>
                  <a:gd name="connsiteX438" fmla="*/ 10400 w 141024"/>
                  <a:gd name="connsiteY438" fmla="*/ 408 h 100444"/>
                  <a:gd name="connsiteX439" fmla="*/ 10130 w 141024"/>
                  <a:gd name="connsiteY439" fmla="*/ 458 h 100444"/>
                  <a:gd name="connsiteX440" fmla="*/ 9815 w 141024"/>
                  <a:gd name="connsiteY440" fmla="*/ 281 h 100444"/>
                  <a:gd name="connsiteX441" fmla="*/ 9142 w 141024"/>
                  <a:gd name="connsiteY441" fmla="*/ 281 h 100444"/>
                  <a:gd name="connsiteX442" fmla="*/ 8647 w 141024"/>
                  <a:gd name="connsiteY442" fmla="*/ 179 h 100444"/>
                  <a:gd name="connsiteX443" fmla="*/ 8108 w 141024"/>
                  <a:gd name="connsiteY443" fmla="*/ 370 h 100444"/>
                  <a:gd name="connsiteX444" fmla="*/ 8018 w 141024"/>
                  <a:gd name="connsiteY444" fmla="*/ 585 h 100444"/>
                  <a:gd name="connsiteX445" fmla="*/ 8108 w 141024"/>
                  <a:gd name="connsiteY445" fmla="*/ 814 h 100444"/>
                  <a:gd name="connsiteX446" fmla="*/ 7884 w 141024"/>
                  <a:gd name="connsiteY446" fmla="*/ 865 h 100444"/>
                  <a:gd name="connsiteX447" fmla="*/ 7614 w 141024"/>
                  <a:gd name="connsiteY447" fmla="*/ 674 h 100444"/>
                  <a:gd name="connsiteX448" fmla="*/ 7255 w 141024"/>
                  <a:gd name="connsiteY448" fmla="*/ 547 h 100444"/>
                  <a:gd name="connsiteX449" fmla="*/ 7030 w 141024"/>
                  <a:gd name="connsiteY449" fmla="*/ 547 h 100444"/>
                  <a:gd name="connsiteX450" fmla="*/ 6940 w 141024"/>
                  <a:gd name="connsiteY450" fmla="*/ 319 h 100444"/>
                  <a:gd name="connsiteX451" fmla="*/ 6715 w 141024"/>
                  <a:gd name="connsiteY451" fmla="*/ 141 h 100444"/>
                  <a:gd name="connsiteX452" fmla="*/ 6445 w 141024"/>
                  <a:gd name="connsiteY452" fmla="*/ 90 h 100444"/>
                  <a:gd name="connsiteX453" fmla="*/ 6221 w 141024"/>
                  <a:gd name="connsiteY453" fmla="*/ 319 h 100444"/>
                  <a:gd name="connsiteX454" fmla="*/ 5906 w 141024"/>
                  <a:gd name="connsiteY454" fmla="*/ 319 h 100444"/>
                  <a:gd name="connsiteX455" fmla="*/ 5546 w 141024"/>
                  <a:gd name="connsiteY455" fmla="*/ 458 h 100444"/>
                  <a:gd name="connsiteX456" fmla="*/ 5322 w 141024"/>
                  <a:gd name="connsiteY456" fmla="*/ 763 h 100444"/>
                  <a:gd name="connsiteX457" fmla="*/ 4648 w 141024"/>
                  <a:gd name="connsiteY457" fmla="*/ 1081 h 100444"/>
                  <a:gd name="connsiteX458" fmla="*/ 4153 w 141024"/>
                  <a:gd name="connsiteY458" fmla="*/ 1538 h 100444"/>
                  <a:gd name="connsiteX459" fmla="*/ 3344 w 141024"/>
                  <a:gd name="connsiteY459" fmla="*/ 2033 h 100444"/>
                  <a:gd name="connsiteX460" fmla="*/ 2583 w 141024"/>
                  <a:gd name="connsiteY460" fmla="*/ 2211 h 100444"/>
                  <a:gd name="connsiteX461" fmla="*/ 1949 w 141024"/>
                  <a:gd name="connsiteY461" fmla="*/ 2389 h 100444"/>
                  <a:gd name="connsiteX462" fmla="*/ 1769 w 141024"/>
                  <a:gd name="connsiteY462" fmla="*/ 2706 h 100444"/>
                  <a:gd name="connsiteX463" fmla="*/ 1679 w 141024"/>
                  <a:gd name="connsiteY463" fmla="*/ 2795 h 100444"/>
                  <a:gd name="connsiteX464" fmla="*/ 1500 w 141024"/>
                  <a:gd name="connsiteY464" fmla="*/ 2884 h 100444"/>
                  <a:gd name="connsiteX465" fmla="*/ 1454 w 141024"/>
                  <a:gd name="connsiteY465" fmla="*/ 3113 h 100444"/>
                  <a:gd name="connsiteX466" fmla="*/ 1454 w 141024"/>
                  <a:gd name="connsiteY466" fmla="*/ 3379 h 100444"/>
                  <a:gd name="connsiteX467" fmla="*/ 1410 w 141024"/>
                  <a:gd name="connsiteY467" fmla="*/ 3697 h 100444"/>
                  <a:gd name="connsiteX468" fmla="*/ 1005 w 141024"/>
                  <a:gd name="connsiteY468" fmla="*/ 4192 h 100444"/>
                  <a:gd name="connsiteX469" fmla="*/ 244 w 141024"/>
                  <a:gd name="connsiteY469" fmla="*/ 5094 h 100444"/>
                  <a:gd name="connsiteX470" fmla="*/ -26 w 141024"/>
                  <a:gd name="connsiteY470" fmla="*/ 5183 h 100444"/>
                  <a:gd name="connsiteX471" fmla="*/ 20 w 141024"/>
                  <a:gd name="connsiteY471" fmla="*/ 5449 h 100444"/>
                  <a:gd name="connsiteX472" fmla="*/ -26 w 141024"/>
                  <a:gd name="connsiteY472" fmla="*/ 5805 h 100444"/>
                  <a:gd name="connsiteX473" fmla="*/ -26 w 141024"/>
                  <a:gd name="connsiteY473" fmla="*/ 6618 h 100444"/>
                  <a:gd name="connsiteX474" fmla="*/ 154 w 141024"/>
                  <a:gd name="connsiteY474" fmla="*/ 6885 h 100444"/>
                  <a:gd name="connsiteX475" fmla="*/ 423 w 141024"/>
                  <a:gd name="connsiteY475" fmla="*/ 7024 h 100444"/>
                  <a:gd name="connsiteX476" fmla="*/ 469 w 141024"/>
                  <a:gd name="connsiteY476" fmla="*/ 7342 h 100444"/>
                  <a:gd name="connsiteX477" fmla="*/ 737 w 141024"/>
                  <a:gd name="connsiteY477" fmla="*/ 7837 h 100444"/>
                  <a:gd name="connsiteX478" fmla="*/ 1188 w 141024"/>
                  <a:gd name="connsiteY478" fmla="*/ 8015 h 100444"/>
                  <a:gd name="connsiteX479" fmla="*/ 1771 w 141024"/>
                  <a:gd name="connsiteY479" fmla="*/ 8104 h 100444"/>
                  <a:gd name="connsiteX480" fmla="*/ 2086 w 141024"/>
                  <a:gd name="connsiteY480" fmla="*/ 8282 h 100444"/>
                  <a:gd name="connsiteX481" fmla="*/ 2536 w 141024"/>
                  <a:gd name="connsiteY481" fmla="*/ 8459 h 100444"/>
                  <a:gd name="connsiteX482" fmla="*/ 3120 w 141024"/>
                  <a:gd name="connsiteY482" fmla="*/ 8561 h 100444"/>
                  <a:gd name="connsiteX483" fmla="*/ 3390 w 141024"/>
                  <a:gd name="connsiteY483" fmla="*/ 8688 h 100444"/>
                  <a:gd name="connsiteX484" fmla="*/ 3524 w 141024"/>
                  <a:gd name="connsiteY484" fmla="*/ 8955 h 100444"/>
                  <a:gd name="connsiteX485" fmla="*/ 3839 w 141024"/>
                  <a:gd name="connsiteY485" fmla="*/ 9005 h 100444"/>
                  <a:gd name="connsiteX486" fmla="*/ 3973 w 141024"/>
                  <a:gd name="connsiteY486" fmla="*/ 9272 h 100444"/>
                  <a:gd name="connsiteX487" fmla="*/ 4063 w 141024"/>
                  <a:gd name="connsiteY487" fmla="*/ 9539 h 100444"/>
                  <a:gd name="connsiteX488" fmla="*/ 4288 w 141024"/>
                  <a:gd name="connsiteY488" fmla="*/ 9818 h 100444"/>
                  <a:gd name="connsiteX489" fmla="*/ 4602 w 141024"/>
                  <a:gd name="connsiteY489" fmla="*/ 10085 h 100444"/>
                  <a:gd name="connsiteX490" fmla="*/ 4963 w 141024"/>
                  <a:gd name="connsiteY490" fmla="*/ 10263 h 100444"/>
                  <a:gd name="connsiteX491" fmla="*/ 5141 w 141024"/>
                  <a:gd name="connsiteY491" fmla="*/ 10491 h 100444"/>
                  <a:gd name="connsiteX492" fmla="*/ 5367 w 141024"/>
                  <a:gd name="connsiteY492" fmla="*/ 10441 h 100444"/>
                  <a:gd name="connsiteX493" fmla="*/ 5412 w 141024"/>
                  <a:gd name="connsiteY493" fmla="*/ 10225 h 100444"/>
                  <a:gd name="connsiteX494" fmla="*/ 5546 w 141024"/>
                  <a:gd name="connsiteY494" fmla="*/ 10174 h 100444"/>
                  <a:gd name="connsiteX495" fmla="*/ 5771 w 141024"/>
                  <a:gd name="connsiteY495" fmla="*/ 10402 h 100444"/>
                  <a:gd name="connsiteX496" fmla="*/ 6175 w 141024"/>
                  <a:gd name="connsiteY496" fmla="*/ 10441 h 100444"/>
                  <a:gd name="connsiteX497" fmla="*/ 7255 w 141024"/>
                  <a:gd name="connsiteY497" fmla="*/ 10669 h 100444"/>
                  <a:gd name="connsiteX498" fmla="*/ 7838 w 141024"/>
                  <a:gd name="connsiteY498" fmla="*/ 10669 h 100444"/>
                  <a:gd name="connsiteX499" fmla="*/ 8599 w 141024"/>
                  <a:gd name="connsiteY499" fmla="*/ 10720 h 100444"/>
                  <a:gd name="connsiteX500" fmla="*/ 9857 w 141024"/>
                  <a:gd name="connsiteY500" fmla="*/ 11164 h 100444"/>
                  <a:gd name="connsiteX501" fmla="*/ 9992 w 141024"/>
                  <a:gd name="connsiteY501" fmla="*/ 11025 h 100444"/>
                  <a:gd name="connsiteX502" fmla="*/ 10172 w 141024"/>
                  <a:gd name="connsiteY502" fmla="*/ 10847 h 100444"/>
                  <a:gd name="connsiteX503" fmla="*/ 10487 w 141024"/>
                  <a:gd name="connsiteY503" fmla="*/ 10809 h 100444"/>
                  <a:gd name="connsiteX504" fmla="*/ 10487 w 141024"/>
                  <a:gd name="connsiteY504" fmla="*/ 10580 h 100444"/>
                  <a:gd name="connsiteX505" fmla="*/ 10980 w 141024"/>
                  <a:gd name="connsiteY505" fmla="*/ 10313 h 100444"/>
                  <a:gd name="connsiteX506" fmla="*/ 11206 w 141024"/>
                  <a:gd name="connsiteY506" fmla="*/ 10085 h 100444"/>
                  <a:gd name="connsiteX507" fmla="*/ 11430 w 141024"/>
                  <a:gd name="connsiteY507" fmla="*/ 9729 h 100444"/>
                  <a:gd name="connsiteX508" fmla="*/ 11924 w 141024"/>
                  <a:gd name="connsiteY508" fmla="*/ 9272 h 100444"/>
                  <a:gd name="connsiteX509" fmla="*/ 12238 w 141024"/>
                  <a:gd name="connsiteY509" fmla="*/ 9323 h 100444"/>
                  <a:gd name="connsiteX510" fmla="*/ 12418 w 141024"/>
                  <a:gd name="connsiteY510" fmla="*/ 9132 h 100444"/>
                  <a:gd name="connsiteX511" fmla="*/ 12284 w 141024"/>
                  <a:gd name="connsiteY511" fmla="*/ 8866 h 100444"/>
                  <a:gd name="connsiteX512" fmla="*/ 12104 w 141024"/>
                  <a:gd name="connsiteY512" fmla="*/ 8637 h 100444"/>
                  <a:gd name="connsiteX513" fmla="*/ 12418 w 141024"/>
                  <a:gd name="connsiteY513" fmla="*/ 8459 h 100444"/>
                  <a:gd name="connsiteX514" fmla="*/ 12823 w 141024"/>
                  <a:gd name="connsiteY514" fmla="*/ 8459 h 100444"/>
                  <a:gd name="connsiteX515" fmla="*/ 12867 w 141024"/>
                  <a:gd name="connsiteY515" fmla="*/ 8243 h 100444"/>
                  <a:gd name="connsiteX516" fmla="*/ 12913 w 141024"/>
                  <a:gd name="connsiteY516" fmla="*/ 7659 h 100444"/>
                  <a:gd name="connsiteX517" fmla="*/ 12867 w 141024"/>
                  <a:gd name="connsiteY517" fmla="*/ 7075 h 100444"/>
                  <a:gd name="connsiteX518" fmla="*/ 12779 w 141024"/>
                  <a:gd name="connsiteY518" fmla="*/ 6529 h 100444"/>
                  <a:gd name="connsiteX519" fmla="*/ 12823 w 141024"/>
                  <a:gd name="connsiteY519" fmla="*/ 5678 h 100444"/>
                  <a:gd name="connsiteX520" fmla="*/ 13228 w 141024"/>
                  <a:gd name="connsiteY520" fmla="*/ 5449 h 100444"/>
                  <a:gd name="connsiteX521" fmla="*/ 13632 w 141024"/>
                  <a:gd name="connsiteY521" fmla="*/ 4281 h 100444"/>
                  <a:gd name="connsiteX522" fmla="*/ 13901 w 141024"/>
                  <a:gd name="connsiteY522" fmla="*/ 3926 h 100444"/>
                  <a:gd name="connsiteX523" fmla="*/ 13991 w 141024"/>
                  <a:gd name="connsiteY523" fmla="*/ 3062 h 100444"/>
                  <a:gd name="connsiteX524" fmla="*/ 13991 w 141024"/>
                  <a:gd name="connsiteY524" fmla="*/ 2744 h 1004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</a:cxnLst>
                <a:rect l="l" t="t" r="r" b="b"/>
                <a:pathLst>
                  <a:path w="141024" h="100444">
                    <a:moveTo>
                      <a:pt x="140681" y="81853"/>
                    </a:moveTo>
                    <a:lnTo>
                      <a:pt x="140096" y="81307"/>
                    </a:lnTo>
                    <a:lnTo>
                      <a:pt x="138574" y="80684"/>
                    </a:lnTo>
                    <a:lnTo>
                      <a:pt x="137136" y="79325"/>
                    </a:lnTo>
                    <a:lnTo>
                      <a:pt x="136687" y="78563"/>
                    </a:lnTo>
                    <a:lnTo>
                      <a:pt x="136282" y="77801"/>
                    </a:lnTo>
                    <a:lnTo>
                      <a:pt x="136416" y="76493"/>
                    </a:lnTo>
                    <a:lnTo>
                      <a:pt x="136012" y="75858"/>
                    </a:lnTo>
                    <a:lnTo>
                      <a:pt x="135204" y="75274"/>
                    </a:lnTo>
                    <a:lnTo>
                      <a:pt x="134124" y="75820"/>
                    </a:lnTo>
                    <a:lnTo>
                      <a:pt x="133316" y="75858"/>
                    </a:lnTo>
                    <a:lnTo>
                      <a:pt x="133226" y="74601"/>
                    </a:lnTo>
                    <a:lnTo>
                      <a:pt x="133271" y="73026"/>
                    </a:lnTo>
                    <a:lnTo>
                      <a:pt x="133271" y="71858"/>
                    </a:lnTo>
                    <a:lnTo>
                      <a:pt x="132461" y="70778"/>
                    </a:lnTo>
                    <a:lnTo>
                      <a:pt x="130979" y="69254"/>
                    </a:lnTo>
                    <a:lnTo>
                      <a:pt x="129630" y="68403"/>
                    </a:lnTo>
                    <a:lnTo>
                      <a:pt x="126304" y="66282"/>
                    </a:lnTo>
                    <a:lnTo>
                      <a:pt x="123788" y="64974"/>
                    </a:lnTo>
                    <a:lnTo>
                      <a:pt x="121811" y="64263"/>
                    </a:lnTo>
                    <a:lnTo>
                      <a:pt x="120778" y="63895"/>
                    </a:lnTo>
                    <a:lnTo>
                      <a:pt x="119744" y="63806"/>
                    </a:lnTo>
                    <a:lnTo>
                      <a:pt x="119110" y="63984"/>
                    </a:lnTo>
                    <a:lnTo>
                      <a:pt x="118525" y="63539"/>
                    </a:lnTo>
                    <a:lnTo>
                      <a:pt x="117852" y="63222"/>
                    </a:lnTo>
                    <a:lnTo>
                      <a:pt x="117357" y="62638"/>
                    </a:lnTo>
                    <a:lnTo>
                      <a:pt x="116638" y="62231"/>
                    </a:lnTo>
                    <a:lnTo>
                      <a:pt x="115560" y="61787"/>
                    </a:lnTo>
                    <a:lnTo>
                      <a:pt x="115065" y="61025"/>
                    </a:lnTo>
                    <a:lnTo>
                      <a:pt x="115065" y="60707"/>
                    </a:lnTo>
                    <a:lnTo>
                      <a:pt x="114931" y="60479"/>
                    </a:lnTo>
                    <a:lnTo>
                      <a:pt x="114795" y="60352"/>
                    </a:lnTo>
                    <a:lnTo>
                      <a:pt x="113987" y="60174"/>
                    </a:lnTo>
                    <a:lnTo>
                      <a:pt x="112144" y="59767"/>
                    </a:lnTo>
                    <a:lnTo>
                      <a:pt x="111109" y="59767"/>
                    </a:lnTo>
                    <a:lnTo>
                      <a:pt x="110750" y="60072"/>
                    </a:lnTo>
                    <a:lnTo>
                      <a:pt x="110211" y="61164"/>
                    </a:lnTo>
                    <a:lnTo>
                      <a:pt x="110211" y="62142"/>
                    </a:lnTo>
                    <a:lnTo>
                      <a:pt x="110300" y="63184"/>
                    </a:lnTo>
                    <a:lnTo>
                      <a:pt x="110704" y="64530"/>
                    </a:lnTo>
                    <a:lnTo>
                      <a:pt x="111694" y="66016"/>
                    </a:lnTo>
                    <a:lnTo>
                      <a:pt x="112143" y="66511"/>
                    </a:lnTo>
                    <a:lnTo>
                      <a:pt x="112367" y="67057"/>
                    </a:lnTo>
                    <a:lnTo>
                      <a:pt x="112233" y="67463"/>
                    </a:lnTo>
                    <a:lnTo>
                      <a:pt x="112053" y="68403"/>
                    </a:lnTo>
                    <a:lnTo>
                      <a:pt x="111604" y="68403"/>
                    </a:lnTo>
                    <a:lnTo>
                      <a:pt x="110969" y="69127"/>
                    </a:lnTo>
                    <a:lnTo>
                      <a:pt x="110295" y="70296"/>
                    </a:lnTo>
                    <a:lnTo>
                      <a:pt x="110026" y="70601"/>
                    </a:lnTo>
                    <a:lnTo>
                      <a:pt x="109441" y="71591"/>
                    </a:lnTo>
                    <a:lnTo>
                      <a:pt x="108273" y="72048"/>
                    </a:lnTo>
                    <a:lnTo>
                      <a:pt x="107868" y="72366"/>
                    </a:lnTo>
                    <a:lnTo>
                      <a:pt x="107734" y="72950"/>
                    </a:lnTo>
                    <a:lnTo>
                      <a:pt x="107463" y="73267"/>
                    </a:lnTo>
                    <a:lnTo>
                      <a:pt x="106880" y="73674"/>
                    </a:lnTo>
                    <a:lnTo>
                      <a:pt x="106246" y="74207"/>
                    </a:lnTo>
                    <a:lnTo>
                      <a:pt x="105931" y="74880"/>
                    </a:lnTo>
                    <a:lnTo>
                      <a:pt x="105661" y="75731"/>
                    </a:lnTo>
                    <a:lnTo>
                      <a:pt x="106336" y="77624"/>
                    </a:lnTo>
                    <a:lnTo>
                      <a:pt x="106919" y="78386"/>
                    </a:lnTo>
                    <a:lnTo>
                      <a:pt x="107368" y="78703"/>
                    </a:lnTo>
                    <a:lnTo>
                      <a:pt x="107863" y="79427"/>
                    </a:lnTo>
                    <a:lnTo>
                      <a:pt x="108178" y="80278"/>
                    </a:lnTo>
                    <a:lnTo>
                      <a:pt x="108313" y="80951"/>
                    </a:lnTo>
                    <a:lnTo>
                      <a:pt x="108672" y="81586"/>
                    </a:lnTo>
                    <a:lnTo>
                      <a:pt x="108582" y="82259"/>
                    </a:lnTo>
                    <a:lnTo>
                      <a:pt x="108852" y="82843"/>
                    </a:lnTo>
                    <a:lnTo>
                      <a:pt x="109167" y="83250"/>
                    </a:lnTo>
                    <a:lnTo>
                      <a:pt x="109346" y="83834"/>
                    </a:lnTo>
                    <a:lnTo>
                      <a:pt x="109840" y="85231"/>
                    </a:lnTo>
                    <a:lnTo>
                      <a:pt x="110155" y="86183"/>
                    </a:lnTo>
                    <a:lnTo>
                      <a:pt x="110560" y="86894"/>
                    </a:lnTo>
                    <a:lnTo>
                      <a:pt x="110604" y="87618"/>
                    </a:lnTo>
                    <a:lnTo>
                      <a:pt x="109970" y="91987"/>
                    </a:lnTo>
                    <a:lnTo>
                      <a:pt x="109611" y="93473"/>
                    </a:lnTo>
                    <a:lnTo>
                      <a:pt x="109835" y="94781"/>
                    </a:lnTo>
                    <a:lnTo>
                      <a:pt x="110060" y="95543"/>
                    </a:lnTo>
                    <a:lnTo>
                      <a:pt x="110420" y="95670"/>
                    </a:lnTo>
                    <a:lnTo>
                      <a:pt x="110645" y="96216"/>
                    </a:lnTo>
                    <a:lnTo>
                      <a:pt x="110825" y="96750"/>
                    </a:lnTo>
                    <a:lnTo>
                      <a:pt x="111364" y="96928"/>
                    </a:lnTo>
                    <a:lnTo>
                      <a:pt x="112532" y="97245"/>
                    </a:lnTo>
                    <a:lnTo>
                      <a:pt x="113251" y="97702"/>
                    </a:lnTo>
                    <a:lnTo>
                      <a:pt x="114600" y="98553"/>
                    </a:lnTo>
                    <a:lnTo>
                      <a:pt x="115723" y="99137"/>
                    </a:lnTo>
                    <a:lnTo>
                      <a:pt x="116358" y="99633"/>
                    </a:lnTo>
                    <a:lnTo>
                      <a:pt x="116313" y="100268"/>
                    </a:lnTo>
                    <a:lnTo>
                      <a:pt x="116583" y="100445"/>
                    </a:lnTo>
                    <a:lnTo>
                      <a:pt x="117257" y="99811"/>
                    </a:lnTo>
                    <a:lnTo>
                      <a:pt x="117752" y="99404"/>
                    </a:lnTo>
                    <a:lnTo>
                      <a:pt x="118156" y="98960"/>
                    </a:lnTo>
                    <a:lnTo>
                      <a:pt x="118650" y="97702"/>
                    </a:lnTo>
                    <a:lnTo>
                      <a:pt x="119549" y="96839"/>
                    </a:lnTo>
                    <a:lnTo>
                      <a:pt x="120044" y="96254"/>
                    </a:lnTo>
                    <a:lnTo>
                      <a:pt x="119998" y="95175"/>
                    </a:lnTo>
                    <a:lnTo>
                      <a:pt x="120224" y="94680"/>
                    </a:lnTo>
                    <a:lnTo>
                      <a:pt x="121436" y="93511"/>
                    </a:lnTo>
                    <a:lnTo>
                      <a:pt x="121885" y="93384"/>
                    </a:lnTo>
                    <a:lnTo>
                      <a:pt x="123324" y="92571"/>
                    </a:lnTo>
                    <a:lnTo>
                      <a:pt x="123728" y="92254"/>
                    </a:lnTo>
                    <a:lnTo>
                      <a:pt x="124363" y="91847"/>
                    </a:lnTo>
                    <a:lnTo>
                      <a:pt x="124812" y="91619"/>
                    </a:lnTo>
                    <a:lnTo>
                      <a:pt x="125396" y="91530"/>
                    </a:lnTo>
                    <a:lnTo>
                      <a:pt x="125935" y="90895"/>
                    </a:lnTo>
                    <a:lnTo>
                      <a:pt x="126789" y="90260"/>
                    </a:lnTo>
                    <a:lnTo>
                      <a:pt x="127464" y="89854"/>
                    </a:lnTo>
                    <a:lnTo>
                      <a:pt x="128098" y="89676"/>
                    </a:lnTo>
                    <a:lnTo>
                      <a:pt x="128772" y="89676"/>
                    </a:lnTo>
                    <a:lnTo>
                      <a:pt x="129985" y="89993"/>
                    </a:lnTo>
                    <a:lnTo>
                      <a:pt x="131381" y="89587"/>
                    </a:lnTo>
                    <a:lnTo>
                      <a:pt x="133088" y="89054"/>
                    </a:lnTo>
                    <a:lnTo>
                      <a:pt x="133943" y="88419"/>
                    </a:lnTo>
                    <a:lnTo>
                      <a:pt x="134975" y="88139"/>
                    </a:lnTo>
                    <a:lnTo>
                      <a:pt x="135021" y="87822"/>
                    </a:lnTo>
                    <a:lnTo>
                      <a:pt x="136235" y="87466"/>
                    </a:lnTo>
                    <a:lnTo>
                      <a:pt x="138032" y="85714"/>
                    </a:lnTo>
                    <a:lnTo>
                      <a:pt x="139291" y="85256"/>
                    </a:lnTo>
                    <a:lnTo>
                      <a:pt x="140549" y="83745"/>
                    </a:lnTo>
                    <a:lnTo>
                      <a:pt x="140908" y="83288"/>
                    </a:lnTo>
                    <a:lnTo>
                      <a:pt x="140998" y="82475"/>
                    </a:lnTo>
                    <a:close/>
                    <a:moveTo>
                      <a:pt x="107335" y="43562"/>
                    </a:moveTo>
                    <a:lnTo>
                      <a:pt x="105897" y="43105"/>
                    </a:lnTo>
                    <a:lnTo>
                      <a:pt x="104953" y="42610"/>
                    </a:lnTo>
                    <a:lnTo>
                      <a:pt x="103965" y="42483"/>
                    </a:lnTo>
                    <a:lnTo>
                      <a:pt x="103785" y="42254"/>
                    </a:lnTo>
                    <a:lnTo>
                      <a:pt x="103651" y="41848"/>
                    </a:lnTo>
                    <a:lnTo>
                      <a:pt x="103290" y="41543"/>
                    </a:lnTo>
                    <a:lnTo>
                      <a:pt x="103156" y="41721"/>
                    </a:lnTo>
                    <a:lnTo>
                      <a:pt x="103021" y="41721"/>
                    </a:lnTo>
                    <a:lnTo>
                      <a:pt x="102707" y="41670"/>
                    </a:lnTo>
                    <a:lnTo>
                      <a:pt x="102661" y="41403"/>
                    </a:lnTo>
                    <a:lnTo>
                      <a:pt x="102302" y="41047"/>
                    </a:lnTo>
                    <a:lnTo>
                      <a:pt x="101763" y="40730"/>
                    </a:lnTo>
                    <a:lnTo>
                      <a:pt x="101493" y="40362"/>
                    </a:lnTo>
                    <a:lnTo>
                      <a:pt x="101268" y="40095"/>
                    </a:lnTo>
                    <a:lnTo>
                      <a:pt x="101088" y="39968"/>
                    </a:lnTo>
                    <a:lnTo>
                      <a:pt x="100954" y="39600"/>
                    </a:lnTo>
                    <a:lnTo>
                      <a:pt x="100459" y="39282"/>
                    </a:lnTo>
                    <a:lnTo>
                      <a:pt x="100100" y="39422"/>
                    </a:lnTo>
                    <a:lnTo>
                      <a:pt x="100055" y="39282"/>
                    </a:lnTo>
                    <a:lnTo>
                      <a:pt x="99966" y="39244"/>
                    </a:lnTo>
                    <a:lnTo>
                      <a:pt x="99876" y="39193"/>
                    </a:lnTo>
                    <a:lnTo>
                      <a:pt x="99740" y="39193"/>
                    </a:lnTo>
                    <a:lnTo>
                      <a:pt x="99381" y="39016"/>
                    </a:lnTo>
                    <a:lnTo>
                      <a:pt x="98886" y="38977"/>
                    </a:lnTo>
                    <a:lnTo>
                      <a:pt x="98437" y="38977"/>
                    </a:lnTo>
                    <a:lnTo>
                      <a:pt x="97988" y="39016"/>
                    </a:lnTo>
                    <a:lnTo>
                      <a:pt x="97538" y="39155"/>
                    </a:lnTo>
                    <a:lnTo>
                      <a:pt x="96640" y="39828"/>
                    </a:lnTo>
                    <a:lnTo>
                      <a:pt x="96325" y="39917"/>
                    </a:lnTo>
                    <a:lnTo>
                      <a:pt x="95472" y="39968"/>
                    </a:lnTo>
                    <a:lnTo>
                      <a:pt x="95067" y="40006"/>
                    </a:lnTo>
                    <a:lnTo>
                      <a:pt x="94528" y="40006"/>
                    </a:lnTo>
                    <a:lnTo>
                      <a:pt x="94212" y="40362"/>
                    </a:lnTo>
                    <a:lnTo>
                      <a:pt x="93719" y="40413"/>
                    </a:lnTo>
                    <a:lnTo>
                      <a:pt x="93404" y="39917"/>
                    </a:lnTo>
                    <a:lnTo>
                      <a:pt x="93180" y="39422"/>
                    </a:lnTo>
                    <a:lnTo>
                      <a:pt x="92910" y="39016"/>
                    </a:lnTo>
                    <a:lnTo>
                      <a:pt x="92551" y="38660"/>
                    </a:lnTo>
                    <a:lnTo>
                      <a:pt x="92551" y="38342"/>
                    </a:lnTo>
                    <a:lnTo>
                      <a:pt x="92461" y="37936"/>
                    </a:lnTo>
                    <a:lnTo>
                      <a:pt x="92100" y="37809"/>
                    </a:lnTo>
                    <a:lnTo>
                      <a:pt x="91966" y="37441"/>
                    </a:lnTo>
                    <a:lnTo>
                      <a:pt x="91606" y="37263"/>
                    </a:lnTo>
                    <a:lnTo>
                      <a:pt x="91157" y="37034"/>
                    </a:lnTo>
                    <a:lnTo>
                      <a:pt x="90888" y="36996"/>
                    </a:lnTo>
                    <a:lnTo>
                      <a:pt x="90663" y="36679"/>
                    </a:lnTo>
                    <a:lnTo>
                      <a:pt x="90393" y="36539"/>
                    </a:lnTo>
                    <a:lnTo>
                      <a:pt x="90259" y="36590"/>
                    </a:lnTo>
                    <a:lnTo>
                      <a:pt x="90123" y="36717"/>
                    </a:lnTo>
                    <a:lnTo>
                      <a:pt x="89898" y="36768"/>
                    </a:lnTo>
                    <a:lnTo>
                      <a:pt x="89584" y="36717"/>
                    </a:lnTo>
                    <a:lnTo>
                      <a:pt x="89315" y="36717"/>
                    </a:lnTo>
                    <a:lnTo>
                      <a:pt x="89089" y="36907"/>
                    </a:lnTo>
                    <a:lnTo>
                      <a:pt x="89045" y="37123"/>
                    </a:lnTo>
                    <a:lnTo>
                      <a:pt x="88820" y="37403"/>
                    </a:lnTo>
                    <a:lnTo>
                      <a:pt x="88461" y="37441"/>
                    </a:lnTo>
                    <a:lnTo>
                      <a:pt x="88191" y="37898"/>
                    </a:lnTo>
                    <a:lnTo>
                      <a:pt x="87921" y="38609"/>
                    </a:lnTo>
                    <a:lnTo>
                      <a:pt x="87742" y="39473"/>
                    </a:lnTo>
                    <a:lnTo>
                      <a:pt x="87606" y="40108"/>
                    </a:lnTo>
                    <a:lnTo>
                      <a:pt x="87921" y="40463"/>
                    </a:lnTo>
                    <a:lnTo>
                      <a:pt x="87921" y="41098"/>
                    </a:lnTo>
                    <a:lnTo>
                      <a:pt x="88730" y="42127"/>
                    </a:lnTo>
                    <a:lnTo>
                      <a:pt x="89404" y="42851"/>
                    </a:lnTo>
                    <a:lnTo>
                      <a:pt x="89764" y="43397"/>
                    </a:lnTo>
                    <a:lnTo>
                      <a:pt x="90169" y="43346"/>
                    </a:lnTo>
                    <a:lnTo>
                      <a:pt x="90803" y="43702"/>
                    </a:lnTo>
                    <a:lnTo>
                      <a:pt x="91437" y="43841"/>
                    </a:lnTo>
                    <a:lnTo>
                      <a:pt x="91796" y="44108"/>
                    </a:lnTo>
                    <a:lnTo>
                      <a:pt x="92246" y="44388"/>
                    </a:lnTo>
                    <a:lnTo>
                      <a:pt x="92605" y="44299"/>
                    </a:lnTo>
                    <a:lnTo>
                      <a:pt x="92740" y="43892"/>
                    </a:lnTo>
                    <a:lnTo>
                      <a:pt x="93144" y="43702"/>
                    </a:lnTo>
                    <a:lnTo>
                      <a:pt x="93593" y="43702"/>
                    </a:lnTo>
                    <a:lnTo>
                      <a:pt x="93908" y="43892"/>
                    </a:lnTo>
                    <a:lnTo>
                      <a:pt x="94088" y="44070"/>
                    </a:lnTo>
                    <a:lnTo>
                      <a:pt x="94222" y="44159"/>
                    </a:lnTo>
                    <a:lnTo>
                      <a:pt x="94403" y="44654"/>
                    </a:lnTo>
                    <a:lnTo>
                      <a:pt x="94358" y="45289"/>
                    </a:lnTo>
                    <a:lnTo>
                      <a:pt x="94583" y="45823"/>
                    </a:lnTo>
                    <a:lnTo>
                      <a:pt x="94807" y="47804"/>
                    </a:lnTo>
                    <a:lnTo>
                      <a:pt x="94807" y="48350"/>
                    </a:lnTo>
                    <a:lnTo>
                      <a:pt x="94583" y="48566"/>
                    </a:lnTo>
                    <a:lnTo>
                      <a:pt x="94942" y="48972"/>
                    </a:lnTo>
                    <a:lnTo>
                      <a:pt x="95032" y="49252"/>
                    </a:lnTo>
                    <a:lnTo>
                      <a:pt x="95793" y="50001"/>
                    </a:lnTo>
                    <a:lnTo>
                      <a:pt x="97005" y="49963"/>
                    </a:lnTo>
                    <a:lnTo>
                      <a:pt x="97366" y="49874"/>
                    </a:lnTo>
                    <a:lnTo>
                      <a:pt x="97859" y="49963"/>
                    </a:lnTo>
                    <a:lnTo>
                      <a:pt x="98083" y="50001"/>
                    </a:lnTo>
                    <a:lnTo>
                      <a:pt x="98803" y="50191"/>
                    </a:lnTo>
                    <a:lnTo>
                      <a:pt x="99297" y="49963"/>
                    </a:lnTo>
                    <a:lnTo>
                      <a:pt x="100197" y="49506"/>
                    </a:lnTo>
                    <a:lnTo>
                      <a:pt x="101592" y="48833"/>
                    </a:lnTo>
                    <a:lnTo>
                      <a:pt x="102131" y="48794"/>
                    </a:lnTo>
                    <a:lnTo>
                      <a:pt x="102670" y="48883"/>
                    </a:lnTo>
                    <a:lnTo>
                      <a:pt x="103704" y="48883"/>
                    </a:lnTo>
                    <a:lnTo>
                      <a:pt x="105226" y="48121"/>
                    </a:lnTo>
                    <a:lnTo>
                      <a:pt x="105987" y="48071"/>
                    </a:lnTo>
                    <a:lnTo>
                      <a:pt x="106572" y="47220"/>
                    </a:lnTo>
                    <a:lnTo>
                      <a:pt x="107291" y="47042"/>
                    </a:lnTo>
                    <a:lnTo>
                      <a:pt x="107784" y="46102"/>
                    </a:lnTo>
                    <a:lnTo>
                      <a:pt x="107964" y="44883"/>
                    </a:lnTo>
                    <a:close/>
                    <a:moveTo>
                      <a:pt x="87157" y="32666"/>
                    </a:moveTo>
                    <a:lnTo>
                      <a:pt x="86708" y="32666"/>
                    </a:lnTo>
                    <a:lnTo>
                      <a:pt x="86484" y="32577"/>
                    </a:lnTo>
                    <a:lnTo>
                      <a:pt x="86573" y="32450"/>
                    </a:lnTo>
                    <a:lnTo>
                      <a:pt x="86394" y="32310"/>
                    </a:lnTo>
                    <a:lnTo>
                      <a:pt x="86124" y="32361"/>
                    </a:lnTo>
                    <a:lnTo>
                      <a:pt x="85809" y="32310"/>
                    </a:lnTo>
                    <a:lnTo>
                      <a:pt x="85450" y="32183"/>
                    </a:lnTo>
                    <a:lnTo>
                      <a:pt x="84910" y="32221"/>
                    </a:lnTo>
                    <a:lnTo>
                      <a:pt x="84685" y="32183"/>
                    </a:lnTo>
                    <a:lnTo>
                      <a:pt x="84371" y="32272"/>
                    </a:lnTo>
                    <a:lnTo>
                      <a:pt x="83967" y="32399"/>
                    </a:lnTo>
                    <a:lnTo>
                      <a:pt x="83333" y="32488"/>
                    </a:lnTo>
                    <a:lnTo>
                      <a:pt x="81938" y="32538"/>
                    </a:lnTo>
                    <a:lnTo>
                      <a:pt x="81129" y="32361"/>
                    </a:lnTo>
                    <a:lnTo>
                      <a:pt x="80494" y="32132"/>
                    </a:lnTo>
                    <a:lnTo>
                      <a:pt x="80360" y="31599"/>
                    </a:lnTo>
                    <a:lnTo>
                      <a:pt x="79955" y="31103"/>
                    </a:lnTo>
                    <a:lnTo>
                      <a:pt x="79686" y="31141"/>
                    </a:lnTo>
                    <a:lnTo>
                      <a:pt x="79551" y="31370"/>
                    </a:lnTo>
                    <a:lnTo>
                      <a:pt x="79506" y="31688"/>
                    </a:lnTo>
                    <a:lnTo>
                      <a:pt x="79282" y="31992"/>
                    </a:lnTo>
                    <a:lnTo>
                      <a:pt x="78202" y="31954"/>
                    </a:lnTo>
                    <a:lnTo>
                      <a:pt x="76765" y="31726"/>
                    </a:lnTo>
                    <a:lnTo>
                      <a:pt x="74069" y="31319"/>
                    </a:lnTo>
                    <a:lnTo>
                      <a:pt x="73664" y="31319"/>
                    </a:lnTo>
                    <a:lnTo>
                      <a:pt x="73394" y="30964"/>
                    </a:lnTo>
                    <a:lnTo>
                      <a:pt x="73035" y="30875"/>
                    </a:lnTo>
                    <a:lnTo>
                      <a:pt x="72401" y="30913"/>
                    </a:lnTo>
                    <a:lnTo>
                      <a:pt x="71952" y="30824"/>
                    </a:lnTo>
                    <a:lnTo>
                      <a:pt x="71637" y="30824"/>
                    </a:lnTo>
                    <a:lnTo>
                      <a:pt x="71637" y="31053"/>
                    </a:lnTo>
                    <a:lnTo>
                      <a:pt x="71996" y="31497"/>
                    </a:lnTo>
                    <a:lnTo>
                      <a:pt x="71861" y="32094"/>
                    </a:lnTo>
                    <a:lnTo>
                      <a:pt x="71412" y="32627"/>
                    </a:lnTo>
                    <a:lnTo>
                      <a:pt x="70872" y="32805"/>
                    </a:lnTo>
                    <a:lnTo>
                      <a:pt x="70558" y="33161"/>
                    </a:lnTo>
                    <a:lnTo>
                      <a:pt x="70379" y="33656"/>
                    </a:lnTo>
                    <a:lnTo>
                      <a:pt x="70379" y="34202"/>
                    </a:lnTo>
                    <a:lnTo>
                      <a:pt x="70693" y="34647"/>
                    </a:lnTo>
                    <a:lnTo>
                      <a:pt x="71232" y="34875"/>
                    </a:lnTo>
                    <a:lnTo>
                      <a:pt x="71867" y="34875"/>
                    </a:lnTo>
                    <a:lnTo>
                      <a:pt x="72676" y="34926"/>
                    </a:lnTo>
                    <a:lnTo>
                      <a:pt x="73664" y="34748"/>
                    </a:lnTo>
                    <a:lnTo>
                      <a:pt x="75012" y="34697"/>
                    </a:lnTo>
                    <a:lnTo>
                      <a:pt x="76945" y="34520"/>
                    </a:lnTo>
                    <a:lnTo>
                      <a:pt x="78292" y="35015"/>
                    </a:lnTo>
                    <a:lnTo>
                      <a:pt x="80494" y="35599"/>
                    </a:lnTo>
                    <a:lnTo>
                      <a:pt x="81574" y="35815"/>
                    </a:lnTo>
                    <a:lnTo>
                      <a:pt x="82696" y="35917"/>
                    </a:lnTo>
                    <a:lnTo>
                      <a:pt x="83776" y="35688"/>
                    </a:lnTo>
                    <a:lnTo>
                      <a:pt x="84854" y="35244"/>
                    </a:lnTo>
                    <a:lnTo>
                      <a:pt x="85933" y="34647"/>
                    </a:lnTo>
                    <a:lnTo>
                      <a:pt x="86787" y="33796"/>
                    </a:lnTo>
                    <a:lnTo>
                      <a:pt x="87326" y="32805"/>
                    </a:lnTo>
                    <a:close/>
                    <a:moveTo>
                      <a:pt x="60463" y="28081"/>
                    </a:moveTo>
                    <a:lnTo>
                      <a:pt x="59879" y="27763"/>
                    </a:lnTo>
                    <a:lnTo>
                      <a:pt x="59244" y="27357"/>
                    </a:lnTo>
                    <a:lnTo>
                      <a:pt x="58976" y="26862"/>
                    </a:lnTo>
                    <a:lnTo>
                      <a:pt x="58850" y="26506"/>
                    </a:lnTo>
                    <a:lnTo>
                      <a:pt x="58986" y="26188"/>
                    </a:lnTo>
                    <a:lnTo>
                      <a:pt x="58896" y="25922"/>
                    </a:lnTo>
                    <a:lnTo>
                      <a:pt x="58535" y="25566"/>
                    </a:lnTo>
                    <a:lnTo>
                      <a:pt x="58041" y="25249"/>
                    </a:lnTo>
                    <a:lnTo>
                      <a:pt x="57996" y="24842"/>
                    </a:lnTo>
                    <a:lnTo>
                      <a:pt x="58086" y="24258"/>
                    </a:lnTo>
                    <a:lnTo>
                      <a:pt x="58491" y="23852"/>
                    </a:lnTo>
                    <a:lnTo>
                      <a:pt x="58445" y="23623"/>
                    </a:lnTo>
                    <a:lnTo>
                      <a:pt x="58086" y="23712"/>
                    </a:lnTo>
                    <a:lnTo>
                      <a:pt x="57367" y="23623"/>
                    </a:lnTo>
                    <a:lnTo>
                      <a:pt x="57053" y="23763"/>
                    </a:lnTo>
                    <a:lnTo>
                      <a:pt x="57008" y="24118"/>
                    </a:lnTo>
                    <a:lnTo>
                      <a:pt x="57457" y="24398"/>
                    </a:lnTo>
                    <a:lnTo>
                      <a:pt x="57187" y="24791"/>
                    </a:lnTo>
                    <a:lnTo>
                      <a:pt x="57008" y="25020"/>
                    </a:lnTo>
                    <a:lnTo>
                      <a:pt x="56694" y="24931"/>
                    </a:lnTo>
                    <a:lnTo>
                      <a:pt x="56643" y="24703"/>
                    </a:lnTo>
                    <a:lnTo>
                      <a:pt x="56194" y="24525"/>
                    </a:lnTo>
                    <a:lnTo>
                      <a:pt x="56014" y="24157"/>
                    </a:lnTo>
                    <a:lnTo>
                      <a:pt x="55745" y="23801"/>
                    </a:lnTo>
                    <a:lnTo>
                      <a:pt x="55385" y="23661"/>
                    </a:lnTo>
                    <a:lnTo>
                      <a:pt x="55115" y="23572"/>
                    </a:lnTo>
                    <a:lnTo>
                      <a:pt x="55026" y="23039"/>
                    </a:lnTo>
                    <a:lnTo>
                      <a:pt x="54980" y="22721"/>
                    </a:lnTo>
                    <a:lnTo>
                      <a:pt x="54890" y="22226"/>
                    </a:lnTo>
                    <a:lnTo>
                      <a:pt x="55070" y="22048"/>
                    </a:lnTo>
                    <a:lnTo>
                      <a:pt x="55298" y="22048"/>
                    </a:lnTo>
                    <a:lnTo>
                      <a:pt x="55298" y="21324"/>
                    </a:lnTo>
                    <a:lnTo>
                      <a:pt x="55030" y="20918"/>
                    </a:lnTo>
                    <a:lnTo>
                      <a:pt x="54804" y="20651"/>
                    </a:lnTo>
                    <a:lnTo>
                      <a:pt x="54535" y="20562"/>
                    </a:lnTo>
                    <a:lnTo>
                      <a:pt x="54310" y="20613"/>
                    </a:lnTo>
                    <a:lnTo>
                      <a:pt x="54220" y="20296"/>
                    </a:lnTo>
                    <a:lnTo>
                      <a:pt x="54130" y="20118"/>
                    </a:lnTo>
                    <a:lnTo>
                      <a:pt x="53816" y="19927"/>
                    </a:lnTo>
                    <a:lnTo>
                      <a:pt x="53681" y="19394"/>
                    </a:lnTo>
                    <a:lnTo>
                      <a:pt x="53277" y="19039"/>
                    </a:lnTo>
                    <a:lnTo>
                      <a:pt x="52916" y="18492"/>
                    </a:lnTo>
                    <a:lnTo>
                      <a:pt x="53052" y="17946"/>
                    </a:lnTo>
                    <a:lnTo>
                      <a:pt x="52782" y="17680"/>
                    </a:lnTo>
                    <a:lnTo>
                      <a:pt x="52782" y="17413"/>
                    </a:lnTo>
                    <a:lnTo>
                      <a:pt x="52557" y="17324"/>
                    </a:lnTo>
                    <a:lnTo>
                      <a:pt x="52513" y="16968"/>
                    </a:lnTo>
                    <a:lnTo>
                      <a:pt x="52063" y="16600"/>
                    </a:lnTo>
                    <a:lnTo>
                      <a:pt x="51884" y="16333"/>
                    </a:lnTo>
                    <a:lnTo>
                      <a:pt x="51704" y="16156"/>
                    </a:lnTo>
                    <a:lnTo>
                      <a:pt x="51524" y="16016"/>
                    </a:lnTo>
                    <a:lnTo>
                      <a:pt x="51113" y="16016"/>
                    </a:lnTo>
                    <a:lnTo>
                      <a:pt x="50215" y="16245"/>
                    </a:lnTo>
                    <a:lnTo>
                      <a:pt x="49630" y="16829"/>
                    </a:lnTo>
                    <a:lnTo>
                      <a:pt x="49225" y="17184"/>
                    </a:lnTo>
                    <a:lnTo>
                      <a:pt x="48956" y="17768"/>
                    </a:lnTo>
                    <a:lnTo>
                      <a:pt x="48731" y="18086"/>
                    </a:lnTo>
                    <a:lnTo>
                      <a:pt x="48776" y="18264"/>
                    </a:lnTo>
                    <a:lnTo>
                      <a:pt x="48552" y="18441"/>
                    </a:lnTo>
                    <a:lnTo>
                      <a:pt x="47967" y="18937"/>
                    </a:lnTo>
                    <a:lnTo>
                      <a:pt x="47428" y="19216"/>
                    </a:lnTo>
                    <a:lnTo>
                      <a:pt x="47293" y="19394"/>
                    </a:lnTo>
                    <a:lnTo>
                      <a:pt x="47203" y="19801"/>
                    </a:lnTo>
                    <a:lnTo>
                      <a:pt x="46754" y="19661"/>
                    </a:lnTo>
                    <a:lnTo>
                      <a:pt x="46394" y="19750"/>
                    </a:lnTo>
                    <a:lnTo>
                      <a:pt x="45945" y="19801"/>
                    </a:lnTo>
                    <a:lnTo>
                      <a:pt x="45136" y="19750"/>
                    </a:lnTo>
                    <a:lnTo>
                      <a:pt x="43922" y="19801"/>
                    </a:lnTo>
                    <a:lnTo>
                      <a:pt x="42934" y="19978"/>
                    </a:lnTo>
                    <a:lnTo>
                      <a:pt x="42709" y="20118"/>
                    </a:lnTo>
                    <a:lnTo>
                      <a:pt x="43968" y="21096"/>
                    </a:lnTo>
                    <a:lnTo>
                      <a:pt x="44148" y="21375"/>
                    </a:lnTo>
                    <a:lnTo>
                      <a:pt x="44192" y="22277"/>
                    </a:lnTo>
                    <a:lnTo>
                      <a:pt x="44192" y="22912"/>
                    </a:lnTo>
                    <a:lnTo>
                      <a:pt x="44507" y="23445"/>
                    </a:lnTo>
                    <a:lnTo>
                      <a:pt x="44821" y="23623"/>
                    </a:lnTo>
                    <a:lnTo>
                      <a:pt x="45316" y="24080"/>
                    </a:lnTo>
                    <a:lnTo>
                      <a:pt x="45496" y="24487"/>
                    </a:lnTo>
                    <a:lnTo>
                      <a:pt x="45631" y="25287"/>
                    </a:lnTo>
                    <a:lnTo>
                      <a:pt x="46170" y="25566"/>
                    </a:lnTo>
                    <a:lnTo>
                      <a:pt x="46439" y="26011"/>
                    </a:lnTo>
                    <a:lnTo>
                      <a:pt x="46799" y="26468"/>
                    </a:lnTo>
                    <a:lnTo>
                      <a:pt x="47113" y="27268"/>
                    </a:lnTo>
                    <a:lnTo>
                      <a:pt x="47383" y="28309"/>
                    </a:lnTo>
                    <a:lnTo>
                      <a:pt x="47698" y="28487"/>
                    </a:lnTo>
                    <a:lnTo>
                      <a:pt x="47833" y="28576"/>
                    </a:lnTo>
                    <a:lnTo>
                      <a:pt x="47967" y="28665"/>
                    </a:lnTo>
                    <a:lnTo>
                      <a:pt x="48416" y="28538"/>
                    </a:lnTo>
                    <a:lnTo>
                      <a:pt x="48956" y="28449"/>
                    </a:lnTo>
                    <a:lnTo>
                      <a:pt x="49990" y="28221"/>
                    </a:lnTo>
                    <a:lnTo>
                      <a:pt x="50664" y="28132"/>
                    </a:lnTo>
                    <a:lnTo>
                      <a:pt x="51203" y="27903"/>
                    </a:lnTo>
                    <a:lnTo>
                      <a:pt x="51337" y="27408"/>
                    </a:lnTo>
                    <a:lnTo>
                      <a:pt x="51068" y="27179"/>
                    </a:lnTo>
                    <a:lnTo>
                      <a:pt x="50754" y="26912"/>
                    </a:lnTo>
                    <a:lnTo>
                      <a:pt x="50259" y="26417"/>
                    </a:lnTo>
                    <a:lnTo>
                      <a:pt x="50079" y="25922"/>
                    </a:lnTo>
                    <a:lnTo>
                      <a:pt x="50303" y="26151"/>
                    </a:lnTo>
                    <a:lnTo>
                      <a:pt x="50938" y="26684"/>
                    </a:lnTo>
                    <a:lnTo>
                      <a:pt x="51073" y="26557"/>
                    </a:lnTo>
                    <a:lnTo>
                      <a:pt x="50893" y="26100"/>
                    </a:lnTo>
                    <a:lnTo>
                      <a:pt x="50893" y="25693"/>
                    </a:lnTo>
                    <a:lnTo>
                      <a:pt x="51073" y="25884"/>
                    </a:lnTo>
                    <a:lnTo>
                      <a:pt x="51253" y="26151"/>
                    </a:lnTo>
                    <a:lnTo>
                      <a:pt x="51522" y="26277"/>
                    </a:lnTo>
                    <a:lnTo>
                      <a:pt x="51612" y="25884"/>
                    </a:lnTo>
                    <a:lnTo>
                      <a:pt x="51747" y="25744"/>
                    </a:lnTo>
                    <a:lnTo>
                      <a:pt x="51973" y="25884"/>
                    </a:lnTo>
                    <a:lnTo>
                      <a:pt x="52242" y="26011"/>
                    </a:lnTo>
                    <a:lnTo>
                      <a:pt x="52556" y="26277"/>
                    </a:lnTo>
                    <a:lnTo>
                      <a:pt x="52466" y="26557"/>
                    </a:lnTo>
                    <a:lnTo>
                      <a:pt x="52151" y="26735"/>
                    </a:lnTo>
                    <a:lnTo>
                      <a:pt x="51837" y="26862"/>
                    </a:lnTo>
                    <a:lnTo>
                      <a:pt x="51568" y="27001"/>
                    </a:lnTo>
                    <a:lnTo>
                      <a:pt x="51612" y="27230"/>
                    </a:lnTo>
                    <a:lnTo>
                      <a:pt x="51568" y="27408"/>
                    </a:lnTo>
                    <a:lnTo>
                      <a:pt x="51657" y="27636"/>
                    </a:lnTo>
                    <a:lnTo>
                      <a:pt x="51657" y="27941"/>
                    </a:lnTo>
                    <a:lnTo>
                      <a:pt x="52107" y="27941"/>
                    </a:lnTo>
                    <a:lnTo>
                      <a:pt x="52332" y="28132"/>
                    </a:lnTo>
                    <a:lnTo>
                      <a:pt x="52151" y="28221"/>
                    </a:lnTo>
                    <a:lnTo>
                      <a:pt x="52151" y="28347"/>
                    </a:lnTo>
                    <a:lnTo>
                      <a:pt x="53320" y="28259"/>
                    </a:lnTo>
                    <a:lnTo>
                      <a:pt x="53051" y="27941"/>
                    </a:lnTo>
                    <a:lnTo>
                      <a:pt x="53410" y="27585"/>
                    </a:lnTo>
                    <a:lnTo>
                      <a:pt x="53634" y="27497"/>
                    </a:lnTo>
                    <a:lnTo>
                      <a:pt x="53634" y="27763"/>
                    </a:lnTo>
                    <a:lnTo>
                      <a:pt x="53724" y="28081"/>
                    </a:lnTo>
                    <a:lnTo>
                      <a:pt x="54039" y="28538"/>
                    </a:lnTo>
                    <a:lnTo>
                      <a:pt x="54534" y="28754"/>
                    </a:lnTo>
                    <a:lnTo>
                      <a:pt x="55432" y="29160"/>
                    </a:lnTo>
                    <a:lnTo>
                      <a:pt x="55657" y="29478"/>
                    </a:lnTo>
                    <a:lnTo>
                      <a:pt x="55792" y="29744"/>
                    </a:lnTo>
                    <a:lnTo>
                      <a:pt x="56016" y="29833"/>
                    </a:lnTo>
                    <a:lnTo>
                      <a:pt x="56467" y="29833"/>
                    </a:lnTo>
                    <a:lnTo>
                      <a:pt x="56826" y="29529"/>
                    </a:lnTo>
                    <a:lnTo>
                      <a:pt x="57365" y="29249"/>
                    </a:lnTo>
                    <a:lnTo>
                      <a:pt x="57949" y="29211"/>
                    </a:lnTo>
                    <a:lnTo>
                      <a:pt x="58710" y="28983"/>
                    </a:lnTo>
                    <a:lnTo>
                      <a:pt x="58981" y="29211"/>
                    </a:lnTo>
                    <a:lnTo>
                      <a:pt x="58935" y="29478"/>
                    </a:lnTo>
                    <a:lnTo>
                      <a:pt x="59025" y="29656"/>
                    </a:lnTo>
                    <a:lnTo>
                      <a:pt x="59340" y="29567"/>
                    </a:lnTo>
                    <a:lnTo>
                      <a:pt x="59609" y="29300"/>
                    </a:lnTo>
                    <a:lnTo>
                      <a:pt x="60328" y="28627"/>
                    </a:lnTo>
                    <a:lnTo>
                      <a:pt x="60642" y="28259"/>
                    </a:lnTo>
                    <a:close/>
                    <a:moveTo>
                      <a:pt x="13726" y="2566"/>
                    </a:moveTo>
                    <a:lnTo>
                      <a:pt x="13636" y="2300"/>
                    </a:lnTo>
                    <a:lnTo>
                      <a:pt x="13546" y="1982"/>
                    </a:lnTo>
                    <a:lnTo>
                      <a:pt x="13456" y="1576"/>
                    </a:lnTo>
                    <a:lnTo>
                      <a:pt x="13231" y="1538"/>
                    </a:lnTo>
                    <a:lnTo>
                      <a:pt x="12871" y="1169"/>
                    </a:lnTo>
                    <a:lnTo>
                      <a:pt x="12692" y="674"/>
                    </a:lnTo>
                    <a:lnTo>
                      <a:pt x="12152" y="408"/>
                    </a:lnTo>
                    <a:lnTo>
                      <a:pt x="11703" y="408"/>
                    </a:lnTo>
                    <a:lnTo>
                      <a:pt x="11254" y="230"/>
                    </a:lnTo>
                    <a:lnTo>
                      <a:pt x="10939" y="1"/>
                    </a:lnTo>
                    <a:lnTo>
                      <a:pt x="10715" y="230"/>
                    </a:lnTo>
                    <a:lnTo>
                      <a:pt x="10400" y="408"/>
                    </a:lnTo>
                    <a:lnTo>
                      <a:pt x="10130" y="458"/>
                    </a:lnTo>
                    <a:lnTo>
                      <a:pt x="9815" y="281"/>
                    </a:lnTo>
                    <a:lnTo>
                      <a:pt x="9142" y="281"/>
                    </a:lnTo>
                    <a:lnTo>
                      <a:pt x="8647" y="179"/>
                    </a:lnTo>
                    <a:lnTo>
                      <a:pt x="8108" y="370"/>
                    </a:lnTo>
                    <a:lnTo>
                      <a:pt x="8018" y="585"/>
                    </a:lnTo>
                    <a:lnTo>
                      <a:pt x="8108" y="814"/>
                    </a:lnTo>
                    <a:lnTo>
                      <a:pt x="7884" y="865"/>
                    </a:lnTo>
                    <a:lnTo>
                      <a:pt x="7614" y="674"/>
                    </a:lnTo>
                    <a:lnTo>
                      <a:pt x="7255" y="547"/>
                    </a:lnTo>
                    <a:lnTo>
                      <a:pt x="7030" y="547"/>
                    </a:lnTo>
                    <a:lnTo>
                      <a:pt x="6940" y="319"/>
                    </a:lnTo>
                    <a:lnTo>
                      <a:pt x="6715" y="141"/>
                    </a:lnTo>
                    <a:lnTo>
                      <a:pt x="6445" y="90"/>
                    </a:lnTo>
                    <a:lnTo>
                      <a:pt x="6221" y="319"/>
                    </a:lnTo>
                    <a:lnTo>
                      <a:pt x="5906" y="319"/>
                    </a:lnTo>
                    <a:lnTo>
                      <a:pt x="5546" y="458"/>
                    </a:lnTo>
                    <a:lnTo>
                      <a:pt x="5322" y="763"/>
                    </a:lnTo>
                    <a:lnTo>
                      <a:pt x="4648" y="1081"/>
                    </a:lnTo>
                    <a:lnTo>
                      <a:pt x="4153" y="1538"/>
                    </a:lnTo>
                    <a:lnTo>
                      <a:pt x="3344" y="2033"/>
                    </a:lnTo>
                    <a:lnTo>
                      <a:pt x="2583" y="2211"/>
                    </a:lnTo>
                    <a:lnTo>
                      <a:pt x="1949" y="2389"/>
                    </a:lnTo>
                    <a:lnTo>
                      <a:pt x="1769" y="2706"/>
                    </a:lnTo>
                    <a:lnTo>
                      <a:pt x="1679" y="2795"/>
                    </a:lnTo>
                    <a:lnTo>
                      <a:pt x="1500" y="2884"/>
                    </a:lnTo>
                    <a:lnTo>
                      <a:pt x="1454" y="3113"/>
                    </a:lnTo>
                    <a:lnTo>
                      <a:pt x="1454" y="3379"/>
                    </a:lnTo>
                    <a:lnTo>
                      <a:pt x="1410" y="3697"/>
                    </a:lnTo>
                    <a:lnTo>
                      <a:pt x="1005" y="4192"/>
                    </a:lnTo>
                    <a:lnTo>
                      <a:pt x="244" y="5094"/>
                    </a:lnTo>
                    <a:lnTo>
                      <a:pt x="-26" y="5183"/>
                    </a:lnTo>
                    <a:lnTo>
                      <a:pt x="20" y="5449"/>
                    </a:lnTo>
                    <a:lnTo>
                      <a:pt x="-26" y="5805"/>
                    </a:lnTo>
                    <a:lnTo>
                      <a:pt x="-26" y="6618"/>
                    </a:lnTo>
                    <a:lnTo>
                      <a:pt x="154" y="6885"/>
                    </a:lnTo>
                    <a:lnTo>
                      <a:pt x="423" y="7024"/>
                    </a:lnTo>
                    <a:lnTo>
                      <a:pt x="469" y="7342"/>
                    </a:lnTo>
                    <a:lnTo>
                      <a:pt x="737" y="7837"/>
                    </a:lnTo>
                    <a:lnTo>
                      <a:pt x="1188" y="8015"/>
                    </a:lnTo>
                    <a:lnTo>
                      <a:pt x="1771" y="8104"/>
                    </a:lnTo>
                    <a:lnTo>
                      <a:pt x="2086" y="8282"/>
                    </a:lnTo>
                    <a:lnTo>
                      <a:pt x="2536" y="8459"/>
                    </a:lnTo>
                    <a:lnTo>
                      <a:pt x="3120" y="8561"/>
                    </a:lnTo>
                    <a:lnTo>
                      <a:pt x="3390" y="8688"/>
                    </a:lnTo>
                    <a:lnTo>
                      <a:pt x="3524" y="8955"/>
                    </a:lnTo>
                    <a:lnTo>
                      <a:pt x="3839" y="9005"/>
                    </a:lnTo>
                    <a:lnTo>
                      <a:pt x="3973" y="9272"/>
                    </a:lnTo>
                    <a:lnTo>
                      <a:pt x="4063" y="9539"/>
                    </a:lnTo>
                    <a:lnTo>
                      <a:pt x="4288" y="9818"/>
                    </a:lnTo>
                    <a:lnTo>
                      <a:pt x="4602" y="10085"/>
                    </a:lnTo>
                    <a:lnTo>
                      <a:pt x="4963" y="10263"/>
                    </a:lnTo>
                    <a:lnTo>
                      <a:pt x="5141" y="10491"/>
                    </a:lnTo>
                    <a:lnTo>
                      <a:pt x="5367" y="10441"/>
                    </a:lnTo>
                    <a:lnTo>
                      <a:pt x="5412" y="10225"/>
                    </a:lnTo>
                    <a:lnTo>
                      <a:pt x="5546" y="10174"/>
                    </a:lnTo>
                    <a:lnTo>
                      <a:pt x="5771" y="10402"/>
                    </a:lnTo>
                    <a:lnTo>
                      <a:pt x="6175" y="10441"/>
                    </a:lnTo>
                    <a:lnTo>
                      <a:pt x="7255" y="10669"/>
                    </a:lnTo>
                    <a:lnTo>
                      <a:pt x="7838" y="10669"/>
                    </a:lnTo>
                    <a:lnTo>
                      <a:pt x="8599" y="10720"/>
                    </a:lnTo>
                    <a:lnTo>
                      <a:pt x="9857" y="11164"/>
                    </a:lnTo>
                    <a:lnTo>
                      <a:pt x="9992" y="11025"/>
                    </a:lnTo>
                    <a:lnTo>
                      <a:pt x="10172" y="10847"/>
                    </a:lnTo>
                    <a:lnTo>
                      <a:pt x="10487" y="10809"/>
                    </a:lnTo>
                    <a:lnTo>
                      <a:pt x="10487" y="10580"/>
                    </a:lnTo>
                    <a:lnTo>
                      <a:pt x="10980" y="10313"/>
                    </a:lnTo>
                    <a:lnTo>
                      <a:pt x="11206" y="10085"/>
                    </a:lnTo>
                    <a:lnTo>
                      <a:pt x="11430" y="9729"/>
                    </a:lnTo>
                    <a:lnTo>
                      <a:pt x="11924" y="9272"/>
                    </a:lnTo>
                    <a:lnTo>
                      <a:pt x="12238" y="9323"/>
                    </a:lnTo>
                    <a:lnTo>
                      <a:pt x="12418" y="9132"/>
                    </a:lnTo>
                    <a:lnTo>
                      <a:pt x="12284" y="8866"/>
                    </a:lnTo>
                    <a:lnTo>
                      <a:pt x="12104" y="8637"/>
                    </a:lnTo>
                    <a:lnTo>
                      <a:pt x="12418" y="8459"/>
                    </a:lnTo>
                    <a:lnTo>
                      <a:pt x="12823" y="8459"/>
                    </a:lnTo>
                    <a:lnTo>
                      <a:pt x="12867" y="8243"/>
                    </a:lnTo>
                    <a:lnTo>
                      <a:pt x="12913" y="7659"/>
                    </a:lnTo>
                    <a:lnTo>
                      <a:pt x="12867" y="7075"/>
                    </a:lnTo>
                    <a:lnTo>
                      <a:pt x="12779" y="6529"/>
                    </a:lnTo>
                    <a:lnTo>
                      <a:pt x="12823" y="5678"/>
                    </a:lnTo>
                    <a:lnTo>
                      <a:pt x="13228" y="5449"/>
                    </a:lnTo>
                    <a:lnTo>
                      <a:pt x="13632" y="4281"/>
                    </a:lnTo>
                    <a:lnTo>
                      <a:pt x="13901" y="3926"/>
                    </a:lnTo>
                    <a:lnTo>
                      <a:pt x="13991" y="3062"/>
                    </a:lnTo>
                    <a:lnTo>
                      <a:pt x="13991" y="2744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407" name="Vrije vorm 406">
              <a:extLst>
                <a:ext uri="{FF2B5EF4-FFF2-40B4-BE49-F238E27FC236}">
                  <a16:creationId xmlns:a16="http://schemas.microsoft.com/office/drawing/2014/main" id="{3C5D33FC-DD33-8642-9506-AF56D7E151A6}"/>
                </a:ext>
              </a:extLst>
            </p:cNvPr>
            <p:cNvSpPr/>
            <p:nvPr/>
          </p:nvSpPr>
          <p:spPr>
            <a:xfrm>
              <a:off x="3250945" y="3655170"/>
              <a:ext cx="19603" cy="29111"/>
            </a:xfrm>
            <a:custGeom>
              <a:avLst/>
              <a:gdLst>
                <a:gd name="connsiteX0" fmla="*/ 17426 w 19603"/>
                <a:gd name="connsiteY0" fmla="*/ 29113 h 29111"/>
                <a:gd name="connsiteX1" fmla="*/ 2789 w 19603"/>
                <a:gd name="connsiteY1" fmla="*/ 1211 h 29111"/>
                <a:gd name="connsiteX2" fmla="*/ 17426 w 19603"/>
                <a:gd name="connsiteY2" fmla="*/ 29113 h 29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603" h="29111">
                  <a:moveTo>
                    <a:pt x="17426" y="29113"/>
                  </a:moveTo>
                  <a:cubicBezTo>
                    <a:pt x="24136" y="24998"/>
                    <a:pt x="14002" y="-6498"/>
                    <a:pt x="2789" y="1211"/>
                  </a:cubicBezTo>
                  <a:cubicBezTo>
                    <a:pt x="-8411" y="8920"/>
                    <a:pt x="17426" y="29113"/>
                    <a:pt x="17426" y="29113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8" name="Vrije vorm 407">
              <a:extLst>
                <a:ext uri="{FF2B5EF4-FFF2-40B4-BE49-F238E27FC236}">
                  <a16:creationId xmlns:a16="http://schemas.microsoft.com/office/drawing/2014/main" id="{B560B50D-9FAB-0649-90A3-768FFBF3F87D}"/>
                </a:ext>
              </a:extLst>
            </p:cNvPr>
            <p:cNvSpPr/>
            <p:nvPr/>
          </p:nvSpPr>
          <p:spPr>
            <a:xfrm>
              <a:off x="7703105" y="1370015"/>
              <a:ext cx="811" cy="809"/>
            </a:xfrm>
            <a:custGeom>
              <a:avLst/>
              <a:gdLst>
                <a:gd name="connsiteX0" fmla="*/ 506 w 811"/>
                <a:gd name="connsiteY0" fmla="*/ 49 h 809"/>
                <a:gd name="connsiteX1" fmla="*/ 785 w 811"/>
                <a:gd name="connsiteY1" fmla="*/ 3 h 809"/>
                <a:gd name="connsiteX2" fmla="*/ 735 w 811"/>
                <a:gd name="connsiteY2" fmla="*/ 49 h 809"/>
                <a:gd name="connsiteX3" fmla="*/ 417 w 811"/>
                <a:gd name="connsiteY3" fmla="*/ 811 h 809"/>
                <a:gd name="connsiteX4" fmla="*/ -26 w 811"/>
                <a:gd name="connsiteY4" fmla="*/ 766 h 809"/>
                <a:gd name="connsiteX5" fmla="*/ 12 w 811"/>
                <a:gd name="connsiteY5" fmla="*/ 676 h 809"/>
                <a:gd name="connsiteX6" fmla="*/ 202 w 811"/>
                <a:gd name="connsiteY6" fmla="*/ 496 h 809"/>
                <a:gd name="connsiteX7" fmla="*/ 506 w 811"/>
                <a:gd name="connsiteY7" fmla="*/ 49 h 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1" h="809">
                  <a:moveTo>
                    <a:pt x="506" y="49"/>
                  </a:moveTo>
                  <a:cubicBezTo>
                    <a:pt x="596" y="11"/>
                    <a:pt x="684" y="-4"/>
                    <a:pt x="785" y="3"/>
                  </a:cubicBezTo>
                  <a:lnTo>
                    <a:pt x="735" y="49"/>
                  </a:lnTo>
                  <a:cubicBezTo>
                    <a:pt x="646" y="310"/>
                    <a:pt x="544" y="565"/>
                    <a:pt x="417" y="811"/>
                  </a:cubicBezTo>
                  <a:cubicBezTo>
                    <a:pt x="278" y="776"/>
                    <a:pt x="126" y="761"/>
                    <a:pt x="-26" y="766"/>
                  </a:cubicBezTo>
                  <a:lnTo>
                    <a:pt x="12" y="676"/>
                  </a:lnTo>
                  <a:lnTo>
                    <a:pt x="202" y="496"/>
                  </a:lnTo>
                  <a:cubicBezTo>
                    <a:pt x="278" y="334"/>
                    <a:pt x="392" y="183"/>
                    <a:pt x="506" y="49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4" name="EMPOWER_LAYOUTTOOLS_FIT_TO_AREA" hidden="1">
            <a:extLst>
              <a:ext uri="{FF2B5EF4-FFF2-40B4-BE49-F238E27FC236}">
                <a16:creationId xmlns:a16="http://schemas.microsoft.com/office/drawing/2014/main" id="{9C0A1FF5-5AA0-4940-B97E-36BC0E690342}"/>
              </a:ext>
            </a:extLst>
          </p:cNvPr>
          <p:cNvSpPr/>
          <p:nvPr/>
        </p:nvSpPr>
        <p:spPr>
          <a:xfrm>
            <a:off x="136222" y="107833"/>
            <a:ext cx="0" cy="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>
            <a:defPPr>
              <a:defRPr lang="en-US"/>
            </a:defPPr>
            <a:lvl1pPr marL="0" algn="l" defTabSz="37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737"/>
              </a:spcAft>
              <a:buFontTx/>
              <a:buNone/>
              <a:defRPr sz="16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0" indent="0" algn="l" defTabSz="37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737"/>
              </a:spcAft>
              <a:buFontTx/>
              <a:buNone/>
              <a:defRPr sz="1600" b="1" kern="1200" baseline="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37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737"/>
              </a:spcAft>
              <a:buSzPct val="110000"/>
              <a:buFont typeface="Arial" panose="020B0604020202020204" pitchFamily="34" charset="0"/>
              <a:buChar char="•"/>
              <a:defRPr sz="16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468000" indent="-234000" algn="l" defTabSz="37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737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702000" indent="-234000" algn="l" defTabSz="37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737"/>
              </a:spcAft>
              <a:buSzPct val="90000"/>
              <a:buFont typeface="Arial" panose="020B0604020202020204" pitchFamily="34" charset="0"/>
              <a:buChar char="•"/>
              <a:defRPr sz="16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0" indent="-234000" algn="l" defTabSz="37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737"/>
              </a:spcAft>
              <a:buFont typeface="+mj-lt"/>
              <a:buAutoNum type="arabicPeriod"/>
              <a:defRPr sz="16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68000" indent="-234000" algn="l" defTabSz="37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737"/>
              </a:spcAft>
              <a:buFont typeface="+mj-lt"/>
              <a:buAutoNum type="romanLcPeriod"/>
              <a:defRPr sz="16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0" indent="0" algn="l" defTabSz="37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737"/>
              </a:spcAft>
              <a:buFontTx/>
              <a:buNone/>
              <a:defRPr sz="12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737"/>
              </a:spcAft>
              <a:buFontTx/>
              <a:buNone/>
              <a:defRPr sz="1000" kern="10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86000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10" name="Title 209">
            <a:extLst>
              <a:ext uri="{FF2B5EF4-FFF2-40B4-BE49-F238E27FC236}">
                <a16:creationId xmlns:a16="http://schemas.microsoft.com/office/drawing/2014/main" id="{4C52521D-BD66-49E5-A34C-7BEA62EEA3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 global presence with &gt;42,000 employees (year-end 2023) </a:t>
            </a:r>
          </a:p>
        </p:txBody>
      </p:sp>
      <p:sp>
        <p:nvSpPr>
          <p:cNvPr id="10" name="Ondertitel 9">
            <a:extLst>
              <a:ext uri="{FF2B5EF4-FFF2-40B4-BE49-F238E27FC236}">
                <a16:creationId xmlns:a16="http://schemas.microsoft.com/office/drawing/2014/main" id="{92072C12-E50F-FA4A-8F34-CE5667F4EB2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And offices in more than 60 locations worldwide</a:t>
            </a:r>
          </a:p>
        </p:txBody>
      </p:sp>
      <p:sp>
        <p:nvSpPr>
          <p:cNvPr id="1077" name="TextBox 240">
            <a:extLst>
              <a:ext uri="{FF2B5EF4-FFF2-40B4-BE49-F238E27FC236}">
                <a16:creationId xmlns:a16="http://schemas.microsoft.com/office/drawing/2014/main" id="{E9A3BE7F-01AF-5844-99C0-2C3771253ACA}"/>
              </a:ext>
            </a:extLst>
          </p:cNvPr>
          <p:cNvSpPr txBox="1">
            <a:spLocks/>
          </p:cNvSpPr>
          <p:nvPr/>
        </p:nvSpPr>
        <p:spPr>
          <a:xfrm>
            <a:off x="559631" y="5301009"/>
            <a:ext cx="1560694" cy="246221"/>
          </a:xfrm>
          <a:prstGeom prst="rect">
            <a:avLst/>
          </a:prstGeom>
          <a:noFill/>
        </p:spPr>
        <p:txBody>
          <a:bodyPr wrap="square" lIns="46800" tIns="0" rIns="0" bIns="0" rtlCol="0" anchor="b" anchorCtr="0">
            <a:spAutoFit/>
          </a:bodyPr>
          <a:lstStyle/>
          <a:p>
            <a:pPr>
              <a:spcAft>
                <a:spcPts val="737"/>
              </a:spcAft>
            </a:pPr>
            <a:r>
              <a:rPr lang="en-US" b="0">
                <a:solidFill>
                  <a:schemeClr val="accent4"/>
                </a:solidFill>
              </a:rPr>
              <a:t>United States</a:t>
            </a:r>
          </a:p>
        </p:txBody>
      </p:sp>
      <p:cxnSp>
        <p:nvCxnSpPr>
          <p:cNvPr id="1078" name="Straight Connector 241">
            <a:extLst>
              <a:ext uri="{FF2B5EF4-FFF2-40B4-BE49-F238E27FC236}">
                <a16:creationId xmlns:a16="http://schemas.microsoft.com/office/drawing/2014/main" id="{5E677A9A-3CB6-E343-A1CF-BEE2094B4F03}"/>
              </a:ext>
            </a:extLst>
          </p:cNvPr>
          <p:cNvCxnSpPr>
            <a:cxnSpLocks/>
          </p:cNvCxnSpPr>
          <p:nvPr/>
        </p:nvCxnSpPr>
        <p:spPr>
          <a:xfrm flipH="1">
            <a:off x="575539" y="2904699"/>
            <a:ext cx="1449376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79" name="TextBox 242">
            <a:extLst>
              <a:ext uri="{FF2B5EF4-FFF2-40B4-BE49-F238E27FC236}">
                <a16:creationId xmlns:a16="http://schemas.microsoft.com/office/drawing/2014/main" id="{EA09392A-02DD-5446-BAFC-0109CE9A96E3}"/>
              </a:ext>
            </a:extLst>
          </p:cNvPr>
          <p:cNvSpPr txBox="1">
            <a:spLocks/>
          </p:cNvSpPr>
          <p:nvPr/>
        </p:nvSpPr>
        <p:spPr>
          <a:xfrm>
            <a:off x="559631" y="5547229"/>
            <a:ext cx="1946721" cy="502734"/>
          </a:xfrm>
          <a:prstGeom prst="rect">
            <a:avLst/>
          </a:prstGeom>
          <a:noFill/>
        </p:spPr>
        <p:txBody>
          <a:bodyPr wrap="square" lIns="46800" tIns="0" rIns="0" bIns="0" rtlCol="0" anchor="t" anchorCtr="0">
            <a:noAutofit/>
          </a:bodyPr>
          <a:lstStyle/>
          <a:p>
            <a:pPr>
              <a:spcAft>
                <a:spcPts val="737"/>
              </a:spcAft>
            </a:pPr>
            <a:r>
              <a:rPr lang="en-US" sz="2400">
                <a:solidFill>
                  <a:schemeClr val="accent4"/>
                </a:solidFill>
              </a:rPr>
              <a:t>8,500</a:t>
            </a:r>
          </a:p>
        </p:txBody>
      </p:sp>
      <p:pic>
        <p:nvPicPr>
          <p:cNvPr id="1080" name="Gender neutral">
            <a:extLst>
              <a:ext uri="{FF2B5EF4-FFF2-40B4-BE49-F238E27FC236}">
                <a16:creationId xmlns:a16="http://schemas.microsoft.com/office/drawing/2014/main" id="{6AF1EDAD-454E-FA4C-927E-2824361E3DD6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661272" y="5417299"/>
            <a:ext cx="418948" cy="418948"/>
          </a:xfrm>
          <a:prstGeom prst="rect">
            <a:avLst/>
          </a:prstGeom>
        </p:spPr>
      </p:pic>
      <p:cxnSp>
        <p:nvCxnSpPr>
          <p:cNvPr id="1081" name="Rechte verbindingslijn 1080">
            <a:extLst>
              <a:ext uri="{FF2B5EF4-FFF2-40B4-BE49-F238E27FC236}">
                <a16:creationId xmlns:a16="http://schemas.microsoft.com/office/drawing/2014/main" id="{5590C272-206B-3D47-9B35-CEE580444F1E}"/>
              </a:ext>
            </a:extLst>
          </p:cNvPr>
          <p:cNvCxnSpPr>
            <a:cxnSpLocks/>
          </p:cNvCxnSpPr>
          <p:nvPr/>
        </p:nvCxnSpPr>
        <p:spPr>
          <a:xfrm>
            <a:off x="564985" y="2899840"/>
            <a:ext cx="0" cy="2894088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82" name="TextBox 240">
            <a:extLst>
              <a:ext uri="{FF2B5EF4-FFF2-40B4-BE49-F238E27FC236}">
                <a16:creationId xmlns:a16="http://schemas.microsoft.com/office/drawing/2014/main" id="{DBF179D3-C6C6-BE47-ABC9-358BD9CCD918}"/>
              </a:ext>
            </a:extLst>
          </p:cNvPr>
          <p:cNvSpPr txBox="1">
            <a:spLocks/>
          </p:cNvSpPr>
          <p:nvPr/>
        </p:nvSpPr>
        <p:spPr>
          <a:xfrm>
            <a:off x="4480364" y="5301009"/>
            <a:ext cx="1248179" cy="246221"/>
          </a:xfrm>
          <a:prstGeom prst="rect">
            <a:avLst/>
          </a:prstGeom>
          <a:noFill/>
        </p:spPr>
        <p:txBody>
          <a:bodyPr wrap="square" lIns="46800" tIns="0" rIns="0" bIns="0" rtlCol="0" anchor="b" anchorCtr="0">
            <a:spAutoFit/>
          </a:bodyPr>
          <a:lstStyle/>
          <a:p>
            <a:pPr>
              <a:spcAft>
                <a:spcPts val="737"/>
              </a:spcAft>
            </a:pPr>
            <a:r>
              <a:rPr lang="en-US" b="0">
                <a:solidFill>
                  <a:schemeClr val="accent1"/>
                </a:solidFill>
              </a:rPr>
              <a:t>Europe</a:t>
            </a:r>
          </a:p>
        </p:txBody>
      </p:sp>
      <p:cxnSp>
        <p:nvCxnSpPr>
          <p:cNvPr id="1083" name="Straight Connector 241">
            <a:extLst>
              <a:ext uri="{FF2B5EF4-FFF2-40B4-BE49-F238E27FC236}">
                <a16:creationId xmlns:a16="http://schemas.microsoft.com/office/drawing/2014/main" id="{5DC92991-B44E-964A-89CA-E1A08A66AA64}"/>
              </a:ext>
            </a:extLst>
          </p:cNvPr>
          <p:cNvCxnSpPr>
            <a:cxnSpLocks/>
          </p:cNvCxnSpPr>
          <p:nvPr/>
        </p:nvCxnSpPr>
        <p:spPr>
          <a:xfrm flipH="1">
            <a:off x="4471366" y="2546757"/>
            <a:ext cx="1145099" cy="0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84" name="TextBox 242">
            <a:extLst>
              <a:ext uri="{FF2B5EF4-FFF2-40B4-BE49-F238E27FC236}">
                <a16:creationId xmlns:a16="http://schemas.microsoft.com/office/drawing/2014/main" id="{D413003C-8141-6A40-A1DB-2E29666567D3}"/>
              </a:ext>
            </a:extLst>
          </p:cNvPr>
          <p:cNvSpPr txBox="1">
            <a:spLocks/>
          </p:cNvSpPr>
          <p:nvPr/>
        </p:nvSpPr>
        <p:spPr>
          <a:xfrm>
            <a:off x="4480364" y="5547229"/>
            <a:ext cx="1946721" cy="502734"/>
          </a:xfrm>
          <a:prstGeom prst="rect">
            <a:avLst/>
          </a:prstGeom>
          <a:noFill/>
        </p:spPr>
        <p:txBody>
          <a:bodyPr wrap="square" lIns="46800" tIns="0" rIns="0" bIns="0" rtlCol="0" anchor="t" anchorCtr="0">
            <a:noAutofit/>
          </a:bodyPr>
          <a:lstStyle/>
          <a:p>
            <a:pPr>
              <a:spcAft>
                <a:spcPts val="737"/>
              </a:spcAft>
            </a:pPr>
            <a:r>
              <a:rPr lang="en-US" sz="2400">
                <a:solidFill>
                  <a:schemeClr val="accent1"/>
                </a:solidFill>
              </a:rPr>
              <a:t>24,000</a:t>
            </a:r>
          </a:p>
        </p:txBody>
      </p:sp>
      <p:pic>
        <p:nvPicPr>
          <p:cNvPr id="1085" name="Gender neutral">
            <a:extLst>
              <a:ext uri="{FF2B5EF4-FFF2-40B4-BE49-F238E27FC236}">
                <a16:creationId xmlns:a16="http://schemas.microsoft.com/office/drawing/2014/main" id="{25739322-CD1C-0F4F-A3FF-D35E625B170A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582093" y="5417299"/>
            <a:ext cx="418948" cy="418948"/>
          </a:xfrm>
          <a:prstGeom prst="rect">
            <a:avLst/>
          </a:prstGeom>
        </p:spPr>
      </p:pic>
      <p:cxnSp>
        <p:nvCxnSpPr>
          <p:cNvPr id="1086" name="Rechte verbindingslijn 1085">
            <a:extLst>
              <a:ext uri="{FF2B5EF4-FFF2-40B4-BE49-F238E27FC236}">
                <a16:creationId xmlns:a16="http://schemas.microsoft.com/office/drawing/2014/main" id="{170D7798-F023-3146-AAD0-B9D3F7C832D7}"/>
              </a:ext>
            </a:extLst>
          </p:cNvPr>
          <p:cNvCxnSpPr>
            <a:cxnSpLocks/>
          </p:cNvCxnSpPr>
          <p:nvPr/>
        </p:nvCxnSpPr>
        <p:spPr>
          <a:xfrm>
            <a:off x="4476354" y="2542998"/>
            <a:ext cx="0" cy="3250928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87" name="TextBox 240">
            <a:extLst>
              <a:ext uri="{FF2B5EF4-FFF2-40B4-BE49-F238E27FC236}">
                <a16:creationId xmlns:a16="http://schemas.microsoft.com/office/drawing/2014/main" id="{6CC94AAB-7ED1-3A40-A4EA-78D510C5AD6F}"/>
              </a:ext>
            </a:extLst>
          </p:cNvPr>
          <p:cNvSpPr txBox="1">
            <a:spLocks/>
          </p:cNvSpPr>
          <p:nvPr/>
        </p:nvSpPr>
        <p:spPr>
          <a:xfrm>
            <a:off x="4480364" y="4024350"/>
            <a:ext cx="1248179" cy="1164421"/>
          </a:xfrm>
          <a:prstGeom prst="rect">
            <a:avLst/>
          </a:prstGeom>
          <a:noFill/>
        </p:spPr>
        <p:txBody>
          <a:bodyPr wrap="square" lIns="46800" tIns="0" rIns="0" bIns="0" rtlCol="0" anchor="b" anchorCtr="0">
            <a:spAutoFit/>
          </a:bodyPr>
          <a:lstStyle/>
          <a:p>
            <a:pPr>
              <a:spcBef>
                <a:spcPts val="0"/>
              </a:spcBef>
              <a:spcAft>
                <a:spcPts val="200"/>
              </a:spcAft>
            </a:pPr>
            <a:r>
              <a:rPr lang="en-US" sz="800">
                <a:solidFill>
                  <a:srgbClr val="10069F"/>
                </a:solidFill>
              </a:rPr>
              <a:t>Belgium</a:t>
            </a:r>
          </a:p>
          <a:p>
            <a:pPr>
              <a:spcBef>
                <a:spcPts val="0"/>
              </a:spcBef>
              <a:spcAft>
                <a:spcPts val="200"/>
              </a:spcAft>
            </a:pPr>
            <a:r>
              <a:rPr lang="en-US" sz="800">
                <a:solidFill>
                  <a:srgbClr val="10069F"/>
                </a:solidFill>
              </a:rPr>
              <a:t>France</a:t>
            </a:r>
          </a:p>
          <a:p>
            <a:pPr>
              <a:spcBef>
                <a:spcPts val="0"/>
              </a:spcBef>
              <a:spcAft>
                <a:spcPts val="200"/>
              </a:spcAft>
            </a:pPr>
            <a:r>
              <a:rPr lang="en-US" sz="800">
                <a:solidFill>
                  <a:srgbClr val="10069F"/>
                </a:solidFill>
              </a:rPr>
              <a:t>Germany</a:t>
            </a:r>
          </a:p>
          <a:p>
            <a:pPr>
              <a:spcBef>
                <a:spcPts val="0"/>
              </a:spcBef>
              <a:spcAft>
                <a:spcPts val="200"/>
              </a:spcAft>
            </a:pPr>
            <a:r>
              <a:rPr lang="en-US" sz="800">
                <a:solidFill>
                  <a:srgbClr val="10069F"/>
                </a:solidFill>
              </a:rPr>
              <a:t>Ireland</a:t>
            </a:r>
          </a:p>
          <a:p>
            <a:pPr>
              <a:spcBef>
                <a:spcPts val="0"/>
              </a:spcBef>
              <a:spcAft>
                <a:spcPts val="200"/>
              </a:spcAft>
            </a:pPr>
            <a:r>
              <a:rPr lang="en-US" sz="800">
                <a:solidFill>
                  <a:srgbClr val="10069F"/>
                </a:solidFill>
              </a:rPr>
              <a:t>Israel</a:t>
            </a:r>
          </a:p>
          <a:p>
            <a:pPr>
              <a:spcBef>
                <a:spcPts val="0"/>
              </a:spcBef>
              <a:spcAft>
                <a:spcPts val="200"/>
              </a:spcAft>
            </a:pPr>
            <a:r>
              <a:rPr lang="en-US" sz="800">
                <a:solidFill>
                  <a:srgbClr val="10069F"/>
                </a:solidFill>
              </a:rPr>
              <a:t>Italy</a:t>
            </a:r>
          </a:p>
          <a:p>
            <a:pPr>
              <a:spcBef>
                <a:spcPts val="0"/>
              </a:spcBef>
              <a:spcAft>
                <a:spcPts val="200"/>
              </a:spcAft>
            </a:pPr>
            <a:r>
              <a:rPr lang="en-US" sz="800">
                <a:solidFill>
                  <a:srgbClr val="10069F"/>
                </a:solidFill>
              </a:rPr>
              <a:t>The Netherlands</a:t>
            </a:r>
          </a:p>
          <a:p>
            <a:pPr>
              <a:spcBef>
                <a:spcPts val="0"/>
              </a:spcBef>
              <a:spcAft>
                <a:spcPts val="200"/>
              </a:spcAft>
            </a:pPr>
            <a:r>
              <a:rPr lang="en-US" sz="800">
                <a:solidFill>
                  <a:srgbClr val="10069F"/>
                </a:solidFill>
              </a:rPr>
              <a:t>United Kingdom</a:t>
            </a:r>
          </a:p>
        </p:txBody>
      </p:sp>
      <p:sp>
        <p:nvSpPr>
          <p:cNvPr id="1088" name="TextBox 240">
            <a:extLst>
              <a:ext uri="{FF2B5EF4-FFF2-40B4-BE49-F238E27FC236}">
                <a16:creationId xmlns:a16="http://schemas.microsoft.com/office/drawing/2014/main" id="{DF710421-179D-F64B-A720-8DFACFCB8E7C}"/>
              </a:ext>
            </a:extLst>
          </p:cNvPr>
          <p:cNvSpPr txBox="1">
            <a:spLocks/>
          </p:cNvSpPr>
          <p:nvPr/>
        </p:nvSpPr>
        <p:spPr>
          <a:xfrm>
            <a:off x="8115843" y="5301009"/>
            <a:ext cx="1248179" cy="246221"/>
          </a:xfrm>
          <a:prstGeom prst="rect">
            <a:avLst/>
          </a:prstGeom>
          <a:noFill/>
        </p:spPr>
        <p:txBody>
          <a:bodyPr wrap="square" lIns="46800" tIns="0" rIns="0" bIns="0" rtlCol="0" anchor="b" anchorCtr="0">
            <a:spAutoFit/>
          </a:bodyPr>
          <a:lstStyle/>
          <a:p>
            <a:pPr>
              <a:spcAft>
                <a:spcPts val="737"/>
              </a:spcAft>
            </a:pPr>
            <a:r>
              <a:rPr lang="en-US" b="0">
                <a:solidFill>
                  <a:schemeClr val="tx2"/>
                </a:solidFill>
              </a:rPr>
              <a:t>Asia</a:t>
            </a:r>
          </a:p>
        </p:txBody>
      </p:sp>
      <p:sp>
        <p:nvSpPr>
          <p:cNvPr id="1089" name="TextBox 242">
            <a:extLst>
              <a:ext uri="{FF2B5EF4-FFF2-40B4-BE49-F238E27FC236}">
                <a16:creationId xmlns:a16="http://schemas.microsoft.com/office/drawing/2014/main" id="{7B77F6B7-FEC4-224D-8E8A-7987668E05B8}"/>
              </a:ext>
            </a:extLst>
          </p:cNvPr>
          <p:cNvSpPr txBox="1">
            <a:spLocks/>
          </p:cNvSpPr>
          <p:nvPr/>
        </p:nvSpPr>
        <p:spPr>
          <a:xfrm>
            <a:off x="8115843" y="5547229"/>
            <a:ext cx="1946721" cy="502734"/>
          </a:xfrm>
          <a:prstGeom prst="rect">
            <a:avLst/>
          </a:prstGeom>
          <a:noFill/>
        </p:spPr>
        <p:txBody>
          <a:bodyPr wrap="square" lIns="46800" tIns="0" rIns="0" bIns="0" rtlCol="0" anchor="t" anchorCtr="0">
            <a:noAutofit/>
          </a:bodyPr>
          <a:lstStyle/>
          <a:p>
            <a:pPr>
              <a:spcAft>
                <a:spcPts val="737"/>
              </a:spcAft>
            </a:pPr>
            <a:r>
              <a:rPr lang="en-US" sz="2400">
                <a:solidFill>
                  <a:schemeClr val="tx2"/>
                </a:solidFill>
              </a:rPr>
              <a:t>9,500</a:t>
            </a:r>
          </a:p>
        </p:txBody>
      </p:sp>
      <p:pic>
        <p:nvPicPr>
          <p:cNvPr id="1090" name="Gender neutral">
            <a:extLst>
              <a:ext uri="{FF2B5EF4-FFF2-40B4-BE49-F238E27FC236}">
                <a16:creationId xmlns:a16="http://schemas.microsoft.com/office/drawing/2014/main" id="{4267C248-8083-7140-8D8F-A334A4A8EA9D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066986" y="5424021"/>
            <a:ext cx="418948" cy="418948"/>
          </a:xfrm>
          <a:prstGeom prst="rect">
            <a:avLst/>
          </a:prstGeom>
        </p:spPr>
      </p:pic>
      <p:sp>
        <p:nvSpPr>
          <p:cNvPr id="1091" name="TextBox 240">
            <a:extLst>
              <a:ext uri="{FF2B5EF4-FFF2-40B4-BE49-F238E27FC236}">
                <a16:creationId xmlns:a16="http://schemas.microsoft.com/office/drawing/2014/main" id="{4C725871-B06F-594B-8D77-F9F6695256AE}"/>
              </a:ext>
            </a:extLst>
          </p:cNvPr>
          <p:cNvSpPr txBox="1">
            <a:spLocks/>
          </p:cNvSpPr>
          <p:nvPr/>
        </p:nvSpPr>
        <p:spPr>
          <a:xfrm>
            <a:off x="8115843" y="4198756"/>
            <a:ext cx="1248179" cy="990014"/>
          </a:xfrm>
          <a:prstGeom prst="rect">
            <a:avLst/>
          </a:prstGeom>
          <a:noFill/>
        </p:spPr>
        <p:txBody>
          <a:bodyPr wrap="square" lIns="46800" tIns="0" rIns="0" bIns="0" rtlCol="0" anchor="b" anchorCtr="0">
            <a:spAutoFit/>
          </a:bodyPr>
          <a:lstStyle/>
          <a:p>
            <a:pPr>
              <a:spcBef>
                <a:spcPts val="0"/>
              </a:spcBef>
              <a:spcAft>
                <a:spcPts val="200"/>
              </a:spcAft>
            </a:pPr>
            <a:br>
              <a:rPr lang="en-US" sz="800">
                <a:solidFill>
                  <a:schemeClr val="tx2"/>
                </a:solidFill>
              </a:rPr>
            </a:br>
            <a:r>
              <a:rPr lang="en-US" sz="800">
                <a:solidFill>
                  <a:schemeClr val="tx2"/>
                </a:solidFill>
              </a:rPr>
              <a:t>China</a:t>
            </a:r>
          </a:p>
          <a:p>
            <a:pPr>
              <a:spcBef>
                <a:spcPts val="0"/>
              </a:spcBef>
              <a:spcAft>
                <a:spcPts val="200"/>
              </a:spcAft>
            </a:pPr>
            <a:r>
              <a:rPr lang="en-US" sz="800">
                <a:solidFill>
                  <a:schemeClr val="tx2"/>
                </a:solidFill>
              </a:rPr>
              <a:t>Japan</a:t>
            </a:r>
          </a:p>
          <a:p>
            <a:pPr>
              <a:spcBef>
                <a:spcPts val="0"/>
              </a:spcBef>
              <a:spcAft>
                <a:spcPts val="200"/>
              </a:spcAft>
            </a:pPr>
            <a:r>
              <a:rPr lang="en-US" sz="800">
                <a:solidFill>
                  <a:schemeClr val="tx2"/>
                </a:solidFill>
              </a:rPr>
              <a:t>Malaysia</a:t>
            </a:r>
          </a:p>
          <a:p>
            <a:pPr>
              <a:spcBef>
                <a:spcPts val="0"/>
              </a:spcBef>
              <a:spcAft>
                <a:spcPts val="200"/>
              </a:spcAft>
            </a:pPr>
            <a:r>
              <a:rPr lang="en-US" sz="800">
                <a:solidFill>
                  <a:schemeClr val="tx2"/>
                </a:solidFill>
              </a:rPr>
              <a:t>Singapore</a:t>
            </a:r>
          </a:p>
          <a:p>
            <a:pPr>
              <a:spcBef>
                <a:spcPts val="0"/>
              </a:spcBef>
              <a:spcAft>
                <a:spcPts val="200"/>
              </a:spcAft>
            </a:pPr>
            <a:r>
              <a:rPr lang="en-US" sz="800">
                <a:solidFill>
                  <a:schemeClr val="tx2"/>
                </a:solidFill>
              </a:rPr>
              <a:t>South Korea</a:t>
            </a:r>
          </a:p>
          <a:p>
            <a:pPr>
              <a:spcBef>
                <a:spcPts val="0"/>
              </a:spcBef>
              <a:spcAft>
                <a:spcPts val="200"/>
              </a:spcAft>
            </a:pPr>
            <a:r>
              <a:rPr lang="en-US" sz="800">
                <a:solidFill>
                  <a:schemeClr val="tx2"/>
                </a:solidFill>
              </a:rPr>
              <a:t>Taiwan</a:t>
            </a:r>
          </a:p>
        </p:txBody>
      </p:sp>
      <p:cxnSp>
        <p:nvCxnSpPr>
          <p:cNvPr id="1092" name="Rechte verbindingslijn 1091">
            <a:extLst>
              <a:ext uri="{FF2B5EF4-FFF2-40B4-BE49-F238E27FC236}">
                <a16:creationId xmlns:a16="http://schemas.microsoft.com/office/drawing/2014/main" id="{F5A2B89F-FD6E-D74C-93D6-B429AAE2DFAC}"/>
              </a:ext>
            </a:extLst>
          </p:cNvPr>
          <p:cNvCxnSpPr>
            <a:cxnSpLocks/>
          </p:cNvCxnSpPr>
          <p:nvPr/>
        </p:nvCxnSpPr>
        <p:spPr>
          <a:xfrm>
            <a:off x="8115843" y="2819297"/>
            <a:ext cx="0" cy="2974631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425178D-C6CA-4E26-044C-F47CF7A7C5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May 24, 2024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833EF79-10DB-E816-CCA2-EE4C894EF5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2" name="Slide Number Placeholder 6">
            <a:extLst>
              <a:ext uri="{FF2B5EF4-FFF2-40B4-BE49-F238E27FC236}">
                <a16:creationId xmlns:a16="http://schemas.microsoft.com/office/drawing/2014/main" id="{21C3A440-4462-6122-DF22-9588A2C1D852}"/>
              </a:ext>
            </a:extLst>
          </p:cNvPr>
          <p:cNvSpPr txBox="1">
            <a:spLocks/>
          </p:cNvSpPr>
          <p:nvPr/>
        </p:nvSpPr>
        <p:spPr>
          <a:xfrm>
            <a:off x="11811000" y="6518276"/>
            <a:ext cx="381000" cy="339724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n-US"/>
            </a:defPPr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fld id="{A2218858-49EA-4BF8-8EFE-B88A4580565A}" type="slidenum">
              <a:rPr sz="800" smtClean="0"/>
              <a:pPr algn="r">
                <a:lnSpc>
                  <a:spcPct val="110000"/>
                </a:lnSpc>
                <a:spcAft>
                  <a:spcPts val="0"/>
                </a:spcAft>
              </a:pPr>
              <a:t>4</a:t>
            </a:fld>
            <a:endParaRPr lang="en-US" sz="80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9995529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141E0E-16C6-E816-64E9-1FDB0586EF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617" y="60421"/>
            <a:ext cx="2520043" cy="372967"/>
          </a:xfrm>
        </p:spPr>
        <p:txBody>
          <a:bodyPr/>
          <a:lstStyle/>
          <a:p>
            <a:pPr algn="ctr"/>
            <a:r>
              <a:rPr lang="en-US" dirty="0"/>
              <a:t>                           Retry behavior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09AF40-A510-231A-F449-77C8AE4EE7C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41065" y="1364135"/>
            <a:ext cx="6705600" cy="4311908"/>
          </a:xfrm>
        </p:spPr>
        <p:txBody>
          <a:bodyPr/>
          <a:lstStyle>
            <a:lvl1pPr>
              <a:buFont typeface="Arial" panose="020B0604020202020204" pitchFamily="34" charset="0"/>
              <a:buChar char="•"/>
            </a:lvl1pPr>
            <a:lvl2pPr>
              <a:buFont typeface="Arial" panose="020B0604020202020204" pitchFamily="34" charset="0"/>
              <a:buChar char="•"/>
            </a:lvl2pPr>
            <a:lvl3pPr>
              <a:buSzPct val="110000"/>
              <a:buFont typeface="Arial" panose="020B0604020202020204" pitchFamily="34" charset="0"/>
              <a:buChar char="•"/>
            </a:lvl3pPr>
            <a:lvl4pPr>
              <a:buSzPct val="100000"/>
              <a:buFont typeface="Arial" panose="020B0604020202020204" pitchFamily="34" charset="0"/>
              <a:buChar char="•"/>
            </a:lvl4pPr>
            <a:lvl5pPr>
              <a:buSzPct val="90000"/>
              <a:buFont typeface="Arial" panose="020B0604020202020204" pitchFamily="34" charset="0"/>
              <a:buChar char="•"/>
            </a:lvl5pPr>
            <a:lvl6pPr>
              <a:buFont typeface="Arial" panose="020B0604020202020204" pitchFamily="34" charset="0"/>
              <a:buChar char="•"/>
            </a:lvl6pPr>
            <a:lvl7pPr>
              <a:buFont typeface="Arial" panose="020B0604020202020204" pitchFamily="34" charset="0"/>
              <a:buChar char="•"/>
            </a:lvl7pPr>
            <a:lvl8pPr>
              <a:buFont typeface="Arial" panose="020B0604020202020204" pitchFamily="34" charset="0"/>
              <a:buChar char="•"/>
            </a:lvl8pPr>
            <a:lvl9pPr/>
          </a:lstStyle>
          <a:p>
            <a:pPr marL="285750" indent="-285750"/>
            <a:endParaRPr lang="en-US" dirty="0"/>
          </a:p>
          <a:p>
            <a:pPr marL="285750" indent="-285750"/>
            <a:endParaRPr lang="en-US" dirty="0"/>
          </a:p>
          <a:p>
            <a:pPr marL="285750" indent="-285750"/>
            <a:endParaRPr lang="en-US" dirty="0"/>
          </a:p>
          <a:p>
            <a:pPr marL="285750" indent="-285750"/>
            <a:endParaRPr lang="en-US" dirty="0"/>
          </a:p>
          <a:p>
            <a:pPr>
              <a:buNone/>
            </a:pPr>
            <a:r>
              <a:rPr lang="en-US" sz="1800" b="0" i="0" dirty="0">
                <a:solidFill>
                  <a:schemeClr val="accent1"/>
                </a:solidFill>
                <a:latin typeface="JetBrains Mono"/>
              </a:rPr>
              <a:t>public</a:t>
            </a:r>
            <a:r>
              <a:rPr lang="en-US" sz="1800" b="0" i="0" dirty="0">
                <a:solidFill>
                  <a:srgbClr val="CC7832"/>
                </a:solidFill>
                <a:latin typeface="JetBrains Mono"/>
              </a:rPr>
              <a:t> </a:t>
            </a:r>
            <a:r>
              <a:rPr lang="en-US" sz="1800" b="0" i="0" dirty="0" err="1">
                <a:latin typeface="JetBrains Mono"/>
              </a:rPr>
              <a:t>RetryTemplate</a:t>
            </a:r>
            <a:r>
              <a:rPr lang="en-US" sz="1800" b="0" i="0" dirty="0">
                <a:solidFill>
                  <a:srgbClr val="A9B7C6"/>
                </a:solidFill>
                <a:latin typeface="JetBrains Mono"/>
              </a:rPr>
              <a:t> </a:t>
            </a:r>
            <a:r>
              <a:rPr lang="en-US" sz="1800" b="0" i="0" dirty="0" err="1">
                <a:solidFill>
                  <a:schemeClr val="accent1"/>
                </a:solidFill>
                <a:latin typeface="JetBrains Mono"/>
              </a:rPr>
              <a:t>getRetryTemplate</a:t>
            </a:r>
            <a:r>
              <a:rPr lang="en-US" sz="1800" b="0" i="0" dirty="0">
                <a:latin typeface="JetBrains Mono"/>
              </a:rPr>
              <a:t>() {</a:t>
            </a:r>
            <a:br>
              <a:rPr lang="en-US" sz="1800" b="0" i="0" dirty="0">
                <a:solidFill>
                  <a:srgbClr val="A9B7C6"/>
                </a:solidFill>
                <a:latin typeface="JetBrains Mono"/>
              </a:rPr>
            </a:br>
            <a:r>
              <a:rPr lang="en-US" sz="1800" b="0" i="0" dirty="0">
                <a:solidFill>
                  <a:srgbClr val="A9B7C6"/>
                </a:solidFill>
                <a:latin typeface="JetBrains Mono"/>
              </a:rPr>
              <a:t>    </a:t>
            </a:r>
            <a:r>
              <a:rPr lang="en-US" sz="1800" b="0" i="0" dirty="0">
                <a:solidFill>
                  <a:schemeClr val="accent1"/>
                </a:solidFill>
                <a:latin typeface="JetBrains Mono"/>
              </a:rPr>
              <a:t>final</a:t>
            </a:r>
            <a:r>
              <a:rPr lang="en-US" sz="1800" b="0" i="0" dirty="0">
                <a:solidFill>
                  <a:srgbClr val="CC7832"/>
                </a:solidFill>
                <a:latin typeface="JetBrains Mono"/>
              </a:rPr>
              <a:t> </a:t>
            </a:r>
            <a:r>
              <a:rPr lang="en-US" sz="1800" b="0" i="0" dirty="0" err="1">
                <a:latin typeface="JetBrains Mono"/>
              </a:rPr>
              <a:t>RetryTemplate</a:t>
            </a:r>
            <a:r>
              <a:rPr lang="en-US" sz="1800" b="0" i="0" dirty="0">
                <a:solidFill>
                  <a:srgbClr val="A9B7C6"/>
                </a:solidFill>
                <a:latin typeface="JetBrains Mono"/>
              </a:rPr>
              <a:t> </a:t>
            </a:r>
            <a:r>
              <a:rPr lang="en-US" sz="1800" b="0" i="0" dirty="0" err="1">
                <a:latin typeface="JetBrains Mono"/>
              </a:rPr>
              <a:t>retryTemplate</a:t>
            </a:r>
            <a:r>
              <a:rPr lang="en-US" sz="1800" b="0" i="0" dirty="0">
                <a:solidFill>
                  <a:srgbClr val="A9B7C6"/>
                </a:solidFill>
                <a:latin typeface="JetBrains Mono"/>
              </a:rPr>
              <a:t> = </a:t>
            </a:r>
            <a:r>
              <a:rPr lang="en-US" sz="1800" b="0" i="0" dirty="0">
                <a:solidFill>
                  <a:schemeClr val="accent1"/>
                </a:solidFill>
                <a:latin typeface="JetBrains Mono"/>
              </a:rPr>
              <a:t>new</a:t>
            </a:r>
            <a:r>
              <a:rPr lang="en-US" sz="1800" b="0" i="0" dirty="0">
                <a:solidFill>
                  <a:srgbClr val="CC7832"/>
                </a:solidFill>
                <a:latin typeface="JetBrains Mono"/>
              </a:rPr>
              <a:t> </a:t>
            </a:r>
            <a:r>
              <a:rPr lang="en-US" sz="1800" b="0" i="0" dirty="0" err="1">
                <a:latin typeface="JetBrains Mono"/>
              </a:rPr>
              <a:t>RetryTemplate</a:t>
            </a:r>
            <a:r>
              <a:rPr lang="en-US" sz="1800" b="0" i="0" dirty="0">
                <a:latin typeface="JetBrains Mono"/>
              </a:rPr>
              <a:t>()</a:t>
            </a:r>
            <a:r>
              <a:rPr lang="en-US" sz="1800" b="0" i="0" dirty="0">
                <a:solidFill>
                  <a:srgbClr val="CC7832"/>
                </a:solidFill>
                <a:latin typeface="JetBrains Mono"/>
              </a:rPr>
              <a:t>;</a:t>
            </a:r>
            <a:br>
              <a:rPr lang="en-US" sz="1800" b="0" i="0" dirty="0">
                <a:solidFill>
                  <a:srgbClr val="CC7832"/>
                </a:solidFill>
                <a:latin typeface="JetBrains Mono"/>
              </a:rPr>
            </a:br>
            <a:r>
              <a:rPr lang="en-US" sz="1800" b="0" i="0" dirty="0">
                <a:solidFill>
                  <a:srgbClr val="CC7832"/>
                </a:solidFill>
                <a:latin typeface="JetBrains Mono"/>
              </a:rPr>
              <a:t>    </a:t>
            </a:r>
            <a:r>
              <a:rPr lang="en-US" sz="1800" b="0" i="0" dirty="0" err="1">
                <a:latin typeface="JetBrains Mono"/>
              </a:rPr>
              <a:t>retryTemplate.setRetryPolicy</a:t>
            </a:r>
            <a:r>
              <a:rPr lang="en-US" sz="1800" b="0" i="0" dirty="0">
                <a:latin typeface="JetBrains Mono"/>
              </a:rPr>
              <a:t>(</a:t>
            </a:r>
            <a:r>
              <a:rPr lang="en-US" sz="1800" b="0" i="0" dirty="0" err="1">
                <a:solidFill>
                  <a:srgbClr val="9876AA"/>
                </a:solidFill>
                <a:latin typeface="JetBrains Mono"/>
              </a:rPr>
              <a:t>retryPolicy</a:t>
            </a:r>
            <a:r>
              <a:rPr lang="en-US" sz="1800" b="0" i="0" dirty="0">
                <a:latin typeface="JetBrains Mono"/>
              </a:rPr>
              <a:t>)</a:t>
            </a:r>
            <a:r>
              <a:rPr lang="en-US" sz="1800" b="0" i="0" dirty="0">
                <a:solidFill>
                  <a:srgbClr val="CC7832"/>
                </a:solidFill>
                <a:latin typeface="JetBrains Mono"/>
              </a:rPr>
              <a:t>;</a:t>
            </a:r>
            <a:br>
              <a:rPr lang="en-US" sz="1800" b="0" i="0" dirty="0">
                <a:solidFill>
                  <a:srgbClr val="CC7832"/>
                </a:solidFill>
                <a:latin typeface="JetBrains Mono"/>
              </a:rPr>
            </a:br>
            <a:r>
              <a:rPr lang="en-US" sz="1800" b="0" i="0" dirty="0">
                <a:solidFill>
                  <a:srgbClr val="CC7832"/>
                </a:solidFill>
                <a:latin typeface="JetBrains Mono"/>
              </a:rPr>
              <a:t>    </a:t>
            </a:r>
            <a:r>
              <a:rPr lang="en-US" sz="1800" b="0" i="0" dirty="0" err="1">
                <a:latin typeface="JetBrains Mono"/>
              </a:rPr>
              <a:t>retryTemplate.setBackOffPolicy</a:t>
            </a:r>
            <a:r>
              <a:rPr lang="en-US" sz="1800" b="0" i="0" dirty="0">
                <a:latin typeface="JetBrains Mono"/>
              </a:rPr>
              <a:t>(</a:t>
            </a:r>
            <a:r>
              <a:rPr lang="en-US" sz="1800" b="0" i="0" dirty="0" err="1">
                <a:solidFill>
                  <a:srgbClr val="9876AA"/>
                </a:solidFill>
                <a:latin typeface="JetBrains Mono"/>
              </a:rPr>
              <a:t>backOffPolicy</a:t>
            </a:r>
            <a:r>
              <a:rPr lang="en-US" sz="1800" b="0" i="0" dirty="0">
                <a:latin typeface="JetBrains Mono"/>
              </a:rPr>
              <a:t>)</a:t>
            </a:r>
            <a:r>
              <a:rPr lang="en-US" sz="1800" b="0" i="0" dirty="0">
                <a:solidFill>
                  <a:srgbClr val="CC7832"/>
                </a:solidFill>
                <a:latin typeface="JetBrains Mono"/>
              </a:rPr>
              <a:t>;</a:t>
            </a:r>
            <a:br>
              <a:rPr lang="en-US" sz="1800" b="0" i="0" dirty="0">
                <a:solidFill>
                  <a:srgbClr val="CC7832"/>
                </a:solidFill>
                <a:latin typeface="JetBrains Mono"/>
              </a:rPr>
            </a:br>
            <a:r>
              <a:rPr lang="en-US" sz="1800" b="0" i="0" dirty="0">
                <a:solidFill>
                  <a:srgbClr val="CC7832"/>
                </a:solidFill>
                <a:latin typeface="JetBrains Mono"/>
              </a:rPr>
              <a:t>    </a:t>
            </a:r>
            <a:r>
              <a:rPr lang="en-US" sz="1800" b="0" i="0" dirty="0" err="1">
                <a:solidFill>
                  <a:srgbClr val="9876AA"/>
                </a:solidFill>
                <a:latin typeface="JetBrains Mono"/>
              </a:rPr>
              <a:t>retryListener</a:t>
            </a:r>
            <a:r>
              <a:rPr lang="en-US" sz="1800" b="0" i="0" dirty="0" err="1">
                <a:latin typeface="JetBrains Mono"/>
              </a:rPr>
              <a:t>.forEach</a:t>
            </a:r>
            <a:r>
              <a:rPr lang="en-US" sz="1800" b="0" i="0" dirty="0">
                <a:latin typeface="JetBrains Mono"/>
              </a:rPr>
              <a:t>(</a:t>
            </a:r>
            <a:r>
              <a:rPr lang="en-US" sz="1800" b="0" i="0" dirty="0" err="1">
                <a:latin typeface="JetBrains Mono"/>
              </a:rPr>
              <a:t>retryTemplate</a:t>
            </a:r>
            <a:r>
              <a:rPr lang="en-US" sz="1800" b="0" i="0" dirty="0">
                <a:latin typeface="JetBrains Mono"/>
              </a:rPr>
              <a:t>::</a:t>
            </a:r>
            <a:r>
              <a:rPr lang="en-US" sz="1800" b="0" i="0" dirty="0" err="1">
                <a:latin typeface="JetBrains Mono"/>
              </a:rPr>
              <a:t>registerListener</a:t>
            </a:r>
            <a:r>
              <a:rPr lang="en-US" sz="1800" b="0" i="0" dirty="0">
                <a:latin typeface="JetBrains Mono"/>
              </a:rPr>
              <a:t>)</a:t>
            </a:r>
            <a:r>
              <a:rPr lang="en-US" sz="1800" b="0" i="0" dirty="0">
                <a:solidFill>
                  <a:srgbClr val="CC7832"/>
                </a:solidFill>
                <a:latin typeface="JetBrains Mono"/>
              </a:rPr>
              <a:t>;</a:t>
            </a:r>
            <a:br>
              <a:rPr lang="en-US" sz="1800" b="0" i="0" dirty="0">
                <a:solidFill>
                  <a:srgbClr val="CC7832"/>
                </a:solidFill>
                <a:latin typeface="JetBrains Mono"/>
              </a:rPr>
            </a:br>
            <a:r>
              <a:rPr lang="en-US" sz="1800" b="0" i="0" dirty="0">
                <a:solidFill>
                  <a:srgbClr val="CC7832"/>
                </a:solidFill>
                <a:latin typeface="JetBrains Mono"/>
              </a:rPr>
              <a:t>    </a:t>
            </a:r>
            <a:r>
              <a:rPr lang="en-US" sz="1800" b="0" i="0" dirty="0">
                <a:solidFill>
                  <a:schemeClr val="accent1"/>
                </a:solidFill>
                <a:latin typeface="JetBrains Mono"/>
              </a:rPr>
              <a:t>return</a:t>
            </a:r>
            <a:r>
              <a:rPr lang="en-US" sz="1800" b="0" i="0" dirty="0">
                <a:solidFill>
                  <a:srgbClr val="CC7832"/>
                </a:solidFill>
                <a:latin typeface="JetBrains Mono"/>
              </a:rPr>
              <a:t> </a:t>
            </a:r>
            <a:r>
              <a:rPr lang="en-US" sz="1800" b="0" i="0" dirty="0" err="1">
                <a:latin typeface="JetBrains Mono"/>
              </a:rPr>
              <a:t>retryTemplate</a:t>
            </a:r>
            <a:r>
              <a:rPr lang="en-US" sz="1800" b="0" i="0" dirty="0">
                <a:solidFill>
                  <a:srgbClr val="CC7832"/>
                </a:solidFill>
                <a:latin typeface="JetBrains Mono"/>
              </a:rPr>
              <a:t>;</a:t>
            </a:r>
            <a:br>
              <a:rPr lang="en-US" sz="1800" b="0" i="0" dirty="0">
                <a:solidFill>
                  <a:srgbClr val="CC7832"/>
                </a:solidFill>
                <a:latin typeface="JetBrains Mono"/>
              </a:rPr>
            </a:br>
            <a:r>
              <a:rPr lang="en-US" sz="1800" b="0" i="0" dirty="0">
                <a:latin typeface="JetBrains Mono"/>
              </a:rPr>
              <a:t>}</a:t>
            </a:r>
            <a:br>
              <a:rPr lang="en-US" sz="1800" b="0" i="0" dirty="0">
                <a:solidFill>
                  <a:srgbClr val="A9B7C6"/>
                </a:solidFill>
                <a:latin typeface="JetBrains Mono"/>
              </a:rPr>
            </a:br>
            <a:endParaRPr lang="en-US" sz="1800" b="0" i="0" dirty="0">
              <a:solidFill>
                <a:srgbClr val="A9B7C6"/>
              </a:solidFill>
              <a:latin typeface="JetBrains Mono"/>
            </a:endParaRPr>
          </a:p>
          <a:p>
            <a:pPr>
              <a:buNone/>
            </a:pPr>
            <a:endParaRPr lang="en-US" dirty="0"/>
          </a:p>
          <a:p>
            <a:pPr marL="285750" indent="-285750"/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4DB8EB-B9FC-9147-AA43-B84F7359A2AD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 dirty="0"/>
              <a:t>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BE7D784-9E69-8B18-618D-A40B3B4DE082}"/>
              </a:ext>
            </a:extLst>
          </p:cNvPr>
          <p:cNvSpPr txBox="1">
            <a:spLocks/>
          </p:cNvSpPr>
          <p:nvPr/>
        </p:nvSpPr>
        <p:spPr>
          <a:xfrm>
            <a:off x="11811000" y="6518276"/>
            <a:ext cx="381000" cy="339724"/>
          </a:xfrm>
          <a:prstGeom prst="rect">
            <a:avLst/>
          </a:prstGeom>
          <a:noFill/>
        </p:spPr>
        <p:txBody>
          <a:bodyPr/>
          <a:lstStyle>
            <a:defPPr>
              <a:defRPr lang="en-US"/>
            </a:defPPr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fld id="{A2218858-49EA-4BF8-8EFE-B88A4580565A}" type="slidenum">
              <a:rPr sz="800" smtClean="0"/>
              <a:pPr algn="r">
                <a:lnSpc>
                  <a:spcPct val="110000"/>
                </a:lnSpc>
                <a:spcAft>
                  <a:spcPts val="0"/>
                </a:spcAft>
              </a:pPr>
              <a:t>40</a:t>
            </a:fld>
            <a:endParaRPr lang="en-US" sz="800"/>
          </a:p>
        </p:txBody>
      </p:sp>
      <p:pic>
        <p:nvPicPr>
          <p:cNvPr id="8" name="Picture 7" descr="Hand holding piece of white puzzle on blue background">
            <a:extLst>
              <a:ext uri="{FF2B5EF4-FFF2-40B4-BE49-F238E27FC236}">
                <a16:creationId xmlns:a16="http://schemas.microsoft.com/office/drawing/2014/main" id="{2FA6A330-5E49-71FD-B75D-3E75C4A8112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0945" y="0"/>
            <a:ext cx="648453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516257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141E0E-16C6-E816-64E9-1FDB0586EF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247591" y="433388"/>
            <a:ext cx="4035408" cy="372967"/>
          </a:xfrm>
        </p:spPr>
        <p:txBody>
          <a:bodyPr/>
          <a:lstStyle/>
          <a:p>
            <a:pPr algn="ctr"/>
            <a:r>
              <a:rPr lang="en-US" dirty="0"/>
              <a:t>                     Retry behavior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09AF40-A510-231A-F449-77C8AE4EE7C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575954" y="1370013"/>
            <a:ext cx="7696200" cy="4680163"/>
          </a:xfrm>
        </p:spPr>
        <p:txBody>
          <a:bodyPr/>
          <a:lstStyle>
            <a:lvl1pPr>
              <a:buFont typeface="Arial" panose="020B0604020202020204" pitchFamily="34" charset="0"/>
              <a:buChar char="•"/>
            </a:lvl1pPr>
            <a:lvl2pPr>
              <a:buFont typeface="Arial" panose="020B0604020202020204" pitchFamily="34" charset="0"/>
              <a:buChar char="•"/>
            </a:lvl2pPr>
            <a:lvl3pPr>
              <a:buSzPct val="110000"/>
              <a:buFont typeface="Arial" panose="020B0604020202020204" pitchFamily="34" charset="0"/>
              <a:buChar char="•"/>
            </a:lvl3pPr>
            <a:lvl4pPr>
              <a:buSzPct val="100000"/>
              <a:buFont typeface="Arial" panose="020B0604020202020204" pitchFamily="34" charset="0"/>
              <a:buChar char="•"/>
            </a:lvl4pPr>
            <a:lvl5pPr>
              <a:buSzPct val="90000"/>
              <a:buFont typeface="Arial" panose="020B0604020202020204" pitchFamily="34" charset="0"/>
              <a:buChar char="•"/>
            </a:lvl5pPr>
            <a:lvl6pPr>
              <a:buFont typeface="Arial" panose="020B0604020202020204" pitchFamily="34" charset="0"/>
              <a:buChar char="•"/>
            </a:lvl6pPr>
            <a:lvl7pPr>
              <a:buFont typeface="Arial" panose="020B0604020202020204" pitchFamily="34" charset="0"/>
              <a:buChar char="•"/>
            </a:lvl7pPr>
            <a:lvl8pPr>
              <a:buFont typeface="Arial" panose="020B0604020202020204" pitchFamily="34" charset="0"/>
              <a:buChar char="•"/>
            </a:lvl8pPr>
            <a:lvl9pPr/>
          </a:lstStyle>
          <a:p>
            <a:pPr>
              <a:buNone/>
            </a:pPr>
            <a:endParaRPr lang="en-US" dirty="0">
              <a:solidFill>
                <a:schemeClr val="bg1"/>
              </a:solidFill>
              <a:latin typeface="Arial" panose="020B0604020202020204" pitchFamily="34" charset="0"/>
            </a:endParaRPr>
          </a:p>
          <a:p>
            <a:pPr marL="285750" indent="-285750"/>
            <a:r>
              <a:rPr lang="en-US" dirty="0">
                <a:latin typeface="Arial" panose="020B0604020202020204" pitchFamily="34" charset="0"/>
              </a:rPr>
              <a:t>The automatic retry policy can be disabled via </a:t>
            </a:r>
            <a:r>
              <a:rPr lang="en-US" i="1" dirty="0">
                <a:latin typeface="Arial" panose="020B0604020202020204" pitchFamily="34" charset="0"/>
              </a:rPr>
              <a:t>`</a:t>
            </a:r>
            <a:r>
              <a:rPr lang="en-US" i="1" dirty="0" err="1">
                <a:latin typeface="Arial" panose="020B0604020202020204" pitchFamily="34" charset="0"/>
              </a:rPr>
              <a:t>HttpClientBuilder.disableAutomaticRetries</a:t>
            </a:r>
            <a:r>
              <a:rPr lang="en-US" i="1" dirty="0">
                <a:latin typeface="Arial" panose="020B0604020202020204" pitchFamily="34" charset="0"/>
              </a:rPr>
              <a:t>()`.</a:t>
            </a:r>
          </a:p>
          <a:p>
            <a:pPr marL="285750" indent="-285750"/>
            <a:endParaRPr lang="en-US" i="1" dirty="0">
              <a:latin typeface="Arial" panose="020B0604020202020204" pitchFamily="34" charset="0"/>
            </a:endParaRPr>
          </a:p>
          <a:p>
            <a:pPr marL="285750" indent="-285750"/>
            <a:r>
              <a:rPr lang="en-US" dirty="0"/>
              <a:t>But, in `</a:t>
            </a:r>
            <a:r>
              <a:rPr lang="en-US" i="1" dirty="0" err="1"/>
              <a:t>RestTemplaceBuilder</a:t>
            </a:r>
            <a:r>
              <a:rPr lang="en-US" i="1" dirty="0"/>
              <a:t>`</a:t>
            </a:r>
            <a:r>
              <a:rPr lang="en-US" dirty="0"/>
              <a:t> there is no equivalent.</a:t>
            </a:r>
          </a:p>
          <a:p>
            <a:pPr marL="285750" indent="-285750"/>
            <a:endParaRPr lang="en-US" dirty="0"/>
          </a:p>
          <a:p>
            <a:pPr marL="285750" indent="-285750"/>
            <a:r>
              <a:rPr lang="en-US" dirty="0"/>
              <a:t>Then, a custom `</a:t>
            </a:r>
            <a:r>
              <a:rPr lang="en-US" i="1" dirty="0"/>
              <a:t>HttpClient`</a:t>
            </a:r>
            <a:r>
              <a:rPr lang="en-US" dirty="0"/>
              <a:t> instance has to provide it.</a:t>
            </a:r>
            <a:br>
              <a:rPr lang="en-US" dirty="0"/>
            </a:br>
            <a:endParaRPr lang="en-US" dirty="0"/>
          </a:p>
          <a:p>
            <a:pPr marL="285750" indent="-285750"/>
            <a:endParaRPr lang="en-US" dirty="0"/>
          </a:p>
          <a:p>
            <a:pPr marL="285750" indent="-285750"/>
            <a:endParaRPr lang="en-US" dirty="0"/>
          </a:p>
          <a:p>
            <a:pPr>
              <a:buNone/>
            </a:pPr>
            <a:r>
              <a:rPr lang="en-US" sz="1800" b="0" i="0" dirty="0">
                <a:solidFill>
                  <a:schemeClr val="accent1"/>
                </a:solidFill>
                <a:latin typeface="JetBrains Mono"/>
              </a:rPr>
              <a:t>final</a:t>
            </a:r>
            <a:r>
              <a:rPr lang="en-US" sz="1800" b="0" i="0" dirty="0">
                <a:solidFill>
                  <a:srgbClr val="CC7832"/>
                </a:solidFill>
                <a:latin typeface="JetBrains Mono"/>
              </a:rPr>
              <a:t> </a:t>
            </a:r>
            <a:r>
              <a:rPr lang="en-US" sz="1800" b="0" i="0" dirty="0">
                <a:latin typeface="JetBrains Mono"/>
              </a:rPr>
              <a:t>RestTemplate </a:t>
            </a:r>
            <a:r>
              <a:rPr lang="en-US" sz="1800" b="0" i="0" dirty="0" err="1">
                <a:latin typeface="JetBrains Mono"/>
              </a:rPr>
              <a:t>restTemplate</a:t>
            </a:r>
            <a:r>
              <a:rPr lang="en-US" sz="1800" b="0" i="0" dirty="0">
                <a:latin typeface="JetBrains Mono"/>
              </a:rPr>
              <a:t> = </a:t>
            </a:r>
          </a:p>
          <a:p>
            <a:pPr>
              <a:buNone/>
            </a:pPr>
            <a:r>
              <a:rPr lang="en-US" sz="1800" b="0" i="0" dirty="0">
                <a:solidFill>
                  <a:schemeClr val="accent1"/>
                </a:solidFill>
                <a:latin typeface="JetBrains Mono"/>
              </a:rPr>
              <a:t>new</a:t>
            </a:r>
            <a:r>
              <a:rPr lang="en-US" sz="1800" b="0" i="0" dirty="0">
                <a:solidFill>
                  <a:srgbClr val="CC7832"/>
                </a:solidFill>
                <a:latin typeface="JetBrains Mono"/>
              </a:rPr>
              <a:t> </a:t>
            </a:r>
            <a:r>
              <a:rPr lang="en-US" sz="1800" b="0" i="0" dirty="0">
                <a:latin typeface="JetBrains Mono"/>
              </a:rPr>
              <a:t>RestTemplate(</a:t>
            </a:r>
            <a:r>
              <a:rPr lang="en-US" sz="1800" b="0" i="0" dirty="0" err="1">
                <a:latin typeface="JetBrains Mono"/>
              </a:rPr>
              <a:t>httpRequestFactory</a:t>
            </a:r>
            <a:r>
              <a:rPr lang="en-US" sz="1800" b="0" i="0" dirty="0">
                <a:latin typeface="JetBrains Mono"/>
              </a:rPr>
              <a:t>)</a:t>
            </a:r>
            <a:r>
              <a:rPr lang="en-US" sz="1800" b="0" i="0" dirty="0">
                <a:solidFill>
                  <a:srgbClr val="CC7832"/>
                </a:solidFill>
                <a:latin typeface="JetBrains Mono"/>
              </a:rPr>
              <a:t>;</a:t>
            </a:r>
          </a:p>
          <a:p>
            <a:pPr>
              <a:buNone/>
            </a:pPr>
            <a:endParaRPr lang="en-US" dirty="0">
              <a:solidFill>
                <a:schemeClr val="bg1"/>
              </a:solidFill>
            </a:endParaRPr>
          </a:p>
          <a:p>
            <a:pPr>
              <a:buNone/>
            </a:pPr>
            <a:endParaRPr lang="en-US" dirty="0">
              <a:solidFill>
                <a:schemeClr val="bg1"/>
              </a:solidFill>
            </a:endParaRPr>
          </a:p>
          <a:p>
            <a:pPr>
              <a:buNone/>
            </a:pPr>
            <a:endParaRPr lang="en-US" dirty="0">
              <a:solidFill>
                <a:schemeClr val="bg1"/>
              </a:solidFill>
            </a:endParaRPr>
          </a:p>
          <a:p>
            <a:pPr>
              <a:buNone/>
            </a:pP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4DB8EB-B9FC-9147-AA43-B84F7359A2AD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C78608E3-B6D1-34A2-7A73-DBC99343BC8B}"/>
              </a:ext>
            </a:extLst>
          </p:cNvPr>
          <p:cNvSpPr txBox="1">
            <a:spLocks/>
          </p:cNvSpPr>
          <p:nvPr/>
        </p:nvSpPr>
        <p:spPr>
          <a:xfrm>
            <a:off x="11811000" y="6518276"/>
            <a:ext cx="381000" cy="339724"/>
          </a:xfrm>
          <a:prstGeom prst="rect">
            <a:avLst/>
          </a:prstGeom>
          <a:noFill/>
        </p:spPr>
        <p:txBody>
          <a:bodyPr/>
          <a:lstStyle>
            <a:defPPr>
              <a:defRPr lang="en-US"/>
            </a:defPPr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fld id="{A2218858-49EA-4BF8-8EFE-B88A4580565A}" type="slidenum">
              <a:rPr sz="800" smtClean="0"/>
              <a:pPr algn="r">
                <a:lnSpc>
                  <a:spcPct val="110000"/>
                </a:lnSpc>
                <a:spcAft>
                  <a:spcPts val="0"/>
                </a:spcAft>
              </a:pPr>
              <a:t>41</a:t>
            </a:fld>
            <a:endParaRPr lang="en-US" sz="800"/>
          </a:p>
        </p:txBody>
      </p:sp>
      <p:pic>
        <p:nvPicPr>
          <p:cNvPr id="8" name="Picture 7" descr="Hand holding piece of white puzzle on blue background">
            <a:extLst>
              <a:ext uri="{FF2B5EF4-FFF2-40B4-BE49-F238E27FC236}">
                <a16:creationId xmlns:a16="http://schemas.microsoft.com/office/drawing/2014/main" id="{84FA8405-455D-7528-D57D-8E9EBD8121F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5417" y="0"/>
            <a:ext cx="648453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360882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141E0E-16C6-E816-64E9-1FDB0586EF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javax to jakarta namespac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09AF40-A510-231A-F449-77C8AE4EE7C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399" y="1369799"/>
            <a:ext cx="7462201" cy="4680163"/>
          </a:xfrm>
        </p:spPr>
        <p:txBody>
          <a:bodyPr/>
          <a:lstStyle>
            <a:lvl1pPr>
              <a:buFont typeface="Arial" panose="020B0604020202020204" pitchFamily="34" charset="0"/>
              <a:buChar char="•"/>
            </a:lvl1pPr>
            <a:lvl2pPr>
              <a:buFont typeface="Arial" panose="020B0604020202020204" pitchFamily="34" charset="0"/>
              <a:buChar char="•"/>
            </a:lvl2pPr>
            <a:lvl3pPr>
              <a:buSzPct val="110000"/>
              <a:buFont typeface="Arial" panose="020B0604020202020204" pitchFamily="34" charset="0"/>
              <a:buChar char="•"/>
            </a:lvl3pPr>
            <a:lvl4pPr>
              <a:buSzPct val="100000"/>
              <a:buFont typeface="Arial" panose="020B0604020202020204" pitchFamily="34" charset="0"/>
              <a:buChar char="•"/>
            </a:lvl4pPr>
            <a:lvl5pPr>
              <a:buSzPct val="90000"/>
              <a:buFont typeface="Arial" panose="020B0604020202020204" pitchFamily="34" charset="0"/>
              <a:buChar char="•"/>
            </a:lvl5pPr>
            <a:lvl6pPr>
              <a:buFont typeface="Arial" panose="020B0604020202020204" pitchFamily="34" charset="0"/>
              <a:buChar char="•"/>
            </a:lvl6pPr>
            <a:lvl7pPr>
              <a:buFont typeface="Arial" panose="020B0604020202020204" pitchFamily="34" charset="0"/>
              <a:buChar char="•"/>
            </a:lvl7pPr>
            <a:lvl8pPr>
              <a:buFont typeface="Arial" panose="020B0604020202020204" pitchFamily="34" charset="0"/>
              <a:buChar char="•"/>
            </a:lvl8pPr>
            <a:lvl9pPr/>
          </a:lstStyle>
          <a:p>
            <a:pPr marL="285750" indent="-285750"/>
            <a:endParaRPr lang="en-US" dirty="0"/>
          </a:p>
          <a:p>
            <a:pPr marL="285750" indent="-285750"/>
            <a:endParaRPr lang="en-US" dirty="0"/>
          </a:p>
          <a:p>
            <a:pPr marL="285750" indent="-285750"/>
            <a:endParaRPr lang="en-US" dirty="0"/>
          </a:p>
          <a:p>
            <a:pPr marL="285750" indent="-285750"/>
            <a:endParaRPr lang="en-US" dirty="0"/>
          </a:p>
          <a:p>
            <a:pPr marL="285750" indent="-285750"/>
            <a:r>
              <a:rPr lang="en-US" dirty="0"/>
              <a:t>Spring Boot v3 relies on the Jakarta namespace, see </a:t>
            </a:r>
            <a:r>
              <a:rPr lang="en-US" dirty="0">
                <a:hlinkClick r:id="rId3"/>
              </a:rPr>
              <a:t>Jakarta EE section </a:t>
            </a:r>
            <a:r>
              <a:rPr lang="en-US" dirty="0"/>
              <a:t>in migration guide. </a:t>
            </a:r>
          </a:p>
          <a:p>
            <a:pPr marL="285750" indent="-285750"/>
            <a:endParaRPr lang="en-US" dirty="0"/>
          </a:p>
          <a:p>
            <a:pPr marL="285750" indent="-285750"/>
            <a:r>
              <a:rPr lang="en-US" dirty="0"/>
              <a:t>Refactor to use Jakarta, e.g. JAX-RS, Validation and inject annotations.</a:t>
            </a:r>
          </a:p>
          <a:p>
            <a:pPr>
              <a:buNone/>
            </a:pPr>
            <a:endParaRPr lang="en-US" dirty="0"/>
          </a:p>
          <a:p>
            <a:pPr>
              <a:buNone/>
            </a:pPr>
            <a:endParaRPr lang="en-US" dirty="0"/>
          </a:p>
          <a:p>
            <a:pPr>
              <a:buNone/>
            </a:pPr>
            <a:endParaRPr lang="en-US" dirty="0"/>
          </a:p>
          <a:p>
            <a:pPr>
              <a:buNone/>
            </a:pPr>
            <a:r>
              <a:rPr lang="en-US" dirty="0"/>
              <a:t>Note: For java 17, </a:t>
            </a:r>
            <a:r>
              <a:rPr lang="en-US" dirty="0" err="1"/>
              <a:t>javax</a:t>
            </a:r>
            <a:r>
              <a:rPr lang="en-US" dirty="0"/>
              <a:t> can still be used but for SB 3 hard dependency to move to </a:t>
            </a:r>
            <a:r>
              <a:rPr lang="en-US" dirty="0" err="1"/>
              <a:t>jakarta</a:t>
            </a:r>
            <a:r>
              <a:rPr lang="en-US" dirty="0"/>
              <a:t>.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4DB8EB-B9FC-9147-AA43-B84F7359A2AD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 dirty="0"/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A7D6D9B-B953-9E2F-CC75-E2FECC4AC2A6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4960" y="2362200"/>
            <a:ext cx="4143621" cy="3149152"/>
          </a:xfrm>
          <a:prstGeom prst="rect">
            <a:avLst/>
          </a:prstGeom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14671ED-F381-C2CE-A42E-64ADE945CB61}"/>
              </a:ext>
            </a:extLst>
          </p:cNvPr>
          <p:cNvSpPr txBox="1">
            <a:spLocks/>
          </p:cNvSpPr>
          <p:nvPr/>
        </p:nvSpPr>
        <p:spPr>
          <a:xfrm>
            <a:off x="11811000" y="6518276"/>
            <a:ext cx="381000" cy="339724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n-US"/>
            </a:defPPr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fld id="{A2218858-49EA-4BF8-8EFE-B88A4580565A}" type="slidenum">
              <a:rPr sz="800" smtClean="0"/>
              <a:pPr algn="r">
                <a:lnSpc>
                  <a:spcPct val="110000"/>
                </a:lnSpc>
                <a:spcAft>
                  <a:spcPts val="0"/>
                </a:spcAft>
              </a:pPr>
              <a:t>42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76546458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141E0E-16C6-E816-64E9-1FDB0586EF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wagger 2.0 specs not compatible with Jakarta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09AF40-A510-231A-F449-77C8AE4EE7C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399" y="1369799"/>
            <a:ext cx="8605201" cy="4680163"/>
          </a:xfrm>
        </p:spPr>
        <p:txBody>
          <a:bodyPr/>
          <a:lstStyle>
            <a:lvl1pPr>
              <a:buFont typeface="Arial" panose="020B0604020202020204" pitchFamily="34" charset="0"/>
              <a:buChar char="•"/>
            </a:lvl1pPr>
            <a:lvl2pPr>
              <a:buFont typeface="Arial" panose="020B0604020202020204" pitchFamily="34" charset="0"/>
              <a:buChar char="•"/>
            </a:lvl2pPr>
            <a:lvl3pPr>
              <a:buSzPct val="110000"/>
              <a:buFont typeface="Arial" panose="020B0604020202020204" pitchFamily="34" charset="0"/>
              <a:buChar char="•"/>
            </a:lvl3pPr>
            <a:lvl4pPr>
              <a:buSzPct val="100000"/>
              <a:buFont typeface="Arial" panose="020B0604020202020204" pitchFamily="34" charset="0"/>
              <a:buChar char="•"/>
            </a:lvl4pPr>
            <a:lvl5pPr>
              <a:buSzPct val="90000"/>
              <a:buFont typeface="Arial" panose="020B0604020202020204" pitchFamily="34" charset="0"/>
              <a:buChar char="•"/>
            </a:lvl5pPr>
            <a:lvl6pPr>
              <a:buFont typeface="Arial" panose="020B0604020202020204" pitchFamily="34" charset="0"/>
              <a:buChar char="•"/>
            </a:lvl6pPr>
            <a:lvl7pPr>
              <a:buFont typeface="Arial" panose="020B0604020202020204" pitchFamily="34" charset="0"/>
              <a:buChar char="•"/>
            </a:lvl7pPr>
            <a:lvl8pPr>
              <a:buFont typeface="Arial" panose="020B0604020202020204" pitchFamily="34" charset="0"/>
              <a:buChar char="•"/>
            </a:lvl8pPr>
            <a:lvl9pPr/>
          </a:lstStyle>
          <a:p>
            <a:pPr marL="285750" indent="-285750"/>
            <a:endParaRPr lang="en-US" dirty="0"/>
          </a:p>
          <a:p>
            <a:pPr marL="285750" indent="-285750"/>
            <a:endParaRPr lang="en-US" dirty="0"/>
          </a:p>
          <a:p>
            <a:pPr marL="285750" indent="-285750"/>
            <a:endParaRPr lang="en-US" dirty="0"/>
          </a:p>
          <a:p>
            <a:pPr marL="285750" indent="-285750"/>
            <a:endParaRPr lang="en-US" dirty="0"/>
          </a:p>
          <a:p>
            <a:pPr marL="285750" indent="-285750"/>
            <a:r>
              <a:rPr lang="en-US" dirty="0"/>
              <a:t>This was triggered by the upgrade to Swagger library v2, which supports the Jakarta annotations, but it has abandoned the old Swagger 2.0 specs in favor of </a:t>
            </a:r>
            <a:r>
              <a:rPr lang="en-US" dirty="0" err="1"/>
              <a:t>OpenAPI</a:t>
            </a:r>
            <a:r>
              <a:rPr lang="en-US" dirty="0"/>
              <a:t> 3.0. </a:t>
            </a:r>
          </a:p>
          <a:p>
            <a:pPr marL="285750" indent="-285750"/>
            <a:endParaRPr lang="en-US" dirty="0"/>
          </a:p>
          <a:p>
            <a:pPr>
              <a:buNone/>
            </a:pPr>
            <a:endParaRPr lang="en-US" dirty="0"/>
          </a:p>
          <a:p>
            <a:pPr marL="285750" indent="-285750"/>
            <a:r>
              <a:rPr lang="en-US" dirty="0"/>
              <a:t>This is not a package relocation, but a new set of annotations.</a:t>
            </a:r>
          </a:p>
          <a:p>
            <a:pPr>
              <a:buNone/>
            </a:pP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4DB8EB-B9FC-9147-AA43-B84F7359A2AD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1FC56799-5B2B-74B0-FA06-033948C78EDC}"/>
              </a:ext>
            </a:extLst>
          </p:cNvPr>
          <p:cNvSpPr txBox="1">
            <a:spLocks/>
          </p:cNvSpPr>
          <p:nvPr/>
        </p:nvSpPr>
        <p:spPr>
          <a:xfrm>
            <a:off x="11811000" y="6518276"/>
            <a:ext cx="381000" cy="339724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n-US"/>
            </a:defPPr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fld id="{A2218858-49EA-4BF8-8EFE-B88A4580565A}" type="slidenum">
              <a:rPr sz="800" smtClean="0"/>
              <a:pPr algn="r">
                <a:lnSpc>
                  <a:spcPct val="110000"/>
                </a:lnSpc>
                <a:spcAft>
                  <a:spcPts val="0"/>
                </a:spcAft>
              </a:pPr>
              <a:t>43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321006179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Person climbing rock face">
            <a:extLst>
              <a:ext uri="{FF2B5EF4-FFF2-40B4-BE49-F238E27FC236}">
                <a16:creationId xmlns:a16="http://schemas.microsoft.com/office/drawing/2014/main" id="{A8443444-03C5-1366-C793-E0817D7E8D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736" y="0"/>
            <a:ext cx="11244264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E141E0E-16C6-E816-64E9-1FDB0586EF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0" y="452106"/>
            <a:ext cx="10858500" cy="372967"/>
          </a:xfrm>
        </p:spPr>
        <p:txBody>
          <a:bodyPr wrap="square" anchor="t">
            <a:normAutofit fontScale="90000"/>
          </a:bodyPr>
          <a:lstStyle/>
          <a:p>
            <a:r>
              <a:rPr lang="en-US">
                <a:solidFill>
                  <a:schemeClr val="bg1"/>
                </a:solidFill>
              </a:rPr>
              <a:t>Swagger 2.0 specs not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compatible with Jakarta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FF58D26-8C8F-D6EE-B30A-1BB5B436A1D3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 anchor="b">
            <a:normAutofit fontScale="25000" lnSpcReduction="20000"/>
          </a:bodyPr>
          <a:lstStyle/>
          <a:p>
            <a:pPr>
              <a:lnSpc>
                <a:spcPct val="90000"/>
              </a:lnSpc>
            </a:pPr>
            <a:fld id="{C14CD3A7-9E40-46FB-A41D-9CC29415685D}" type="datetime4">
              <a:rPr lang="en-US" sz="200" smtClean="0"/>
              <a:pPr>
                <a:lnSpc>
                  <a:spcPct val="90000"/>
                </a:lnSpc>
              </a:pPr>
              <a:t>June 4, 2024</a:t>
            </a:fld>
            <a:endParaRPr lang="en-US" sz="20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4DB8EB-B9FC-9147-AA43-B84F7359A2AD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 anchor="b">
            <a:normAutofit fontScale="25000" lnSpcReduction="20000"/>
          </a:bodyPr>
          <a:lstStyle/>
          <a:p>
            <a:pPr>
              <a:lnSpc>
                <a:spcPct val="90000"/>
              </a:lnSpc>
            </a:pPr>
            <a:r>
              <a:rPr lang="en-US" sz="200"/>
              <a:t> </a:t>
            </a:r>
          </a:p>
        </p:txBody>
      </p:sp>
      <p:sp>
        <p:nvSpPr>
          <p:cNvPr id="27" name="Subtitle 2">
            <a:extLst>
              <a:ext uri="{FF2B5EF4-FFF2-40B4-BE49-F238E27FC236}">
                <a16:creationId xmlns:a16="http://schemas.microsoft.com/office/drawing/2014/main" id="{8A9B57AD-1EE2-7819-A732-17A9CA5070BB}"/>
              </a:ext>
            </a:extLst>
          </p:cNvPr>
          <p:cNvSpPr txBox="1">
            <a:spLocks/>
          </p:cNvSpPr>
          <p:nvPr/>
        </p:nvSpPr>
        <p:spPr>
          <a:xfrm>
            <a:off x="1905000" y="3241675"/>
            <a:ext cx="3615491" cy="374650"/>
          </a:xfrm>
          <a:prstGeom prst="rect">
            <a:avLst/>
          </a:prstGeom>
        </p:spPr>
        <p:txBody>
          <a:bodyPr vert="horz" lIns="0" tIns="3600" rIns="0" bIns="0" rtlCol="0">
            <a:noAutofit/>
          </a:bodyPr>
          <a:lstStyle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000" kern="120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39725" indent="-339725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325" indent="-2286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>
                <a:solidFill>
                  <a:schemeClr val="bg1"/>
                </a:solidFill>
              </a:rPr>
              <a:t>What NOW?</a:t>
            </a:r>
          </a:p>
        </p:txBody>
      </p:sp>
      <p:sp>
        <p:nvSpPr>
          <p:cNvPr id="3" name="Slide Number Placeholder 6">
            <a:extLst>
              <a:ext uri="{FF2B5EF4-FFF2-40B4-BE49-F238E27FC236}">
                <a16:creationId xmlns:a16="http://schemas.microsoft.com/office/drawing/2014/main" id="{B7C040E8-344F-0406-3F57-1CD5FC1D34CC}"/>
              </a:ext>
            </a:extLst>
          </p:cNvPr>
          <p:cNvSpPr txBox="1">
            <a:spLocks/>
          </p:cNvSpPr>
          <p:nvPr/>
        </p:nvSpPr>
        <p:spPr>
          <a:xfrm>
            <a:off x="11811000" y="6518276"/>
            <a:ext cx="381000" cy="339724"/>
          </a:xfrm>
          <a:prstGeom prst="rect">
            <a:avLst/>
          </a:prstGeom>
          <a:noFill/>
        </p:spPr>
        <p:txBody>
          <a:bodyPr/>
          <a:lstStyle>
            <a:defPPr>
              <a:defRPr lang="en-US"/>
            </a:defPPr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fld id="{A2218858-49EA-4BF8-8EFE-B88A4580565A}" type="slidenum">
              <a:rPr sz="800" smtClean="0"/>
              <a:pPr algn="r">
                <a:lnSpc>
                  <a:spcPct val="110000"/>
                </a:lnSpc>
                <a:spcAft>
                  <a:spcPts val="0"/>
                </a:spcAft>
              </a:pPr>
              <a:t>44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340086573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141E0E-16C6-E816-64E9-1FDB0586EF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igrate from Swagger 2.0 to OpenAPI 3.0 spec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09AF40-A510-231A-F449-77C8AE4EE7C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399" y="1369799"/>
            <a:ext cx="7133338" cy="4680163"/>
          </a:xfrm>
        </p:spPr>
        <p:txBody>
          <a:bodyPr/>
          <a:lstStyle>
            <a:lvl1pPr>
              <a:buFont typeface="Arial" panose="020B0604020202020204" pitchFamily="34" charset="0"/>
              <a:buChar char="•"/>
            </a:lvl1pPr>
            <a:lvl2pPr>
              <a:buFont typeface="Arial" panose="020B0604020202020204" pitchFamily="34" charset="0"/>
              <a:buChar char="•"/>
            </a:lvl2pPr>
            <a:lvl3pPr>
              <a:buSzPct val="110000"/>
              <a:buFont typeface="Arial" panose="020B0604020202020204" pitchFamily="34" charset="0"/>
              <a:buChar char="•"/>
            </a:lvl3pPr>
            <a:lvl4pPr>
              <a:buSzPct val="100000"/>
              <a:buFont typeface="Arial" panose="020B0604020202020204" pitchFamily="34" charset="0"/>
              <a:buChar char="•"/>
            </a:lvl4pPr>
            <a:lvl5pPr>
              <a:buSzPct val="90000"/>
              <a:buFont typeface="Arial" panose="020B0604020202020204" pitchFamily="34" charset="0"/>
              <a:buChar char="•"/>
            </a:lvl5pPr>
            <a:lvl6pPr>
              <a:buFont typeface="Arial" panose="020B0604020202020204" pitchFamily="34" charset="0"/>
              <a:buChar char="•"/>
            </a:lvl6pPr>
            <a:lvl7pPr>
              <a:buFont typeface="Arial" panose="020B0604020202020204" pitchFamily="34" charset="0"/>
              <a:buChar char="•"/>
            </a:lvl7pPr>
            <a:lvl8pPr>
              <a:buFont typeface="Arial" panose="020B0604020202020204" pitchFamily="34" charset="0"/>
              <a:buChar char="•"/>
            </a:lvl8pPr>
            <a:lvl9pPr/>
          </a:lstStyle>
          <a:p>
            <a:pPr>
              <a:buNone/>
            </a:pPr>
            <a:endParaRPr lang="en-US" dirty="0"/>
          </a:p>
          <a:p>
            <a:pPr marL="285750" indent="-285750"/>
            <a:endParaRPr lang="en-US" dirty="0"/>
          </a:p>
          <a:p>
            <a:pPr marL="285750" indent="-285750"/>
            <a:endParaRPr lang="en-US" dirty="0"/>
          </a:p>
          <a:p>
            <a:pPr marL="285750" indent="-285750"/>
            <a:r>
              <a:rPr lang="en-US" dirty="0"/>
              <a:t>Replace `</a:t>
            </a:r>
            <a:r>
              <a:rPr lang="en-US" i="1" dirty="0"/>
              <a:t>io.swagger:swagger-jersey2-jaxrs`</a:t>
            </a:r>
            <a:r>
              <a:rPr lang="en-US" dirty="0"/>
              <a:t> with `</a:t>
            </a:r>
            <a:r>
              <a:rPr lang="en-US" i="1" dirty="0"/>
              <a:t>io.swagger.core.v3:swagger-jaxrs2-Jakarta` </a:t>
            </a:r>
            <a:r>
              <a:rPr lang="en-US" dirty="0"/>
              <a:t> (v2.2.8). </a:t>
            </a:r>
          </a:p>
          <a:p>
            <a:pPr>
              <a:buNone/>
            </a:pPr>
            <a:endParaRPr lang="en-US" dirty="0"/>
          </a:p>
          <a:p>
            <a:pPr marL="285750" indent="-285750"/>
            <a:r>
              <a:rPr lang="en-US" dirty="0"/>
              <a:t>The previous Swagger annotations from package `</a:t>
            </a:r>
            <a:r>
              <a:rPr lang="en-US" i="1" dirty="0" err="1"/>
              <a:t>io.swagger.annotations</a:t>
            </a:r>
            <a:r>
              <a:rPr lang="en-US" i="1" dirty="0"/>
              <a:t>`</a:t>
            </a:r>
            <a:r>
              <a:rPr lang="en-US" dirty="0"/>
              <a:t> had to be replaced with the new </a:t>
            </a:r>
            <a:r>
              <a:rPr lang="en-US" dirty="0" err="1"/>
              <a:t>OpenAPI</a:t>
            </a:r>
            <a:r>
              <a:rPr lang="en-US" dirty="0"/>
              <a:t> annotations from package `</a:t>
            </a:r>
            <a:r>
              <a:rPr lang="en-US" i="1" dirty="0"/>
              <a:t>io.swagger.v3.oas.annotations`</a:t>
            </a:r>
            <a:r>
              <a:rPr lang="en-US" dirty="0"/>
              <a:t>. </a:t>
            </a:r>
          </a:p>
          <a:p>
            <a:pPr>
              <a:buNone/>
            </a:pPr>
            <a:endParaRPr lang="en-US" dirty="0"/>
          </a:p>
          <a:p>
            <a:pPr marL="285750" indent="-285750"/>
            <a:r>
              <a:rPr lang="en-US" i="1" dirty="0"/>
              <a:t>This is not a package relocation, but a new set of annotations.</a:t>
            </a:r>
          </a:p>
          <a:p>
            <a:pPr marL="285750" indent="-285750"/>
            <a:endParaRPr lang="en-US" dirty="0"/>
          </a:p>
          <a:p>
            <a:pPr>
              <a:buNone/>
            </a:pPr>
            <a:endParaRPr lang="en-US" dirty="0"/>
          </a:p>
          <a:p>
            <a:pPr>
              <a:buNone/>
            </a:pPr>
            <a:r>
              <a:rPr lang="en-US" dirty="0"/>
              <a:t>Pro tips: </a:t>
            </a:r>
            <a:br>
              <a:rPr lang="en-US" dirty="0"/>
            </a:br>
            <a:r>
              <a:rPr lang="en-US" dirty="0"/>
              <a:t>- Define </a:t>
            </a:r>
            <a:r>
              <a:rPr lang="en-US" dirty="0" err="1"/>
              <a:t>OpenAPI</a:t>
            </a:r>
            <a:r>
              <a:rPr lang="en-US" dirty="0"/>
              <a:t> spec and then generate the java classes based on contract.</a:t>
            </a:r>
          </a:p>
          <a:p>
            <a:pPr>
              <a:buNone/>
            </a:pPr>
            <a:r>
              <a:rPr lang="en-US" dirty="0"/>
              <a:t>- Perform </a:t>
            </a:r>
            <a:r>
              <a:rPr lang="en-US" dirty="0" err="1"/>
              <a:t>OpenAPI</a:t>
            </a:r>
            <a:r>
              <a:rPr lang="en-US" dirty="0"/>
              <a:t> spec generation at build time.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4DB8EB-B9FC-9147-AA43-B84F7359A2AD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9127DBD-FCA4-537A-7B90-73035A9601B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4200" y="1966530"/>
            <a:ext cx="5188304" cy="2922745"/>
          </a:xfrm>
          <a:prstGeom prst="rect">
            <a:avLst/>
          </a:prstGeom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EAC73F3-C5DD-C853-AF08-DA70A4C3080C}"/>
              </a:ext>
            </a:extLst>
          </p:cNvPr>
          <p:cNvSpPr txBox="1">
            <a:spLocks/>
          </p:cNvSpPr>
          <p:nvPr/>
        </p:nvSpPr>
        <p:spPr>
          <a:xfrm>
            <a:off x="11811000" y="6518276"/>
            <a:ext cx="381000" cy="339724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n-US"/>
            </a:defPPr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fld id="{A2218858-49EA-4BF8-8EFE-B88A4580565A}" type="slidenum">
              <a:rPr sz="800" smtClean="0"/>
              <a:pPr algn="r">
                <a:lnSpc>
                  <a:spcPct val="110000"/>
                </a:lnSpc>
                <a:spcAft>
                  <a:spcPts val="0"/>
                </a:spcAft>
              </a:pPr>
              <a:t>45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375654267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141E0E-16C6-E816-64E9-1FDB0586EF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ireMock dependency classpath clash with Spring boot 3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09AF40-A510-231A-F449-77C8AE4EE7CC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>
            <a:lvl1pPr>
              <a:buFont typeface="Arial" panose="020B0604020202020204" pitchFamily="34" charset="0"/>
              <a:buChar char="•"/>
            </a:lvl1pPr>
            <a:lvl2pPr>
              <a:buFont typeface="Arial" panose="020B0604020202020204" pitchFamily="34" charset="0"/>
              <a:buChar char="•"/>
            </a:lvl2pPr>
            <a:lvl3pPr>
              <a:buSzPct val="110000"/>
              <a:buFont typeface="Arial" panose="020B0604020202020204" pitchFamily="34" charset="0"/>
              <a:buChar char="•"/>
            </a:lvl3pPr>
            <a:lvl4pPr>
              <a:buSzPct val="100000"/>
              <a:buFont typeface="Arial" panose="020B0604020202020204" pitchFamily="34" charset="0"/>
              <a:buChar char="•"/>
            </a:lvl4pPr>
            <a:lvl5pPr>
              <a:buSzPct val="90000"/>
              <a:buFont typeface="Arial" panose="020B0604020202020204" pitchFamily="34" charset="0"/>
              <a:buChar char="•"/>
            </a:lvl5pPr>
            <a:lvl6pPr>
              <a:buFont typeface="Arial" panose="020B0604020202020204" pitchFamily="34" charset="0"/>
              <a:buChar char="•"/>
            </a:lvl6pPr>
            <a:lvl7pPr>
              <a:buFont typeface="Arial" panose="020B0604020202020204" pitchFamily="34" charset="0"/>
              <a:buChar char="•"/>
            </a:lvl7pPr>
            <a:lvl8pPr>
              <a:buFont typeface="Arial" panose="020B0604020202020204" pitchFamily="34" charset="0"/>
              <a:buChar char="•"/>
            </a:lvl8pPr>
            <a:lvl9pPr/>
          </a:lstStyle>
          <a:p>
            <a:pPr marL="285750" indent="-285750"/>
            <a:endParaRPr lang="en-US"/>
          </a:p>
          <a:p>
            <a:pPr marL="285750" indent="-285750"/>
            <a:endParaRPr lang="en-US"/>
          </a:p>
          <a:p>
            <a:pPr marL="285750" indent="-285750"/>
            <a:endParaRPr lang="en-US"/>
          </a:p>
          <a:p>
            <a:pPr marL="285750" indent="-285750"/>
            <a:endParaRPr lang="en-US"/>
          </a:p>
          <a:p>
            <a:pPr marL="285750" indent="-285750"/>
            <a:r>
              <a:rPr lang="en-US"/>
              <a:t>For </a:t>
            </a:r>
            <a:r>
              <a:rPr lang="en-US" err="1"/>
              <a:t>Wiremock</a:t>
            </a:r>
            <a:r>
              <a:rPr lang="en-US"/>
              <a:t> versions before 3.x</a:t>
            </a:r>
          </a:p>
          <a:p>
            <a:pPr>
              <a:buNone/>
            </a:pP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4DB8EB-B9FC-9147-AA43-B84F7359A2AD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15491F5-B59A-E4BA-DB87-032D5444DF1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9000" y="2292358"/>
            <a:ext cx="2438579" cy="916849"/>
          </a:xfrm>
          <a:prstGeom prst="rect">
            <a:avLst/>
          </a:prstGeom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FDEDD59-AD81-9127-E24F-1B0336BE3C51}"/>
              </a:ext>
            </a:extLst>
          </p:cNvPr>
          <p:cNvSpPr txBox="1">
            <a:spLocks/>
          </p:cNvSpPr>
          <p:nvPr/>
        </p:nvSpPr>
        <p:spPr>
          <a:xfrm>
            <a:off x="11811000" y="6518276"/>
            <a:ext cx="381000" cy="339724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n-US"/>
            </a:defPPr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fld id="{A2218858-49EA-4BF8-8EFE-B88A4580565A}" type="slidenum">
              <a:rPr sz="800" smtClean="0"/>
              <a:pPr algn="r">
                <a:lnSpc>
                  <a:spcPct val="110000"/>
                </a:lnSpc>
                <a:spcAft>
                  <a:spcPts val="0"/>
                </a:spcAft>
              </a:pPr>
              <a:t>46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20091113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141E0E-16C6-E816-64E9-1FDB0586EF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test </a:t>
            </a:r>
            <a:r>
              <a:rPr lang="en-US" dirty="0" err="1"/>
              <a:t>WireMock</a:t>
            </a:r>
            <a:r>
              <a:rPr lang="en-US" dirty="0"/>
              <a:t> depends on Jetty 11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09AF40-A510-231A-F449-77C8AE4EE7CC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>
            <a:lvl1pPr>
              <a:buFont typeface="Arial" panose="020B0604020202020204" pitchFamily="34" charset="0"/>
              <a:buChar char="•"/>
            </a:lvl1pPr>
            <a:lvl2pPr>
              <a:buFont typeface="Arial" panose="020B0604020202020204" pitchFamily="34" charset="0"/>
              <a:buChar char="•"/>
            </a:lvl2pPr>
            <a:lvl3pPr>
              <a:buSzPct val="110000"/>
              <a:buFont typeface="Arial" panose="020B0604020202020204" pitchFamily="34" charset="0"/>
              <a:buChar char="•"/>
            </a:lvl3pPr>
            <a:lvl4pPr>
              <a:buSzPct val="100000"/>
              <a:buFont typeface="Arial" panose="020B0604020202020204" pitchFamily="34" charset="0"/>
              <a:buChar char="•"/>
            </a:lvl4pPr>
            <a:lvl5pPr>
              <a:buSzPct val="90000"/>
              <a:buFont typeface="Arial" panose="020B0604020202020204" pitchFamily="34" charset="0"/>
              <a:buChar char="•"/>
            </a:lvl5pPr>
            <a:lvl6pPr>
              <a:buFont typeface="Arial" panose="020B0604020202020204" pitchFamily="34" charset="0"/>
              <a:buChar char="•"/>
            </a:lvl6pPr>
            <a:lvl7pPr>
              <a:buFont typeface="Arial" panose="020B0604020202020204" pitchFamily="34" charset="0"/>
              <a:buChar char="•"/>
            </a:lvl7pPr>
            <a:lvl8pPr>
              <a:buFont typeface="Arial" panose="020B0604020202020204" pitchFamily="34" charset="0"/>
              <a:buChar char="•"/>
            </a:lvl8pPr>
            <a:lvl9pPr/>
          </a:lstStyle>
          <a:p>
            <a:pPr marL="285750" indent="-285750"/>
            <a:endParaRPr lang="en-US" dirty="0"/>
          </a:p>
          <a:p>
            <a:pPr marL="285750" indent="-285750"/>
            <a:endParaRPr lang="en-US" dirty="0"/>
          </a:p>
          <a:p>
            <a:pPr marL="285750" indent="-285750"/>
            <a:endParaRPr lang="en-US" dirty="0"/>
          </a:p>
          <a:p>
            <a:pPr marL="285750" indent="-285750"/>
            <a:endParaRPr lang="en-US" dirty="0"/>
          </a:p>
          <a:p>
            <a:pPr marL="285750" indent="-285750"/>
            <a:r>
              <a:rPr lang="en-US" dirty="0"/>
              <a:t>Spring boot 3 using Jetty 12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4DB8EB-B9FC-9147-AA43-B84F7359A2AD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15491F5-B59A-E4BA-DB87-032D5444DF1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9000" y="2292358"/>
            <a:ext cx="2438579" cy="916849"/>
          </a:xfrm>
          <a:prstGeom prst="rect">
            <a:avLst/>
          </a:prstGeom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DAB2224-500D-6982-6231-8BC16BED4F94}"/>
              </a:ext>
            </a:extLst>
          </p:cNvPr>
          <p:cNvSpPr txBox="1">
            <a:spLocks/>
          </p:cNvSpPr>
          <p:nvPr/>
        </p:nvSpPr>
        <p:spPr>
          <a:xfrm>
            <a:off x="11811000" y="6518276"/>
            <a:ext cx="381000" cy="339724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n-US"/>
            </a:defPPr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fld id="{A2218858-49EA-4BF8-8EFE-B88A4580565A}" type="slidenum">
              <a:rPr sz="800" smtClean="0"/>
              <a:pPr algn="r">
                <a:lnSpc>
                  <a:spcPct val="110000"/>
                </a:lnSpc>
                <a:spcAft>
                  <a:spcPts val="0"/>
                </a:spcAft>
              </a:pPr>
              <a:t>47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3007277327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5 Grip Strength Exercises for Rock Climbing and Bouldering">
            <a:extLst>
              <a:ext uri="{FF2B5EF4-FFF2-40B4-BE49-F238E27FC236}">
                <a16:creationId xmlns:a16="http://schemas.microsoft.com/office/drawing/2014/main" id="{2B69BB41-3943-47D9-7FB8-BC1F292F28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9700" y="0"/>
            <a:ext cx="107823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E141E0E-16C6-E816-64E9-1FDB0586EF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6400" y="246904"/>
            <a:ext cx="10858500" cy="372967"/>
          </a:xfrm>
        </p:spPr>
        <p:txBody>
          <a:bodyPr wrap="square" anchor="t">
            <a:normAutofit fontScale="90000"/>
          </a:bodyPr>
          <a:lstStyle/>
          <a:p>
            <a:r>
              <a:rPr lang="en-US">
                <a:solidFill>
                  <a:schemeClr val="bg1"/>
                </a:solidFill>
              </a:rPr>
              <a:t>WireMock dependency classpath clash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with Spring boot 3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4DB8EB-B9FC-9147-AA43-B84F7359A2AD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 anchor="b">
            <a:normAutofit fontScale="25000" lnSpcReduction="20000"/>
          </a:bodyPr>
          <a:lstStyle/>
          <a:p>
            <a:pPr>
              <a:lnSpc>
                <a:spcPct val="90000"/>
              </a:lnSpc>
            </a:pPr>
            <a:r>
              <a:rPr lang="en-US" sz="200"/>
              <a:t> </a:t>
            </a:r>
          </a:p>
        </p:txBody>
      </p:sp>
      <p:sp>
        <p:nvSpPr>
          <p:cNvPr id="27" name="Subtitle 2">
            <a:extLst>
              <a:ext uri="{FF2B5EF4-FFF2-40B4-BE49-F238E27FC236}">
                <a16:creationId xmlns:a16="http://schemas.microsoft.com/office/drawing/2014/main" id="{8A9B57AD-1EE2-7819-A732-17A9CA5070BB}"/>
              </a:ext>
            </a:extLst>
          </p:cNvPr>
          <p:cNvSpPr txBox="1">
            <a:spLocks/>
          </p:cNvSpPr>
          <p:nvPr/>
        </p:nvSpPr>
        <p:spPr>
          <a:xfrm>
            <a:off x="2293842" y="3962400"/>
            <a:ext cx="3615491" cy="374650"/>
          </a:xfrm>
          <a:prstGeom prst="rect">
            <a:avLst/>
          </a:prstGeom>
        </p:spPr>
        <p:txBody>
          <a:bodyPr vert="horz" lIns="0" tIns="3600" rIns="0" bIns="0" rtlCol="0">
            <a:noAutofit/>
          </a:bodyPr>
          <a:lstStyle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000" kern="120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39725" indent="-339725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325" indent="-2286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/>
              <a:t>What NOW?</a:t>
            </a:r>
          </a:p>
        </p:txBody>
      </p:sp>
      <p:sp>
        <p:nvSpPr>
          <p:cNvPr id="3" name="Slide Number Placeholder 6">
            <a:extLst>
              <a:ext uri="{FF2B5EF4-FFF2-40B4-BE49-F238E27FC236}">
                <a16:creationId xmlns:a16="http://schemas.microsoft.com/office/drawing/2014/main" id="{C18D8940-655B-55CB-2D73-48E389261C9A}"/>
              </a:ext>
            </a:extLst>
          </p:cNvPr>
          <p:cNvSpPr txBox="1">
            <a:spLocks/>
          </p:cNvSpPr>
          <p:nvPr/>
        </p:nvSpPr>
        <p:spPr>
          <a:xfrm>
            <a:off x="11811000" y="6518276"/>
            <a:ext cx="381000" cy="339724"/>
          </a:xfrm>
          <a:prstGeom prst="rect">
            <a:avLst/>
          </a:prstGeom>
          <a:noFill/>
        </p:spPr>
        <p:txBody>
          <a:bodyPr/>
          <a:lstStyle>
            <a:defPPr>
              <a:defRPr lang="en-US"/>
            </a:defPPr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fld id="{A2218858-49EA-4BF8-8EFE-B88A4580565A}" type="slidenum">
              <a:rPr sz="800" smtClean="0"/>
              <a:pPr algn="r">
                <a:lnSpc>
                  <a:spcPct val="110000"/>
                </a:lnSpc>
                <a:spcAft>
                  <a:spcPts val="0"/>
                </a:spcAft>
              </a:pPr>
              <a:t>48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844247752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141E0E-16C6-E816-64E9-1FDB0586EF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285750" indent="-285750"/>
            <a:r>
              <a:rPr lang="en-US"/>
              <a:t>Use the standalone version (fat JAR with shaded dependencies)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09AF40-A510-231A-F449-77C8AE4EE7C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400" y="1369799"/>
            <a:ext cx="10857863" cy="4680163"/>
          </a:xfrm>
        </p:spPr>
        <p:txBody>
          <a:bodyPr/>
          <a:lstStyle>
            <a:lvl1pPr>
              <a:buFont typeface="Arial" panose="020B0604020202020204" pitchFamily="34" charset="0"/>
              <a:buChar char="•"/>
            </a:lvl1pPr>
            <a:lvl2pPr>
              <a:buFont typeface="Arial" panose="020B0604020202020204" pitchFamily="34" charset="0"/>
              <a:buChar char="•"/>
            </a:lvl2pPr>
            <a:lvl3pPr>
              <a:buSzPct val="110000"/>
              <a:buFont typeface="Arial" panose="020B0604020202020204" pitchFamily="34" charset="0"/>
              <a:buChar char="•"/>
            </a:lvl3pPr>
            <a:lvl4pPr>
              <a:buSzPct val="100000"/>
              <a:buFont typeface="Arial" panose="020B0604020202020204" pitchFamily="34" charset="0"/>
              <a:buChar char="•"/>
            </a:lvl4pPr>
            <a:lvl5pPr>
              <a:buSzPct val="90000"/>
              <a:buFont typeface="Arial" panose="020B0604020202020204" pitchFamily="34" charset="0"/>
              <a:buChar char="•"/>
            </a:lvl5pPr>
            <a:lvl6pPr>
              <a:buFont typeface="Arial" panose="020B0604020202020204" pitchFamily="34" charset="0"/>
              <a:buChar char="•"/>
            </a:lvl6pPr>
            <a:lvl7pPr>
              <a:buFont typeface="Arial" panose="020B0604020202020204" pitchFamily="34" charset="0"/>
              <a:buChar char="•"/>
            </a:lvl7pPr>
            <a:lvl8pPr>
              <a:buFont typeface="Arial" panose="020B0604020202020204" pitchFamily="34" charset="0"/>
              <a:buChar char="•"/>
            </a:lvl8pPr>
            <a:lvl9pPr/>
          </a:lstStyle>
          <a:p>
            <a:pPr marL="285750" indent="-285750"/>
            <a:endParaRPr lang="en-US"/>
          </a:p>
          <a:p>
            <a:pPr marL="285750" indent="-285750"/>
            <a:endParaRPr lang="en-US"/>
          </a:p>
          <a:p>
            <a:pPr marL="285750" indent="-285750"/>
            <a:endParaRPr lang="en-US"/>
          </a:p>
          <a:p>
            <a:pPr marL="285750" indent="-285750"/>
            <a:endParaRPr lang="en-US"/>
          </a:p>
          <a:p>
            <a:pPr>
              <a:buNone/>
            </a:pPr>
            <a:endParaRPr lang="en-US"/>
          </a:p>
          <a:p>
            <a:pPr>
              <a:buNone/>
            </a:pPr>
            <a:r>
              <a:rPr lang="en-US" sz="1800" b="0" i="0">
                <a:solidFill>
                  <a:srgbClr val="080808"/>
                </a:solidFill>
                <a:latin typeface="JetBrains Mono"/>
              </a:rPr>
              <a:t>&lt;</a:t>
            </a:r>
            <a:r>
              <a:rPr lang="en-US" sz="1800" b="0" i="0">
                <a:solidFill>
                  <a:srgbClr val="0033B3"/>
                </a:solidFill>
                <a:latin typeface="JetBrains Mono"/>
              </a:rPr>
              <a:t>version.wiremock-standalone</a:t>
            </a:r>
            <a:r>
              <a:rPr lang="en-US" sz="1800" b="0" i="0">
                <a:solidFill>
                  <a:srgbClr val="080808"/>
                </a:solidFill>
                <a:latin typeface="JetBrains Mono"/>
              </a:rPr>
              <a:t>&gt;3.4.1&lt;/</a:t>
            </a:r>
            <a:r>
              <a:rPr lang="en-US" sz="1800" b="0" i="0">
                <a:solidFill>
                  <a:srgbClr val="0033B3"/>
                </a:solidFill>
                <a:latin typeface="JetBrains Mono"/>
              </a:rPr>
              <a:t>version.wiremock-standalone</a:t>
            </a:r>
            <a:r>
              <a:rPr lang="en-US" sz="1800" b="0" i="0">
                <a:solidFill>
                  <a:srgbClr val="080808"/>
                </a:solidFill>
                <a:latin typeface="JetBrains Mono"/>
              </a:rPr>
              <a:t>&gt;</a:t>
            </a:r>
          </a:p>
          <a:p>
            <a:pPr>
              <a:buNone/>
            </a:pPr>
            <a:endParaRPr lang="en-US"/>
          </a:p>
          <a:p>
            <a:pPr>
              <a:buNone/>
            </a:pPr>
            <a:endParaRPr lang="en-US"/>
          </a:p>
          <a:p>
            <a:pPr>
              <a:buNone/>
            </a:pPr>
            <a:r>
              <a:rPr lang="en-US" sz="1800" b="0" i="0">
                <a:solidFill>
                  <a:srgbClr val="080808"/>
                </a:solidFill>
                <a:latin typeface="JetBrains Mono"/>
              </a:rPr>
              <a:t>&lt;</a:t>
            </a:r>
            <a:r>
              <a:rPr lang="en-US" sz="1800" b="0" i="0">
                <a:solidFill>
                  <a:srgbClr val="0033B3"/>
                </a:solidFill>
                <a:latin typeface="JetBrains Mono"/>
              </a:rPr>
              <a:t>dependency</a:t>
            </a:r>
            <a:r>
              <a:rPr lang="en-US" sz="1800" b="0" i="0">
                <a:solidFill>
                  <a:srgbClr val="080808"/>
                </a:solidFill>
                <a:latin typeface="JetBrains Mono"/>
              </a:rPr>
              <a:t>&gt;</a:t>
            </a:r>
            <a:br>
              <a:rPr lang="en-US" sz="1800" b="0" i="0">
                <a:solidFill>
                  <a:srgbClr val="080808"/>
                </a:solidFill>
                <a:latin typeface="JetBrains Mono"/>
              </a:rPr>
            </a:br>
            <a:r>
              <a:rPr lang="en-US" sz="1800" b="0" i="0">
                <a:solidFill>
                  <a:srgbClr val="080808"/>
                </a:solidFill>
                <a:latin typeface="JetBrains Mono"/>
              </a:rPr>
              <a:t>    &lt;</a:t>
            </a:r>
            <a:r>
              <a:rPr lang="en-US" sz="1800" b="0" i="0">
                <a:solidFill>
                  <a:srgbClr val="0033B3"/>
                </a:solidFill>
                <a:latin typeface="JetBrains Mono"/>
              </a:rPr>
              <a:t>groupId</a:t>
            </a:r>
            <a:r>
              <a:rPr lang="en-US" sz="1800" b="0" i="0">
                <a:solidFill>
                  <a:srgbClr val="080808"/>
                </a:solidFill>
                <a:latin typeface="JetBrains Mono"/>
              </a:rPr>
              <a:t>&gt;org.wiremock&lt;/</a:t>
            </a:r>
            <a:r>
              <a:rPr lang="en-US" sz="1800" b="0" i="0">
                <a:solidFill>
                  <a:srgbClr val="0033B3"/>
                </a:solidFill>
                <a:latin typeface="JetBrains Mono"/>
              </a:rPr>
              <a:t>groupId</a:t>
            </a:r>
            <a:r>
              <a:rPr lang="en-US" sz="1800" b="0" i="0">
                <a:solidFill>
                  <a:srgbClr val="080808"/>
                </a:solidFill>
                <a:latin typeface="JetBrains Mono"/>
              </a:rPr>
              <a:t>&gt;</a:t>
            </a:r>
            <a:br>
              <a:rPr lang="en-US" sz="1800" b="0" i="0">
                <a:solidFill>
                  <a:srgbClr val="080808"/>
                </a:solidFill>
                <a:latin typeface="JetBrains Mono"/>
              </a:rPr>
            </a:br>
            <a:r>
              <a:rPr lang="en-US" sz="1800" b="0" i="0">
                <a:solidFill>
                  <a:srgbClr val="080808"/>
                </a:solidFill>
                <a:latin typeface="JetBrains Mono"/>
              </a:rPr>
              <a:t>    &lt;</a:t>
            </a:r>
            <a:r>
              <a:rPr lang="en-US" sz="1800" b="0" i="0">
                <a:solidFill>
                  <a:srgbClr val="0033B3"/>
                </a:solidFill>
                <a:latin typeface="JetBrains Mono"/>
              </a:rPr>
              <a:t>artifactId</a:t>
            </a:r>
            <a:r>
              <a:rPr lang="en-US" sz="1800" b="0" i="0">
                <a:solidFill>
                  <a:srgbClr val="080808"/>
                </a:solidFill>
                <a:latin typeface="JetBrains Mono"/>
              </a:rPr>
              <a:t>&gt;wiremock-standalone&lt;/</a:t>
            </a:r>
            <a:r>
              <a:rPr lang="en-US" sz="1800" b="0" i="0">
                <a:solidFill>
                  <a:srgbClr val="0033B3"/>
                </a:solidFill>
                <a:latin typeface="JetBrains Mono"/>
              </a:rPr>
              <a:t>artifactId</a:t>
            </a:r>
            <a:r>
              <a:rPr lang="en-US" sz="1800" b="0" i="0">
                <a:solidFill>
                  <a:srgbClr val="080808"/>
                </a:solidFill>
                <a:latin typeface="JetBrains Mono"/>
              </a:rPr>
              <a:t>&gt;</a:t>
            </a:r>
            <a:br>
              <a:rPr lang="en-US" sz="1800" b="0" i="0">
                <a:solidFill>
                  <a:srgbClr val="080808"/>
                </a:solidFill>
                <a:latin typeface="JetBrains Mono"/>
              </a:rPr>
            </a:br>
            <a:r>
              <a:rPr lang="en-US" sz="1800" b="0" i="0">
                <a:solidFill>
                  <a:srgbClr val="080808"/>
                </a:solidFill>
                <a:latin typeface="JetBrains Mono"/>
              </a:rPr>
              <a:t>    &lt;</a:t>
            </a:r>
            <a:r>
              <a:rPr lang="en-US" sz="1800" b="0" i="0">
                <a:solidFill>
                  <a:srgbClr val="0033B3"/>
                </a:solidFill>
                <a:latin typeface="JetBrains Mono"/>
              </a:rPr>
              <a:t>version</a:t>
            </a:r>
            <a:r>
              <a:rPr lang="en-US" sz="1800" b="0" i="0">
                <a:solidFill>
                  <a:srgbClr val="080808"/>
                </a:solidFill>
                <a:latin typeface="JetBrains Mono"/>
              </a:rPr>
              <a:t>&gt;${version.wiremock-standalone}&lt;/</a:t>
            </a:r>
            <a:r>
              <a:rPr lang="en-US" sz="1800" b="0" i="0">
                <a:solidFill>
                  <a:srgbClr val="0033B3"/>
                </a:solidFill>
                <a:latin typeface="JetBrains Mono"/>
              </a:rPr>
              <a:t>version</a:t>
            </a:r>
            <a:r>
              <a:rPr lang="en-US" sz="1800" b="0" i="0">
                <a:solidFill>
                  <a:srgbClr val="080808"/>
                </a:solidFill>
                <a:latin typeface="JetBrains Mono"/>
              </a:rPr>
              <a:t>&gt;</a:t>
            </a:r>
            <a:br>
              <a:rPr lang="en-US" sz="1800" b="0" i="0">
                <a:solidFill>
                  <a:srgbClr val="080808"/>
                </a:solidFill>
                <a:latin typeface="JetBrains Mono"/>
              </a:rPr>
            </a:br>
            <a:r>
              <a:rPr lang="en-US" sz="1800" b="0" i="0">
                <a:solidFill>
                  <a:srgbClr val="080808"/>
                </a:solidFill>
                <a:latin typeface="JetBrains Mono"/>
              </a:rPr>
              <a:t>    &lt;</a:t>
            </a:r>
            <a:r>
              <a:rPr lang="en-US" sz="1800" b="0" i="0">
                <a:solidFill>
                  <a:srgbClr val="0033B3"/>
                </a:solidFill>
                <a:latin typeface="JetBrains Mono"/>
              </a:rPr>
              <a:t>scope</a:t>
            </a:r>
            <a:r>
              <a:rPr lang="en-US" sz="1800" b="0" i="0">
                <a:solidFill>
                  <a:srgbClr val="080808"/>
                </a:solidFill>
                <a:latin typeface="JetBrains Mono"/>
              </a:rPr>
              <a:t>&gt;test&lt;/</a:t>
            </a:r>
            <a:r>
              <a:rPr lang="en-US" sz="1800" b="0" i="0">
                <a:solidFill>
                  <a:srgbClr val="0033B3"/>
                </a:solidFill>
                <a:latin typeface="JetBrains Mono"/>
              </a:rPr>
              <a:t>scope</a:t>
            </a:r>
            <a:r>
              <a:rPr lang="en-US" sz="1800" b="0" i="0">
                <a:solidFill>
                  <a:srgbClr val="080808"/>
                </a:solidFill>
                <a:latin typeface="JetBrains Mono"/>
              </a:rPr>
              <a:t>&gt;</a:t>
            </a:r>
            <a:br>
              <a:rPr lang="en-US" sz="1800" b="0" i="0">
                <a:solidFill>
                  <a:srgbClr val="080808"/>
                </a:solidFill>
                <a:latin typeface="JetBrains Mono"/>
              </a:rPr>
            </a:br>
            <a:r>
              <a:rPr lang="en-US" sz="1800" b="0" i="0">
                <a:solidFill>
                  <a:srgbClr val="080808"/>
                </a:solidFill>
                <a:latin typeface="JetBrains Mono"/>
              </a:rPr>
              <a:t>&lt;/</a:t>
            </a:r>
            <a:r>
              <a:rPr lang="en-US" sz="1800" b="0" i="0">
                <a:solidFill>
                  <a:srgbClr val="0033B3"/>
                </a:solidFill>
                <a:latin typeface="JetBrains Mono"/>
              </a:rPr>
              <a:t>dependency</a:t>
            </a:r>
            <a:r>
              <a:rPr lang="en-US" sz="1800" b="0" i="0">
                <a:solidFill>
                  <a:srgbClr val="080808"/>
                </a:solidFill>
                <a:latin typeface="JetBrains Mono"/>
              </a:rPr>
              <a:t>&gt;</a:t>
            </a:r>
          </a:p>
          <a:p>
            <a:pPr>
              <a:buNone/>
            </a:pPr>
            <a:endParaRPr lang="en-US"/>
          </a:p>
          <a:p>
            <a:pPr>
              <a:buNone/>
            </a:pPr>
            <a:endParaRPr lang="en-US"/>
          </a:p>
          <a:p>
            <a:pPr>
              <a:buNone/>
            </a:pP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4DB8EB-B9FC-9147-AA43-B84F7359A2AD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03F966EC-F498-0C24-108C-01547EC57753}"/>
              </a:ext>
            </a:extLst>
          </p:cNvPr>
          <p:cNvSpPr txBox="1">
            <a:spLocks/>
          </p:cNvSpPr>
          <p:nvPr/>
        </p:nvSpPr>
        <p:spPr>
          <a:xfrm>
            <a:off x="11811000" y="6518276"/>
            <a:ext cx="381000" cy="339724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n-US"/>
            </a:defPPr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fld id="{A2218858-49EA-4BF8-8EFE-B88A4580565A}" type="slidenum">
              <a:rPr sz="800" smtClean="0"/>
              <a:pPr algn="r">
                <a:lnSpc>
                  <a:spcPct val="110000"/>
                </a:lnSpc>
                <a:spcAft>
                  <a:spcPts val="0"/>
                </a:spcAft>
              </a:pPr>
              <a:t>49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32445956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C80378E-ECCB-47F3-B640-149D8628CE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764" y="433388"/>
            <a:ext cx="10858500" cy="37296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3600" rIns="0" bIns="0" anchor="t"/>
          <a:lstStyle/>
          <a:p>
            <a:r>
              <a:rPr lang="en-US" dirty="0">
                <a:solidFill>
                  <a:srgbClr val="10069F"/>
                </a:solidFill>
                <a:latin typeface="Arial" panose="020B0604020202020204" pitchFamily="34" charset="0"/>
              </a:rPr>
              <a:t>The world has been improving computing power for 120 year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7F24A89-257B-48D8-979C-32B3AA2DD5C5}"/>
              </a:ext>
            </a:extLst>
          </p:cNvPr>
          <p:cNvCxnSpPr/>
          <p:nvPr/>
        </p:nvCxnSpPr>
        <p:spPr>
          <a:xfrm>
            <a:off x="6587704" y="4581850"/>
            <a:ext cx="0" cy="1150082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32C00CAD-B9B9-4A79-A747-D8AA5BE0259E}"/>
              </a:ext>
            </a:extLst>
          </p:cNvPr>
          <p:cNvCxnSpPr>
            <a:cxnSpLocks/>
          </p:cNvCxnSpPr>
          <p:nvPr/>
        </p:nvCxnSpPr>
        <p:spPr>
          <a:xfrm flipV="1">
            <a:off x="6602428" y="5101335"/>
            <a:ext cx="4080881" cy="1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2E143023-ED77-6F4C-A520-A5E491BEDAB5}"/>
              </a:ext>
            </a:extLst>
          </p:cNvPr>
          <p:cNvCxnSpPr>
            <a:cxnSpLocks/>
          </p:cNvCxnSpPr>
          <p:nvPr/>
        </p:nvCxnSpPr>
        <p:spPr>
          <a:xfrm flipV="1">
            <a:off x="10666688" y="4757513"/>
            <a:ext cx="0" cy="1292451"/>
          </a:xfrm>
          <a:prstGeom prst="line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D808345C-FA02-4A7A-A995-CD92C501ED7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10886" y="1184511"/>
            <a:ext cx="12202886" cy="5218439"/>
          </a:xfrm>
          <a:prstGeom prst="rect">
            <a:avLst/>
          </a:prstGeom>
        </p:spPr>
      </p:pic>
      <p:sp>
        <p:nvSpPr>
          <p:cNvPr id="17" name="01 Footnote / Source 10pt">
            <a:extLst>
              <a:ext uri="{FF2B5EF4-FFF2-40B4-BE49-F238E27FC236}">
                <a16:creationId xmlns:a16="http://schemas.microsoft.com/office/drawing/2014/main" id="{B624523B-8D1B-4F5B-A3C1-0EE082158C9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9448800" y="6446211"/>
            <a:ext cx="10858500" cy="1561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000"/>
              <a:t>Source: Ray Kurzweil, Steve </a:t>
            </a:r>
            <a:r>
              <a:rPr lang="en-US" sz="1000" err="1"/>
              <a:t>Jurvetson</a:t>
            </a:r>
            <a:endParaRPr lang="en-US" sz="100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674CBD69-BEA4-5BDC-BA2D-1EA0315B5A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3" name="Slide Number Placeholder 6">
            <a:extLst>
              <a:ext uri="{FF2B5EF4-FFF2-40B4-BE49-F238E27FC236}">
                <a16:creationId xmlns:a16="http://schemas.microsoft.com/office/drawing/2014/main" id="{06543D5D-1085-6632-C85F-91C1C0602AF2}"/>
              </a:ext>
            </a:extLst>
          </p:cNvPr>
          <p:cNvSpPr txBox="1">
            <a:spLocks/>
          </p:cNvSpPr>
          <p:nvPr/>
        </p:nvSpPr>
        <p:spPr>
          <a:xfrm>
            <a:off x="11811000" y="6518276"/>
            <a:ext cx="381000" cy="339724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n-US"/>
            </a:defPPr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fld id="{A2218858-49EA-4BF8-8EFE-B88A4580565A}" type="slidenum">
              <a:rPr sz="800" smtClean="0"/>
              <a:pPr algn="r">
                <a:lnSpc>
                  <a:spcPct val="110000"/>
                </a:lnSpc>
                <a:spcAft>
                  <a:spcPts val="0"/>
                </a:spcAft>
              </a:pPr>
              <a:t>5</a:t>
            </a:fld>
            <a:endParaRPr lang="en-US" sz="80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75090794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141E0E-16C6-E816-64E9-1FDB0586EF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285750" indent="-285750"/>
            <a:r>
              <a:rPr lang="en-US"/>
              <a:t>Use </a:t>
            </a:r>
            <a:r>
              <a:rPr lang="en-US" err="1"/>
              <a:t>Wiremock</a:t>
            </a:r>
            <a:r>
              <a:rPr lang="en-US"/>
              <a:t> with Jetty 12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09AF40-A510-231A-F449-77C8AE4EE7C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401" y="1369799"/>
            <a:ext cx="7538400" cy="4680163"/>
          </a:xfrm>
        </p:spPr>
        <p:txBody>
          <a:bodyPr/>
          <a:lstStyle>
            <a:lvl1pPr>
              <a:buFont typeface="Arial" panose="020B0604020202020204" pitchFamily="34" charset="0"/>
              <a:buChar char="•"/>
            </a:lvl1pPr>
            <a:lvl2pPr>
              <a:buFont typeface="Arial" panose="020B0604020202020204" pitchFamily="34" charset="0"/>
              <a:buChar char="•"/>
            </a:lvl2pPr>
            <a:lvl3pPr>
              <a:buSzPct val="110000"/>
              <a:buFont typeface="Arial" panose="020B0604020202020204" pitchFamily="34" charset="0"/>
              <a:buChar char="•"/>
            </a:lvl3pPr>
            <a:lvl4pPr>
              <a:buSzPct val="100000"/>
              <a:buFont typeface="Arial" panose="020B0604020202020204" pitchFamily="34" charset="0"/>
              <a:buChar char="•"/>
            </a:lvl4pPr>
            <a:lvl5pPr>
              <a:buSzPct val="90000"/>
              <a:buFont typeface="Arial" panose="020B0604020202020204" pitchFamily="34" charset="0"/>
              <a:buChar char="•"/>
            </a:lvl5pPr>
            <a:lvl6pPr>
              <a:buFont typeface="Arial" panose="020B0604020202020204" pitchFamily="34" charset="0"/>
              <a:buChar char="•"/>
            </a:lvl6pPr>
            <a:lvl7pPr>
              <a:buFont typeface="Arial" panose="020B0604020202020204" pitchFamily="34" charset="0"/>
              <a:buChar char="•"/>
            </a:lvl7pPr>
            <a:lvl8pPr>
              <a:buFont typeface="Arial" panose="020B0604020202020204" pitchFamily="34" charset="0"/>
              <a:buChar char="•"/>
            </a:lvl8pPr>
            <a:lvl9pPr/>
          </a:lstStyle>
          <a:p>
            <a:pPr marL="285750" indent="-285750"/>
            <a:endParaRPr lang="en-US"/>
          </a:p>
          <a:p>
            <a:pPr marL="285750" indent="-285750"/>
            <a:endParaRPr lang="en-US"/>
          </a:p>
          <a:p>
            <a:pPr marL="285750" indent="-285750"/>
            <a:endParaRPr lang="en-US"/>
          </a:p>
          <a:p>
            <a:pPr marL="285750" indent="-285750"/>
            <a:endParaRPr lang="en-US"/>
          </a:p>
          <a:p>
            <a:pPr>
              <a:buNone/>
            </a:pPr>
            <a:endParaRPr lang="en-US"/>
          </a:p>
          <a:p>
            <a:pPr marL="285750" indent="-285750"/>
            <a:r>
              <a:rPr lang="en-US" err="1"/>
              <a:t>WireMock</a:t>
            </a:r>
            <a:r>
              <a:rPr lang="en-US"/>
              <a:t> ships with Jetty 11 by default but fully supports Jetty 12 as well with</a:t>
            </a:r>
            <a:br>
              <a:rPr lang="en-US"/>
            </a:br>
            <a:r>
              <a:rPr lang="en-US"/>
              <a:t>a new module wiremock-jetty12</a:t>
            </a:r>
          </a:p>
          <a:p>
            <a:pPr>
              <a:buNone/>
            </a:pPr>
            <a:endParaRPr lang="en-US"/>
          </a:p>
          <a:p>
            <a:pPr>
              <a:buNone/>
            </a:pP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4DB8EB-B9FC-9147-AA43-B84F7359A2AD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EA1777C-8098-8C23-BD44-B5DDAD67DE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59572" y="2628788"/>
            <a:ext cx="4010585" cy="1600423"/>
          </a:xfrm>
          <a:prstGeom prst="rect">
            <a:avLst/>
          </a:prstGeom>
        </p:spPr>
      </p:pic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6487201C-3BF6-924C-6899-5D2E7F3A6E88}"/>
              </a:ext>
            </a:extLst>
          </p:cNvPr>
          <p:cNvSpPr txBox="1">
            <a:spLocks/>
          </p:cNvSpPr>
          <p:nvPr/>
        </p:nvSpPr>
        <p:spPr>
          <a:xfrm>
            <a:off x="11811000" y="6518276"/>
            <a:ext cx="381000" cy="339724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n-US"/>
            </a:defPPr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fld id="{A2218858-49EA-4BF8-8EFE-B88A4580565A}" type="slidenum">
              <a:rPr sz="800" smtClean="0"/>
              <a:pPr algn="r">
                <a:lnSpc>
                  <a:spcPct val="110000"/>
                </a:lnSpc>
                <a:spcAft>
                  <a:spcPts val="0"/>
                </a:spcAft>
              </a:pPr>
              <a:t>50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283868059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141E0E-16C6-E816-64E9-1FDB0586EF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Graceful shutdown phas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09AF40-A510-231A-F449-77C8AE4EE7CC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>
            <a:lvl1pPr>
              <a:buFont typeface="Arial" panose="020B0604020202020204" pitchFamily="34" charset="0"/>
              <a:buChar char="•"/>
            </a:lvl1pPr>
            <a:lvl2pPr>
              <a:buFont typeface="Arial" panose="020B0604020202020204" pitchFamily="34" charset="0"/>
              <a:buChar char="•"/>
            </a:lvl2pPr>
            <a:lvl3pPr>
              <a:buSzPct val="110000"/>
              <a:buFont typeface="Arial" panose="020B0604020202020204" pitchFamily="34" charset="0"/>
              <a:buChar char="•"/>
            </a:lvl3pPr>
            <a:lvl4pPr>
              <a:buSzPct val="100000"/>
              <a:buFont typeface="Arial" panose="020B0604020202020204" pitchFamily="34" charset="0"/>
              <a:buChar char="•"/>
            </a:lvl4pPr>
            <a:lvl5pPr>
              <a:buSzPct val="90000"/>
              <a:buFont typeface="Arial" panose="020B0604020202020204" pitchFamily="34" charset="0"/>
              <a:buChar char="•"/>
            </a:lvl5pPr>
            <a:lvl6pPr>
              <a:buFont typeface="Arial" panose="020B0604020202020204" pitchFamily="34" charset="0"/>
              <a:buChar char="•"/>
            </a:lvl6pPr>
            <a:lvl7pPr>
              <a:buFont typeface="Arial" panose="020B0604020202020204" pitchFamily="34" charset="0"/>
              <a:buChar char="•"/>
            </a:lvl7pPr>
            <a:lvl8pPr>
              <a:buFont typeface="Arial" panose="020B0604020202020204" pitchFamily="34" charset="0"/>
              <a:buChar char="•"/>
            </a:lvl8pPr>
            <a:lvl9pPr/>
          </a:lstStyle>
          <a:p>
            <a:pPr marL="285750" indent="-285750"/>
            <a:endParaRPr lang="en-US" dirty="0"/>
          </a:p>
          <a:p>
            <a:pPr marL="285750" indent="-285750"/>
            <a:endParaRPr lang="en-US" dirty="0"/>
          </a:p>
          <a:p>
            <a:pPr marL="285750" indent="-285750"/>
            <a:endParaRPr lang="en-US" dirty="0"/>
          </a:p>
          <a:p>
            <a:pPr>
              <a:buNone/>
            </a:pPr>
            <a:endParaRPr lang="en-US" dirty="0"/>
          </a:p>
          <a:p>
            <a:pPr>
              <a:buNone/>
            </a:pPr>
            <a:endParaRPr lang="en-US" dirty="0"/>
          </a:p>
          <a:p>
            <a:pPr marL="285750" indent="-285750"/>
            <a:r>
              <a:rPr lang="en-US" dirty="0"/>
              <a:t>Graceful shutdown begins in phase `</a:t>
            </a:r>
            <a:r>
              <a:rPr lang="en-US" i="1" dirty="0" err="1"/>
              <a:t>SmartLifecycle.DEFAULT_PHASE</a:t>
            </a:r>
            <a:r>
              <a:rPr lang="en-US" i="1" dirty="0"/>
              <a:t> – 2048`.</a:t>
            </a:r>
          </a:p>
          <a:p>
            <a:pPr marL="285750" indent="-285750"/>
            <a:endParaRPr lang="en-US" i="1" dirty="0"/>
          </a:p>
          <a:p>
            <a:pPr marL="285750" indent="-285750"/>
            <a:r>
              <a:rPr lang="en-US" dirty="0"/>
              <a:t>The web server is stopped in phase `</a:t>
            </a:r>
            <a:r>
              <a:rPr lang="en-US" dirty="0" err="1"/>
              <a:t>SmartLifecycle.DEFAULT_PHASE</a:t>
            </a:r>
            <a:r>
              <a:rPr lang="en-US" dirty="0"/>
              <a:t> – 1024`</a:t>
            </a:r>
          </a:p>
          <a:p>
            <a:pPr>
              <a:buNone/>
            </a:pPr>
            <a:endParaRPr lang="en-US" dirty="0"/>
          </a:p>
          <a:p>
            <a:pPr marL="285750" indent="-285750"/>
            <a:r>
              <a:rPr lang="en-US" dirty="0"/>
              <a:t>See </a:t>
            </a:r>
            <a:r>
              <a:rPr lang="en-US" dirty="0">
                <a:hlinkClick r:id="rId3"/>
              </a:rPr>
              <a:t>Updated Phases for Graceful Shutdown</a:t>
            </a:r>
            <a:r>
              <a:rPr lang="en-US" dirty="0"/>
              <a:t> in Spring Boot 3.0 migration guide.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4DB8EB-B9FC-9147-AA43-B84F7359A2AD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386E8F23-8EF2-A90C-94D2-0938C3073AEB}"/>
              </a:ext>
            </a:extLst>
          </p:cNvPr>
          <p:cNvSpPr txBox="1">
            <a:spLocks/>
          </p:cNvSpPr>
          <p:nvPr/>
        </p:nvSpPr>
        <p:spPr>
          <a:xfrm>
            <a:off x="11811000" y="6518276"/>
            <a:ext cx="381000" cy="339724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n-US"/>
            </a:defPPr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fld id="{A2218858-49EA-4BF8-8EFE-B88A4580565A}" type="slidenum">
              <a:rPr sz="800" smtClean="0"/>
              <a:pPr algn="r">
                <a:lnSpc>
                  <a:spcPct val="110000"/>
                </a:lnSpc>
                <a:spcAft>
                  <a:spcPts val="0"/>
                </a:spcAft>
              </a:pPr>
              <a:t>51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2888917747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A4BAEA-2A28-80C8-05D5-1D8D9C57A3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egration with </a:t>
            </a:r>
            <a:r>
              <a:rPr lang="en-US">
                <a:hlinkClick r:id="rId3"/>
              </a:rPr>
              <a:t>Testcontainers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7DAE5A8-DBA1-35F1-4055-61A572B4A7DE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>
            <a:lvl1pPr>
              <a:buFont typeface="Arial" panose="020B0604020202020204" pitchFamily="34" charset="0"/>
              <a:buChar char="•"/>
            </a:lvl1pPr>
            <a:lvl2pPr>
              <a:buFont typeface="Arial" panose="020B0604020202020204" pitchFamily="34" charset="0"/>
              <a:buChar char="•"/>
            </a:lvl2pPr>
            <a:lvl3pPr>
              <a:buSzPct val="110000"/>
              <a:buFont typeface="Arial" panose="020B0604020202020204" pitchFamily="34" charset="0"/>
              <a:buChar char="•"/>
            </a:lvl3pPr>
            <a:lvl4pPr>
              <a:buSzPct val="100000"/>
              <a:buFont typeface="Arial" panose="020B0604020202020204" pitchFamily="34" charset="0"/>
              <a:buChar char="•"/>
            </a:lvl4pPr>
            <a:lvl5pPr>
              <a:buSzPct val="90000"/>
              <a:buFont typeface="Arial" panose="020B0604020202020204" pitchFamily="34" charset="0"/>
              <a:buChar char="•"/>
            </a:lvl5pPr>
            <a:lvl6pPr>
              <a:buFont typeface="Arial" panose="020B0604020202020204" pitchFamily="34" charset="0"/>
              <a:buChar char="•"/>
            </a:lvl6pPr>
            <a:lvl7pPr>
              <a:buFont typeface="Arial" panose="020B0604020202020204" pitchFamily="34" charset="0"/>
              <a:buChar char="•"/>
            </a:lvl7pPr>
            <a:lvl8pPr>
              <a:buFont typeface="Arial" panose="020B0604020202020204" pitchFamily="34" charset="0"/>
              <a:buChar char="•"/>
            </a:lvl8pPr>
            <a:lvl9pPr/>
          </a:lstStyle>
          <a:p>
            <a:pPr marL="285750" indent="-285750"/>
            <a:endParaRPr lang="en-US"/>
          </a:p>
          <a:p>
            <a:pPr>
              <a:buNone/>
            </a:pPr>
            <a:endParaRPr lang="en-US"/>
          </a:p>
          <a:p>
            <a:pPr>
              <a:buNone/>
            </a:pPr>
            <a:endParaRPr lang="en-US"/>
          </a:p>
          <a:p>
            <a:pPr>
              <a:buNone/>
            </a:pPr>
            <a:r>
              <a:rPr lang="en-US" sz="1800" b="0" i="0">
                <a:solidFill>
                  <a:srgbClr val="9E880D"/>
                </a:solidFill>
                <a:latin typeface="JetBrains Mono"/>
              </a:rPr>
              <a:t>@Container</a:t>
            </a:r>
            <a:br>
              <a:rPr lang="en-US" sz="1800" b="0" i="0">
                <a:solidFill>
                  <a:srgbClr val="9E880D"/>
                </a:solidFill>
                <a:latin typeface="JetBrains Mono"/>
              </a:rPr>
            </a:br>
            <a:r>
              <a:rPr lang="en-US" sz="1800" b="0" i="0">
                <a:solidFill>
                  <a:srgbClr val="0033B3"/>
                </a:solidFill>
                <a:latin typeface="JetBrains Mono"/>
              </a:rPr>
              <a:t>public static final </a:t>
            </a:r>
            <a:r>
              <a:rPr lang="en-US" sz="1800" b="0" i="0">
                <a:solidFill>
                  <a:srgbClr val="000000"/>
                </a:solidFill>
                <a:latin typeface="JetBrains Mono"/>
              </a:rPr>
              <a:t>GenericContainer</a:t>
            </a:r>
            <a:r>
              <a:rPr lang="en-US" sz="1800" b="0" i="0">
                <a:solidFill>
                  <a:srgbClr val="080808"/>
                </a:solidFill>
                <a:latin typeface="JetBrains Mono"/>
              </a:rPr>
              <a:t>&lt;?&gt; </a:t>
            </a:r>
            <a:r>
              <a:rPr lang="en-US" sz="1800" b="0" i="1">
                <a:solidFill>
                  <a:srgbClr val="871094"/>
                </a:solidFill>
                <a:latin typeface="JetBrains Mono"/>
              </a:rPr>
              <a:t>mongo </a:t>
            </a:r>
            <a:r>
              <a:rPr lang="en-US" sz="1800" b="0" i="0">
                <a:solidFill>
                  <a:srgbClr val="080808"/>
                </a:solidFill>
                <a:latin typeface="JetBrains Mono"/>
              </a:rPr>
              <a:t>=</a:t>
            </a:r>
            <a:br>
              <a:rPr lang="en-US" sz="1800" b="0" i="0">
                <a:solidFill>
                  <a:srgbClr val="080808"/>
                </a:solidFill>
                <a:latin typeface="JetBrains Mono"/>
              </a:rPr>
            </a:br>
            <a:r>
              <a:rPr lang="en-US" sz="1800" b="0" i="0">
                <a:solidFill>
                  <a:srgbClr val="080808"/>
                </a:solidFill>
                <a:latin typeface="JetBrains Mono"/>
              </a:rPr>
              <a:t>        </a:t>
            </a:r>
            <a:r>
              <a:rPr lang="en-US" sz="1800" b="0" i="0">
                <a:solidFill>
                  <a:srgbClr val="0033B3"/>
                </a:solidFill>
                <a:latin typeface="JetBrains Mono"/>
              </a:rPr>
              <a:t>new </a:t>
            </a:r>
            <a:r>
              <a:rPr lang="en-US" sz="1800" b="0" i="0">
                <a:solidFill>
                  <a:srgbClr val="080808"/>
                </a:solidFill>
                <a:latin typeface="JetBrains Mono"/>
              </a:rPr>
              <a:t>GenericContainer&lt;&gt;(</a:t>
            </a:r>
            <a:r>
              <a:rPr lang="en-US" sz="1800" b="0" i="0">
                <a:solidFill>
                  <a:srgbClr val="067D17"/>
                </a:solidFill>
                <a:latin typeface="JetBrains Mono"/>
              </a:rPr>
              <a:t>"mongo:5"</a:t>
            </a:r>
            <a:r>
              <a:rPr lang="en-US" sz="1800" b="0" i="0">
                <a:solidFill>
                  <a:srgbClr val="080808"/>
                </a:solidFill>
                <a:latin typeface="JetBrains Mono"/>
              </a:rPr>
              <a:t>)</a:t>
            </a:r>
            <a:br>
              <a:rPr lang="en-US" sz="1800" b="0" i="0">
                <a:solidFill>
                  <a:srgbClr val="080808"/>
                </a:solidFill>
                <a:latin typeface="JetBrains Mono"/>
              </a:rPr>
            </a:br>
            <a:r>
              <a:rPr lang="en-US" sz="1800" b="0" i="0">
                <a:solidFill>
                  <a:srgbClr val="080808"/>
                </a:solidFill>
                <a:latin typeface="JetBrains Mono"/>
              </a:rPr>
              <a:t>                .withNetwork(</a:t>
            </a:r>
            <a:r>
              <a:rPr lang="en-US" sz="1800" b="0" i="1">
                <a:solidFill>
                  <a:srgbClr val="871094"/>
                </a:solidFill>
                <a:latin typeface="JetBrains Mono"/>
              </a:rPr>
              <a:t>network</a:t>
            </a:r>
            <a:r>
              <a:rPr lang="en-US" sz="1800" b="0" i="0">
                <a:solidFill>
                  <a:srgbClr val="080808"/>
                </a:solidFill>
                <a:latin typeface="JetBrains Mono"/>
              </a:rPr>
              <a:t>)</a:t>
            </a:r>
            <a:br>
              <a:rPr lang="en-US" sz="1800" b="0" i="0">
                <a:solidFill>
                  <a:srgbClr val="080808"/>
                </a:solidFill>
                <a:latin typeface="JetBrains Mono"/>
              </a:rPr>
            </a:br>
            <a:r>
              <a:rPr lang="en-US" sz="1800" b="0" i="0">
                <a:solidFill>
                  <a:srgbClr val="080808"/>
                </a:solidFill>
                <a:latin typeface="JetBrains Mono"/>
              </a:rPr>
              <a:t>                .withNetworkAliases(</a:t>
            </a:r>
            <a:r>
              <a:rPr lang="en-US" sz="1800" b="0" i="1">
                <a:solidFill>
                  <a:srgbClr val="871094"/>
                </a:solidFill>
                <a:latin typeface="JetBrains Mono"/>
              </a:rPr>
              <a:t>MONGO_SERVICE_NAME</a:t>
            </a:r>
            <a:r>
              <a:rPr lang="en-US" sz="1800" b="0" i="0">
                <a:solidFill>
                  <a:srgbClr val="080808"/>
                </a:solidFill>
                <a:latin typeface="JetBrains Mono"/>
              </a:rPr>
              <a:t>)</a:t>
            </a:r>
            <a:br>
              <a:rPr lang="en-US" sz="1800" b="0" i="0">
                <a:solidFill>
                  <a:srgbClr val="080808"/>
                </a:solidFill>
                <a:latin typeface="JetBrains Mono"/>
              </a:rPr>
            </a:br>
            <a:r>
              <a:rPr lang="en-US" sz="1800" b="0" i="0">
                <a:solidFill>
                  <a:srgbClr val="080808"/>
                </a:solidFill>
                <a:latin typeface="JetBrains Mono"/>
              </a:rPr>
              <a:t>                .withExposedPorts(</a:t>
            </a:r>
            <a:r>
              <a:rPr lang="en-US" sz="1800" b="0" i="1">
                <a:solidFill>
                  <a:srgbClr val="871094"/>
                </a:solidFill>
                <a:latin typeface="JetBrains Mono"/>
              </a:rPr>
              <a:t>MONGO_SERVICE_PORT</a:t>
            </a:r>
            <a:r>
              <a:rPr lang="en-US" sz="1800" b="0" i="0">
                <a:solidFill>
                  <a:srgbClr val="080808"/>
                </a:solidFill>
                <a:latin typeface="JetBrains Mono"/>
              </a:rPr>
              <a:t>)</a:t>
            </a:r>
            <a:br>
              <a:rPr lang="en-US" sz="1800" b="0" i="0">
                <a:solidFill>
                  <a:srgbClr val="080808"/>
                </a:solidFill>
                <a:latin typeface="JetBrains Mono"/>
              </a:rPr>
            </a:br>
            <a:r>
              <a:rPr lang="en-US" sz="1800" b="0" i="0">
                <a:solidFill>
                  <a:srgbClr val="080808"/>
                </a:solidFill>
                <a:latin typeface="JetBrains Mono"/>
              </a:rPr>
              <a:t>                .withCommand(</a:t>
            </a:r>
            <a:r>
              <a:rPr lang="en-US" sz="1800" b="0" i="0">
                <a:solidFill>
                  <a:srgbClr val="067D17"/>
                </a:solidFill>
                <a:latin typeface="JetBrains Mono"/>
              </a:rPr>
              <a:t>"--quiet"</a:t>
            </a:r>
            <a:r>
              <a:rPr lang="en-US" sz="1800" b="0" i="0">
                <a:solidFill>
                  <a:srgbClr val="080808"/>
                </a:solidFill>
                <a:latin typeface="JetBrains Mono"/>
              </a:rPr>
              <a:t>) </a:t>
            </a:r>
            <a:r>
              <a:rPr lang="en-US" sz="1800" b="0" i="1">
                <a:solidFill>
                  <a:srgbClr val="8C8C8C"/>
                </a:solidFill>
                <a:latin typeface="JetBrains Mono"/>
              </a:rPr>
              <a:t>// remove for debug logging</a:t>
            </a:r>
            <a:br>
              <a:rPr lang="en-US" sz="1800" b="0" i="1">
                <a:solidFill>
                  <a:srgbClr val="8C8C8C"/>
                </a:solidFill>
                <a:latin typeface="JetBrains Mono"/>
              </a:rPr>
            </a:br>
            <a:r>
              <a:rPr lang="en-US" sz="1800" b="0" i="1">
                <a:solidFill>
                  <a:srgbClr val="8C8C8C"/>
                </a:solidFill>
                <a:latin typeface="JetBrains Mono"/>
              </a:rPr>
              <a:t>                </a:t>
            </a:r>
            <a:r>
              <a:rPr lang="en-US" sz="1800" b="0" i="0">
                <a:solidFill>
                  <a:srgbClr val="080808"/>
                </a:solidFill>
                <a:latin typeface="JetBrains Mono"/>
              </a:rPr>
              <a:t>.withLogConsumer(</a:t>
            </a:r>
            <a:r>
              <a:rPr lang="en-US" sz="1800" b="0" i="0">
                <a:solidFill>
                  <a:srgbClr val="0033B3"/>
                </a:solidFill>
                <a:latin typeface="JetBrains Mono"/>
              </a:rPr>
              <a:t>new </a:t>
            </a:r>
            <a:r>
              <a:rPr lang="en-US" sz="1800" b="0" i="0">
                <a:solidFill>
                  <a:srgbClr val="080808"/>
                </a:solidFill>
                <a:latin typeface="JetBrains Mono"/>
              </a:rPr>
              <a:t>Slf4jLogConsumer(</a:t>
            </a:r>
            <a:r>
              <a:rPr lang="en-US" sz="1800" b="0" i="1">
                <a:solidFill>
                  <a:srgbClr val="871094"/>
                </a:solidFill>
                <a:latin typeface="JetBrains Mono"/>
              </a:rPr>
              <a:t>LOGGER</a:t>
            </a:r>
            <a:r>
              <a:rPr lang="en-US" sz="1800" b="0" i="0">
                <a:solidFill>
                  <a:srgbClr val="080808"/>
                </a:solidFill>
                <a:latin typeface="JetBrains Mono"/>
              </a:rPr>
              <a:t>)</a:t>
            </a:r>
            <a:br>
              <a:rPr lang="en-US" sz="1800" b="0" i="0">
                <a:solidFill>
                  <a:srgbClr val="080808"/>
                </a:solidFill>
                <a:latin typeface="JetBrains Mono"/>
              </a:rPr>
            </a:br>
            <a:r>
              <a:rPr lang="en-US" sz="1800" b="0" i="0">
                <a:solidFill>
                  <a:srgbClr val="080808"/>
                </a:solidFill>
                <a:latin typeface="JetBrains Mono"/>
              </a:rPr>
              <a:t>                        .withPrefix(</a:t>
            </a:r>
            <a:r>
              <a:rPr lang="en-US" sz="1800" b="0" i="1">
                <a:solidFill>
                  <a:srgbClr val="871094"/>
                </a:solidFill>
                <a:latin typeface="JetBrains Mono"/>
              </a:rPr>
              <a:t>MONGO_SERVICE_NAME</a:t>
            </a:r>
            <a:r>
              <a:rPr lang="en-US" sz="1800" b="0" i="0">
                <a:solidFill>
                  <a:srgbClr val="080808"/>
                </a:solidFill>
                <a:latin typeface="JetBrains Mono"/>
              </a:rPr>
              <a:t>)</a:t>
            </a:r>
            <a:br>
              <a:rPr lang="en-US" sz="1800" b="0" i="0">
                <a:solidFill>
                  <a:srgbClr val="080808"/>
                </a:solidFill>
                <a:latin typeface="JetBrains Mono"/>
              </a:rPr>
            </a:br>
            <a:r>
              <a:rPr lang="en-US" sz="1800" b="0" i="0">
                <a:solidFill>
                  <a:srgbClr val="080808"/>
                </a:solidFill>
                <a:latin typeface="JetBrains Mono"/>
              </a:rPr>
              <a:t>                        .withSeparateOutputStreams())</a:t>
            </a:r>
            <a:br>
              <a:rPr lang="en-US" sz="1800" b="0" i="0">
                <a:solidFill>
                  <a:srgbClr val="080808"/>
                </a:solidFill>
                <a:latin typeface="JetBrains Mono"/>
              </a:rPr>
            </a:br>
            <a:r>
              <a:rPr lang="en-US" sz="1800" b="0" i="0">
                <a:solidFill>
                  <a:srgbClr val="080808"/>
                </a:solidFill>
                <a:latin typeface="JetBrains Mono"/>
              </a:rPr>
              <a:t>                .waitingFor(</a:t>
            </a:r>
            <a:r>
              <a:rPr lang="en-US" sz="1800" b="0" i="0">
                <a:solidFill>
                  <a:srgbClr val="000000"/>
                </a:solidFill>
                <a:latin typeface="JetBrains Mono"/>
              </a:rPr>
              <a:t>Wait</a:t>
            </a:r>
            <a:br>
              <a:rPr lang="en-US" sz="1800" b="0" i="0">
                <a:solidFill>
                  <a:srgbClr val="000000"/>
                </a:solidFill>
                <a:latin typeface="JetBrains Mono"/>
              </a:rPr>
            </a:br>
            <a:r>
              <a:rPr lang="en-US" sz="1800" b="0" i="0">
                <a:solidFill>
                  <a:srgbClr val="000000"/>
                </a:solidFill>
                <a:latin typeface="JetBrains Mono"/>
              </a:rPr>
              <a:t>                        </a:t>
            </a:r>
            <a:r>
              <a:rPr lang="en-US" sz="1800" b="0" i="0">
                <a:solidFill>
                  <a:srgbClr val="080808"/>
                </a:solidFill>
                <a:latin typeface="JetBrains Mono"/>
              </a:rPr>
              <a:t>.</a:t>
            </a:r>
            <a:r>
              <a:rPr lang="en-US" sz="1800" b="0" i="1">
                <a:solidFill>
                  <a:srgbClr val="080808"/>
                </a:solidFill>
                <a:latin typeface="JetBrains Mono"/>
              </a:rPr>
              <a:t>forListeningPort</a:t>
            </a:r>
            <a:r>
              <a:rPr lang="en-US" sz="1800" b="0" i="0">
                <a:solidFill>
                  <a:srgbClr val="080808"/>
                </a:solidFill>
                <a:latin typeface="JetBrains Mono"/>
              </a:rPr>
              <a:t>()</a:t>
            </a:r>
            <a:br>
              <a:rPr lang="en-US" sz="1800" b="0" i="0">
                <a:solidFill>
                  <a:srgbClr val="080808"/>
                </a:solidFill>
                <a:latin typeface="JetBrains Mono"/>
              </a:rPr>
            </a:br>
            <a:r>
              <a:rPr lang="en-US" sz="1800" b="0" i="0">
                <a:solidFill>
                  <a:srgbClr val="080808"/>
                </a:solidFill>
                <a:latin typeface="JetBrains Mono"/>
              </a:rPr>
              <a:t>                        .withStartupTimeout(</a:t>
            </a:r>
            <a:r>
              <a:rPr lang="en-US" sz="1800" b="0" i="0">
                <a:solidFill>
                  <a:srgbClr val="000000"/>
                </a:solidFill>
                <a:latin typeface="JetBrains Mono"/>
              </a:rPr>
              <a:t>Duration</a:t>
            </a:r>
            <a:r>
              <a:rPr lang="en-US" sz="1800" b="0" i="0">
                <a:solidFill>
                  <a:srgbClr val="080808"/>
                </a:solidFill>
                <a:latin typeface="JetBrains Mono"/>
              </a:rPr>
              <a:t>.</a:t>
            </a:r>
            <a:r>
              <a:rPr lang="en-US" sz="1800" b="0" i="1">
                <a:solidFill>
                  <a:srgbClr val="080808"/>
                </a:solidFill>
                <a:latin typeface="JetBrains Mono"/>
              </a:rPr>
              <a:t>ofSeconds</a:t>
            </a:r>
            <a:r>
              <a:rPr lang="en-US" sz="1800" b="0" i="0">
                <a:solidFill>
                  <a:srgbClr val="080808"/>
                </a:solidFill>
                <a:latin typeface="JetBrains Mono"/>
              </a:rPr>
              <a:t>(</a:t>
            </a:r>
            <a:r>
              <a:rPr lang="en-US" sz="1800" b="0" i="0">
                <a:solidFill>
                  <a:srgbClr val="1750EB"/>
                </a:solidFill>
                <a:latin typeface="JetBrains Mono"/>
              </a:rPr>
              <a:t>10</a:t>
            </a:r>
            <a:r>
              <a:rPr lang="en-US" sz="1800" b="0" i="0">
                <a:solidFill>
                  <a:srgbClr val="080808"/>
                </a:solidFill>
                <a:latin typeface="JetBrains Mono"/>
              </a:rPr>
              <a:t>)));</a:t>
            </a:r>
          </a:p>
          <a:p>
            <a:pPr>
              <a:buNone/>
            </a:pP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FB67DB3-411C-47C0-0791-B3BBC4FB9548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B6D4D28-C87D-956C-B55E-A4AB0FE0986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4890" y="1720845"/>
            <a:ext cx="3416310" cy="3416310"/>
          </a:xfrm>
          <a:prstGeom prst="rect">
            <a:avLst/>
          </a:prstGeom>
        </p:spPr>
      </p:pic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9E497F5F-6167-476B-955F-4FF74FA6FB98}"/>
              </a:ext>
            </a:extLst>
          </p:cNvPr>
          <p:cNvSpPr txBox="1">
            <a:spLocks/>
          </p:cNvSpPr>
          <p:nvPr/>
        </p:nvSpPr>
        <p:spPr>
          <a:xfrm>
            <a:off x="11811000" y="6518276"/>
            <a:ext cx="381000" cy="339724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n-US"/>
            </a:defPPr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fld id="{A2218858-49EA-4BF8-8EFE-B88A4580565A}" type="slidenum">
              <a:rPr sz="800" smtClean="0"/>
              <a:pPr algn="r">
                <a:lnSpc>
                  <a:spcPct val="110000"/>
                </a:lnSpc>
                <a:spcAft>
                  <a:spcPts val="0"/>
                </a:spcAft>
              </a:pPr>
              <a:t>52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532844565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2DC246-7CB8-9D02-ED9B-29E2BDDEDF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764" y="433388"/>
            <a:ext cx="10858500" cy="1624012"/>
          </a:xfrm>
        </p:spPr>
        <p:txBody>
          <a:bodyPr/>
          <a:lstStyle/>
          <a:p>
            <a:r>
              <a:rPr lang="en-US"/>
              <a:t>Key takeaways</a:t>
            </a: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endParaRPr lang="en-US"/>
          </a:p>
        </p:txBody>
      </p:sp>
      <p:pic>
        <p:nvPicPr>
          <p:cNvPr id="9" name="Content Placeholder 8" descr="Climber on the top of a mountain">
            <a:extLst>
              <a:ext uri="{FF2B5EF4-FFF2-40B4-BE49-F238E27FC236}">
                <a16:creationId xmlns:a16="http://schemas.microsoft.com/office/drawing/2014/main" id="{26DD4310-01A9-9E4E-134A-4C26321FB737}"/>
              </a:ext>
            </a:extLst>
          </p:cNvPr>
          <p:cNvPicPr>
            <a:picLocks noGrp="1" noChangeAspect="1"/>
          </p:cNvPicPr>
          <p:nvPr>
            <p:ph sz="quarter" idx="23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4800" y="0"/>
            <a:ext cx="8093149" cy="6858000"/>
          </a:xfrm>
        </p:spPr>
      </p:pic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5806447-9D59-C547-8322-68B0F6F5060A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>
          <a:xfrm>
            <a:off x="2258663" y="6518276"/>
            <a:ext cx="8985600" cy="139924"/>
          </a:xfrm>
        </p:spPr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0BCED5C6-C9D8-E77D-79B0-01D202C5264D}"/>
              </a:ext>
            </a:extLst>
          </p:cNvPr>
          <p:cNvSpPr txBox="1">
            <a:spLocks/>
          </p:cNvSpPr>
          <p:nvPr/>
        </p:nvSpPr>
        <p:spPr>
          <a:xfrm>
            <a:off x="305063" y="954231"/>
            <a:ext cx="3728401" cy="49495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9725" indent="-339725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325" indent="-2286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None/>
            </a:pPr>
            <a:endParaRPr lang="en-US" dirty="0"/>
          </a:p>
          <a:p>
            <a:pPr marL="285750" indent="-285750"/>
            <a:r>
              <a:rPr lang="en-US" dirty="0"/>
              <a:t>Step upgrades</a:t>
            </a:r>
          </a:p>
          <a:p>
            <a:pPr>
              <a:buNone/>
            </a:pPr>
            <a:endParaRPr lang="en-US" dirty="0"/>
          </a:p>
          <a:p>
            <a:pPr marL="285750" indent="-285750"/>
            <a:r>
              <a:rPr lang="en-US" dirty="0"/>
              <a:t>Use latest versions – third party</a:t>
            </a:r>
            <a:br>
              <a:rPr lang="en-US" dirty="0"/>
            </a:br>
            <a:r>
              <a:rPr lang="en-US" dirty="0"/>
              <a:t>dependencies</a:t>
            </a:r>
          </a:p>
          <a:p>
            <a:pPr marL="285750" indent="-285750"/>
            <a:endParaRPr lang="en-US" dirty="0"/>
          </a:p>
          <a:p>
            <a:pPr marL="285750" indent="-285750"/>
            <a:r>
              <a:rPr lang="en-US" dirty="0"/>
              <a:t>Check for breaking changes</a:t>
            </a:r>
          </a:p>
          <a:p>
            <a:pPr marL="285750" indent="-285750"/>
            <a:endParaRPr lang="en-US" dirty="0"/>
          </a:p>
          <a:p>
            <a:pPr marL="285750" indent="-285750"/>
            <a:r>
              <a:rPr lang="en-US" dirty="0"/>
              <a:t>Use OTEL with W3C </a:t>
            </a:r>
          </a:p>
          <a:p>
            <a:pPr marL="285750" indent="-285750"/>
            <a:endParaRPr lang="en-US" dirty="0"/>
          </a:p>
          <a:p>
            <a:pPr marL="285750" indent="-285750"/>
            <a:r>
              <a:rPr lang="en-US" dirty="0"/>
              <a:t>Use Micrometer annotations with AspectJ</a:t>
            </a:r>
          </a:p>
          <a:p>
            <a:pPr>
              <a:buNone/>
            </a:pPr>
            <a:endParaRPr lang="en-US" dirty="0"/>
          </a:p>
          <a:p>
            <a:pPr marL="285750" indent="-285750"/>
            <a:r>
              <a:rPr lang="en-US" dirty="0"/>
              <a:t>Use </a:t>
            </a:r>
            <a:r>
              <a:rPr lang="en-US" dirty="0" err="1"/>
              <a:t>TestContainers</a:t>
            </a:r>
            <a:endParaRPr lang="en-US" dirty="0"/>
          </a:p>
          <a:p>
            <a:pPr marL="285750" indent="-285750"/>
            <a:endParaRPr lang="en-US" dirty="0"/>
          </a:p>
          <a:p>
            <a:pPr marL="285750" indent="-285750"/>
            <a:r>
              <a:rPr lang="en-US" dirty="0"/>
              <a:t>API contract first</a:t>
            </a:r>
          </a:p>
          <a:p>
            <a:pPr marL="285750" indent="-285750"/>
            <a:endParaRPr lang="en-US" dirty="0"/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D1495E88-5EAF-AF85-2812-7DB61AD196A2}"/>
              </a:ext>
            </a:extLst>
          </p:cNvPr>
          <p:cNvSpPr txBox="1">
            <a:spLocks/>
          </p:cNvSpPr>
          <p:nvPr/>
        </p:nvSpPr>
        <p:spPr>
          <a:xfrm>
            <a:off x="11811000" y="6518276"/>
            <a:ext cx="381000" cy="339724"/>
          </a:xfrm>
          <a:prstGeom prst="rect">
            <a:avLst/>
          </a:prstGeom>
          <a:noFill/>
        </p:spPr>
        <p:txBody>
          <a:bodyPr/>
          <a:lstStyle>
            <a:defPPr>
              <a:defRPr lang="en-US"/>
            </a:defPPr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fld id="{A2218858-49EA-4BF8-8EFE-B88A4580565A}" type="slidenum">
              <a:rPr sz="800" smtClean="0"/>
              <a:pPr algn="r">
                <a:lnSpc>
                  <a:spcPct val="110000"/>
                </a:lnSpc>
                <a:spcAft>
                  <a:spcPts val="0"/>
                </a:spcAft>
              </a:pPr>
              <a:t>53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2685914338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CE0C498-E5ED-48F2-AC12-0795250A37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64109" y="3314653"/>
            <a:ext cx="2310293" cy="175433"/>
          </a:xfrm>
        </p:spPr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6B50090-658E-4943-99EA-4A263581600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555249" y="4033930"/>
            <a:ext cx="2649894" cy="175434"/>
          </a:xfrm>
        </p:spPr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436416E-0266-4A59-95BF-EBACCFD2D16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565751" y="4209364"/>
            <a:ext cx="2649887" cy="202436"/>
          </a:xfrm>
        </p:spPr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D27B675-7640-46FD-AC9A-068F5F0B2DC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293912" y="3316706"/>
            <a:ext cx="2324084" cy="175433"/>
          </a:xfrm>
        </p:spPr>
        <p:txBody>
          <a:bodyPr/>
          <a:lstStyle/>
          <a:p>
            <a:r>
              <a:rPr lang="en-US" dirty="0"/>
              <a:t> May, 2024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5E090F7-E3B3-4195-83FE-E9FB9575418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35837" y="3007799"/>
            <a:ext cx="3006563" cy="3042163"/>
          </a:xfrm>
        </p:spPr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1C7298E-D884-4AFD-AABA-9FAE002BEFE1}"/>
              </a:ext>
            </a:extLst>
          </p:cNvPr>
          <p:cNvSpPr txBox="1">
            <a:spLocks/>
          </p:cNvSpPr>
          <p:nvPr/>
        </p:nvSpPr>
        <p:spPr>
          <a:xfrm>
            <a:off x="219226" y="3124200"/>
            <a:ext cx="5896267" cy="44242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0" lvl="1" indent="0">
              <a:spcAft>
                <a:spcPts val="737"/>
              </a:spcAft>
              <a:buNone/>
            </a:pPr>
            <a:r>
              <a:rPr lang="en-US" sz="5400" dirty="0">
                <a:solidFill>
                  <a:schemeClr val="bg1"/>
                </a:solidFill>
              </a:rPr>
              <a:t>Questions?</a:t>
            </a:r>
          </a:p>
          <a:p>
            <a:pPr marL="0" lvl="1" indent="0">
              <a:spcAft>
                <a:spcPts val="737"/>
              </a:spcAft>
              <a:buNone/>
            </a:pPr>
            <a:endParaRPr lang="en-US" sz="5400" dirty="0">
              <a:solidFill>
                <a:schemeClr val="bg1"/>
              </a:solidFill>
            </a:endParaRPr>
          </a:p>
          <a:p>
            <a:pPr marL="0" lvl="1" indent="0">
              <a:spcAft>
                <a:spcPts val="737"/>
              </a:spcAft>
              <a:buNone/>
            </a:pPr>
            <a:r>
              <a:rPr lang="en-US" sz="5400" dirty="0">
                <a:solidFill>
                  <a:schemeClr val="bg1"/>
                </a:solidFill>
              </a:rPr>
              <a:t>Your experiences? </a:t>
            </a:r>
            <a:br>
              <a:rPr lang="en-US" sz="5400" dirty="0">
                <a:solidFill>
                  <a:schemeClr val="bg1"/>
                </a:solidFill>
              </a:rPr>
            </a:br>
            <a:endParaRPr lang="en-US" sz="5400" dirty="0">
              <a:solidFill>
                <a:schemeClr val="bg1"/>
              </a:solidFill>
            </a:endParaRPr>
          </a:p>
          <a:p>
            <a:pPr marL="0" lvl="1" indent="0">
              <a:spcAft>
                <a:spcPts val="737"/>
              </a:spcAft>
              <a:buNone/>
            </a:pPr>
            <a:endParaRPr lang="en-US" sz="5400" dirty="0">
              <a:solidFill>
                <a:schemeClr val="bg1"/>
              </a:solidFill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62071EC-FE92-EC62-D6CC-9A0191EF6411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May 6, 2024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D2D1FA5-5253-C6E1-1677-DE330E49095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fld id="{A2218858-49EA-4BF8-8EFE-B88A4580565A}" type="slidenum">
              <a:rPr lang="en-US" smtClean="0"/>
              <a:pPr algn="r">
                <a:lnSpc>
                  <a:spcPct val="110000"/>
                </a:lnSpc>
                <a:spcAft>
                  <a:spcPts val="0"/>
                </a:spcAft>
              </a:pPr>
              <a:t>54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C0CF96AC-409E-464D-C981-F9F41204E41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DCA466D-D515-88D6-DED9-E7D0D3F1E26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92986" y="3263981"/>
            <a:ext cx="2308247" cy="175433"/>
          </a:xfrm>
        </p:spPr>
        <p:txBody>
          <a:bodyPr/>
          <a:lstStyle/>
          <a:p>
            <a:r>
              <a:rPr lang="en-US" sz="1400" dirty="0"/>
              <a:t>Laurentiu</a:t>
            </a:r>
            <a:r>
              <a:rPr lang="en-US" dirty="0"/>
              <a:t> </a:t>
            </a:r>
            <a:r>
              <a:rPr lang="en-US" sz="1400" dirty="0"/>
              <a:t>Marinescu</a:t>
            </a:r>
            <a:r>
              <a:rPr lang="en-US" dirty="0"/>
              <a:t> </a:t>
            </a:r>
            <a:br>
              <a:rPr lang="en-US" dirty="0"/>
            </a:br>
            <a:r>
              <a:rPr lang="en-US" sz="1000" dirty="0"/>
              <a:t>Senior Software engineer</a:t>
            </a:r>
            <a:br>
              <a:rPr lang="en-US" dirty="0"/>
            </a:b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EB3A09E-EDF5-EB9D-D75B-369ED0B783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92986" y="3928391"/>
            <a:ext cx="1553415" cy="157048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0CC7F361-4CCF-27FC-43BE-EE5644CD329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92599" y="199799"/>
            <a:ext cx="2370775" cy="237077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317248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C:\Users\shofman\Desktop\screenibm.png">
            <a:extLst>
              <a:ext uri="{FF2B5EF4-FFF2-40B4-BE49-F238E27FC236}">
                <a16:creationId xmlns:a16="http://schemas.microsoft.com/office/drawing/2014/main" id="{22D8170E-1093-4A16-863D-3BF3D6A218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5763" y="3429001"/>
            <a:ext cx="3566289" cy="262096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CCAB1D4-F9E5-4E04-B843-28B84E1D03C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19601" y="1370013"/>
            <a:ext cx="1591199" cy="4679950"/>
          </a:xfrm>
          <a:prstGeom prst="rect">
            <a:avLst/>
          </a:prstGeom>
        </p:spPr>
      </p:pic>
      <p:sp>
        <p:nvSpPr>
          <p:cNvPr id="40" name="Title 1">
            <a:extLst>
              <a:ext uri="{FF2B5EF4-FFF2-40B4-BE49-F238E27FC236}">
                <a16:creationId xmlns:a16="http://schemas.microsoft.com/office/drawing/2014/main" id="{900828EC-F24B-4A66-8162-A51BF325A20E}"/>
              </a:ext>
            </a:extLst>
          </p:cNvPr>
          <p:cNvSpPr txBox="1">
            <a:spLocks/>
          </p:cNvSpPr>
          <p:nvPr/>
        </p:nvSpPr>
        <p:spPr>
          <a:xfrm>
            <a:off x="386400" y="1369800"/>
            <a:ext cx="2995200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37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737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37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737"/>
              </a:spcAft>
              <a:buFontTx/>
              <a:buNone/>
              <a:defRPr sz="16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37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737"/>
              </a:spcAft>
              <a:buSzPct val="11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34000" algn="l" defTabSz="37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737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02000" indent="-234000" algn="l" defTabSz="37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737"/>
              </a:spcAft>
              <a:buSzPct val="9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-234000" algn="l" defTabSz="37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737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8000" indent="-234000" algn="l" defTabSz="37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737"/>
              </a:spcAft>
              <a:buFont typeface="+mj-lt"/>
              <a:buAutoNum type="romanL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37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737"/>
              </a:spcAft>
              <a:buFontTx/>
              <a:buNone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737"/>
              </a:spcAft>
              <a:buFontTx/>
              <a:buNone/>
              <a:defRPr sz="1000" kern="10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19170">
              <a:lnSpc>
                <a:spcPct val="100000"/>
              </a:lnSpc>
              <a:spcAft>
                <a:spcPts val="0"/>
              </a:spcAft>
              <a:defRPr/>
            </a:pPr>
            <a:r>
              <a:rPr lang="en-US" sz="3200" b="1">
                <a:solidFill>
                  <a:schemeClr val="accent1"/>
                </a:solidFill>
                <a:latin typeface="Arial"/>
              </a:rPr>
              <a:t>IBM </a:t>
            </a:r>
          </a:p>
          <a:p>
            <a:pPr algn="ctr" defTabSz="1219170">
              <a:lnSpc>
                <a:spcPct val="100000"/>
              </a:lnSpc>
              <a:spcAft>
                <a:spcPts val="0"/>
              </a:spcAft>
              <a:defRPr/>
            </a:pPr>
            <a:r>
              <a:rPr lang="en-US" sz="3200" b="1">
                <a:solidFill>
                  <a:schemeClr val="accent1"/>
                </a:solidFill>
                <a:latin typeface="Arial"/>
              </a:rPr>
              <a:t>5150</a:t>
            </a:r>
          </a:p>
        </p:txBody>
      </p:sp>
      <p:sp>
        <p:nvSpPr>
          <p:cNvPr id="41" name="Title 1">
            <a:extLst>
              <a:ext uri="{FF2B5EF4-FFF2-40B4-BE49-F238E27FC236}">
                <a16:creationId xmlns:a16="http://schemas.microsoft.com/office/drawing/2014/main" id="{81B1D5B1-5E91-418D-8270-182D74EC3505}"/>
              </a:ext>
            </a:extLst>
          </p:cNvPr>
          <p:cNvSpPr txBox="1">
            <a:spLocks/>
          </p:cNvSpPr>
          <p:nvPr/>
        </p:nvSpPr>
        <p:spPr>
          <a:xfrm>
            <a:off x="8576400" y="1369800"/>
            <a:ext cx="3181764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37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737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37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737"/>
              </a:spcAft>
              <a:buFontTx/>
              <a:buNone/>
              <a:defRPr sz="16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37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737"/>
              </a:spcAft>
              <a:buSzPct val="11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34000" algn="l" defTabSz="37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737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02000" indent="-234000" algn="l" defTabSz="37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737"/>
              </a:spcAft>
              <a:buSzPct val="9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-234000" algn="l" defTabSz="37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737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8000" indent="-234000" algn="l" defTabSz="37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737"/>
              </a:spcAft>
              <a:buFont typeface="+mj-lt"/>
              <a:buAutoNum type="romanL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37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737"/>
              </a:spcAft>
              <a:buFontTx/>
              <a:buNone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737"/>
              </a:spcAft>
              <a:buFontTx/>
              <a:buNone/>
              <a:defRPr sz="1000" kern="10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19170">
              <a:lnSpc>
                <a:spcPct val="100000"/>
              </a:lnSpc>
              <a:spcAft>
                <a:spcPts val="0"/>
              </a:spcAft>
              <a:defRPr/>
            </a:pPr>
            <a:r>
              <a:rPr lang="en-US" sz="3200" b="1">
                <a:solidFill>
                  <a:schemeClr val="accent1"/>
                </a:solidFill>
                <a:latin typeface="Arial"/>
              </a:rPr>
              <a:t>Apple iPhone 15 Pro Max</a:t>
            </a:r>
          </a:p>
        </p:txBody>
      </p:sp>
      <p:sp>
        <p:nvSpPr>
          <p:cNvPr id="147" name="Title 146">
            <a:extLst>
              <a:ext uri="{FF2B5EF4-FFF2-40B4-BE49-F238E27FC236}">
                <a16:creationId xmlns:a16="http://schemas.microsoft.com/office/drawing/2014/main" id="{18F2A0A6-C9B1-45AE-A091-F4ACC71AAF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764" y="433388"/>
            <a:ext cx="10858500" cy="372967"/>
          </a:xfrm>
        </p:spPr>
        <p:txBody>
          <a:bodyPr/>
          <a:lstStyle/>
          <a:p>
            <a:r>
              <a:rPr lang="en-US"/>
              <a:t>…and electronic devices much more powerful</a:t>
            </a:r>
          </a:p>
        </p:txBody>
      </p:sp>
      <p:sp>
        <p:nvSpPr>
          <p:cNvPr id="148" name="Subtitle 147">
            <a:extLst>
              <a:ext uri="{FF2B5EF4-FFF2-40B4-BE49-F238E27FC236}">
                <a16:creationId xmlns:a16="http://schemas.microsoft.com/office/drawing/2014/main" id="{91463E47-12EA-41B8-A826-87ED2B9240E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5763" y="808038"/>
            <a:ext cx="10858237" cy="374650"/>
          </a:xfrm>
        </p:spPr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755ADB77-5EF0-4028-B9A7-08E3CFE4E1E3}"/>
              </a:ext>
            </a:extLst>
          </p:cNvPr>
          <p:cNvSpPr/>
          <p:nvPr/>
        </p:nvSpPr>
        <p:spPr>
          <a:xfrm>
            <a:off x="4083600" y="1369800"/>
            <a:ext cx="1731413" cy="468000"/>
          </a:xfrm>
          <a:prstGeom prst="roundRect">
            <a:avLst>
              <a:gd name="adj" fmla="val 95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7200" rIns="187200" rtlCol="0" anchor="ctr"/>
          <a:lstStyle/>
          <a:p>
            <a:r>
              <a:rPr lang="en-US" sz="1400" b="1">
                <a:solidFill>
                  <a:schemeClr val="accent1"/>
                </a:solidFill>
              </a:rPr>
              <a:t>1984</a:t>
            </a:r>
          </a:p>
        </p:txBody>
      </p:sp>
      <p:sp>
        <p:nvSpPr>
          <p:cNvPr id="213" name="Rectangle: Rounded Corners 212">
            <a:extLst>
              <a:ext uri="{FF2B5EF4-FFF2-40B4-BE49-F238E27FC236}">
                <a16:creationId xmlns:a16="http://schemas.microsoft.com/office/drawing/2014/main" id="{7005521C-F7E7-4A5A-A324-2AE19E92C884}"/>
              </a:ext>
            </a:extLst>
          </p:cNvPr>
          <p:cNvSpPr/>
          <p:nvPr/>
        </p:nvSpPr>
        <p:spPr>
          <a:xfrm>
            <a:off x="5815013" y="1369800"/>
            <a:ext cx="1731787" cy="468000"/>
          </a:xfrm>
          <a:prstGeom prst="roundRect">
            <a:avLst>
              <a:gd name="adj" fmla="val 95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7200" rIns="187200" rtlCol="0" anchor="ctr"/>
          <a:lstStyle/>
          <a:p>
            <a:pPr algn="r"/>
            <a:r>
              <a:rPr lang="en-US" sz="1400" b="1"/>
              <a:t>2023</a:t>
            </a:r>
          </a:p>
        </p:txBody>
      </p:sp>
      <p:sp>
        <p:nvSpPr>
          <p:cNvPr id="214" name="Rectangle 213">
            <a:extLst>
              <a:ext uri="{FF2B5EF4-FFF2-40B4-BE49-F238E27FC236}">
                <a16:creationId xmlns:a16="http://schemas.microsoft.com/office/drawing/2014/main" id="{572CDBB9-0E18-45F3-B24D-B70BC450438D}"/>
              </a:ext>
            </a:extLst>
          </p:cNvPr>
          <p:cNvSpPr/>
          <p:nvPr/>
        </p:nvSpPr>
        <p:spPr>
          <a:xfrm flipH="1">
            <a:off x="5674800" y="1369800"/>
            <a:ext cx="140400" cy="46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215" name="Rectangle 214">
            <a:extLst>
              <a:ext uri="{FF2B5EF4-FFF2-40B4-BE49-F238E27FC236}">
                <a16:creationId xmlns:a16="http://schemas.microsoft.com/office/drawing/2014/main" id="{1C21DF69-0C84-4676-9066-061E47EE1455}"/>
              </a:ext>
            </a:extLst>
          </p:cNvPr>
          <p:cNvSpPr/>
          <p:nvPr/>
        </p:nvSpPr>
        <p:spPr>
          <a:xfrm>
            <a:off x="5815013" y="1369800"/>
            <a:ext cx="140587" cy="46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212" name="Rectangle: Rounded Corners 211">
            <a:extLst>
              <a:ext uri="{FF2B5EF4-FFF2-40B4-BE49-F238E27FC236}">
                <a16:creationId xmlns:a16="http://schemas.microsoft.com/office/drawing/2014/main" id="{F2C20C43-BB4D-4BAB-9ECA-1D4133F83A9D}"/>
              </a:ext>
            </a:extLst>
          </p:cNvPr>
          <p:cNvSpPr/>
          <p:nvPr/>
        </p:nvSpPr>
        <p:spPr>
          <a:xfrm>
            <a:off x="4879975" y="1463400"/>
            <a:ext cx="1871663" cy="280800"/>
          </a:xfrm>
          <a:prstGeom prst="roundRect">
            <a:avLst>
              <a:gd name="adj" fmla="val 95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7200" tIns="0" rIns="187200" bIns="0" rtlCol="0" anchor="ctr"/>
          <a:lstStyle/>
          <a:p>
            <a:pPr algn="ctr"/>
            <a:r>
              <a:rPr lang="en-US" sz="1200">
                <a:solidFill>
                  <a:schemeClr val="accent1"/>
                </a:solidFill>
              </a:rPr>
              <a:t>year manufactured</a:t>
            </a:r>
          </a:p>
        </p:txBody>
      </p:sp>
      <p:sp>
        <p:nvSpPr>
          <p:cNvPr id="216" name="Rectangle: Rounded Corners 215">
            <a:extLst>
              <a:ext uri="{FF2B5EF4-FFF2-40B4-BE49-F238E27FC236}">
                <a16:creationId xmlns:a16="http://schemas.microsoft.com/office/drawing/2014/main" id="{5F349373-7598-437A-A4A7-59AAA822EA0D}"/>
              </a:ext>
            </a:extLst>
          </p:cNvPr>
          <p:cNvSpPr/>
          <p:nvPr/>
        </p:nvSpPr>
        <p:spPr>
          <a:xfrm>
            <a:off x="3428400" y="1978200"/>
            <a:ext cx="2386613" cy="468000"/>
          </a:xfrm>
          <a:prstGeom prst="roundRect">
            <a:avLst>
              <a:gd name="adj" fmla="val 95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7200" rIns="187200" rtlCol="0" anchor="ctr"/>
          <a:lstStyle/>
          <a:p>
            <a:r>
              <a:rPr lang="en-US" sz="1400" b="1">
                <a:solidFill>
                  <a:schemeClr val="accent1"/>
                </a:solidFill>
              </a:rPr>
              <a:t>$1500–$3000</a:t>
            </a:r>
            <a:br>
              <a:rPr lang="en-US" sz="1400" b="1">
                <a:solidFill>
                  <a:schemeClr val="accent1"/>
                </a:solidFill>
              </a:rPr>
            </a:br>
            <a:r>
              <a:rPr lang="en-US" sz="800" b="1">
                <a:solidFill>
                  <a:schemeClr val="accent1"/>
                </a:solidFill>
              </a:rPr>
              <a:t>  $3500-$7000 today</a:t>
            </a:r>
          </a:p>
        </p:txBody>
      </p:sp>
      <p:sp>
        <p:nvSpPr>
          <p:cNvPr id="217" name="Rectangle: Rounded Corners 216">
            <a:extLst>
              <a:ext uri="{FF2B5EF4-FFF2-40B4-BE49-F238E27FC236}">
                <a16:creationId xmlns:a16="http://schemas.microsoft.com/office/drawing/2014/main" id="{358E6492-CE08-4077-864E-8CD8662E66ED}"/>
              </a:ext>
            </a:extLst>
          </p:cNvPr>
          <p:cNvSpPr/>
          <p:nvPr/>
        </p:nvSpPr>
        <p:spPr>
          <a:xfrm>
            <a:off x="5815013" y="1978200"/>
            <a:ext cx="2293387" cy="468000"/>
          </a:xfrm>
          <a:prstGeom prst="roundRect">
            <a:avLst>
              <a:gd name="adj" fmla="val 95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7200" rIns="187200" rtlCol="0" anchor="ctr"/>
          <a:lstStyle/>
          <a:p>
            <a:pPr algn="r"/>
            <a:r>
              <a:rPr lang="en-US" sz="1400" b="1"/>
              <a:t>$1199</a:t>
            </a:r>
            <a:r>
              <a:rPr lang="en-US" sz="1400" b="1">
                <a:solidFill>
                  <a:schemeClr val="bg1"/>
                </a:solidFill>
              </a:rPr>
              <a:t>–</a:t>
            </a:r>
            <a:r>
              <a:rPr lang="en-US" sz="1400" b="1"/>
              <a:t>$1599</a:t>
            </a:r>
          </a:p>
        </p:txBody>
      </p:sp>
      <p:sp>
        <p:nvSpPr>
          <p:cNvPr id="218" name="Rectangle 217">
            <a:extLst>
              <a:ext uri="{FF2B5EF4-FFF2-40B4-BE49-F238E27FC236}">
                <a16:creationId xmlns:a16="http://schemas.microsoft.com/office/drawing/2014/main" id="{F3446C09-FD7A-4435-B11B-2A8DA93C636C}"/>
              </a:ext>
            </a:extLst>
          </p:cNvPr>
          <p:cNvSpPr/>
          <p:nvPr/>
        </p:nvSpPr>
        <p:spPr>
          <a:xfrm flipH="1">
            <a:off x="5674800" y="1978200"/>
            <a:ext cx="140400" cy="46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219" name="Rectangle 218">
            <a:extLst>
              <a:ext uri="{FF2B5EF4-FFF2-40B4-BE49-F238E27FC236}">
                <a16:creationId xmlns:a16="http://schemas.microsoft.com/office/drawing/2014/main" id="{00ABDC06-9BDF-44E3-AB31-C995F9444424}"/>
              </a:ext>
            </a:extLst>
          </p:cNvPr>
          <p:cNvSpPr/>
          <p:nvPr/>
        </p:nvSpPr>
        <p:spPr>
          <a:xfrm>
            <a:off x="5815013" y="1978200"/>
            <a:ext cx="140587" cy="46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220" name="Rectangle: Rounded Corners 219">
            <a:extLst>
              <a:ext uri="{FF2B5EF4-FFF2-40B4-BE49-F238E27FC236}">
                <a16:creationId xmlns:a16="http://schemas.microsoft.com/office/drawing/2014/main" id="{9E2B9FFD-1C1C-4DFC-AEB8-C12592E0B99A}"/>
              </a:ext>
            </a:extLst>
          </p:cNvPr>
          <p:cNvSpPr/>
          <p:nvPr/>
        </p:nvSpPr>
        <p:spPr>
          <a:xfrm>
            <a:off x="4879975" y="2071800"/>
            <a:ext cx="1871663" cy="280800"/>
          </a:xfrm>
          <a:prstGeom prst="roundRect">
            <a:avLst>
              <a:gd name="adj" fmla="val 95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7200" tIns="0" rIns="187200" bIns="0" rtlCol="0" anchor="ctr"/>
          <a:lstStyle/>
          <a:p>
            <a:pPr algn="ctr"/>
            <a:r>
              <a:rPr lang="en-US" sz="1200">
                <a:solidFill>
                  <a:schemeClr val="accent1"/>
                </a:solidFill>
              </a:rPr>
              <a:t>price</a:t>
            </a:r>
          </a:p>
        </p:txBody>
      </p:sp>
      <p:sp>
        <p:nvSpPr>
          <p:cNvPr id="221" name="Rectangle: Rounded Corners 220">
            <a:extLst>
              <a:ext uri="{FF2B5EF4-FFF2-40B4-BE49-F238E27FC236}">
                <a16:creationId xmlns:a16="http://schemas.microsoft.com/office/drawing/2014/main" id="{1EB90561-AAF8-42FA-965D-9CF7FF63A5BF}"/>
              </a:ext>
            </a:extLst>
          </p:cNvPr>
          <p:cNvSpPr/>
          <p:nvPr/>
        </p:nvSpPr>
        <p:spPr>
          <a:xfrm>
            <a:off x="3147600" y="2586600"/>
            <a:ext cx="2667413" cy="468000"/>
          </a:xfrm>
          <a:prstGeom prst="roundRect">
            <a:avLst>
              <a:gd name="adj" fmla="val 95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7200" rIns="187200" rtlCol="0" anchor="ctr"/>
          <a:lstStyle/>
          <a:p>
            <a:r>
              <a:rPr lang="en-US" sz="1400" b="1">
                <a:solidFill>
                  <a:schemeClr val="accent1"/>
                </a:solidFill>
              </a:rPr>
              <a:t>16-bit Intel 8088</a:t>
            </a:r>
            <a:br>
              <a:rPr lang="en-US" sz="1400" b="1">
                <a:solidFill>
                  <a:schemeClr val="accent1"/>
                </a:solidFill>
              </a:rPr>
            </a:br>
            <a:r>
              <a:rPr lang="en-US" sz="1400" b="1">
                <a:solidFill>
                  <a:schemeClr val="accent1"/>
                </a:solidFill>
              </a:rPr>
              <a:t>     4.77 MHz</a:t>
            </a:r>
          </a:p>
        </p:txBody>
      </p:sp>
      <p:sp>
        <p:nvSpPr>
          <p:cNvPr id="222" name="Rectangle: Rounded Corners 221">
            <a:extLst>
              <a:ext uri="{FF2B5EF4-FFF2-40B4-BE49-F238E27FC236}">
                <a16:creationId xmlns:a16="http://schemas.microsoft.com/office/drawing/2014/main" id="{6E62F1FF-4B02-415F-9995-12DC39FF6FB6}"/>
              </a:ext>
            </a:extLst>
          </p:cNvPr>
          <p:cNvSpPr/>
          <p:nvPr/>
        </p:nvSpPr>
        <p:spPr>
          <a:xfrm>
            <a:off x="5815013" y="2586600"/>
            <a:ext cx="2761387" cy="468000"/>
          </a:xfrm>
          <a:prstGeom prst="roundRect">
            <a:avLst>
              <a:gd name="adj" fmla="val 95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7200" rIns="187200" rtlCol="0" anchor="ctr"/>
          <a:lstStyle/>
          <a:p>
            <a:pPr algn="r"/>
            <a:r>
              <a:rPr lang="en-US" sz="1400" b="1"/>
              <a:t>   Apple A17 Pro</a:t>
            </a:r>
            <a:br>
              <a:rPr lang="en-US" sz="1400" b="1"/>
            </a:br>
            <a:r>
              <a:rPr lang="en-US" sz="1400" b="1"/>
              <a:t>chip (3 nm EUV)  </a:t>
            </a:r>
          </a:p>
        </p:txBody>
      </p:sp>
      <p:sp>
        <p:nvSpPr>
          <p:cNvPr id="223" name="Rectangle 222">
            <a:extLst>
              <a:ext uri="{FF2B5EF4-FFF2-40B4-BE49-F238E27FC236}">
                <a16:creationId xmlns:a16="http://schemas.microsoft.com/office/drawing/2014/main" id="{F2E05A1A-E404-4099-A481-41FCBD4EC3C8}"/>
              </a:ext>
            </a:extLst>
          </p:cNvPr>
          <p:cNvSpPr/>
          <p:nvPr/>
        </p:nvSpPr>
        <p:spPr>
          <a:xfrm flipH="1">
            <a:off x="5674800" y="2586600"/>
            <a:ext cx="140400" cy="46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224" name="Rectangle 223">
            <a:extLst>
              <a:ext uri="{FF2B5EF4-FFF2-40B4-BE49-F238E27FC236}">
                <a16:creationId xmlns:a16="http://schemas.microsoft.com/office/drawing/2014/main" id="{9122279F-A9CA-48D2-9480-1FA60ADFA6E5}"/>
              </a:ext>
            </a:extLst>
          </p:cNvPr>
          <p:cNvSpPr/>
          <p:nvPr/>
        </p:nvSpPr>
        <p:spPr>
          <a:xfrm>
            <a:off x="5815013" y="2586600"/>
            <a:ext cx="140587" cy="46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225" name="Rectangle: Rounded Corners 224">
            <a:extLst>
              <a:ext uri="{FF2B5EF4-FFF2-40B4-BE49-F238E27FC236}">
                <a16:creationId xmlns:a16="http://schemas.microsoft.com/office/drawing/2014/main" id="{8CE3532E-5572-4EDE-8425-7B40C6BF7152}"/>
              </a:ext>
            </a:extLst>
          </p:cNvPr>
          <p:cNvSpPr/>
          <p:nvPr/>
        </p:nvSpPr>
        <p:spPr>
          <a:xfrm>
            <a:off x="4879975" y="2680200"/>
            <a:ext cx="1871663" cy="280800"/>
          </a:xfrm>
          <a:prstGeom prst="roundRect">
            <a:avLst>
              <a:gd name="adj" fmla="val 95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7200" tIns="0" rIns="187200" bIns="0" rtlCol="0" anchor="ctr"/>
          <a:lstStyle/>
          <a:p>
            <a:pPr algn="ctr"/>
            <a:r>
              <a:rPr lang="en-US" sz="1200">
                <a:solidFill>
                  <a:schemeClr val="accent1"/>
                </a:solidFill>
              </a:rPr>
              <a:t>processor</a:t>
            </a:r>
          </a:p>
        </p:txBody>
      </p:sp>
      <p:sp>
        <p:nvSpPr>
          <p:cNvPr id="226" name="Rectangle: Rounded Corners 225">
            <a:extLst>
              <a:ext uri="{FF2B5EF4-FFF2-40B4-BE49-F238E27FC236}">
                <a16:creationId xmlns:a16="http://schemas.microsoft.com/office/drawing/2014/main" id="{75FD3F36-455C-4839-8568-C3DF72336502}"/>
              </a:ext>
            </a:extLst>
          </p:cNvPr>
          <p:cNvSpPr/>
          <p:nvPr/>
        </p:nvSpPr>
        <p:spPr>
          <a:xfrm>
            <a:off x="3662400" y="3195000"/>
            <a:ext cx="2152613" cy="468000"/>
          </a:xfrm>
          <a:prstGeom prst="roundRect">
            <a:avLst>
              <a:gd name="adj" fmla="val 95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7200" rIns="187200" rtlCol="0" anchor="ctr"/>
          <a:lstStyle/>
          <a:p>
            <a:r>
              <a:rPr lang="en-US" sz="1400" b="1">
                <a:solidFill>
                  <a:schemeClr val="accent1"/>
                </a:solidFill>
              </a:rPr>
              <a:t>16–265 kB</a:t>
            </a:r>
          </a:p>
        </p:txBody>
      </p:sp>
      <p:sp>
        <p:nvSpPr>
          <p:cNvPr id="227" name="Rectangle: Rounded Corners 226">
            <a:extLst>
              <a:ext uri="{FF2B5EF4-FFF2-40B4-BE49-F238E27FC236}">
                <a16:creationId xmlns:a16="http://schemas.microsoft.com/office/drawing/2014/main" id="{16C14EBD-36EC-4719-81F0-4E0EF07F123C}"/>
              </a:ext>
            </a:extLst>
          </p:cNvPr>
          <p:cNvSpPr/>
          <p:nvPr/>
        </p:nvSpPr>
        <p:spPr>
          <a:xfrm>
            <a:off x="5815013" y="3195000"/>
            <a:ext cx="1731787" cy="468000"/>
          </a:xfrm>
          <a:prstGeom prst="roundRect">
            <a:avLst>
              <a:gd name="adj" fmla="val 95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7200" rIns="187200" rtlCol="0" anchor="ctr"/>
          <a:lstStyle/>
          <a:p>
            <a:pPr algn="r"/>
            <a:r>
              <a:rPr lang="en-US" sz="1400" b="1"/>
              <a:t>8 GB</a:t>
            </a:r>
          </a:p>
        </p:txBody>
      </p:sp>
      <p:sp>
        <p:nvSpPr>
          <p:cNvPr id="228" name="Rectangle 227">
            <a:extLst>
              <a:ext uri="{FF2B5EF4-FFF2-40B4-BE49-F238E27FC236}">
                <a16:creationId xmlns:a16="http://schemas.microsoft.com/office/drawing/2014/main" id="{C9130D06-7D94-497A-8668-A68019AD2F71}"/>
              </a:ext>
            </a:extLst>
          </p:cNvPr>
          <p:cNvSpPr/>
          <p:nvPr/>
        </p:nvSpPr>
        <p:spPr>
          <a:xfrm flipH="1">
            <a:off x="5674800" y="3195000"/>
            <a:ext cx="140400" cy="46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229" name="Rectangle 228">
            <a:extLst>
              <a:ext uri="{FF2B5EF4-FFF2-40B4-BE49-F238E27FC236}">
                <a16:creationId xmlns:a16="http://schemas.microsoft.com/office/drawing/2014/main" id="{74211C76-22DB-40C2-99E9-B5D5DB0EE665}"/>
              </a:ext>
            </a:extLst>
          </p:cNvPr>
          <p:cNvSpPr/>
          <p:nvPr/>
        </p:nvSpPr>
        <p:spPr>
          <a:xfrm>
            <a:off x="5815013" y="3195000"/>
            <a:ext cx="140587" cy="46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230" name="Rectangle: Rounded Corners 229">
            <a:extLst>
              <a:ext uri="{FF2B5EF4-FFF2-40B4-BE49-F238E27FC236}">
                <a16:creationId xmlns:a16="http://schemas.microsoft.com/office/drawing/2014/main" id="{43B6467A-EB06-4BEA-BFF8-D52ECD9D2F65}"/>
              </a:ext>
            </a:extLst>
          </p:cNvPr>
          <p:cNvSpPr/>
          <p:nvPr/>
        </p:nvSpPr>
        <p:spPr>
          <a:xfrm>
            <a:off x="4879975" y="3288600"/>
            <a:ext cx="1871663" cy="280800"/>
          </a:xfrm>
          <a:prstGeom prst="roundRect">
            <a:avLst>
              <a:gd name="adj" fmla="val 95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7200" tIns="0" rIns="187200" bIns="0" rtlCol="0" anchor="ctr"/>
          <a:lstStyle/>
          <a:p>
            <a:pPr algn="ctr" defTabSz="1219170">
              <a:lnSpc>
                <a:spcPct val="100000"/>
              </a:lnSpc>
              <a:spcAft>
                <a:spcPts val="0"/>
              </a:spcAft>
              <a:defRPr/>
            </a:pPr>
            <a:r>
              <a:rPr lang="en-US" sz="1200">
                <a:solidFill>
                  <a:schemeClr val="accent1"/>
                </a:solidFill>
                <a:latin typeface="Arial"/>
              </a:rPr>
              <a:t>working memory</a:t>
            </a:r>
          </a:p>
        </p:txBody>
      </p:sp>
      <p:sp>
        <p:nvSpPr>
          <p:cNvPr id="231" name="Rectangle: Rounded Corners 230">
            <a:extLst>
              <a:ext uri="{FF2B5EF4-FFF2-40B4-BE49-F238E27FC236}">
                <a16:creationId xmlns:a16="http://schemas.microsoft.com/office/drawing/2014/main" id="{091E3C64-6FD3-4626-B4FE-F94EC49CA8C7}"/>
              </a:ext>
            </a:extLst>
          </p:cNvPr>
          <p:cNvSpPr/>
          <p:nvPr/>
        </p:nvSpPr>
        <p:spPr>
          <a:xfrm>
            <a:off x="2679600" y="3803400"/>
            <a:ext cx="3135413" cy="468000"/>
          </a:xfrm>
          <a:prstGeom prst="roundRect">
            <a:avLst>
              <a:gd name="adj" fmla="val 95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7200" rIns="187200" rtlCol="0" anchor="ctr"/>
          <a:lstStyle/>
          <a:p>
            <a:r>
              <a:rPr lang="en-US" sz="1400" b="1">
                <a:solidFill>
                  <a:schemeClr val="accent1"/>
                </a:solidFill>
                <a:latin typeface="Arial"/>
              </a:rPr>
              <a:t>5″ floppy disk 160 kB</a:t>
            </a:r>
            <a:endParaRPr lang="en-US" sz="1400" b="1">
              <a:solidFill>
                <a:schemeClr val="accent1"/>
              </a:solidFill>
            </a:endParaRPr>
          </a:p>
        </p:txBody>
      </p:sp>
      <p:sp>
        <p:nvSpPr>
          <p:cNvPr id="232" name="Rectangle: Rounded Corners 231">
            <a:extLst>
              <a:ext uri="{FF2B5EF4-FFF2-40B4-BE49-F238E27FC236}">
                <a16:creationId xmlns:a16="http://schemas.microsoft.com/office/drawing/2014/main" id="{FBD05C39-2651-4A18-AED0-0732CB698BCF}"/>
              </a:ext>
            </a:extLst>
          </p:cNvPr>
          <p:cNvSpPr/>
          <p:nvPr/>
        </p:nvSpPr>
        <p:spPr>
          <a:xfrm>
            <a:off x="5815013" y="3803400"/>
            <a:ext cx="2199601" cy="468000"/>
          </a:xfrm>
          <a:prstGeom prst="roundRect">
            <a:avLst>
              <a:gd name="adj" fmla="val 95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7200" rIns="187200" rtlCol="0" anchor="ctr"/>
          <a:lstStyle/>
          <a:p>
            <a:pPr algn="r"/>
            <a:r>
              <a:rPr lang="en-US" sz="1400" b="1"/>
              <a:t>up to 1 TB</a:t>
            </a:r>
          </a:p>
        </p:txBody>
      </p:sp>
      <p:sp>
        <p:nvSpPr>
          <p:cNvPr id="233" name="Rectangle 232">
            <a:extLst>
              <a:ext uri="{FF2B5EF4-FFF2-40B4-BE49-F238E27FC236}">
                <a16:creationId xmlns:a16="http://schemas.microsoft.com/office/drawing/2014/main" id="{277285A8-31A9-4284-8CF4-DE8A29EF3660}"/>
              </a:ext>
            </a:extLst>
          </p:cNvPr>
          <p:cNvSpPr/>
          <p:nvPr/>
        </p:nvSpPr>
        <p:spPr>
          <a:xfrm flipH="1">
            <a:off x="5674800" y="3803400"/>
            <a:ext cx="140400" cy="46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234" name="Rectangle 233">
            <a:extLst>
              <a:ext uri="{FF2B5EF4-FFF2-40B4-BE49-F238E27FC236}">
                <a16:creationId xmlns:a16="http://schemas.microsoft.com/office/drawing/2014/main" id="{098334C0-DF18-473D-8879-5B50D2473D31}"/>
              </a:ext>
            </a:extLst>
          </p:cNvPr>
          <p:cNvSpPr/>
          <p:nvPr/>
        </p:nvSpPr>
        <p:spPr>
          <a:xfrm>
            <a:off x="5815013" y="3803400"/>
            <a:ext cx="140587" cy="46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235" name="Rectangle: Rounded Corners 234">
            <a:extLst>
              <a:ext uri="{FF2B5EF4-FFF2-40B4-BE49-F238E27FC236}">
                <a16:creationId xmlns:a16="http://schemas.microsoft.com/office/drawing/2014/main" id="{9D754AD1-DC16-42E2-A95F-60C9BEF3D37A}"/>
              </a:ext>
            </a:extLst>
          </p:cNvPr>
          <p:cNvSpPr/>
          <p:nvPr/>
        </p:nvSpPr>
        <p:spPr>
          <a:xfrm>
            <a:off x="4879975" y="3897000"/>
            <a:ext cx="1871663" cy="280800"/>
          </a:xfrm>
          <a:prstGeom prst="roundRect">
            <a:avLst>
              <a:gd name="adj" fmla="val 95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7200" tIns="0" rIns="187200" bIns="0" rtlCol="0" anchor="ctr"/>
          <a:lstStyle/>
          <a:p>
            <a:pPr algn="ctr"/>
            <a:r>
              <a:rPr lang="en-US" sz="1200">
                <a:solidFill>
                  <a:schemeClr val="accent1"/>
                </a:solidFill>
              </a:rPr>
              <a:t>internal storage</a:t>
            </a:r>
          </a:p>
        </p:txBody>
      </p:sp>
      <p:sp>
        <p:nvSpPr>
          <p:cNvPr id="236" name="Rectangle: Rounded Corners 235">
            <a:extLst>
              <a:ext uri="{FF2B5EF4-FFF2-40B4-BE49-F238E27FC236}">
                <a16:creationId xmlns:a16="http://schemas.microsoft.com/office/drawing/2014/main" id="{DE49EFFC-4678-49AC-9C75-5772285DDD37}"/>
              </a:ext>
            </a:extLst>
          </p:cNvPr>
          <p:cNvSpPr/>
          <p:nvPr/>
        </p:nvSpPr>
        <p:spPr>
          <a:xfrm>
            <a:off x="3241200" y="4411800"/>
            <a:ext cx="2573813" cy="468000"/>
          </a:xfrm>
          <a:prstGeom prst="roundRect">
            <a:avLst>
              <a:gd name="adj" fmla="val 95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7200" rIns="187200" rtlCol="0" anchor="ctr"/>
          <a:lstStyle/>
          <a:p>
            <a:r>
              <a:rPr lang="en-US" sz="1400" b="1">
                <a:solidFill>
                  <a:schemeClr val="accent1"/>
                </a:solidFill>
              </a:rPr>
              <a:t>640x200 pixels</a:t>
            </a:r>
          </a:p>
        </p:txBody>
      </p:sp>
      <p:sp>
        <p:nvSpPr>
          <p:cNvPr id="237" name="Rectangle: Rounded Corners 236">
            <a:extLst>
              <a:ext uri="{FF2B5EF4-FFF2-40B4-BE49-F238E27FC236}">
                <a16:creationId xmlns:a16="http://schemas.microsoft.com/office/drawing/2014/main" id="{57D2AD6D-7CB9-4344-B4A6-3A4A3833CF4F}"/>
              </a:ext>
            </a:extLst>
          </p:cNvPr>
          <p:cNvSpPr/>
          <p:nvPr/>
        </p:nvSpPr>
        <p:spPr>
          <a:xfrm>
            <a:off x="5815013" y="4411800"/>
            <a:ext cx="2854987" cy="468000"/>
          </a:xfrm>
          <a:prstGeom prst="roundRect">
            <a:avLst>
              <a:gd name="adj" fmla="val 95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7200" rIns="187200" rtlCol="0" anchor="ctr"/>
          <a:lstStyle/>
          <a:p>
            <a:pPr algn="r"/>
            <a:r>
              <a:rPr lang="en-US" sz="1400" b="1"/>
              <a:t>2796 x 1290 pixels</a:t>
            </a:r>
          </a:p>
        </p:txBody>
      </p:sp>
      <p:sp>
        <p:nvSpPr>
          <p:cNvPr id="238" name="Rectangle 237">
            <a:extLst>
              <a:ext uri="{FF2B5EF4-FFF2-40B4-BE49-F238E27FC236}">
                <a16:creationId xmlns:a16="http://schemas.microsoft.com/office/drawing/2014/main" id="{6BB42E44-16CC-411F-AA41-B62778848D80}"/>
              </a:ext>
            </a:extLst>
          </p:cNvPr>
          <p:cNvSpPr/>
          <p:nvPr/>
        </p:nvSpPr>
        <p:spPr>
          <a:xfrm flipH="1">
            <a:off x="5674800" y="4411800"/>
            <a:ext cx="140400" cy="46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239" name="Rectangle 238">
            <a:extLst>
              <a:ext uri="{FF2B5EF4-FFF2-40B4-BE49-F238E27FC236}">
                <a16:creationId xmlns:a16="http://schemas.microsoft.com/office/drawing/2014/main" id="{F7AE2219-350C-4ADD-B481-5EC2AC8CFCCA}"/>
              </a:ext>
            </a:extLst>
          </p:cNvPr>
          <p:cNvSpPr/>
          <p:nvPr/>
        </p:nvSpPr>
        <p:spPr>
          <a:xfrm>
            <a:off x="5815013" y="4411800"/>
            <a:ext cx="140587" cy="46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240" name="Rectangle: Rounded Corners 239">
            <a:extLst>
              <a:ext uri="{FF2B5EF4-FFF2-40B4-BE49-F238E27FC236}">
                <a16:creationId xmlns:a16="http://schemas.microsoft.com/office/drawing/2014/main" id="{99F43387-33FF-4FD5-855A-F7DF38C29C57}"/>
              </a:ext>
            </a:extLst>
          </p:cNvPr>
          <p:cNvSpPr/>
          <p:nvPr/>
        </p:nvSpPr>
        <p:spPr>
          <a:xfrm>
            <a:off x="4879975" y="4505400"/>
            <a:ext cx="1871663" cy="280800"/>
          </a:xfrm>
          <a:prstGeom prst="roundRect">
            <a:avLst>
              <a:gd name="adj" fmla="val 95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7200" tIns="0" rIns="187200" bIns="0" rtlCol="0" anchor="ctr"/>
          <a:lstStyle/>
          <a:p>
            <a:pPr algn="ctr"/>
            <a:r>
              <a:rPr lang="en-US" sz="1200">
                <a:solidFill>
                  <a:schemeClr val="accent1"/>
                </a:solidFill>
              </a:rPr>
              <a:t>display</a:t>
            </a:r>
          </a:p>
        </p:txBody>
      </p:sp>
      <p:sp>
        <p:nvSpPr>
          <p:cNvPr id="241" name="Rectangle: Rounded Corners 240">
            <a:extLst>
              <a:ext uri="{FF2B5EF4-FFF2-40B4-BE49-F238E27FC236}">
                <a16:creationId xmlns:a16="http://schemas.microsoft.com/office/drawing/2014/main" id="{EAD1262A-5471-40F9-B774-8A2F29C3F149}"/>
              </a:ext>
            </a:extLst>
          </p:cNvPr>
          <p:cNvSpPr/>
          <p:nvPr/>
        </p:nvSpPr>
        <p:spPr>
          <a:xfrm>
            <a:off x="3952052" y="5020200"/>
            <a:ext cx="1862961" cy="468000"/>
          </a:xfrm>
          <a:prstGeom prst="roundRect">
            <a:avLst>
              <a:gd name="adj" fmla="val 95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7200" rIns="187200" rtlCol="0" anchor="ctr"/>
          <a:lstStyle/>
          <a:p>
            <a:r>
              <a:rPr lang="en-US" sz="1400" b="1">
                <a:solidFill>
                  <a:schemeClr val="accent1"/>
                </a:solidFill>
              </a:rPr>
              <a:t>29,000</a:t>
            </a:r>
          </a:p>
        </p:txBody>
      </p:sp>
      <p:sp>
        <p:nvSpPr>
          <p:cNvPr id="242" name="Rectangle: Rounded Corners 241">
            <a:extLst>
              <a:ext uri="{FF2B5EF4-FFF2-40B4-BE49-F238E27FC236}">
                <a16:creationId xmlns:a16="http://schemas.microsoft.com/office/drawing/2014/main" id="{9BACAA44-6802-404B-AB9A-9229A1696305}"/>
              </a:ext>
            </a:extLst>
          </p:cNvPr>
          <p:cNvSpPr/>
          <p:nvPr/>
        </p:nvSpPr>
        <p:spPr>
          <a:xfrm>
            <a:off x="5815013" y="5020200"/>
            <a:ext cx="2106187" cy="468000"/>
          </a:xfrm>
          <a:prstGeom prst="roundRect">
            <a:avLst>
              <a:gd name="adj" fmla="val 95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7200" rIns="187200" rtlCol="0" anchor="ctr"/>
          <a:lstStyle/>
          <a:p>
            <a:pPr algn="r"/>
            <a:r>
              <a:rPr lang="en-US" sz="1400" b="1"/>
              <a:t>19 billion</a:t>
            </a:r>
          </a:p>
        </p:txBody>
      </p:sp>
      <p:sp>
        <p:nvSpPr>
          <p:cNvPr id="243" name="Rectangle 242">
            <a:extLst>
              <a:ext uri="{FF2B5EF4-FFF2-40B4-BE49-F238E27FC236}">
                <a16:creationId xmlns:a16="http://schemas.microsoft.com/office/drawing/2014/main" id="{94B6FC30-EE01-4DE4-9239-881C37813CA8}"/>
              </a:ext>
            </a:extLst>
          </p:cNvPr>
          <p:cNvSpPr/>
          <p:nvPr/>
        </p:nvSpPr>
        <p:spPr>
          <a:xfrm flipH="1">
            <a:off x="5674800" y="5020200"/>
            <a:ext cx="140400" cy="46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244" name="Rectangle 243">
            <a:extLst>
              <a:ext uri="{FF2B5EF4-FFF2-40B4-BE49-F238E27FC236}">
                <a16:creationId xmlns:a16="http://schemas.microsoft.com/office/drawing/2014/main" id="{3C415206-8B3F-4DB2-9084-806EA4D1B695}"/>
              </a:ext>
            </a:extLst>
          </p:cNvPr>
          <p:cNvSpPr/>
          <p:nvPr/>
        </p:nvSpPr>
        <p:spPr>
          <a:xfrm>
            <a:off x="5815013" y="5020200"/>
            <a:ext cx="140587" cy="46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245" name="Rectangle: Rounded Corners 244">
            <a:extLst>
              <a:ext uri="{FF2B5EF4-FFF2-40B4-BE49-F238E27FC236}">
                <a16:creationId xmlns:a16="http://schemas.microsoft.com/office/drawing/2014/main" id="{9DA711A2-4AC9-4953-AAA4-423A8D2B0092}"/>
              </a:ext>
            </a:extLst>
          </p:cNvPr>
          <p:cNvSpPr/>
          <p:nvPr/>
        </p:nvSpPr>
        <p:spPr>
          <a:xfrm>
            <a:off x="4879975" y="5113800"/>
            <a:ext cx="1871663" cy="280800"/>
          </a:xfrm>
          <a:prstGeom prst="roundRect">
            <a:avLst>
              <a:gd name="adj" fmla="val 95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7200" tIns="0" rIns="187200" bIns="0" rtlCol="0" anchor="ctr"/>
          <a:lstStyle/>
          <a:p>
            <a:pPr algn="ctr" defTabSz="1219170">
              <a:lnSpc>
                <a:spcPct val="100000"/>
              </a:lnSpc>
              <a:spcAft>
                <a:spcPts val="0"/>
              </a:spcAft>
              <a:defRPr/>
            </a:pPr>
            <a:r>
              <a:rPr lang="en-US" sz="1200">
                <a:solidFill>
                  <a:schemeClr val="accent1"/>
                </a:solidFill>
                <a:latin typeface="Arial"/>
              </a:rPr>
              <a:t>transistor count</a:t>
            </a:r>
          </a:p>
        </p:txBody>
      </p:sp>
      <p:sp>
        <p:nvSpPr>
          <p:cNvPr id="246" name="Rectangle: Rounded Corners 245">
            <a:extLst>
              <a:ext uri="{FF2B5EF4-FFF2-40B4-BE49-F238E27FC236}">
                <a16:creationId xmlns:a16="http://schemas.microsoft.com/office/drawing/2014/main" id="{B92BA455-348D-433E-97D3-D5BC91BA4D57}"/>
              </a:ext>
            </a:extLst>
          </p:cNvPr>
          <p:cNvSpPr/>
          <p:nvPr/>
        </p:nvSpPr>
        <p:spPr>
          <a:xfrm>
            <a:off x="3381600" y="5628600"/>
            <a:ext cx="2433413" cy="468000"/>
          </a:xfrm>
          <a:prstGeom prst="roundRect">
            <a:avLst>
              <a:gd name="adj" fmla="val 95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7200" rIns="187200" rtlCol="0" anchor="ctr"/>
          <a:lstStyle/>
          <a:p>
            <a:r>
              <a:rPr lang="en-US" sz="1400" b="1">
                <a:solidFill>
                  <a:schemeClr val="accent1"/>
                </a:solidFill>
              </a:rPr>
              <a:t>12.7 kilogram</a:t>
            </a:r>
          </a:p>
        </p:txBody>
      </p:sp>
      <p:sp>
        <p:nvSpPr>
          <p:cNvPr id="247" name="Rectangle: Rounded Corners 246">
            <a:extLst>
              <a:ext uri="{FF2B5EF4-FFF2-40B4-BE49-F238E27FC236}">
                <a16:creationId xmlns:a16="http://schemas.microsoft.com/office/drawing/2014/main" id="{CBF7CF9D-0D8E-434A-8317-F081B6E80C02}"/>
              </a:ext>
            </a:extLst>
          </p:cNvPr>
          <p:cNvSpPr/>
          <p:nvPr/>
        </p:nvSpPr>
        <p:spPr>
          <a:xfrm>
            <a:off x="5815013" y="5628600"/>
            <a:ext cx="2199787" cy="468000"/>
          </a:xfrm>
          <a:prstGeom prst="roundRect">
            <a:avLst>
              <a:gd name="adj" fmla="val 95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7200" rIns="187200" rtlCol="0" anchor="ctr"/>
          <a:lstStyle/>
          <a:p>
            <a:pPr algn="r"/>
            <a:r>
              <a:rPr lang="en-US" sz="1400" b="1"/>
              <a:t>221 grams</a:t>
            </a:r>
          </a:p>
        </p:txBody>
      </p:sp>
      <p:sp>
        <p:nvSpPr>
          <p:cNvPr id="248" name="Rectangle 247">
            <a:extLst>
              <a:ext uri="{FF2B5EF4-FFF2-40B4-BE49-F238E27FC236}">
                <a16:creationId xmlns:a16="http://schemas.microsoft.com/office/drawing/2014/main" id="{244226A9-9B07-4A9D-8150-3E7751CFE76D}"/>
              </a:ext>
            </a:extLst>
          </p:cNvPr>
          <p:cNvSpPr/>
          <p:nvPr/>
        </p:nvSpPr>
        <p:spPr>
          <a:xfrm flipH="1">
            <a:off x="5674800" y="5628600"/>
            <a:ext cx="140400" cy="46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249" name="Rectangle 248">
            <a:extLst>
              <a:ext uri="{FF2B5EF4-FFF2-40B4-BE49-F238E27FC236}">
                <a16:creationId xmlns:a16="http://schemas.microsoft.com/office/drawing/2014/main" id="{FDF559B7-B7CE-4E10-BFC7-634EE363681E}"/>
              </a:ext>
            </a:extLst>
          </p:cNvPr>
          <p:cNvSpPr/>
          <p:nvPr/>
        </p:nvSpPr>
        <p:spPr>
          <a:xfrm>
            <a:off x="5815013" y="5628600"/>
            <a:ext cx="140587" cy="46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250" name="Rectangle: Rounded Corners 249">
            <a:extLst>
              <a:ext uri="{FF2B5EF4-FFF2-40B4-BE49-F238E27FC236}">
                <a16:creationId xmlns:a16="http://schemas.microsoft.com/office/drawing/2014/main" id="{DA88B618-268C-48FD-81AF-9CBABE050902}"/>
              </a:ext>
            </a:extLst>
          </p:cNvPr>
          <p:cNvSpPr/>
          <p:nvPr/>
        </p:nvSpPr>
        <p:spPr>
          <a:xfrm>
            <a:off x="4879975" y="5722200"/>
            <a:ext cx="1871663" cy="280800"/>
          </a:xfrm>
          <a:prstGeom prst="roundRect">
            <a:avLst>
              <a:gd name="adj" fmla="val 95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7200" tIns="0" rIns="187200" bIns="0" rtlCol="0" anchor="ctr"/>
          <a:lstStyle/>
          <a:p>
            <a:pPr algn="ctr"/>
            <a:r>
              <a:rPr lang="en-US" sz="1200">
                <a:solidFill>
                  <a:schemeClr val="accent1"/>
                </a:solidFill>
              </a:rPr>
              <a:t>weigh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7EA35AB-A437-02D1-921E-D47F779FDF3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511700" y="1861401"/>
            <a:ext cx="3680300" cy="4509810"/>
          </a:xfrm>
          <a:prstGeom prst="rect">
            <a:avLst/>
          </a:prstGeom>
        </p:spPr>
      </p:pic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EC6AD7E-5103-BF8F-41B3-4B20A2403F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2" name="Slide Number Placeholder 6">
            <a:extLst>
              <a:ext uri="{FF2B5EF4-FFF2-40B4-BE49-F238E27FC236}">
                <a16:creationId xmlns:a16="http://schemas.microsoft.com/office/drawing/2014/main" id="{C97BB6C6-240A-885B-0047-9815028608B8}"/>
              </a:ext>
            </a:extLst>
          </p:cNvPr>
          <p:cNvSpPr txBox="1">
            <a:spLocks/>
          </p:cNvSpPr>
          <p:nvPr/>
        </p:nvSpPr>
        <p:spPr>
          <a:xfrm>
            <a:off x="11811000" y="6518276"/>
            <a:ext cx="381000" cy="339724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n-US"/>
            </a:defPPr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fld id="{A2218858-49EA-4BF8-8EFE-B88A4580565A}" type="slidenum">
              <a:rPr sz="800" smtClean="0"/>
              <a:pPr algn="r">
                <a:lnSpc>
                  <a:spcPct val="110000"/>
                </a:lnSpc>
                <a:spcAft>
                  <a:spcPts val="0"/>
                </a:spcAft>
              </a:pPr>
              <a:t>6</a:t>
            </a:fld>
            <a:endParaRPr lang="en-US" sz="80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414802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9">
            <a:extLst>
              <a:ext uri="{FF2B5EF4-FFF2-40B4-BE49-F238E27FC236}">
                <a16:creationId xmlns:a16="http://schemas.microsoft.com/office/drawing/2014/main" id="{60271390-C99D-4DFE-9A93-211D54C6C1A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265953-9BE8-2695-5C12-03F988B41A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EF3868-3AB2-2941-D0F6-DCD62AF79AA4}"/>
              </a:ext>
            </a:extLst>
          </p:cNvPr>
          <p:cNvSpPr txBox="1"/>
          <p:nvPr/>
        </p:nvSpPr>
        <p:spPr>
          <a:xfrm>
            <a:off x="762000" y="2667000"/>
            <a:ext cx="6161566" cy="14496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MS PGothic" pitchFamily="34" charset="-128"/>
                <a:cs typeface="+mn-cs"/>
              </a:rPr>
              <a:t>Yield</a:t>
            </a:r>
          </a:p>
          <a:p>
            <a:pPr marL="285750" marR="0" lvl="0" indent="-28575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MS PGothic" pitchFamily="34" charset="-128"/>
              <a:cs typeface="+mn-cs"/>
            </a:endParaRPr>
          </a:p>
          <a:p>
            <a:pPr marL="285750" marR="0" lvl="0" indent="-28575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>
                <a:solidFill>
                  <a:prstClr val="black"/>
                </a:solidFill>
                <a:ea typeface="MS PGothic" pitchFamily="34" charset="-128"/>
              </a:rPr>
              <a:t>Throughput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MS PGothic" pitchFamily="34" charset="-128"/>
              <a:cs typeface="+mn-cs"/>
            </a:endParaRP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MS PGothic" pitchFamily="34" charset="-128"/>
              <a:cs typeface="+mn-cs"/>
            </a:endParaRP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35CC9C8C-D678-CBDD-DEE9-750F8AE48DC3}"/>
              </a:ext>
            </a:extLst>
          </p:cNvPr>
          <p:cNvSpPr txBox="1">
            <a:spLocks/>
          </p:cNvSpPr>
          <p:nvPr/>
        </p:nvSpPr>
        <p:spPr>
          <a:xfrm>
            <a:off x="11811000" y="6518276"/>
            <a:ext cx="381000" cy="339724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n-US"/>
            </a:defPPr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fld id="{A2218858-49EA-4BF8-8EFE-B88A4580565A}" type="slidenum">
              <a:rPr sz="800" smtClean="0"/>
              <a:pPr algn="r">
                <a:lnSpc>
                  <a:spcPct val="110000"/>
                </a:lnSpc>
                <a:spcAft>
                  <a:spcPts val="0"/>
                </a:spcAft>
              </a:pPr>
              <a:t>7</a:t>
            </a:fld>
            <a:endParaRPr lang="en-US" sz="80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A89B6D3-C707-BA87-A454-3AAE14CCFA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60658" y="1454234"/>
            <a:ext cx="6924174" cy="355040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4616507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9">
            <a:extLst>
              <a:ext uri="{FF2B5EF4-FFF2-40B4-BE49-F238E27FC236}">
                <a16:creationId xmlns:a16="http://schemas.microsoft.com/office/drawing/2014/main" id="{60271390-C99D-4DFE-9A93-211D54C6C1A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AA4D8EF5-EE95-494F-BC8E-D99F8D3E1E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/>
          <a:stretch>
            <a:fillRect/>
          </a:stretch>
        </p:blipFill>
        <p:spPr bwMode="auto">
          <a:xfrm>
            <a:off x="0" y="-8860"/>
            <a:ext cx="12196911" cy="6866860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265953-9BE8-2695-5C12-03F988B41A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3" name="Slide Number Placeholder 6">
            <a:extLst>
              <a:ext uri="{FF2B5EF4-FFF2-40B4-BE49-F238E27FC236}">
                <a16:creationId xmlns:a16="http://schemas.microsoft.com/office/drawing/2014/main" id="{562CEE61-B73F-066E-34F3-4B2F7AF388E6}"/>
              </a:ext>
            </a:extLst>
          </p:cNvPr>
          <p:cNvSpPr txBox="1">
            <a:spLocks/>
          </p:cNvSpPr>
          <p:nvPr/>
        </p:nvSpPr>
        <p:spPr>
          <a:xfrm>
            <a:off x="11811000" y="6518276"/>
            <a:ext cx="381000" cy="339724"/>
          </a:xfrm>
          <a:prstGeom prst="rect">
            <a:avLst/>
          </a:prstGeom>
          <a:noFill/>
        </p:spPr>
        <p:txBody>
          <a:bodyPr/>
          <a:lstStyle>
            <a:defPPr>
              <a:defRPr lang="en-US"/>
            </a:defPPr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fld id="{A2218858-49EA-4BF8-8EFE-B88A4580565A}" type="slidenum">
              <a:rPr sz="800" smtClean="0"/>
              <a:pPr algn="r">
                <a:lnSpc>
                  <a:spcPct val="110000"/>
                </a:lnSpc>
                <a:spcAft>
                  <a:spcPts val="0"/>
                </a:spcAft>
              </a:pPr>
              <a:t>8</a:t>
            </a:fld>
            <a:endParaRPr lang="en-US" sz="80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511940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9" name="Object 19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99" name="Object 19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4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657668" y="1248770"/>
            <a:ext cx="7225939" cy="20943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1" name="TextBox 90"/>
          <p:cNvSpPr txBox="1"/>
          <p:nvPr/>
        </p:nvSpPr>
        <p:spPr>
          <a:xfrm>
            <a:off x="3296762" y="946091"/>
            <a:ext cx="263589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1219170">
              <a:spcBef>
                <a:spcPts val="800"/>
              </a:spcBef>
              <a:spcAft>
                <a:spcPts val="800"/>
              </a:spcAft>
              <a:defRPr/>
            </a:pPr>
            <a:r>
              <a:rPr lang="en-US" b="1" kern="0">
                <a:solidFill>
                  <a:srgbClr val="0F238C"/>
                </a:solidFill>
                <a:latin typeface="Arial"/>
              </a:rPr>
              <a:t>Scanner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7040323" y="978647"/>
            <a:ext cx="141414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1219170">
              <a:spcBef>
                <a:spcPts val="800"/>
              </a:spcBef>
              <a:spcAft>
                <a:spcPts val="800"/>
              </a:spcAft>
              <a:defRPr/>
            </a:pPr>
            <a:r>
              <a:rPr lang="en-US" b="1" kern="0">
                <a:solidFill>
                  <a:srgbClr val="0F238C"/>
                </a:solidFill>
                <a:latin typeface="Arial"/>
              </a:rPr>
              <a:t>Litho Metro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2705307" y="4823918"/>
            <a:ext cx="7130662" cy="1710904"/>
            <a:chOff x="1455043" y="3574634"/>
            <a:chExt cx="6870533" cy="1283179"/>
          </a:xfrm>
        </p:grpSpPr>
        <p:pic>
          <p:nvPicPr>
            <p:cNvPr id="67" name="Picture 50" descr="Tachyon 2"/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35720" y="3803985"/>
              <a:ext cx="449139" cy="824477"/>
            </a:xfrm>
            <a:prstGeom prst="rect">
              <a:avLst/>
            </a:prstGeom>
            <a:solidFill>
              <a:srgbClr val="00B050">
                <a:alpha val="48000"/>
              </a:srgbClr>
            </a:solidFill>
            <a:ln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" name="Rectangle 1"/>
            <p:cNvSpPr/>
            <p:nvPr/>
          </p:nvSpPr>
          <p:spPr>
            <a:xfrm>
              <a:off x="1455043" y="3574634"/>
              <a:ext cx="6870533" cy="1283179"/>
            </a:xfrm>
            <a:prstGeom prst="rect">
              <a:avLst/>
            </a:prstGeom>
            <a:noFill/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133">
                  <a:solidFill>
                    <a:srgbClr val="0F238C"/>
                  </a:solidFill>
                </a:rPr>
                <a:t>SW Applications / Processes</a:t>
              </a: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1211094" y="818946"/>
            <a:ext cx="1995300" cy="862396"/>
            <a:chOff x="970197" y="969624"/>
            <a:chExt cx="1496475" cy="646797"/>
          </a:xfrm>
        </p:grpSpPr>
        <p:cxnSp>
          <p:nvCxnSpPr>
            <p:cNvPr id="192" name="Straight Arrow Connector 191"/>
            <p:cNvCxnSpPr/>
            <p:nvPr/>
          </p:nvCxnSpPr>
          <p:spPr>
            <a:xfrm>
              <a:off x="2456398" y="1010171"/>
              <a:ext cx="0" cy="273622"/>
            </a:xfrm>
            <a:prstGeom prst="straightConnector1">
              <a:avLst/>
            </a:prstGeom>
            <a:ln w="19050">
              <a:solidFill>
                <a:schemeClr val="bg1">
                  <a:lumMod val="50000"/>
                </a:schemeClr>
              </a:solidFill>
              <a:prstDash val="sys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0" name="Group 19"/>
            <p:cNvGrpSpPr/>
            <p:nvPr/>
          </p:nvGrpSpPr>
          <p:grpSpPr>
            <a:xfrm>
              <a:off x="970197" y="969624"/>
              <a:ext cx="1496475" cy="646797"/>
              <a:chOff x="970197" y="969624"/>
              <a:chExt cx="1496475" cy="646797"/>
            </a:xfrm>
          </p:grpSpPr>
          <p:cxnSp>
            <p:nvCxnSpPr>
              <p:cNvPr id="120" name="Straight Arrow Connector 119"/>
              <p:cNvCxnSpPr>
                <a:cxnSpLocks/>
                <a:stCxn id="121" idx="2"/>
              </p:cNvCxnSpPr>
              <p:nvPr/>
            </p:nvCxnSpPr>
            <p:spPr>
              <a:xfrm flipV="1">
                <a:off x="1243543" y="969624"/>
                <a:ext cx="0" cy="646796"/>
              </a:xfrm>
              <a:prstGeom prst="straightConnector1">
                <a:avLst/>
              </a:prstGeom>
              <a:ln w="19050">
                <a:solidFill>
                  <a:schemeClr val="bg1">
                    <a:lumMod val="50000"/>
                  </a:schemeClr>
                </a:solidFill>
                <a:prstDash val="sysDash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6" name="Group 15"/>
              <p:cNvGrpSpPr/>
              <p:nvPr/>
            </p:nvGrpSpPr>
            <p:grpSpPr>
              <a:xfrm>
                <a:off x="970197" y="973803"/>
                <a:ext cx="1496475" cy="642618"/>
                <a:chOff x="970197" y="973803"/>
                <a:chExt cx="1496475" cy="642618"/>
              </a:xfrm>
            </p:grpSpPr>
            <p:pic>
              <p:nvPicPr>
                <p:cNvPr id="121" name="Picture 12"/>
                <p:cNvPicPr>
                  <a:picLocks noChangeAspect="1" noChangeArrowheads="1"/>
                </p:cNvPicPr>
                <p:nvPr/>
              </p:nvPicPr>
              <p:blipFill rotWithShape="1">
                <a:blip r:embed="rId8" cstate="screen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/>
              </p:blipFill>
              <p:spPr bwMode="auto">
                <a:xfrm>
                  <a:off x="970197" y="1104453"/>
                  <a:ext cx="546693" cy="511968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cxnSp>
              <p:nvCxnSpPr>
                <p:cNvPr id="189" name="Straight Arrow Connector 188"/>
                <p:cNvCxnSpPr>
                  <a:cxnSpLocks/>
                </p:cNvCxnSpPr>
                <p:nvPr/>
              </p:nvCxnSpPr>
              <p:spPr>
                <a:xfrm>
                  <a:off x="1243543" y="973803"/>
                  <a:ext cx="1223129" cy="0"/>
                </a:xfrm>
                <a:prstGeom prst="straightConnector1">
                  <a:avLst/>
                </a:prstGeom>
                <a:ln w="19050">
                  <a:solidFill>
                    <a:schemeClr val="bg1">
                      <a:lumMod val="50000"/>
                    </a:schemeClr>
                  </a:solidFill>
                  <a:prstDash val="sysDash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692D6017-5590-6D93-DB3B-8921B53AE9F8}"/>
              </a:ext>
            </a:extLst>
          </p:cNvPr>
          <p:cNvSpPr txBox="1"/>
          <p:nvPr/>
        </p:nvSpPr>
        <p:spPr>
          <a:xfrm>
            <a:off x="349569" y="240469"/>
            <a:ext cx="4651224" cy="35086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2400" b="1">
                <a:solidFill>
                  <a:schemeClr val="accent1"/>
                </a:solidFill>
              </a:rPr>
              <a:t>High volume manufacturing</a:t>
            </a:r>
          </a:p>
        </p:txBody>
      </p:sp>
      <p:pic>
        <p:nvPicPr>
          <p:cNvPr id="88" name="Picture 87">
            <a:extLst>
              <a:ext uri="{FF2B5EF4-FFF2-40B4-BE49-F238E27FC236}">
                <a16:creationId xmlns:a16="http://schemas.microsoft.com/office/drawing/2014/main" id="{DC5ABE6B-7833-2A21-7E3C-BCE3AC89A600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2349" y="3429000"/>
            <a:ext cx="533400" cy="119854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902028F-5477-B19C-9345-9E3CE5FF4A45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3962400" y="3500944"/>
            <a:ext cx="515502" cy="1166496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39F54E61-93CA-9BDF-285A-65AC31CA4CD8}"/>
              </a:ext>
            </a:extLst>
          </p:cNvPr>
          <p:cNvSpPr txBox="1">
            <a:spLocks/>
          </p:cNvSpPr>
          <p:nvPr/>
        </p:nvSpPr>
        <p:spPr>
          <a:xfrm>
            <a:off x="11811000" y="6518276"/>
            <a:ext cx="381000" cy="339724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n-US"/>
            </a:defPPr>
            <a:lvl1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20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64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0800" indent="-28440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fld id="{A2218858-49EA-4BF8-8EFE-B88A4580565A}" type="slidenum">
              <a:rPr sz="800" smtClean="0"/>
              <a:pPr algn="r">
                <a:lnSpc>
                  <a:spcPct val="110000"/>
                </a:lnSpc>
                <a:spcAft>
                  <a:spcPts val="0"/>
                </a:spcAft>
              </a:pPr>
              <a:t>9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21406781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IAAAAAAAAAAwAAAAMAAAAA/////wQAJww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xsKfB5eh8NEpV+F1ZCrp4YFAAAAAAADAAAAAAADAAAAAwADAAAAAAD///////8DAAAAAAD///////8DAAAAAAD///////8DAAEA////////BAAAAAMAEAALtWiF7pGThUi/wwr0b4KTog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BsKfB5eh8NEpV+F1ZCrp4YDRGF0YQAbAAAABExpbmtlZFNoYXBlRGF0YQAFAAAAAAACTmFtZQAZAAAATGlua2VkU2hhcGVzRGF0YVByb3BlcnR5ABBWZXJzaW9uAAAAAAAJTGFzdFdyaXRlAHjprNF6AQAAAAEA/////50AnQAAAAVfaWQAEAAAAAS1aIXukZOFSL/DCvRvgpOiA0RhdGEAKgAAAAhQcmVzZW50YXRpb25TY2FubmVkRm9yTGlua2VkU2hhcGVzAAEAAk5hbWUAJAAAAExpbmtlZFNoYXBlUHJlc2VudGF0aW9uU2V0dGluZ3NEYXRhABBWZXJzaW9uAAAAAAAJTGFzdFdyaXRlAK7prNF6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COAUTHORING_SESSION_ID" val="a0816322-0148-42d8-b738-2e9d88c75492"/>
  <p:tag name="UNDO_REDO_REVISION" val="232"/>
  <p:tag name="MIO_PRESENTATION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how contact icons on closing slide(s);"/>
  <p:tag name="MIO_USER_INPUT_OPTIONAL" val=" "/>
  <p:tag name="MIO_USER_INPUT_FIXED" val=" 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Company-Secre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30f5f72-2ab6-45a0-9053-9bcbc7875c2a"/>
  <p:tag name="MIO_EKGUID" val="6bb785dd-7481-4235-af6e-f3a01bc545a5"/>
  <p:tag name="MIO_UPDATE" val="True"/>
  <p:tag name="MIO_VERSION" val="17.04.2024 08:11:55"/>
  <p:tag name="MIO_DBID" val="0F45B44C-9BC7-4D85-81C4-7155EE70A7B9"/>
  <p:tag name="MIO_LASTDOWNLOADED" val="24.05.2024 12:24:10.007"/>
  <p:tag name="MIO_OBJECTNAME" val="A global presence with &gt;42,000 employees (year-end 2023)"/>
  <p:tag name="MIO_LASTEDITORNAME" val="Madelon Dame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8ac769d1-ff35-4ce2-a8f8-94d3f7bc009f"/>
  <p:tag name="MIO_GUID" val="d7f5afbc-fc84-442c-8bee-71256c5e0a8b"/>
  <p:tag name="MIO_UPDATE" val="True"/>
  <p:tag name="MIO_VERSION" val="19.10.2021 10:34:35"/>
  <p:tag name="MIO_DBID" val="0F45B44C-9BC7-4D85-81C4-7155EE70A7B9"/>
  <p:tag name="MIO_LASTDOWNLOADED" val="12.12.2021 22:00:26.933"/>
  <p:tag name="MIO_OBJECTNAME" val="Gender neutral"/>
  <p:tag name="MIO_LASTEDITORNAME" val=" Tim Türger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8ac769d1-ff35-4ce2-a8f8-94d3f7bc009f"/>
  <p:tag name="MIO_GUID" val="d7f5afbc-fc84-442c-8bee-71256c5e0a8b"/>
  <p:tag name="MIO_UPDATE" val="True"/>
  <p:tag name="MIO_VERSION" val="19.10.2021 10:34:35"/>
  <p:tag name="MIO_DBID" val="0F45B44C-9BC7-4D85-81C4-7155EE70A7B9"/>
  <p:tag name="MIO_LASTDOWNLOADED" val="12.12.2021 22:00:26.933"/>
  <p:tag name="MIO_OBJECTNAME" val="Gender neutral"/>
  <p:tag name="MIO_LASTEDITORNAME" val=" Tim Türge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8ac769d1-ff35-4ce2-a8f8-94d3f7bc009f"/>
  <p:tag name="MIO_GUID" val="d7f5afbc-fc84-442c-8bee-71256c5e0a8b"/>
  <p:tag name="MIO_UPDATE" val="True"/>
  <p:tag name="MIO_VERSION" val="19.10.2021 10:34:35"/>
  <p:tag name="MIO_DBID" val="0F45B44C-9BC7-4D85-81C4-7155EE70A7B9"/>
  <p:tag name="MIO_LASTDOWNLOADED" val="12.12.2021 22:00:26.933"/>
  <p:tag name="MIO_OBJECTNAME" val="Gender neutral"/>
  <p:tag name="MIO_LASTEDITORNAME" val=" Tim Türg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c655c95-f366-4c5f-8ab1-cf338bc776c9"/>
  <p:tag name="MIO_EKGUID" val="21678838-101b-4886-8577-106070433bea"/>
  <p:tag name="MIO_UPDATE" val="True"/>
  <p:tag name="MIO_VERSION" val="17.04.2024 08:11:56"/>
  <p:tag name="MIO_DBID" val="0F45B44C-9BC7-4D85-81C4-7155EE70A7B9"/>
  <p:tag name="MIO_LASTDOWNLOADED" val="23.04.2024 13:22:23.697"/>
  <p:tag name="MIO_OBJECTNAME" val="The world has been improving computer power for 120 years"/>
  <p:tag name="MIO_LASTEDITORNAME" val="Madelon Dame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1c904aea-d158-4b2b-892a-09b5745e6fbe"/>
  <p:tag name="MIO_GUID" val="0dc6a619-d8c8-4626-b77f-8eb1b5c7adbf"/>
  <p:tag name="MIO_UPDATE" val="True"/>
  <p:tag name="MIO_VERSION" val="17.08.2021 07:08:53"/>
  <p:tag name="MIO_DBID" val="0F45B44C-9BC7-4D85-81C4-7155EE70A7B9"/>
  <p:tag name="MIO_LASTDOWNLOADED" val="20.10.2021 17:17:09.079"/>
  <p:tag name="MIO_OBJECTNAME" val="01 Footnote / Source 10pt"/>
  <p:tag name="MIO_LASTEDITORNAME" val=" Tim Türg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88270e1-97e7-4c84-9a4e-043c02e7caa4"/>
  <p:tag name="MIO_EKGUID" val="7dfbf375-a9c4-47a0-8a0e-22dc23af2c97"/>
  <p:tag name="MIO_UPDATE" val="True"/>
  <p:tag name="MIO_VERSION" val="17.04.2024 08:11:57"/>
  <p:tag name="MIO_DBID" val="0F45B44C-9BC7-4D85-81C4-7155EE70A7B9"/>
  <p:tag name="MIO_LASTDOWNLOADED" val="23.04.2024 13:24:00.088"/>
  <p:tag name="MIO_OBJECTNAME" val="…and electronic devices much more powerful"/>
  <p:tag name="MIO_LASTEDITORNAME" val="Madelon Dame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fc5a1ab-ba87-4014-99e0-e38ebdd453ce"/>
  <p:tag name="MIO_EKGUID" val="0a9285ad-4173-4535-8ea8-2a9bdded8b7f"/>
  <p:tag name="MIO_UPDATE" val="True"/>
  <p:tag name="MIO_VERSION" val="17.04.2024 08:11:57"/>
  <p:tag name="MIO_DBID" val="0F45B44C-9BC7-4D85-81C4-7155EE70A7B9"/>
  <p:tag name="MIO_LASTDOWNLOADED" val="23.04.2024 13:18:07.188"/>
  <p:tag name="MIO_OBJECTNAME" val="How a lithography system works"/>
  <p:tag name="MIO_LASTEDITORNAME" val="Madelon Dame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Grid Support;"/>
  <p:tag name="MIO_USER_INPUT_OPTIONAL" val=" "/>
  <p:tag name="MIO_USER_INPUT_TEXT" val=" 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fc5a1ab-ba87-4014-99e0-e38ebdd453ce"/>
  <p:tag name="MIO_EKGUID" val="0a9285ad-4173-4535-8ea8-2a9bdded8b7f"/>
  <p:tag name="MIO_UPDATE" val="True"/>
  <p:tag name="MIO_VERSION" val="17.04.2024 08:11:57"/>
  <p:tag name="MIO_DBID" val="0F45B44C-9BC7-4D85-81C4-7155EE70A7B9"/>
  <p:tag name="MIO_LASTDOWNLOADED" val="23.04.2024 13:18:07.188"/>
  <p:tag name="MIO_OBJECTNAME" val="How a lithography system works"/>
  <p:tag name="MIO_LASTEDITORNAME" val="Madelon Dame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6c0e1f2-1690-482a-8bc9-c6906de6ecdc"/>
  <p:tag name="MIO_EKGUID" val="65ecf4bc-92a2-4587-a729-f87578e8914e"/>
  <p:tag name="MIO_UPDATE" val="True"/>
  <p:tag name="MIO_VERSION" val="25.02.2022 13:37:45"/>
  <p:tag name="MIO_DBID" val="0F45B44C-9BC7-4D85-81C4-7155EE70A7B9"/>
  <p:tag name="MIO_LASTDOWNLOADED" val="07.05.2024 14:52:42.868"/>
  <p:tag name="MIO_OBJECTNAME" val="Milestones"/>
  <p:tag name="MIO_LASTEDITORNAME" val=" Tim Türg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6d1ace51-f42e-4d4c-969f-9ccfe105ecf0"/>
  <p:tag name="MIO_GUID" val="3f8069c5-e27c-4b99-bdd4-1386a5a6fc48"/>
  <p:tag name="MIO_UPDATE" val="True"/>
  <p:tag name="MIO_VERSION" val="19.10.2021 11:11:13"/>
  <p:tag name="MIO_DBID" val="0F45B44C-9BC7-4D85-81C4-7155EE70A7B9"/>
  <p:tag name="MIO_LASTDOWNLOADED" val="20.11.2021 09:57:40.139"/>
  <p:tag name="MIO_OBJECTNAME" val="Tech startup"/>
  <p:tag name="MIO_LASTEDITORNAME" val=" Tim Türg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6d1ace51-f42e-4d4c-969f-9ccfe105ecf0"/>
  <p:tag name="MIO_GUID" val="3f8069c5-e27c-4b99-bdd4-1386a5a6fc48"/>
  <p:tag name="MIO_UPDATE" val="True"/>
  <p:tag name="MIO_VERSION" val="19.10.2021 11:11:13"/>
  <p:tag name="MIO_DBID" val="0F45B44C-9BC7-4D85-81C4-7155EE70A7B9"/>
  <p:tag name="MIO_LASTDOWNLOADED" val="20.11.2021 09:57:40.139"/>
  <p:tag name="MIO_OBJECTNAME" val="Tech startup"/>
  <p:tag name="MIO_LASTEDITORNAME" val=" Tim Türg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6d1ace51-f42e-4d4c-969f-9ccfe105ecf0"/>
  <p:tag name="MIO_GUID" val="3f8069c5-e27c-4b99-bdd4-1386a5a6fc48"/>
  <p:tag name="MIO_UPDATE" val="True"/>
  <p:tag name="MIO_VERSION" val="19.10.2021 11:11:13"/>
  <p:tag name="MIO_DBID" val="0F45B44C-9BC7-4D85-81C4-7155EE70A7B9"/>
  <p:tag name="MIO_LASTDOWNLOADED" val="20.11.2021 09:57:40.139"/>
  <p:tag name="MIO_OBJECTNAME" val="Tech startup"/>
  <p:tag name="MIO_LASTEDITORNAME" val=" Tim Türg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6d1ace51-f42e-4d4c-969f-9ccfe105ecf0"/>
  <p:tag name="MIO_GUID" val="3f8069c5-e27c-4b99-bdd4-1386a5a6fc48"/>
  <p:tag name="MIO_UPDATE" val="True"/>
  <p:tag name="MIO_VERSION" val="19.10.2021 11:11:13"/>
  <p:tag name="MIO_DBID" val="0F45B44C-9BC7-4D85-81C4-7155EE70A7B9"/>
  <p:tag name="MIO_LASTDOWNLOADED" val="20.11.2021 09:57:40.139"/>
  <p:tag name="MIO_OBJECTNAME" val="Tech startup"/>
  <p:tag name="MIO_LASTEDITORNAME" val=" Tim Türger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f06a4b95-5326-4afd-9f45-baa343a592e8"/>
  <p:tag name="MIO_GUID" val="a2e89dcc-7bfc-4cd6-b5af-9f28dde01421"/>
  <p:tag name="MIO_UPDATE" val="True"/>
  <p:tag name="MIO_VERSION" val="19.10.2021 09:56:54"/>
  <p:tag name="MIO_DBID" val="0F45B44C-9BC7-4D85-81C4-7155EE70A7B9"/>
  <p:tag name="MIO_LASTDOWNLOADED" val="12.05.2024 18:19:29.543"/>
  <p:tag name="MIO_OBJECTNAME" val="Arrow long right"/>
  <p:tag name="MIO_LASTEDITORNAME" val=" Tim Türg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f06a4b95-5326-4afd-9f45-baa343a592e8"/>
  <p:tag name="MIO_GUID" val="a2e89dcc-7bfc-4cd6-b5af-9f28dde01421"/>
  <p:tag name="MIO_UPDATE" val="True"/>
  <p:tag name="MIO_VERSION" val="19.10.2021 09:56:54"/>
  <p:tag name="MIO_DBID" val="0F45B44C-9BC7-4D85-81C4-7155EE70A7B9"/>
  <p:tag name="MIO_LASTDOWNLOADED" val="12.05.2024 18:19:29.543"/>
  <p:tag name="MIO_OBJECTNAME" val="Arrow long right"/>
  <p:tag name="MIO_LASTEDITORNAME" val=" Tim Türger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f06a4b95-5326-4afd-9f45-baa343a592e8"/>
  <p:tag name="MIO_GUID" val="a2e89dcc-7bfc-4cd6-b5af-9f28dde01421"/>
  <p:tag name="MIO_UPDATE" val="True"/>
  <p:tag name="MIO_VERSION" val="19.10.2021 09:56:54"/>
  <p:tag name="MIO_DBID" val="0F45B44C-9BC7-4D85-81C4-7155EE70A7B9"/>
  <p:tag name="MIO_LASTDOWNLOADED" val="12.05.2024 18:19:29.543"/>
  <p:tag name="MIO_OBJECTNAME" val="Arrow long right"/>
  <p:tag name="MIO_LASTEDITORNAME" val=" Tim Türg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Grid Support;"/>
  <p:tag name="MIO_USER_INPUT_OPTIONAL" val=" "/>
  <p:tag name="MIO_USER_INPUT_FIXED" val=" 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f06a4b95-5326-4afd-9f45-baa343a592e8"/>
  <p:tag name="MIO_GUID" val="a2e89dcc-7bfc-4cd6-b5af-9f28dde01421"/>
  <p:tag name="MIO_UPDATE" val="True"/>
  <p:tag name="MIO_VERSION" val="19.10.2021 09:56:54"/>
  <p:tag name="MIO_DBID" val="0F45B44C-9BC7-4D85-81C4-7155EE70A7B9"/>
  <p:tag name="MIO_LASTDOWNLOADED" val="12.05.2024 18:19:29.543"/>
  <p:tag name="MIO_OBJECTNAME" val="Arrow long right"/>
  <p:tag name="MIO_LASTEDITORNAME" val=" Tim Türg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7a8cb04-99d7-4bd1-adaa-0139038277f5"/>
  <p:tag name="MIO_EKGUID" val="f9376dc6-49c8-4e39-8f17-675ee1b172b6"/>
  <p:tag name="MIO_UPDATE" val="True"/>
  <p:tag name="MIO_VERSION" val="22.03.2022 13:02:41"/>
  <p:tag name="MIO_DBID" val="0F45B44C-9BC7-4D85-81C4-7155EE70A7B9"/>
  <p:tag name="MIO_LASTDOWNLOADED" val="06.05.2024 13:48:24.260"/>
  <p:tag name="MIO_OBJECTNAME" val="Slide"/>
  <p:tag name="MIO_LASTEDITORNAME" val="Alejandra Ortega Ordonez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101bf71b-ffc9-43c9-b0b7-cc5680e30b67"/>
  <p:tag name="MIO_UPDATE" val="True"/>
  <p:tag name="MIO_OBJECTNAME" val="ASML Master"/>
  <p:tag name="MIO_FALLBACK_LAYOUT" val="27"/>
  <p:tag name="MIO_SHOW_DATE" val="True"/>
  <p:tag name="MIO_SHOW_FOOTER" val="True"/>
  <p:tag name="MIO_SHOW_PAGENUMBER" val="True"/>
  <p:tag name="MIO_AVOID_BLANK_LAYOUT" val="False"/>
  <p:tag name="MIO_CD_LAYOUT_VALID_AREA" val="False"/>
  <p:tag name="MIO_EMBED_FONT" val="False"/>
  <p:tag name="MIO_MATCH_COLOR_SCHEME" val="True"/>
  <p:tag name="MIO_NUMBER_OF_VALID_LAYOUTS" val="29"/>
  <p:tag name="MIO_DBID" val="0F45B44C-9BC7-4D85-81C4-7155EE70A7B9"/>
  <p:tag name="MIO_VERSION" val="15.04.2024 12:26:06"/>
  <p:tag name="MIO_LASTDOWNLOADED" val="20.04.2024 18:17:41.646"/>
  <p:tag name="MIO_CDID" val="531547a1-6921-4a73-8514-e2d26a6e33a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presentation support;"/>
  <p:tag name="MIO_USER_INPUT_OPTIONAL" val=" "/>
  <p:tag name="MIO_USER_INPUT_FIXED" val=" 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presentation support;"/>
  <p:tag name="MIO_USER_INPUT_OPTIONAL" val=" "/>
  <p:tag name="MIO_USER_INPUT_FIXED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how contact icons on closing slide(s);"/>
  <p:tag name="MIO_USER_INPUT_OPTIONAL" val=" "/>
  <p:tag name="MIO_USER_INPUT_FIXED" val="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how contact icons on closing slide(s);"/>
  <p:tag name="MIO_USER_INPUT_OPTIONAL" val=" "/>
  <p:tag name="MIO_USER_INPUT_FIXED" val="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how contact icons on closing slide(s);"/>
  <p:tag name="MIO_USER_INPUT_OPTIONAL" val=" "/>
  <p:tag name="MIO_USER_INPUT_FIXED" val=" "/>
</p:tagLst>
</file>

<file path=ppt/theme/theme1.xml><?xml version="1.0" encoding="utf-8"?>
<a:theme xmlns:a="http://schemas.openxmlformats.org/drawingml/2006/main" name="ASML Template 2021">
  <a:themeElements>
    <a:clrScheme name="ASML Template">
      <a:dk1>
        <a:srgbClr val="000000"/>
      </a:dk1>
      <a:lt1>
        <a:srgbClr val="FFFFFF"/>
      </a:lt1>
      <a:dk2>
        <a:srgbClr val="00A3E0"/>
      </a:dk2>
      <a:lt2>
        <a:srgbClr val="E0E1E3"/>
      </a:lt2>
      <a:accent1>
        <a:srgbClr val="10069F"/>
      </a:accent1>
      <a:accent2>
        <a:srgbClr val="5A5B5E"/>
      </a:accent2>
      <a:accent3>
        <a:srgbClr val="FF6A13"/>
      </a:accent3>
      <a:accent4>
        <a:srgbClr val="43B02A"/>
      </a:accent4>
      <a:accent5>
        <a:srgbClr val="FFD100"/>
      </a:accent5>
      <a:accent6>
        <a:srgbClr val="8031A7"/>
      </a:accent6>
      <a:hlink>
        <a:srgbClr val="00A3E0"/>
      </a:hlink>
      <a:folHlink>
        <a:srgbClr val="00A3E0"/>
      </a:folHlink>
    </a:clrScheme>
    <a:fontScheme name="ASML Template">
      <a:majorFont>
        <a:latin typeface="Arial"/>
        <a:ea typeface="Microsoft JhengHei"/>
        <a:cs typeface="Arial"/>
      </a:majorFont>
      <a:minorFont>
        <a:latin typeface="Arial"/>
        <a:ea typeface="Microsoft JhengHei"/>
        <a:cs typeface="Arial"/>
      </a:minorFont>
    </a:fontScheme>
    <a:fmtScheme name="ASML Template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flat" cmpd="sng" algn="ctr">
          <a:solidFill>
            <a:schemeClr val="phClr"/>
          </a:solidFill>
          <a:prstDash val="solid"/>
          <a:miter/>
        </a:ln>
        <a:ln w="1905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accent1"/>
        </a:solidFill>
        <a:solidFill>
          <a:schemeClr val="accent2"/>
        </a:solidFill>
      </a:bgFillStyleLst>
    </a:fmtScheme>
  </a:themeElements>
  <a:objectDefaults>
    <a:spDef>
      <a:spPr/>
      <a:bodyPr/>
      <a:lstStyle/>
      <a:style>
        <a:lnRef idx="2">
          <a:schemeClr val="accent1"/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 algn="l" defTabSz="374400">
          <a:lnSpc>
            <a:spcPct val="95000"/>
          </a:lnSpc>
          <a:spcAft>
            <a:spcPts val="737"/>
          </a:spcAft>
          <a:defRPr sz="1600" dirty="0"/>
        </a:defPPr>
        <a:lvl1pPr marL="0" indent="0" algn="l" defTabSz="374400" rtl="0" eaLnBrk="1" latinLnBrk="0" hangingPunct="1">
          <a:lnSpc>
            <a:spcPct val="95000"/>
          </a:lnSpc>
          <a:spcBef>
            <a:spcPts val="369"/>
          </a:spcBef>
          <a:spcAft>
            <a:spcPts val="369"/>
          </a:spcAft>
          <a:buFontTx/>
          <a:buNone/>
          <a:defRPr sz="1600" kern="1200" baseline="0">
            <a:solidFill>
              <a:schemeClr val="tx1"/>
            </a:solidFill>
            <a:latin typeface="+mn-lt"/>
            <a:ea typeface="+mn-ea"/>
            <a:cs typeface="+mn-cs"/>
          </a:defRPr>
        </a:lvl1pPr>
        <a:lvl2pPr marL="0" indent="0" algn="l" defTabSz="374400" rtl="0" eaLnBrk="1" latinLnBrk="0" hangingPunct="1">
          <a:lnSpc>
            <a:spcPct val="95000"/>
          </a:lnSpc>
          <a:spcBef>
            <a:spcPts val="369"/>
          </a:spcBef>
          <a:spcAft>
            <a:spcPts val="369"/>
          </a:spcAft>
          <a:buFontTx/>
          <a:buNone/>
          <a:defRPr sz="1600" b="1" kern="1200" baseline="0">
            <a:solidFill>
              <a:schemeClr val="tx1"/>
            </a:solidFill>
            <a:latin typeface="+mn-lt"/>
            <a:ea typeface="+mn-ea"/>
            <a:cs typeface="+mn-cs"/>
          </a:defRPr>
        </a:lvl2pPr>
        <a:lvl3pPr marL="234000" indent="-234000" algn="l" defTabSz="374400" rtl="0" eaLnBrk="1" latinLnBrk="0" hangingPunct="1">
          <a:lnSpc>
            <a:spcPct val="95000"/>
          </a:lnSpc>
          <a:spcBef>
            <a:spcPts val="369"/>
          </a:spcBef>
          <a:spcAft>
            <a:spcPts val="369"/>
          </a:spcAft>
          <a:buSzPct val="110000"/>
          <a:buFont typeface="Arial" panose="020B0604020202020204" pitchFamily="34" charset="0"/>
          <a:buChar char="•"/>
          <a:defRPr sz="1600" kern="1200" baseline="0">
            <a:solidFill>
              <a:schemeClr val="tx1"/>
            </a:solidFill>
            <a:latin typeface="+mn-lt"/>
            <a:ea typeface="+mn-ea"/>
            <a:cs typeface="+mn-cs"/>
          </a:defRPr>
        </a:lvl3pPr>
        <a:lvl4pPr marL="468000" indent="-234000" algn="l" defTabSz="374400" rtl="0" eaLnBrk="1" latinLnBrk="0" hangingPunct="1">
          <a:lnSpc>
            <a:spcPct val="105000"/>
          </a:lnSpc>
          <a:spcBef>
            <a:spcPts val="200"/>
          </a:spcBef>
          <a:spcAft>
            <a:spcPts val="200"/>
          </a:spcAft>
          <a:buSzPct val="100000"/>
          <a:buFont typeface="Arial" panose="020B0604020202020204" pitchFamily="34" charset="0"/>
          <a:buChar char="•"/>
          <a:defRPr sz="1200" kern="1200" baseline="0">
            <a:solidFill>
              <a:schemeClr val="tx1"/>
            </a:solidFill>
            <a:latin typeface="+mn-lt"/>
            <a:ea typeface="+mn-ea"/>
            <a:cs typeface="+mn-cs"/>
          </a:defRPr>
        </a:lvl4pPr>
        <a:lvl5pPr marL="702000" indent="-234000" algn="l" defTabSz="374400" rtl="0" eaLnBrk="1" latinLnBrk="0" hangingPunct="1">
          <a:lnSpc>
            <a:spcPct val="110000"/>
          </a:lnSpc>
          <a:spcBef>
            <a:spcPts val="0"/>
          </a:spcBef>
          <a:spcAft>
            <a:spcPts val="0"/>
          </a:spcAft>
          <a:buSzPct val="90000"/>
          <a:buFont typeface="Arial" panose="020B0604020202020204" pitchFamily="34" charset="0"/>
          <a:buChar char="•"/>
          <a:defRPr sz="1000" kern="1200" baseline="0">
            <a:solidFill>
              <a:schemeClr val="tx1"/>
            </a:solidFill>
            <a:latin typeface="+mn-lt"/>
            <a:ea typeface="+mn-ea"/>
            <a:cs typeface="+mn-cs"/>
          </a:defRPr>
        </a:lvl5pPr>
        <a:lvl6pPr marL="234000" indent="-234000" algn="l" defTabSz="374400" rtl="0" eaLnBrk="1" latinLnBrk="0" hangingPunct="1">
          <a:lnSpc>
            <a:spcPct val="95000"/>
          </a:lnSpc>
          <a:spcBef>
            <a:spcPts val="369"/>
          </a:spcBef>
          <a:spcAft>
            <a:spcPts val="369"/>
          </a:spcAft>
          <a:buFont typeface="+mj-lt"/>
          <a:buAutoNum type="arabicPeriod"/>
          <a:defRPr sz="1600" kern="1200" baseline="0">
            <a:solidFill>
              <a:schemeClr val="tx1"/>
            </a:solidFill>
            <a:latin typeface="+mn-lt"/>
            <a:ea typeface="+mn-ea"/>
            <a:cs typeface="+mn-cs"/>
          </a:defRPr>
        </a:lvl6pPr>
        <a:lvl7pPr marL="468000" indent="-234000" algn="l" defTabSz="374400" rtl="0" eaLnBrk="1" latinLnBrk="0" hangingPunct="1">
          <a:lnSpc>
            <a:spcPct val="105000"/>
          </a:lnSpc>
          <a:spcBef>
            <a:spcPts val="200"/>
          </a:spcBef>
          <a:spcAft>
            <a:spcPts val="200"/>
          </a:spcAft>
          <a:buFont typeface="+mj-lt"/>
          <a:buAutoNum type="romanLcPeriod"/>
          <a:defRPr sz="1200" kern="1200" baseline="0">
            <a:solidFill>
              <a:schemeClr val="tx1"/>
            </a:solidFill>
            <a:latin typeface="+mn-lt"/>
            <a:ea typeface="+mn-ea"/>
            <a:cs typeface="+mn-cs"/>
          </a:defRPr>
        </a:lvl7pPr>
        <a:lvl8pPr marL="0" indent="0" algn="l" defTabSz="374400" rtl="0" eaLnBrk="1" latinLnBrk="0" hangingPunct="1">
          <a:lnSpc>
            <a:spcPct val="105000"/>
          </a:lnSpc>
          <a:spcBef>
            <a:spcPts val="200"/>
          </a:spcBef>
          <a:spcAft>
            <a:spcPts val="200"/>
          </a:spcAft>
          <a:buFontTx/>
          <a:buNone/>
          <a:defRPr sz="1200" kern="1200" baseline="0">
            <a:solidFill>
              <a:schemeClr val="tx1"/>
            </a:solidFill>
            <a:latin typeface="+mn-lt"/>
            <a:ea typeface="+mn-ea"/>
            <a:cs typeface="+mn-cs"/>
          </a:defRPr>
        </a:lvl8pPr>
        <a:lvl9pPr marL="0" indent="0" algn="l" defTabSz="374400" rtl="0" eaLnBrk="1" latinLnBrk="0" hangingPunct="1">
          <a:lnSpc>
            <a:spcPct val="110000"/>
          </a:lnSpc>
          <a:spcBef>
            <a:spcPts val="0"/>
          </a:spcBef>
          <a:spcAft>
            <a:spcPts val="0"/>
          </a:spcAft>
          <a:buFontTx/>
          <a:buNone/>
          <a:defRPr sz="1000" kern="1200" baseline="0">
            <a:solidFill>
              <a:schemeClr val="tx1"/>
            </a:solidFill>
            <a:latin typeface="+mn-lt"/>
            <a:ea typeface="+mn-ea"/>
            <a:cs typeface="+mn-cs"/>
          </a:defRPr>
        </a:lvl9pPr>
      </a:lstStyle>
    </a:txDef>
  </a:objectDefaults>
  <a:extraClrSchemeLst/>
  <a:custClrLst>
    <a:custClr name="ASML Blue">
      <a:srgbClr val="10069F"/>
    </a:custClr>
    <a:custClr name="ASML Light Blue">
      <a:srgbClr val="00A3E0"/>
    </a:custClr>
    <a:custClr name="ASML Teal">
      <a:srgbClr val="00BFB3"/>
    </a:custClr>
    <a:custClr name="ASML Green">
      <a:srgbClr val="43B02A"/>
    </a:custClr>
    <a:custClr name="ASML Light Green">
      <a:srgbClr val="C4D600"/>
    </a:custClr>
    <a:custClr name="ASML Yellow">
      <a:srgbClr val="FFD100"/>
    </a:custClr>
    <a:custClr name="ASML Orange">
      <a:srgbClr val="FF6A13"/>
    </a:custClr>
    <a:custClr name="ASML Red">
      <a:srgbClr val="F00000"/>
    </a:custClr>
    <a:custClr name="ASML Magenta">
      <a:srgbClr val="DF1995"/>
    </a:custClr>
    <a:custClr name="ASML Violet">
      <a:srgbClr val="8031A7"/>
    </a:custClr>
    <a:custClr name="ASML Blue">
      <a:srgbClr val="10069F"/>
    </a:custClr>
    <a:custClr name="ASML Light Blue -30">
      <a:srgbClr val="50C0E6"/>
    </a:custClr>
    <a:custClr name="ASML Teal -30">
      <a:srgbClr val="55D1C9"/>
    </a:custClr>
    <a:custClr name="ASML Green -30">
      <a:srgbClr val="80C572"/>
    </a:custClr>
    <a:custClr name="ASML Light Green -30">
      <a:srgbClr val="D8DF60"/>
    </a:custClr>
    <a:custClr name="ASML Yellow -30">
      <a:srgbClr val="FEDC61"/>
    </a:custClr>
    <a:custClr name="ASML Orange -30">
      <a:srgbClr val="FD8B57"/>
    </a:custClr>
    <a:custClr name="ASML Red -30">
      <a:srgbClr val="F25052"/>
    </a:custClr>
    <a:custClr name="ASML Magenta -30">
      <a:srgbClr val="E565B3"/>
    </a:custClr>
    <a:custClr name="ASML Violet -30">
      <a:srgbClr val="A473BE"/>
    </a:custClr>
    <a:custClr name="ASML Blue">
      <a:srgbClr val="10069F"/>
    </a:custClr>
    <a:custClr name="ASML Light Blue +30">
      <a:srgbClr val="0089B7"/>
    </a:custClr>
    <a:custClr name="ASML Teal +30">
      <a:srgbClr val="199D97"/>
    </a:custClr>
    <a:custClr name="ASML Green +30">
      <a:srgbClr val="1D8E29"/>
    </a:custClr>
    <a:custClr name="ASML Light Green +30">
      <a:srgbClr val="9FAE38"/>
    </a:custClr>
    <a:custClr name="ASML Yellow +30">
      <a:srgbClr val="D0AD23"/>
    </a:custClr>
    <a:custClr name="ASML Orange +30">
      <a:srgbClr val="D04A1E"/>
    </a:custClr>
    <a:custClr name="ASML Red +30">
      <a:srgbClr val="C50E16"/>
    </a:custClr>
    <a:custClr name="ASML Magenta +30">
      <a:srgbClr val="BA1B7B"/>
    </a:custClr>
    <a:custClr name="ASML Violet +30">
      <a:srgbClr val="6B2C89"/>
    </a:custClr>
  </a:custClrLst>
  <a:extLst>
    <a:ext uri="{05A4C25C-085E-4340-85A3-A5531E510DB2}">
      <thm15:themeFamily xmlns:thm15="http://schemas.microsoft.com/office/thememl/2012/main" name="Default Theme.pptx" id="{ED4A32EB-0EC2-4A0C-BC3B-D65515328FD9}" vid="{670CCC13-ABA5-4B49-874A-A9A0D2629227}"/>
    </a:ext>
  </a:extLst>
</a:theme>
</file>

<file path=ppt/theme/theme2.xml><?xml version="1.0" encoding="utf-8"?>
<a:theme xmlns:a="http://schemas.openxmlformats.org/drawingml/2006/main" name="Office Theme">
  <a:themeElements>
    <a:clrScheme name="ASML Template">
      <a:dk1>
        <a:srgbClr val="000000"/>
      </a:dk1>
      <a:lt1>
        <a:srgbClr val="FFFFFF"/>
      </a:lt1>
      <a:dk2>
        <a:srgbClr val="5A5B5E"/>
      </a:dk2>
      <a:lt2>
        <a:srgbClr val="E0E1E3"/>
      </a:lt2>
      <a:accent1>
        <a:srgbClr val="10069F"/>
      </a:accent1>
      <a:accent2>
        <a:srgbClr val="00A3E0"/>
      </a:accent2>
      <a:accent3>
        <a:srgbClr val="00BFB3"/>
      </a:accent3>
      <a:accent4>
        <a:srgbClr val="8031A7"/>
      </a:accent4>
      <a:accent5>
        <a:srgbClr val="43B02A"/>
      </a:accent5>
      <a:accent6>
        <a:srgbClr val="DF1995"/>
      </a:accent6>
      <a:hlink>
        <a:srgbClr val="00A3E0"/>
      </a:hlink>
      <a:folHlink>
        <a:srgbClr val="00A3E0"/>
      </a:folHlink>
    </a:clrScheme>
    <a:fontScheme name="ASML Template">
      <a:majorFont>
        <a:latin typeface="Arial"/>
        <a:ea typeface="Microsoft JhengHei"/>
        <a:cs typeface="Arial"/>
      </a:majorFont>
      <a:minorFont>
        <a:latin typeface="Arial"/>
        <a:ea typeface="Microsoft JhengHei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ASML Template">
      <a:dk1>
        <a:srgbClr val="000000"/>
      </a:dk1>
      <a:lt1>
        <a:srgbClr val="FFFFFF"/>
      </a:lt1>
      <a:dk2>
        <a:srgbClr val="5A5B5E"/>
      </a:dk2>
      <a:lt2>
        <a:srgbClr val="E0E1E3"/>
      </a:lt2>
      <a:accent1>
        <a:srgbClr val="10069F"/>
      </a:accent1>
      <a:accent2>
        <a:srgbClr val="00A3E0"/>
      </a:accent2>
      <a:accent3>
        <a:srgbClr val="00BFB3"/>
      </a:accent3>
      <a:accent4>
        <a:srgbClr val="8031A7"/>
      </a:accent4>
      <a:accent5>
        <a:srgbClr val="43B02A"/>
      </a:accent5>
      <a:accent6>
        <a:srgbClr val="DF1995"/>
      </a:accent6>
      <a:hlink>
        <a:srgbClr val="00A3E0"/>
      </a:hlink>
      <a:folHlink>
        <a:srgbClr val="00A3E0"/>
      </a:folHlink>
    </a:clrScheme>
    <a:fontScheme name="ASML Template">
      <a:majorFont>
        <a:latin typeface="Arial"/>
        <a:ea typeface="Microsoft JhengHei"/>
        <a:cs typeface="Arial"/>
      </a:majorFont>
      <a:minorFont>
        <a:latin typeface="Arial"/>
        <a:ea typeface="Microsoft JhengHei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00A3E0"/>
    </a:dk2>
    <a:lt2>
      <a:srgbClr val="E0E1E3"/>
    </a:lt2>
    <a:accent1>
      <a:srgbClr val="10069F"/>
    </a:accent1>
    <a:accent2>
      <a:srgbClr val="5A5B5E"/>
    </a:accent2>
    <a:accent3>
      <a:srgbClr val="FF6A13"/>
    </a:accent3>
    <a:accent4>
      <a:srgbClr val="43B02A"/>
    </a:accent4>
    <a:accent5>
      <a:srgbClr val="FFD100"/>
    </a:accent5>
    <a:accent6>
      <a:srgbClr val="8031A7"/>
    </a:accent6>
    <a:hlink>
      <a:srgbClr val="00A3E0"/>
    </a:hlink>
    <a:folHlink>
      <a:srgbClr val="00A3E0"/>
    </a:folHlink>
  </a:clrScheme>
</a:themeOverride>
</file>

<file path=ppt/theme/themeOverride2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00A3E0"/>
    </a:dk2>
    <a:lt2>
      <a:srgbClr val="E0E1E3"/>
    </a:lt2>
    <a:accent1>
      <a:srgbClr val="10069F"/>
    </a:accent1>
    <a:accent2>
      <a:srgbClr val="5A5B5E"/>
    </a:accent2>
    <a:accent3>
      <a:srgbClr val="FF6A13"/>
    </a:accent3>
    <a:accent4>
      <a:srgbClr val="43B02A"/>
    </a:accent4>
    <a:accent5>
      <a:srgbClr val="FFD100"/>
    </a:accent5>
    <a:accent6>
      <a:srgbClr val="8031A7"/>
    </a:accent6>
    <a:hlink>
      <a:srgbClr val="00A3E0"/>
    </a:hlink>
    <a:folHlink>
      <a:srgbClr val="00A3E0"/>
    </a:folHlink>
  </a:clrScheme>
</a:themeOverride>
</file>

<file path=ppt/theme/themeOverride3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00A3E0"/>
    </a:dk2>
    <a:lt2>
      <a:srgbClr val="E0E1E3"/>
    </a:lt2>
    <a:accent1>
      <a:srgbClr val="10069F"/>
    </a:accent1>
    <a:accent2>
      <a:srgbClr val="5A5B5E"/>
    </a:accent2>
    <a:accent3>
      <a:srgbClr val="FF6A13"/>
    </a:accent3>
    <a:accent4>
      <a:srgbClr val="43B02A"/>
    </a:accent4>
    <a:accent5>
      <a:srgbClr val="FFD100"/>
    </a:accent5>
    <a:accent6>
      <a:srgbClr val="8031A7"/>
    </a:accent6>
    <a:hlink>
      <a:srgbClr val="00A3E0"/>
    </a:hlink>
    <a:folHlink>
      <a:srgbClr val="00A3E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haredContentType xmlns="Microsoft.SharePoint.Taxonomy.ContentTypeSync" SourceId="9bb7800a-9dd4-4efa-9404-7ac564e64633" ContentTypeId="0x0101" PreviousValue="false"/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65c44e8-82e0-472a-a146-da60c58e68e1" xsi:nil="true"/>
    <h299cf7589dc4b75bcd2bf9f19243c76 xmlns="665c44e8-82e0-472a-a146-da60c58e68e1">
      <Terms xmlns="http://schemas.microsoft.com/office/infopath/2007/PartnerControls"/>
    </h299cf7589dc4b75bcd2bf9f19243c76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74E30EF25F66C4C959BBFBFD5F6CDFF" ma:contentTypeVersion="4" ma:contentTypeDescription="Create a new document." ma:contentTypeScope="" ma:versionID="8c8d2a293182417ba903838f304e3b3b">
  <xsd:schema xmlns:xsd="http://www.w3.org/2001/XMLSchema" xmlns:xs="http://www.w3.org/2001/XMLSchema" xmlns:p="http://schemas.microsoft.com/office/2006/metadata/properties" xmlns:ns2="665c44e8-82e0-472a-a146-da60c58e68e1" xmlns:ns3="b34eedfc-73f5-4c56-9ed0-8189ca2f8c38" targetNamespace="http://schemas.microsoft.com/office/2006/metadata/properties" ma:root="true" ma:fieldsID="e8a2c615f0d7daa1ac12553b61665d77" ns2:_="" ns3:_="">
    <xsd:import namespace="665c44e8-82e0-472a-a146-da60c58e68e1"/>
    <xsd:import namespace="b34eedfc-73f5-4c56-9ed0-8189ca2f8c38"/>
    <xsd:element name="properties">
      <xsd:complexType>
        <xsd:sequence>
          <xsd:element name="documentManagement">
            <xsd:complexType>
              <xsd:all>
                <xsd:element ref="ns2:h299cf7589dc4b75bcd2bf9f19243c76" minOccurs="0"/>
                <xsd:element ref="ns2:TaxCatchAll" minOccurs="0"/>
                <xsd:element ref="ns2:TaxCatchAllLabel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5c44e8-82e0-472a-a146-da60c58e68e1" elementFormDefault="qualified">
    <xsd:import namespace="http://schemas.microsoft.com/office/2006/documentManagement/types"/>
    <xsd:import namespace="http://schemas.microsoft.com/office/infopath/2007/PartnerControls"/>
    <xsd:element name="h299cf7589dc4b75bcd2bf9f19243c76" ma:index="8" nillable="true" ma:taxonomy="true" ma:internalName="h299cf7589dc4b75bcd2bf9f19243c76" ma:taxonomyFieldName="InformationClassification" ma:displayName="Information Classification" ma:readOnly="false" ma:default="" ma:fieldId="{1299cf75-89dc-4b75-bcd2-bf9f19243c76}" ma:sspId="9bb7800a-9dd4-4efa-9404-7ac564e64633" ma:termSetId="15e70205-4b68-455f-98cc-31f0c369727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3d251def-2cf5-4ee4-8762-fa67541bf219}" ma:internalName="TaxCatchAll" ma:showField="CatchAllData" ma:web="5234be68-a953-41a3-87a2-ae7f75ab836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3d251def-2cf5-4ee4-8762-fa67541bf219}" ma:internalName="TaxCatchAllLabel" ma:readOnly="true" ma:showField="CatchAllDataLabel" ma:web="5234be68-a953-41a3-87a2-ae7f75ab836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34eedfc-73f5-4c56-9ed0-8189ca2f8c3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2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88DCC1C-B8C4-496B-80A9-13A9E9C2B06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9AABE0D-8696-4575-9627-E45713FAEBA3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AFBCE00E-75BB-4F60-96C8-6C9AA8CDF59F}">
  <ds:schemaRefs>
    <ds:schemaRef ds:uri="665c44e8-82e0-472a-a146-da60c58e68e1"/>
    <ds:schemaRef ds:uri="b34eedfc-73f5-4c56-9ed0-8189ca2f8c38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.xml><?xml version="1.0" encoding="utf-8"?>
<ds:datastoreItem xmlns:ds="http://schemas.openxmlformats.org/officeDocument/2006/customXml" ds:itemID="{46DF9B4B-33B2-4D9F-A3B2-FDE137E0956B}">
  <ds:schemaRefs>
    <ds:schemaRef ds:uri="665c44e8-82e0-472a-a146-da60c58e68e1"/>
    <ds:schemaRef ds:uri="b34eedfc-73f5-4c56-9ed0-8189ca2f8c3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1495</TotalTime>
  <Words>3456</Words>
  <Application>Microsoft Office PowerPoint</Application>
  <PresentationFormat>Widescreen</PresentationFormat>
  <Paragraphs>790</Paragraphs>
  <Slides>54</Slides>
  <Notes>5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4</vt:i4>
      </vt:variant>
    </vt:vector>
  </HeadingPairs>
  <TitlesOfParts>
    <vt:vector size="62" baseType="lpstr">
      <vt:lpstr>JetBrains Mono</vt:lpstr>
      <vt:lpstr>SFMono-Regular</vt:lpstr>
      <vt:lpstr>Splunk Platform Mono</vt:lpstr>
      <vt:lpstr>ui-monospace</vt:lpstr>
      <vt:lpstr>Arial</vt:lpstr>
      <vt:lpstr>open sans</vt:lpstr>
      <vt:lpstr>ASML Template 2021</vt:lpstr>
      <vt:lpstr>think-cell Slide</vt:lpstr>
      <vt:lpstr>    Unveiling the path to Spring Boot 3 at  the most important tech company you've never heard of</vt:lpstr>
      <vt:lpstr>Goals for this talk </vt:lpstr>
      <vt:lpstr>Laurentiu Marinescu</vt:lpstr>
      <vt:lpstr>A global presence with &gt;42,000 employees (year-end 2023) </vt:lpstr>
      <vt:lpstr>The world has been improving computing power for 120 years</vt:lpstr>
      <vt:lpstr>…and electronic devices much more powerful</vt:lpstr>
      <vt:lpstr>PowerPoint Presentation</vt:lpstr>
      <vt:lpstr>PowerPoint Presentation</vt:lpstr>
      <vt:lpstr>PowerPoint Presentation</vt:lpstr>
      <vt:lpstr>Fully air gapped platform</vt:lpstr>
      <vt:lpstr>Rolling upgrades in  a closed environment</vt:lpstr>
      <vt:lpstr>What is our platform?</vt:lpstr>
      <vt:lpstr>Technologies</vt:lpstr>
      <vt:lpstr>PowerPoint Presentation</vt:lpstr>
      <vt:lpstr>Migration Journey </vt:lpstr>
      <vt:lpstr>Migration Challenges</vt:lpstr>
      <vt:lpstr> Distributed  tracing </vt:lpstr>
      <vt:lpstr>Spring boot 2.x - Spring cloud sleuth</vt:lpstr>
      <vt:lpstr>Spring boot 3.x - Micrometer tracing</vt:lpstr>
      <vt:lpstr>Micrometer tracing</vt:lpstr>
      <vt:lpstr>Spring cloud sleuth  vs  Micrometer tracing</vt:lpstr>
      <vt:lpstr>First let’s have a look at B3 vs W3C propagation formats</vt:lpstr>
      <vt:lpstr>Micrometer tracing + OpenTelemetry</vt:lpstr>
      <vt:lpstr>OpenTelemetry can propagate trace contexts using both W3C and B3 propagation types</vt:lpstr>
      <vt:lpstr>Multiple propagation formats with Micrometer + Otel</vt:lpstr>
      <vt:lpstr>Spring boot started supporting multiple propagation types since 3.0.8 </vt:lpstr>
      <vt:lpstr>Micrometer observations</vt:lpstr>
      <vt:lpstr>@Scheduled is instrumented for observability since Spring Boot 3.2</vt:lpstr>
      <vt:lpstr>Use `@Observed` to enable tracing</vt:lpstr>
      <vt:lpstr>Since Spring Boot 3.2 Micrometer annotations are autoconfigured</vt:lpstr>
      <vt:lpstr>Programmatic approach</vt:lpstr>
      <vt:lpstr>Testing observation</vt:lpstr>
      <vt:lpstr>Micrometer async instrumentation</vt:lpstr>
      <vt:lpstr>Logging with correlation IDs is now autoconfigured by Spring Boot v3.2</vt:lpstr>
      <vt:lpstr>Spring Boot v3 does not use  Apache HttpClient v4 anymore</vt:lpstr>
      <vt:lpstr>Spring Boot v3 does not use  Apache HttpClient v4 anymore</vt:lpstr>
      <vt:lpstr>                                                                   Upgrade to Apache HttpClient v5</vt:lpstr>
      <vt:lpstr>                                Read timeout</vt:lpstr>
      <vt:lpstr>                      Connect timeout</vt:lpstr>
      <vt:lpstr>                           Retry behavior</vt:lpstr>
      <vt:lpstr>                     Retry behavior</vt:lpstr>
      <vt:lpstr>javax to jakarta namespace</vt:lpstr>
      <vt:lpstr>Swagger 2.0 specs not compatible with Jakarta</vt:lpstr>
      <vt:lpstr>Swagger 2.0 specs not compatible with Jakarta</vt:lpstr>
      <vt:lpstr>Migrate from Swagger 2.0 to OpenAPI 3.0 specs</vt:lpstr>
      <vt:lpstr>WireMock dependency classpath clash with Spring boot 3</vt:lpstr>
      <vt:lpstr>Latest WireMock depends on Jetty 11</vt:lpstr>
      <vt:lpstr>WireMock dependency classpath clash with Spring boot 3</vt:lpstr>
      <vt:lpstr>Use the standalone version (fat JAR with shaded dependencies)</vt:lpstr>
      <vt:lpstr>Use Wiremock with Jetty 12</vt:lpstr>
      <vt:lpstr>Graceful shutdown phases</vt:lpstr>
      <vt:lpstr>Integration with Testcontainers</vt:lpstr>
      <vt:lpstr>Key takeaways            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aurentiu Marinescu</dc:creator>
  <cp:lastModifiedBy>Laurentiu Marinescu</cp:lastModifiedBy>
  <cp:revision>93</cp:revision>
  <dcterms:created xsi:type="dcterms:W3CDTF">2024-04-23T08:47:52Z</dcterms:created>
  <dcterms:modified xsi:type="dcterms:W3CDTF">2024-06-04T11:18:02Z</dcterms:modified>
  <cp:category>Presentation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74E30EF25F66C4C959BBFBFD5F6CDFF</vt:lpwstr>
  </property>
  <property fmtid="{D5CDD505-2E9C-101B-9397-08002B2CF9AE}" pid="3" name="InformationClassification">
    <vt:lpwstr/>
  </property>
  <property fmtid="{D5CDD505-2E9C-101B-9397-08002B2CF9AE}" pid="4" name="MSIP_Label_229eea9c-5281-4377-b6bc-afc76db9d7b4_Enabled">
    <vt:lpwstr>true</vt:lpwstr>
  </property>
  <property fmtid="{D5CDD505-2E9C-101B-9397-08002B2CF9AE}" pid="5" name="MSIP_Label_229eea9c-5281-4377-b6bc-afc76db9d7b4_SetDate">
    <vt:lpwstr>2024-04-23T08:48:27Z</vt:lpwstr>
  </property>
  <property fmtid="{D5CDD505-2E9C-101B-9397-08002B2CF9AE}" pid="6" name="MSIP_Label_229eea9c-5281-4377-b6bc-afc76db9d7b4_Method">
    <vt:lpwstr>Privileged</vt:lpwstr>
  </property>
  <property fmtid="{D5CDD505-2E9C-101B-9397-08002B2CF9AE}" pid="7" name="MSIP_Label_229eea9c-5281-4377-b6bc-afc76db9d7b4_Name">
    <vt:lpwstr>229eea9c-5281-4377-b6bc-afc76db9d7b4</vt:lpwstr>
  </property>
  <property fmtid="{D5CDD505-2E9C-101B-9397-08002B2CF9AE}" pid="8" name="MSIP_Label_229eea9c-5281-4377-b6bc-afc76db9d7b4_SiteId">
    <vt:lpwstr>af73baa8-f594-4eb2-a39d-93e96cad61fc</vt:lpwstr>
  </property>
  <property fmtid="{D5CDD505-2E9C-101B-9397-08002B2CF9AE}" pid="9" name="MSIP_Label_229eea9c-5281-4377-b6bc-afc76db9d7b4_ActionId">
    <vt:lpwstr>7bda6d3e-2e8f-4ac2-88c5-060808c69d4b</vt:lpwstr>
  </property>
  <property fmtid="{D5CDD505-2E9C-101B-9397-08002B2CF9AE}" pid="10" name="MSIP_Label_229eea9c-5281-4377-b6bc-afc76db9d7b4_ContentBits">
    <vt:lpwstr>2</vt:lpwstr>
  </property>
  <property fmtid="{D5CDD505-2E9C-101B-9397-08002B2CF9AE}" pid="11" name="ClassificationContentMarkingFooterLocations">
    <vt:lpwstr>ASML Template 2021:9</vt:lpwstr>
  </property>
  <property fmtid="{D5CDD505-2E9C-101B-9397-08002B2CF9AE}" pid="12" name="ClassificationContentMarkingFooterText">
    <vt:lpwstr>Public</vt:lpwstr>
  </property>
</Properties>
</file>